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8.xml" ContentType="application/vnd.openxmlformats-officedocument.presentationml.notesSlide+xml"/>
  <Override PartName="/ppt/tags/tag12.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2.xml" ContentType="application/vnd.openxmlformats-officedocument.presentationml.notesSlide+xml"/>
  <Override PartName="/ppt/tags/tag22.xml" ContentType="application/vnd.openxmlformats-officedocument.presentationml.tags+xml"/>
  <Override PartName="/ppt/notesSlides/notesSlide33.xml" ContentType="application/vnd.openxmlformats-officedocument.presentationml.notesSlide+xml"/>
  <Override PartName="/ppt/tags/tag23.xml" ContentType="application/vnd.openxmlformats-officedocument.presentationml.tags+xml"/>
  <Override PartName="/ppt/notesSlides/notesSlide34.xml" ContentType="application/vnd.openxmlformats-officedocument.presentationml.notesSlide+xml"/>
  <Override PartName="/ppt/tags/tag2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5.xml" ContentType="application/vnd.openxmlformats-officedocument.presentationml.tags+xml"/>
  <Override PartName="/ppt/notesSlides/notesSlide42.xml" ContentType="application/vnd.openxmlformats-officedocument.presentationml.notesSlide+xml"/>
  <Override PartName="/ppt/tags/tag26.xml" ContentType="application/vnd.openxmlformats-officedocument.presentationml.tags+xml"/>
  <Override PartName="/ppt/notesSlides/notesSlide43.xml" ContentType="application/vnd.openxmlformats-officedocument.presentationml.notesSlide+xml"/>
  <Override PartName="/ppt/tags/tag27.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76"/>
  </p:notesMasterIdLst>
  <p:handoutMasterIdLst>
    <p:handoutMasterId r:id="rId77"/>
  </p:handout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5" r:id="rId20"/>
    <p:sldId id="276" r:id="rId21"/>
    <p:sldId id="277" r:id="rId22"/>
    <p:sldId id="278" r:id="rId23"/>
    <p:sldId id="279" r:id="rId24"/>
    <p:sldId id="280" r:id="rId25"/>
    <p:sldId id="281" r:id="rId26"/>
    <p:sldId id="282" r:id="rId27"/>
    <p:sldId id="283" r:id="rId28"/>
    <p:sldId id="284" r:id="rId29"/>
    <p:sldId id="286" r:id="rId30"/>
    <p:sldId id="287" r:id="rId31"/>
    <p:sldId id="288" r:id="rId32"/>
    <p:sldId id="289" r:id="rId33"/>
    <p:sldId id="290" r:id="rId34"/>
    <p:sldId id="291" r:id="rId35"/>
    <p:sldId id="292" r:id="rId36"/>
    <p:sldId id="293" r:id="rId37"/>
    <p:sldId id="294" r:id="rId38"/>
    <p:sldId id="295" r:id="rId39"/>
    <p:sldId id="296" r:id="rId40"/>
    <p:sldId id="297" r:id="rId41"/>
    <p:sldId id="298" r:id="rId42"/>
    <p:sldId id="299" r:id="rId43"/>
    <p:sldId id="300" r:id="rId44"/>
    <p:sldId id="301" r:id="rId45"/>
    <p:sldId id="302" r:id="rId46"/>
    <p:sldId id="303" r:id="rId47"/>
    <p:sldId id="304" r:id="rId48"/>
    <p:sldId id="307" r:id="rId49"/>
    <p:sldId id="308" r:id="rId50"/>
    <p:sldId id="309" r:id="rId51"/>
    <p:sldId id="310" r:id="rId52"/>
    <p:sldId id="311" r:id="rId53"/>
    <p:sldId id="312" r:id="rId54"/>
    <p:sldId id="313" r:id="rId55"/>
    <p:sldId id="314" r:id="rId56"/>
    <p:sldId id="315" r:id="rId57"/>
    <p:sldId id="316" r:id="rId58"/>
    <p:sldId id="317" r:id="rId59"/>
    <p:sldId id="318" r:id="rId60"/>
    <p:sldId id="319" r:id="rId61"/>
    <p:sldId id="320" r:id="rId62"/>
    <p:sldId id="321" r:id="rId63"/>
    <p:sldId id="322" r:id="rId64"/>
    <p:sldId id="323" r:id="rId65"/>
    <p:sldId id="324" r:id="rId66"/>
    <p:sldId id="325" r:id="rId67"/>
    <p:sldId id="326" r:id="rId68"/>
    <p:sldId id="327" r:id="rId69"/>
    <p:sldId id="328" r:id="rId70"/>
    <p:sldId id="329" r:id="rId71"/>
    <p:sldId id="330" r:id="rId72"/>
    <p:sldId id="331" r:id="rId73"/>
    <p:sldId id="332" r:id="rId74"/>
    <p:sldId id="333" r:id="rId7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51" autoAdjust="0"/>
    <p:restoredTop sz="94660"/>
  </p:normalViewPr>
  <p:slideViewPr>
    <p:cSldViewPr snapToGrid="0" snapToObjects="1">
      <p:cViewPr varScale="1">
        <p:scale>
          <a:sx n="62" d="100"/>
          <a:sy n="62" d="100"/>
        </p:scale>
        <p:origin x="-1340" y="-7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93623D5-F1EC-2C4B-B0D1-FAEA2D911DAE}" type="datetime1">
              <a:rPr lang="en-US" smtClean="0"/>
              <a:pPr/>
              <a:t>4/21/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8FB9906-AE80-4C43-A821-909F2FD4AF44}" type="slidenum">
              <a:rPr lang="en-US" smtClean="0"/>
              <a:pPr/>
              <a:t>‹#›</a:t>
            </a:fld>
            <a:endParaRPr lang="en-US"/>
          </a:p>
        </p:txBody>
      </p:sp>
    </p:spTree>
    <p:extLst>
      <p:ext uri="{BB962C8B-B14F-4D97-AF65-F5344CB8AC3E}">
        <p14:creationId xmlns:p14="http://schemas.microsoft.com/office/powerpoint/2010/main" val="125882834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3C0F286-6AA9-0040-9FFD-AEB6978AE231}" type="datetime1">
              <a:rPr lang="en-US" smtClean="0"/>
              <a:pPr/>
              <a:t>4/21/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0F84793-915E-2141-8E17-E0CAF7752596}" type="slidenum">
              <a:rPr lang="en-US" smtClean="0"/>
              <a:pPr/>
              <a:t>‹#›</a:t>
            </a:fld>
            <a:endParaRPr lang="en-US"/>
          </a:p>
        </p:txBody>
      </p:sp>
    </p:spTree>
    <p:extLst>
      <p:ext uri="{BB962C8B-B14F-4D97-AF65-F5344CB8AC3E}">
        <p14:creationId xmlns:p14="http://schemas.microsoft.com/office/powerpoint/2010/main" val="79510332"/>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Slot </a:t>
            </a:r>
            <a:r>
              <a:rPr lang="en-US" dirty="0" err="1" smtClean="0"/>
              <a:t>satu</a:t>
            </a:r>
            <a:r>
              <a:rPr lang="en-US" dirty="0" smtClean="0"/>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Pelaksanaan</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Penilaian</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Bersepadu</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Pegawai</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Perkhidmatan</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Pendidikan</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PBPPP)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ialah</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berkenaan</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Latar</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Belakang</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PBPPP</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3</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342900" indent="-342900" eaLnBrk="1" fontAlgn="auto" hangingPunct="1">
              <a:spcBef>
                <a:spcPts val="0"/>
              </a:spcBef>
              <a:spcAft>
                <a:spcPts val="0"/>
              </a:spcAft>
              <a:buFont typeface="Wingdings" pitchFamily="2" charset="2"/>
              <a:buChar char="Ø"/>
              <a:defRPr/>
            </a:pPr>
            <a:r>
              <a:rPr lang="en-US" dirty="0" err="1" smtClean="0"/>
              <a:t>Konsep</a:t>
            </a:r>
            <a:r>
              <a:rPr lang="en-US" dirty="0" smtClean="0"/>
              <a:t> PBPPP,</a:t>
            </a:r>
            <a:r>
              <a:rPr lang="en-US" baseline="0" dirty="0" smtClean="0"/>
              <a:t> PPP </a:t>
            </a:r>
            <a:r>
              <a:rPr lang="en-US" baseline="0" dirty="0" err="1" smtClean="0"/>
              <a:t>akan</a:t>
            </a:r>
            <a:r>
              <a:rPr lang="en-US" baseline="0" dirty="0" smtClean="0"/>
              <a:t> </a:t>
            </a:r>
            <a:r>
              <a:rPr lang="en-US" baseline="0" dirty="0" err="1" smtClean="0"/>
              <a:t>dinilai</a:t>
            </a:r>
            <a:r>
              <a:rPr lang="en-US" baseline="0" dirty="0" smtClean="0"/>
              <a:t> </a:t>
            </a:r>
            <a:r>
              <a:rPr lang="en-US" baseline="0" dirty="0" err="1" smtClean="0"/>
              <a:t>oleh</a:t>
            </a:r>
            <a:r>
              <a:rPr lang="en-US" baseline="0" dirty="0" smtClean="0"/>
              <a:t> </a:t>
            </a:r>
            <a:r>
              <a:rPr lang="en-US" b="1" baseline="0" dirty="0" err="1" smtClean="0"/>
              <a:t>dua</a:t>
            </a:r>
            <a:r>
              <a:rPr lang="en-US" baseline="0" dirty="0" smtClean="0"/>
              <a:t> </a:t>
            </a:r>
            <a:r>
              <a:rPr lang="en-US" baseline="0" dirty="0" err="1" smtClean="0"/>
              <a:t>Pegawai</a:t>
            </a:r>
            <a:r>
              <a:rPr lang="en-US" baseline="0" dirty="0" smtClean="0"/>
              <a:t> </a:t>
            </a:r>
            <a:r>
              <a:rPr lang="en-US" baseline="0" dirty="0" err="1" smtClean="0"/>
              <a:t>Penilai</a:t>
            </a:r>
            <a:r>
              <a:rPr lang="en-US" baseline="0" dirty="0" smtClean="0"/>
              <a:t> (PP1 </a:t>
            </a:r>
            <a:r>
              <a:rPr lang="en-US" baseline="0" dirty="0" err="1" smtClean="0"/>
              <a:t>dan</a:t>
            </a:r>
            <a:r>
              <a:rPr lang="en-US" baseline="0" dirty="0" smtClean="0"/>
              <a:t> PP2) </a:t>
            </a:r>
            <a:r>
              <a:rPr lang="en-US" baseline="0" dirty="0" err="1" smtClean="0"/>
              <a:t>berdasarkan</a:t>
            </a:r>
            <a:r>
              <a:rPr lang="en-US" baseline="0" dirty="0" smtClean="0"/>
              <a:t> </a:t>
            </a:r>
            <a:r>
              <a:rPr lang="en-US" baseline="0" dirty="0" err="1" smtClean="0"/>
              <a:t>Penilaian</a:t>
            </a:r>
            <a:r>
              <a:rPr lang="en-US" baseline="0" dirty="0" smtClean="0"/>
              <a:t> </a:t>
            </a:r>
            <a:r>
              <a:rPr lang="en-US" baseline="0" dirty="0" err="1" smtClean="0"/>
              <a:t>Kompetensi</a:t>
            </a:r>
            <a:r>
              <a:rPr lang="en-US" baseline="0" dirty="0" smtClean="0"/>
              <a:t> yang </a:t>
            </a:r>
            <a:r>
              <a:rPr lang="en-US" baseline="0" dirty="0" err="1" smtClean="0"/>
              <a:t>merangkumi</a:t>
            </a:r>
            <a:r>
              <a:rPr lang="en-US" baseline="0" dirty="0" smtClean="0"/>
              <a:t> </a:t>
            </a:r>
            <a:r>
              <a:rPr lang="en-US" baseline="0" dirty="0" err="1" smtClean="0"/>
              <a:t>Instrumen</a:t>
            </a:r>
            <a:r>
              <a:rPr lang="en-US" baseline="0" dirty="0" smtClean="0"/>
              <a:t> </a:t>
            </a:r>
            <a:r>
              <a:rPr lang="en-US" baseline="0" dirty="0" err="1" smtClean="0"/>
              <a:t>Generik</a:t>
            </a:r>
            <a:r>
              <a:rPr lang="en-US" baseline="0" dirty="0" smtClean="0"/>
              <a:t> </a:t>
            </a:r>
            <a:r>
              <a:rPr lang="en-US" baseline="0" dirty="0" err="1" smtClean="0"/>
              <a:t>dan</a:t>
            </a:r>
            <a:r>
              <a:rPr lang="en-US" baseline="0" dirty="0" smtClean="0"/>
              <a:t> </a:t>
            </a:r>
            <a:r>
              <a:rPr lang="en-US" baseline="0" dirty="0" err="1" smtClean="0"/>
              <a:t>Fungsional</a:t>
            </a:r>
            <a:r>
              <a:rPr lang="en-US" baseline="0" dirty="0" smtClean="0"/>
              <a:t> </a:t>
            </a:r>
            <a:r>
              <a:rPr lang="en-US" baseline="0" dirty="0" err="1" smtClean="0"/>
              <a:t>serta</a:t>
            </a:r>
            <a:r>
              <a:rPr lang="en-US" baseline="0" dirty="0" smtClean="0"/>
              <a:t> </a:t>
            </a:r>
            <a:r>
              <a:rPr lang="en-US" baseline="0" dirty="0" err="1" smtClean="0"/>
              <a:t>penilaian</a:t>
            </a:r>
            <a:r>
              <a:rPr lang="en-US" baseline="0" dirty="0" smtClean="0"/>
              <a:t> </a:t>
            </a:r>
            <a:r>
              <a:rPr lang="en-US" baseline="0" dirty="0" err="1" smtClean="0"/>
              <a:t>Keberhasilan</a:t>
            </a:r>
            <a:r>
              <a:rPr lang="en-US" baseline="0" dirty="0" smtClean="0"/>
              <a:t>. </a:t>
            </a:r>
            <a:r>
              <a:rPr lang="en-US" baseline="0" dirty="0" err="1" smtClean="0"/>
              <a:t>Prestasi</a:t>
            </a:r>
            <a:r>
              <a:rPr lang="en-US" baseline="0" dirty="0" smtClean="0"/>
              <a:t> PYD </a:t>
            </a:r>
            <a:r>
              <a:rPr lang="en-US" baseline="0" dirty="0" err="1" smtClean="0"/>
              <a:t>dibahagikan</a:t>
            </a:r>
            <a:r>
              <a:rPr lang="en-US" baseline="0" dirty="0" smtClean="0"/>
              <a:t> </a:t>
            </a:r>
            <a:r>
              <a:rPr lang="en-US" baseline="0" dirty="0" err="1" smtClean="0"/>
              <a:t>kepada</a:t>
            </a:r>
            <a:r>
              <a:rPr lang="en-US" baseline="0" dirty="0" smtClean="0"/>
              <a:t> </a:t>
            </a:r>
            <a:r>
              <a:rPr lang="en-US" b="1" baseline="0" dirty="0" err="1" smtClean="0"/>
              <a:t>empat</a:t>
            </a:r>
            <a:r>
              <a:rPr lang="en-US" baseline="0" dirty="0" smtClean="0"/>
              <a:t> </a:t>
            </a:r>
            <a:r>
              <a:rPr lang="en-US" baseline="0" dirty="0" err="1" smtClean="0"/>
              <a:t>kategori</a:t>
            </a:r>
            <a:r>
              <a:rPr lang="en-US" baseline="0" dirty="0" smtClean="0"/>
              <a:t> </a:t>
            </a:r>
            <a:r>
              <a:rPr lang="en-US" baseline="0" dirty="0" err="1" smtClean="0"/>
              <a:t>iaitu</a:t>
            </a:r>
            <a:r>
              <a:rPr lang="en-US" baseline="0" dirty="0" smtClean="0"/>
              <a:t>:</a:t>
            </a:r>
          </a:p>
          <a:p>
            <a:pPr marL="342900" indent="-342900" eaLnBrk="1" fontAlgn="auto" hangingPunct="1">
              <a:spcBef>
                <a:spcPts val="0"/>
              </a:spcBef>
              <a:spcAft>
                <a:spcPts val="0"/>
              </a:spcAft>
              <a:buFont typeface="Wingdings" pitchFamily="2" charset="2"/>
              <a:buChar char="Ø"/>
              <a:defRPr/>
            </a:pPr>
            <a:endParaRPr lang="en-US" baseline="0" dirty="0" smtClean="0"/>
          </a:p>
          <a:p>
            <a:pPr marL="342900" indent="-342900" eaLnBrk="1" fontAlgn="auto" hangingPunct="1">
              <a:spcBef>
                <a:spcPts val="0"/>
              </a:spcBef>
              <a:spcAft>
                <a:spcPts val="0"/>
              </a:spcAft>
              <a:buFont typeface="Wingdings" pitchFamily="2" charset="2"/>
              <a:buNone/>
              <a:defRPr/>
            </a:pPr>
            <a:r>
              <a:rPr lang="en-US" baseline="0" dirty="0" smtClean="0"/>
              <a:t>		a.  </a:t>
            </a:r>
            <a:r>
              <a:rPr lang="en-US" baseline="0" dirty="0" err="1" smtClean="0"/>
              <a:t>Prestasi</a:t>
            </a:r>
            <a:r>
              <a:rPr lang="en-US" baseline="0" dirty="0" smtClean="0"/>
              <a:t> </a:t>
            </a:r>
            <a:r>
              <a:rPr lang="en-US" baseline="0" dirty="0" err="1" smtClean="0"/>
              <a:t>Cemerlang</a:t>
            </a:r>
            <a:endParaRPr lang="en-US" baseline="0" dirty="0" smtClean="0"/>
          </a:p>
          <a:p>
            <a:pPr marL="342900" indent="-342900" eaLnBrk="1" fontAlgn="auto" hangingPunct="1">
              <a:spcBef>
                <a:spcPts val="0"/>
              </a:spcBef>
              <a:spcAft>
                <a:spcPts val="0"/>
              </a:spcAft>
              <a:buFont typeface="Wingdings" pitchFamily="2" charset="2"/>
              <a:buNone/>
              <a:defRPr/>
            </a:pPr>
            <a:r>
              <a:rPr lang="en-US" baseline="0" dirty="0" smtClean="0"/>
              <a:t>		b.  </a:t>
            </a:r>
            <a:r>
              <a:rPr lang="en-US" baseline="0" dirty="0" err="1" smtClean="0"/>
              <a:t>Prestasi</a:t>
            </a:r>
            <a:r>
              <a:rPr lang="en-US" baseline="0" dirty="0" smtClean="0"/>
              <a:t> </a:t>
            </a:r>
            <a:r>
              <a:rPr lang="en-US" baseline="0" dirty="0" err="1" smtClean="0"/>
              <a:t>Tinggi</a:t>
            </a:r>
            <a:endParaRPr lang="en-US" baseline="0" dirty="0" smtClean="0"/>
          </a:p>
          <a:p>
            <a:pPr marL="342900" indent="-342900" eaLnBrk="1" fontAlgn="auto" hangingPunct="1">
              <a:spcBef>
                <a:spcPts val="0"/>
              </a:spcBef>
              <a:spcAft>
                <a:spcPts val="0"/>
              </a:spcAft>
              <a:buFont typeface="Wingdings" pitchFamily="2" charset="2"/>
              <a:buNone/>
              <a:defRPr/>
            </a:pPr>
            <a:r>
              <a:rPr lang="en-US" dirty="0" smtClean="0"/>
              <a:t>		c. </a:t>
            </a:r>
            <a:r>
              <a:rPr lang="en-US" baseline="0" dirty="0" smtClean="0"/>
              <a:t> </a:t>
            </a:r>
            <a:r>
              <a:rPr lang="en-US" baseline="0" dirty="0" err="1" smtClean="0"/>
              <a:t>P</a:t>
            </a:r>
            <a:r>
              <a:rPr lang="en-US" dirty="0" err="1" smtClean="0"/>
              <a:t>restasi</a:t>
            </a:r>
            <a:r>
              <a:rPr lang="en-US" dirty="0" smtClean="0"/>
              <a:t> </a:t>
            </a:r>
            <a:r>
              <a:rPr lang="en-US" dirty="0" err="1" smtClean="0"/>
              <a:t>Sederhana</a:t>
            </a:r>
            <a:endParaRPr lang="en-US" dirty="0" smtClean="0"/>
          </a:p>
          <a:p>
            <a:pPr marL="342900" indent="-342900" eaLnBrk="1" fontAlgn="auto" hangingPunct="1">
              <a:spcBef>
                <a:spcPts val="0"/>
              </a:spcBef>
              <a:spcAft>
                <a:spcPts val="0"/>
              </a:spcAft>
              <a:buFont typeface="Wingdings" pitchFamily="2" charset="2"/>
              <a:buNone/>
              <a:defRPr/>
            </a:pPr>
            <a:r>
              <a:rPr lang="en-US" dirty="0" smtClean="0"/>
              <a:t>		d.</a:t>
            </a:r>
            <a:r>
              <a:rPr lang="en-US" baseline="0" dirty="0" smtClean="0"/>
              <a:t>  </a:t>
            </a:r>
            <a:r>
              <a:rPr lang="en-US" baseline="0" dirty="0" err="1" smtClean="0"/>
              <a:t>Prestasi</a:t>
            </a:r>
            <a:r>
              <a:rPr lang="en-US" baseline="0" dirty="0" smtClean="0"/>
              <a:t> </a:t>
            </a:r>
            <a:r>
              <a:rPr lang="en-US" baseline="0" dirty="0" err="1" smtClean="0"/>
              <a:t>Rendah</a:t>
            </a:r>
            <a:r>
              <a:rPr lang="en-US" baseline="0" dirty="0" smtClean="0"/>
              <a:t> </a:t>
            </a:r>
            <a:endParaRPr lang="en-US" dirty="0" smtClean="0"/>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16</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Slot </a:t>
            </a:r>
            <a:r>
              <a:rPr lang="en-US" dirty="0" err="1" smtClean="0"/>
              <a:t>Kedua</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ialah</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berkenaan</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a:t>
            </a:r>
            <a:r>
              <a:rPr lang="en-US" sz="1200" dirty="0" err="1"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Jawatankuasa</a:t>
            </a:r>
            <a:r>
              <a:rPr lang="en-US" sz="1200" dirty="0" smtClean="0">
                <a:ln w="1905"/>
                <a:gradFill>
                  <a:gsLst>
                    <a:gs pos="0">
                      <a:srgbClr val="002060"/>
                    </a:gs>
                    <a:gs pos="78000">
                      <a:srgbClr val="00B0F0"/>
                    </a:gs>
                    <a:gs pos="100000">
                      <a:srgbClr val="0070C0"/>
                    </a:gs>
                  </a:gsLst>
                  <a:lin ang="5400000"/>
                </a:gradFill>
                <a:effectLst>
                  <a:innerShdw blurRad="69850" dist="43180" dir="5400000">
                    <a:srgbClr val="000000">
                      <a:alpha val="65000"/>
                    </a:srgbClr>
                  </a:innerShdw>
                </a:effectLst>
                <a:latin typeface="Rockwell" pitchFamily="18" charset="0"/>
                <a:cs typeface="Segoe UI" pitchFamily="34" charset="0"/>
              </a:rPr>
              <a:t> PBPPP (JKPBPPP)</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20</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fontScale="40000" lnSpcReduction="20000"/>
          </a:bodyPr>
          <a:lstStyle/>
          <a:p>
            <a:pPr marL="514350" lvl="0" indent="-514350">
              <a:lnSpc>
                <a:spcPct val="250000"/>
              </a:lnSpc>
              <a:buFont typeface="+mj-lt"/>
              <a:buNone/>
            </a:pPr>
            <a:r>
              <a:rPr lang="ms-MY" sz="1200" dirty="0" smtClean="0"/>
              <a:t>Tanggungjawab Jawatankuasa PBPPP ialah:</a:t>
            </a:r>
          </a:p>
          <a:p>
            <a:pPr marL="514350" lvl="0" indent="-514350">
              <a:lnSpc>
                <a:spcPct val="250000"/>
              </a:lnSpc>
              <a:buFont typeface="+mj-lt"/>
              <a:buAutoNum type="arabicPeriod"/>
            </a:pPr>
            <a:r>
              <a:rPr lang="ms-MY" sz="1200" dirty="0" smtClean="0"/>
              <a:t>Merancang, menyelaras dan memantau aktiviti penilaian peringkat organisasi;</a:t>
            </a:r>
          </a:p>
          <a:p>
            <a:pPr marL="514350" lvl="0" indent="-514350">
              <a:lnSpc>
                <a:spcPct val="250000"/>
              </a:lnSpc>
              <a:buFont typeface="+mj-lt"/>
              <a:buAutoNum type="arabicPeriod"/>
            </a:pPr>
            <a:r>
              <a:rPr lang="ms-MY" sz="1200" baseline="0" dirty="0" smtClean="0"/>
              <a:t>M</a:t>
            </a:r>
            <a:r>
              <a:rPr lang="ms-MY" sz="1200" dirty="0" smtClean="0"/>
              <a:t>engemukakan cadangan senarai PP untuk diperaku mengikut kriteria yang ditetapkan;</a:t>
            </a:r>
          </a:p>
          <a:p>
            <a:pPr marL="514350" lvl="0" indent="-514350">
              <a:lnSpc>
                <a:spcPct val="250000"/>
              </a:lnSpc>
              <a:buFont typeface="+mj-lt"/>
              <a:buAutoNum type="arabicPeriod"/>
            </a:pPr>
            <a:r>
              <a:rPr lang="ms-MY" sz="1200" dirty="0" smtClean="0"/>
              <a:t>Merancang dan melaksanakan latihan  dalaman kepada PP di peringkat organisasi; </a:t>
            </a:r>
          </a:p>
          <a:p>
            <a:pPr marL="514350" lvl="0" indent="-514350">
              <a:lnSpc>
                <a:spcPct val="250000"/>
              </a:lnSpc>
              <a:buFont typeface="+mj-lt"/>
              <a:buAutoNum type="arabicPeriod"/>
            </a:pPr>
            <a:r>
              <a:rPr lang="ms-MY" dirty="0" smtClean="0"/>
              <a:t>Menyediakan laporan pelaksanaan penilaian di peringkat organisasi;</a:t>
            </a:r>
          </a:p>
          <a:p>
            <a:pPr marL="514350" lvl="0" indent="-514350">
              <a:lnSpc>
                <a:spcPct val="250000"/>
              </a:lnSpc>
              <a:buFont typeface="+mj-lt"/>
              <a:buAutoNum type="arabicPeriod"/>
            </a:pPr>
            <a:r>
              <a:rPr lang="ms-MY" dirty="0" smtClean="0"/>
              <a:t>Membuat penyelarasan skor apabila SMG modul e-Prestasi memberikan peringatan tentang ketidaktekalan skor (perbezaan skor melebihi 10 antara PP). </a:t>
            </a:r>
          </a:p>
          <a:p>
            <a:pPr marL="514350" lvl="0" indent="-514350">
              <a:lnSpc>
                <a:spcPct val="250000"/>
              </a:lnSpc>
              <a:buFont typeface="+mj-lt"/>
              <a:buAutoNum type="arabicPeriod"/>
            </a:pPr>
            <a:r>
              <a:rPr lang="ms-MY" dirty="0" smtClean="0"/>
              <a:t>Menentukan proses tindakan pelaksanaan PBPPP mengikut jadual yang telah ditetapkan oleh Jawatankuasa PBPPP Organisasi dan pihak KPM;</a:t>
            </a:r>
          </a:p>
          <a:p>
            <a:pPr marL="514350" lvl="0" indent="-514350">
              <a:lnSpc>
                <a:spcPct val="250000"/>
              </a:lnSpc>
              <a:buFont typeface="+mj-lt"/>
              <a:buAutoNum type="arabicPeriod"/>
            </a:pPr>
            <a:r>
              <a:rPr lang="ms-MY" sz="1200" kern="1200" dirty="0" smtClean="0">
                <a:solidFill>
                  <a:schemeClr val="tx1"/>
                </a:solidFill>
                <a:latin typeface="+mn-lt"/>
                <a:ea typeface="+mn-ea"/>
                <a:cs typeface="+mn-cs"/>
              </a:rPr>
              <a:t>Memastikan semua bahan/ dokumen yang bercetak/ bertulis melibatkan penilaian ini diklasifikasikan sebagai ‘</a:t>
            </a:r>
            <a:r>
              <a:rPr lang="ms-MY" sz="1200" b="1" kern="1200" dirty="0" smtClean="0">
                <a:solidFill>
                  <a:schemeClr val="tx1"/>
                </a:solidFill>
                <a:latin typeface="+mn-lt"/>
                <a:ea typeface="+mn-ea"/>
                <a:cs typeface="+mn-cs"/>
              </a:rPr>
              <a:t>Dokumen Terperingkat’ pada tahap TERHAD</a:t>
            </a:r>
            <a:r>
              <a:rPr lang="ms-MY" sz="1200" kern="1200" dirty="0" smtClean="0">
                <a:solidFill>
                  <a:schemeClr val="tx1"/>
                </a:solidFill>
                <a:latin typeface="+mn-lt"/>
                <a:ea typeface="+mn-ea"/>
                <a:cs typeface="+mn-cs"/>
              </a:rPr>
              <a:t> dan hendaklah disimpan di tempat yang sesuai mengikut garis panduan penyimpanan dokumen TERHAD</a:t>
            </a:r>
            <a:r>
              <a:rPr lang="ms-MY" dirty="0" smtClean="0"/>
              <a:t>;</a:t>
            </a:r>
          </a:p>
          <a:p>
            <a:pPr marL="514350" lvl="0" indent="-514350">
              <a:lnSpc>
                <a:spcPct val="250000"/>
              </a:lnSpc>
              <a:buFont typeface="+mj-lt"/>
              <a:buAutoNum type="arabicPeriod"/>
            </a:pPr>
            <a:r>
              <a:rPr lang="ms-MY" dirty="0" smtClean="0"/>
              <a:t>Mengarahkan PP yang akan bertukar ke jabatan lain, bersara atau meletak jawatan untuk menyediakan penilaian dengan serta-merta bagi PYD di bawah penyeliaan mereka jika tempoh penyeliaan tidak kurang dari 6 bulan;</a:t>
            </a:r>
          </a:p>
          <a:p>
            <a:pPr marL="514350" lvl="0" indent="-514350">
              <a:lnSpc>
                <a:spcPct val="250000"/>
              </a:lnSpc>
              <a:buFont typeface="+mj-lt"/>
              <a:buAutoNum type="arabicPeriod"/>
            </a:pPr>
            <a:r>
              <a:rPr lang="ms-MY" dirty="0" smtClean="0"/>
              <a:t>Mengarahkan PP melaksanakan penilaian secara manual sekiranya PYD yang bertukar masuk dan datanya belum</a:t>
            </a:r>
            <a:r>
              <a:rPr lang="ms-MY" baseline="0" dirty="0" smtClean="0"/>
              <a:t> </a:t>
            </a:r>
            <a:r>
              <a:rPr lang="ms-MY" dirty="0" smtClean="0"/>
              <a:t>dikemaskinikan. Data pegawai perlu dikemas</a:t>
            </a:r>
            <a:r>
              <a:rPr lang="ms-MY" baseline="0" dirty="0" smtClean="0"/>
              <a:t> kini dalam SMG modul e-Operasi atau SMG modul e-Pangkat.</a:t>
            </a:r>
          </a:p>
          <a:p>
            <a:pPr marL="514350" lvl="0" indent="-514350">
              <a:lnSpc>
                <a:spcPct val="250000"/>
              </a:lnSpc>
              <a:buFont typeface="+mj-lt"/>
              <a:buAutoNum type="arabicPeriod"/>
            </a:pPr>
            <a:r>
              <a:rPr lang="ms-MY" dirty="0" smtClean="0"/>
              <a:t>Jawatankuasa bertanggungjawab</a:t>
            </a:r>
            <a:r>
              <a:rPr lang="ms-MY" baseline="0" dirty="0" smtClean="0"/>
              <a:t> untuk memastikan semua PYD termasuklah</a:t>
            </a:r>
            <a:r>
              <a:rPr lang="ms-MY" dirty="0" smtClean="0"/>
              <a:t> PYD yang akan bersara  atau yang diberikan pelepasan untuk dilantik kepada perkhidmatan  lain,  jika tempoh perkhidmatan PYD dalam tahun penilaian itu ialah 6 bulan dan lebih; </a:t>
            </a:r>
            <a:br>
              <a:rPr lang="ms-MY" dirty="0" smtClean="0"/>
            </a:br>
            <a:r>
              <a:rPr lang="ms-MY" dirty="0" smtClean="0"/>
              <a:t>Bagi PYD</a:t>
            </a:r>
            <a:r>
              <a:rPr lang="ms-MY" baseline="0" dirty="0" smtClean="0"/>
              <a:t> yang terlibat dalam proses tindakan tatatertib tetapi belum dijatuhkan hukuman masih perlu dinilai.</a:t>
            </a:r>
          </a:p>
          <a:p>
            <a:pPr marL="514350" lvl="0" indent="-514350">
              <a:lnSpc>
                <a:spcPct val="250000"/>
              </a:lnSpc>
              <a:buFont typeface="+mj-lt"/>
              <a:buNone/>
            </a:pPr>
            <a:r>
              <a:rPr lang="ms-MY" baseline="0" dirty="0" smtClean="0"/>
              <a:t>	Bagi PYD yang baharu dilantik kurang daripada tempoh 6 bulan, tidak dinilai bagi tahun semasa tetapi pergerakan gaji secara isyarat (naik gaji tanpa penilaian).</a:t>
            </a:r>
            <a:endParaRPr lang="ms-MY" dirty="0" smtClean="0"/>
          </a:p>
          <a:p>
            <a:pPr marL="228600" lvl="0" indent="-228600">
              <a:lnSpc>
                <a:spcPct val="250000"/>
              </a:lnSpc>
              <a:buFont typeface="+mj-lt"/>
              <a:buAutoNum type="arabicPeriod" startAt="11"/>
            </a:pPr>
            <a:r>
              <a:rPr lang="ms-MY" sz="1200" kern="1200" baseline="0" dirty="0" smtClean="0">
                <a:solidFill>
                  <a:schemeClr val="tx1"/>
                </a:solidFill>
                <a:latin typeface="+mn-lt"/>
                <a:ea typeface="+mn-ea"/>
                <a:cs typeface="+mn-cs"/>
              </a:rPr>
              <a:t>      Memastikan penilaian  untuk pegawai baharu yang dilantik selepas 1 Julai</a:t>
            </a:r>
          </a:p>
          <a:p>
            <a:pPr marL="0" lvl="0" indent="0">
              <a:lnSpc>
                <a:spcPct val="250000"/>
              </a:lnSpc>
              <a:buFont typeface="+mj-lt"/>
              <a:buNone/>
            </a:pPr>
            <a:r>
              <a:rPr lang="ms-MY" sz="1200" kern="1200" baseline="0" dirty="0" smtClean="0">
                <a:solidFill>
                  <a:schemeClr val="tx1"/>
                </a:solidFill>
                <a:latin typeface="+mn-lt"/>
                <a:ea typeface="+mn-ea"/>
                <a:cs typeface="+mn-cs"/>
              </a:rPr>
              <a:t>          disediakan apabila tempoh perkhidmatan mereka genap 6 bulan; dan</a:t>
            </a:r>
          </a:p>
          <a:p>
            <a:pPr marL="228600" lvl="0" indent="-228600">
              <a:lnSpc>
                <a:spcPct val="250000"/>
              </a:lnSpc>
              <a:buFont typeface="+mj-lt"/>
              <a:buAutoNum type="arabicPeriod" startAt="12"/>
            </a:pPr>
            <a:r>
              <a:rPr lang="ms-MY" sz="1200" kern="1200" baseline="0" dirty="0" smtClean="0">
                <a:solidFill>
                  <a:schemeClr val="tx1"/>
                </a:solidFill>
                <a:latin typeface="+mn-lt"/>
                <a:ea typeface="+mn-ea"/>
                <a:cs typeface="+mn-cs"/>
              </a:rPr>
              <a:t>     Menjaga kerahsiaan skor PYD dan dokumen terperingkat  sepanjang masa (sulit</a:t>
            </a:r>
          </a:p>
          <a:p>
            <a:pPr marL="0" lvl="0" indent="0">
              <a:lnSpc>
                <a:spcPct val="250000"/>
              </a:lnSpc>
              <a:buFont typeface="+mj-lt"/>
              <a:buNone/>
            </a:pPr>
            <a:r>
              <a:rPr lang="ms-MY" sz="1200" kern="1200" baseline="0" dirty="0" smtClean="0">
                <a:solidFill>
                  <a:schemeClr val="tx1"/>
                </a:solidFill>
                <a:latin typeface="+mn-lt"/>
                <a:ea typeface="+mn-ea"/>
                <a:cs typeface="+mn-cs"/>
              </a:rPr>
              <a:t>          kepada yang tidak berkenaan); </a:t>
            </a:r>
            <a:endParaRPr lang="en-US" sz="1200" kern="1200" baseline="0" dirty="0" smtClean="0">
              <a:solidFill>
                <a:schemeClr val="tx1"/>
              </a:solidFill>
              <a:latin typeface="+mn-lt"/>
              <a:ea typeface="+mn-ea"/>
              <a:cs typeface="+mn-cs"/>
            </a:endParaRPr>
          </a:p>
          <a:p>
            <a:pPr eaLnBrk="1" hangingPunct="1">
              <a:lnSpc>
                <a:spcPct val="250000"/>
              </a:lnSpc>
              <a:spcBef>
                <a:spcPct val="0"/>
              </a:spcBef>
            </a:pPr>
            <a:endParaRPr lang="en-SG" dirty="0" smtClean="0"/>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21</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b="0" dirty="0" err="1" smtClean="0"/>
              <a:t>Jawatankuasa</a:t>
            </a:r>
            <a:r>
              <a:rPr lang="en-US" altLang="en-US" b="0" baseline="0" dirty="0" smtClean="0"/>
              <a:t> PBPPP </a:t>
            </a:r>
            <a:r>
              <a:rPr lang="en-US" altLang="en-US" b="0" baseline="0" dirty="0" err="1" smtClean="0"/>
              <a:t>terdiri</a:t>
            </a:r>
            <a:r>
              <a:rPr lang="en-US" altLang="en-US" b="0" baseline="0" dirty="0" smtClean="0"/>
              <a:t> </a:t>
            </a:r>
            <a:r>
              <a:rPr lang="en-US" altLang="en-US" b="0" baseline="0" dirty="0" err="1" smtClean="0"/>
              <a:t>dari</a:t>
            </a:r>
            <a:r>
              <a:rPr lang="en-US" altLang="en-US" b="0" baseline="0" dirty="0" smtClean="0"/>
              <a:t> </a:t>
            </a:r>
            <a:r>
              <a:rPr lang="en-US" altLang="en-US" b="0" baseline="0" dirty="0" err="1" smtClean="0"/>
              <a:t>Pengerusi</a:t>
            </a:r>
            <a:r>
              <a:rPr lang="en-US" altLang="en-US" b="0" baseline="0" dirty="0" smtClean="0"/>
              <a:t>, </a:t>
            </a:r>
            <a:r>
              <a:rPr lang="en-US" altLang="en-US" b="0" baseline="0" dirty="0" err="1" smtClean="0"/>
              <a:t>Setiausaha</a:t>
            </a:r>
            <a:r>
              <a:rPr lang="en-US" altLang="en-US" b="0" baseline="0" dirty="0" smtClean="0"/>
              <a:t>, </a:t>
            </a:r>
            <a:r>
              <a:rPr lang="en-US" altLang="en-US" b="0" baseline="0" dirty="0" err="1" smtClean="0"/>
              <a:t>Tiga</a:t>
            </a:r>
            <a:r>
              <a:rPr lang="en-US" altLang="en-US" b="0" baseline="0" dirty="0" smtClean="0"/>
              <a:t> </a:t>
            </a:r>
            <a:r>
              <a:rPr lang="en-US" altLang="en-US" b="0" baseline="0" dirty="0" err="1" smtClean="0"/>
              <a:t>Ahli</a:t>
            </a:r>
            <a:r>
              <a:rPr lang="en-US" altLang="en-US" b="0" baseline="0" dirty="0" smtClean="0"/>
              <a:t> </a:t>
            </a:r>
            <a:r>
              <a:rPr lang="en-US" altLang="en-US" b="0" baseline="0" dirty="0" err="1" smtClean="0"/>
              <a:t>Jawatankuasa</a:t>
            </a:r>
            <a:r>
              <a:rPr lang="en-US" altLang="en-US" b="0" baseline="0" dirty="0" smtClean="0"/>
              <a:t> </a:t>
            </a:r>
            <a:r>
              <a:rPr lang="en-US" altLang="en-US" b="0" baseline="0" dirty="0" err="1" smtClean="0"/>
              <a:t>dan</a:t>
            </a:r>
            <a:r>
              <a:rPr lang="en-US" altLang="en-US" b="0" baseline="0" dirty="0" smtClean="0"/>
              <a:t> </a:t>
            </a:r>
            <a:r>
              <a:rPr lang="en-US" altLang="en-US" b="0" baseline="0" dirty="0" err="1" smtClean="0"/>
              <a:t>seorang</a:t>
            </a:r>
            <a:r>
              <a:rPr lang="en-US" altLang="en-US" b="0" baseline="0" dirty="0" smtClean="0"/>
              <a:t> </a:t>
            </a:r>
            <a:r>
              <a:rPr lang="en-US" altLang="en-US" b="0" baseline="0" dirty="0" err="1" smtClean="0"/>
              <a:t>Urus</a:t>
            </a:r>
            <a:r>
              <a:rPr lang="en-US" altLang="en-US" b="0" baseline="0" dirty="0" smtClean="0"/>
              <a:t> </a:t>
            </a:r>
            <a:r>
              <a:rPr lang="en-US" altLang="en-US" b="0" baseline="0" dirty="0" err="1" smtClean="0"/>
              <a:t>setia</a:t>
            </a:r>
            <a:r>
              <a:rPr lang="en-US" altLang="en-US" b="0" baseline="0" dirty="0" smtClean="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b="0" baseline="0" dirty="0" err="1" smtClean="0"/>
              <a:t>Urus</a:t>
            </a:r>
            <a:r>
              <a:rPr lang="en-US" altLang="en-US" b="0" baseline="0" dirty="0" smtClean="0"/>
              <a:t> </a:t>
            </a:r>
            <a:r>
              <a:rPr lang="en-US" altLang="en-US" b="0" baseline="0" dirty="0" err="1" smtClean="0"/>
              <a:t>setia</a:t>
            </a:r>
            <a:r>
              <a:rPr lang="en-US" altLang="en-US" b="0" baseline="0" dirty="0" smtClean="0"/>
              <a:t> </a:t>
            </a:r>
            <a:r>
              <a:rPr lang="en-US" altLang="en-US" b="0" baseline="0" dirty="0" err="1" smtClean="0"/>
              <a:t>hanya</a:t>
            </a:r>
            <a:r>
              <a:rPr lang="en-US" altLang="en-US" b="0" baseline="0" dirty="0" smtClean="0"/>
              <a:t> </a:t>
            </a:r>
            <a:r>
              <a:rPr lang="en-US" altLang="en-US" b="0" baseline="0" dirty="0" err="1" smtClean="0"/>
              <a:t>berperanan</a:t>
            </a:r>
            <a:r>
              <a:rPr lang="en-US" altLang="en-US" b="0" baseline="0" dirty="0" smtClean="0"/>
              <a:t> </a:t>
            </a:r>
            <a:r>
              <a:rPr lang="en-US" altLang="en-US" b="0" baseline="0" dirty="0" err="1" smtClean="0"/>
              <a:t>dalam</a:t>
            </a:r>
            <a:r>
              <a:rPr lang="en-US" altLang="en-US" b="0" baseline="0" dirty="0" smtClean="0"/>
              <a:t> </a:t>
            </a:r>
            <a:r>
              <a:rPr lang="en-US" altLang="en-US" b="0" baseline="0" dirty="0" err="1" smtClean="0"/>
              <a:t>aspek</a:t>
            </a:r>
            <a:r>
              <a:rPr lang="en-US" altLang="en-US" b="0" baseline="0" dirty="0" smtClean="0"/>
              <a:t> </a:t>
            </a:r>
            <a:r>
              <a:rPr lang="en-US" altLang="en-US" b="0" baseline="0" dirty="0" err="1" smtClean="0"/>
              <a:t>pengkeranian</a:t>
            </a:r>
            <a:r>
              <a:rPr lang="en-US" altLang="en-US" b="0" baseline="0" dirty="0" smtClean="0"/>
              <a:t> </a:t>
            </a:r>
            <a:r>
              <a:rPr lang="en-US" altLang="en-US" b="0" baseline="0" dirty="0" err="1" smtClean="0"/>
              <a:t>dan</a:t>
            </a:r>
            <a:r>
              <a:rPr lang="en-US" altLang="en-US" b="0" baseline="0" dirty="0" smtClean="0"/>
              <a:t> </a:t>
            </a:r>
            <a:r>
              <a:rPr lang="en-US" altLang="en-US" b="0" baseline="0" dirty="0" err="1" smtClean="0"/>
              <a:t>tiada</a:t>
            </a:r>
            <a:r>
              <a:rPr lang="en-US" altLang="en-US" b="0" baseline="0" dirty="0" smtClean="0"/>
              <a:t> </a:t>
            </a:r>
            <a:r>
              <a:rPr lang="en-US" altLang="en-US" b="0" baseline="0" dirty="0" err="1" smtClean="0"/>
              <a:t>kuasa</a:t>
            </a:r>
            <a:r>
              <a:rPr lang="en-US" altLang="en-US" b="0" baseline="0" dirty="0" smtClean="0"/>
              <a:t> </a:t>
            </a:r>
            <a:r>
              <a:rPr lang="en-US" altLang="en-US" b="0" baseline="0" dirty="0" err="1" smtClean="0"/>
              <a:t>mengundi</a:t>
            </a:r>
            <a:r>
              <a:rPr lang="en-US" altLang="en-US" b="0" baseline="0" dirty="0" smtClean="0"/>
              <a:t>.</a:t>
            </a:r>
            <a:endParaRPr lang="en-US" altLang="en-US" b="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22</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27</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err="1" smtClean="0"/>
              <a:t>Sistem</a:t>
            </a:r>
            <a:r>
              <a:rPr lang="en-US" dirty="0" smtClean="0"/>
              <a:t> </a:t>
            </a:r>
            <a:r>
              <a:rPr lang="en-US" dirty="0" err="1" smtClean="0"/>
              <a:t>Penilaian</a:t>
            </a:r>
            <a:r>
              <a:rPr lang="en-US" dirty="0" smtClean="0"/>
              <a:t> </a:t>
            </a:r>
            <a:r>
              <a:rPr lang="en-US" dirty="0" err="1" smtClean="0"/>
              <a:t>Prestasi</a:t>
            </a:r>
            <a:r>
              <a:rPr lang="en-US" dirty="0" smtClean="0"/>
              <a:t> </a:t>
            </a:r>
            <a:r>
              <a:rPr lang="en-US" dirty="0" err="1" smtClean="0"/>
              <a:t>Perkhidmatan</a:t>
            </a:r>
            <a:r>
              <a:rPr lang="en-US" dirty="0" smtClean="0"/>
              <a:t> </a:t>
            </a:r>
            <a:r>
              <a:rPr lang="en-US" dirty="0" err="1" smtClean="0"/>
              <a:t>Awam</a:t>
            </a:r>
            <a:r>
              <a:rPr lang="en-US" dirty="0" smtClean="0"/>
              <a:t> </a:t>
            </a:r>
            <a:r>
              <a:rPr lang="en-US" dirty="0" err="1" smtClean="0"/>
              <a:t>digubal</a:t>
            </a:r>
            <a:r>
              <a:rPr lang="en-US" dirty="0" smtClean="0"/>
              <a:t> </a:t>
            </a:r>
            <a:r>
              <a:rPr lang="en-US" dirty="0" err="1" smtClean="0"/>
              <a:t>berdasarkan</a:t>
            </a:r>
            <a:r>
              <a:rPr lang="en-US" dirty="0" smtClean="0"/>
              <a:t> </a:t>
            </a:r>
            <a:r>
              <a:rPr lang="en-US" dirty="0" err="1" smtClean="0"/>
              <a:t>kepada</a:t>
            </a:r>
            <a:r>
              <a:rPr lang="en-US" dirty="0" smtClean="0"/>
              <a:t> </a:t>
            </a:r>
            <a:r>
              <a:rPr lang="en-US" dirty="0" err="1" smtClean="0"/>
              <a:t>dua</a:t>
            </a:r>
            <a:r>
              <a:rPr lang="en-US" dirty="0" smtClean="0"/>
              <a:t> </a:t>
            </a:r>
            <a:r>
              <a:rPr lang="en-US" dirty="0" err="1" smtClean="0"/>
              <a:t>prinsip</a:t>
            </a:r>
            <a:r>
              <a:rPr lang="en-US" dirty="0" smtClean="0"/>
              <a:t> </a:t>
            </a:r>
            <a:r>
              <a:rPr lang="en-US" dirty="0" err="1" smtClean="0"/>
              <a:t>asas</a:t>
            </a:r>
            <a:r>
              <a:rPr lang="en-US" dirty="0" smtClean="0"/>
              <a:t> </a:t>
            </a:r>
            <a:r>
              <a:rPr lang="en-US" dirty="0" err="1" smtClean="0"/>
              <a:t>penilaian</a:t>
            </a:r>
            <a:r>
              <a:rPr lang="en-US" dirty="0" smtClean="0"/>
              <a:t> </a:t>
            </a:r>
            <a:r>
              <a:rPr lang="en-US" dirty="0" err="1" smtClean="0"/>
              <a:t>seperti</a:t>
            </a:r>
            <a:r>
              <a:rPr lang="en-US" dirty="0" smtClean="0"/>
              <a:t> </a:t>
            </a:r>
            <a:r>
              <a:rPr lang="en-US" dirty="0" err="1" smtClean="0"/>
              <a:t>berikut</a:t>
            </a:r>
            <a:r>
              <a:rPr lang="en-US" dirty="0" smtClean="0"/>
              <a:t>:</a:t>
            </a:r>
          </a:p>
          <a:p>
            <a:endParaRPr lang="en-US" dirty="0" smtClean="0"/>
          </a:p>
          <a:p>
            <a:pPr marL="171450" indent="-171450">
              <a:buFont typeface="Arial" charset="0"/>
              <a:buChar char="•"/>
            </a:pPr>
            <a:r>
              <a:rPr lang="en-US" baseline="0" dirty="0" err="1" smtClean="0"/>
              <a:t>Penilaian</a:t>
            </a:r>
            <a:r>
              <a:rPr lang="en-US" baseline="0" dirty="0" smtClean="0"/>
              <a:t> yang </a:t>
            </a:r>
            <a:r>
              <a:rPr lang="en-US" baseline="0" dirty="0" err="1" smtClean="0"/>
              <a:t>adil</a:t>
            </a:r>
            <a:r>
              <a:rPr lang="en-US" baseline="0" dirty="0" smtClean="0"/>
              <a:t> </a:t>
            </a:r>
            <a:r>
              <a:rPr lang="en-US" baseline="0" dirty="0" err="1" smtClean="0"/>
              <a:t>dan</a:t>
            </a:r>
            <a:r>
              <a:rPr lang="en-US" baseline="0" dirty="0" smtClean="0"/>
              <a:t> </a:t>
            </a:r>
            <a:r>
              <a:rPr lang="en-US" baseline="0" dirty="0" err="1" smtClean="0"/>
              <a:t>telus</a:t>
            </a:r>
            <a:r>
              <a:rPr lang="en-US" baseline="0" dirty="0" smtClean="0"/>
              <a:t> </a:t>
            </a:r>
            <a:r>
              <a:rPr lang="en-US" baseline="0" dirty="0" err="1" smtClean="0"/>
              <a:t>berasaskan</a:t>
            </a:r>
            <a:r>
              <a:rPr lang="en-US" baseline="0" dirty="0" smtClean="0"/>
              <a:t> </a:t>
            </a:r>
            <a:r>
              <a:rPr lang="en-US" baseline="0" dirty="0" err="1" smtClean="0"/>
              <a:t>kepada</a:t>
            </a:r>
            <a:r>
              <a:rPr lang="en-US" baseline="0" dirty="0" smtClean="0"/>
              <a:t> </a:t>
            </a:r>
            <a:r>
              <a:rPr lang="en-US" baseline="0" dirty="0" err="1" smtClean="0"/>
              <a:t>prestasi</a:t>
            </a:r>
            <a:r>
              <a:rPr lang="en-US" baseline="0" dirty="0" smtClean="0"/>
              <a:t>/ </a:t>
            </a:r>
            <a:r>
              <a:rPr lang="en-US" baseline="0" dirty="0" err="1" smtClean="0"/>
              <a:t>hasil</a:t>
            </a:r>
            <a:r>
              <a:rPr lang="en-US" baseline="0" dirty="0" smtClean="0"/>
              <a:t> </a:t>
            </a:r>
            <a:r>
              <a:rPr lang="en-US" baseline="0" dirty="0" err="1" smtClean="0"/>
              <a:t>kerja</a:t>
            </a:r>
            <a:r>
              <a:rPr lang="en-US" baseline="0" dirty="0" smtClean="0"/>
              <a:t>/ </a:t>
            </a:r>
            <a:r>
              <a:rPr lang="en-US" i="1" baseline="0" dirty="0" smtClean="0"/>
              <a:t>output</a:t>
            </a:r>
            <a:r>
              <a:rPr lang="en-US" baseline="0" dirty="0" smtClean="0"/>
              <a:t>/ </a:t>
            </a:r>
            <a:r>
              <a:rPr lang="en-US" i="1" baseline="0" dirty="0" smtClean="0"/>
              <a:t>outcome</a:t>
            </a:r>
            <a:r>
              <a:rPr lang="en-US" baseline="0" dirty="0" smtClean="0"/>
              <a:t>/ </a:t>
            </a:r>
            <a:r>
              <a:rPr lang="en-US" baseline="0" dirty="0" err="1" smtClean="0"/>
              <a:t>impak</a:t>
            </a:r>
            <a:r>
              <a:rPr lang="en-US" baseline="0" dirty="0" smtClean="0"/>
              <a:t> yang </a:t>
            </a:r>
            <a:r>
              <a:rPr lang="en-US" baseline="0" dirty="0" err="1" smtClean="0"/>
              <a:t>bersesuaian</a:t>
            </a:r>
            <a:r>
              <a:rPr lang="en-US" baseline="0" dirty="0" smtClean="0"/>
              <a:t> </a:t>
            </a:r>
            <a:r>
              <a:rPr lang="en-US" baseline="0" dirty="0" err="1" smtClean="0"/>
              <a:t>serta</a:t>
            </a:r>
            <a:r>
              <a:rPr lang="en-US" baseline="0" dirty="0" smtClean="0"/>
              <a:t> </a:t>
            </a:r>
            <a:r>
              <a:rPr lang="en-US" baseline="0" dirty="0" err="1" smtClean="0"/>
              <a:t>perlakuan</a:t>
            </a:r>
            <a:r>
              <a:rPr lang="en-US" baseline="0" dirty="0" smtClean="0"/>
              <a:t> yang </a:t>
            </a:r>
            <a:r>
              <a:rPr lang="en-US" baseline="0" dirty="0" err="1" smtClean="0"/>
              <a:t>berkaitan</a:t>
            </a:r>
            <a:r>
              <a:rPr lang="en-US" baseline="0" dirty="0" smtClean="0"/>
              <a:t> </a:t>
            </a:r>
            <a:r>
              <a:rPr lang="en-US" baseline="0" dirty="0" err="1" smtClean="0"/>
              <a:t>dalam</a:t>
            </a:r>
            <a:r>
              <a:rPr lang="en-US" baseline="0" dirty="0" smtClean="0"/>
              <a:t> </a:t>
            </a:r>
            <a:r>
              <a:rPr lang="en-US" baseline="0" dirty="0" err="1" smtClean="0"/>
              <a:t>melaksanakan</a:t>
            </a:r>
            <a:r>
              <a:rPr lang="en-US" baseline="0" dirty="0" smtClean="0"/>
              <a:t> </a:t>
            </a:r>
            <a:r>
              <a:rPr lang="en-US" baseline="0" dirty="0" err="1" smtClean="0"/>
              <a:t>tugas</a:t>
            </a:r>
            <a:r>
              <a:rPr lang="en-US" baseline="0" dirty="0" smtClean="0"/>
              <a:t> </a:t>
            </a:r>
            <a:r>
              <a:rPr lang="en-US" baseline="0" dirty="0" err="1" smtClean="0"/>
              <a:t>dan</a:t>
            </a:r>
            <a:r>
              <a:rPr lang="en-US" baseline="0" dirty="0" smtClean="0"/>
              <a:t> </a:t>
            </a:r>
            <a:r>
              <a:rPr lang="en-US" baseline="0" dirty="0" err="1" smtClean="0"/>
              <a:t>tanggungjawab</a:t>
            </a:r>
            <a:r>
              <a:rPr lang="en-US" baseline="0" dirty="0" smtClean="0"/>
              <a:t>; </a:t>
            </a:r>
            <a:r>
              <a:rPr lang="en-US" baseline="0" dirty="0" err="1" smtClean="0"/>
              <a:t>dan</a:t>
            </a:r>
            <a:endParaRPr lang="en-US" baseline="0" dirty="0" smtClean="0"/>
          </a:p>
          <a:p>
            <a:pPr marL="171450" indent="-171450">
              <a:buFont typeface="Arial" charset="0"/>
              <a:buChar char="•"/>
            </a:pPr>
            <a:endParaRPr lang="en-US" baseline="0" dirty="0" smtClean="0"/>
          </a:p>
          <a:p>
            <a:pPr marL="171450" indent="-171450">
              <a:buFont typeface="Arial" charset="0"/>
              <a:buChar char="•"/>
            </a:pPr>
            <a:r>
              <a:rPr lang="en-US" baseline="0" dirty="0" err="1" smtClean="0"/>
              <a:t>Menggalakkan</a:t>
            </a:r>
            <a:r>
              <a:rPr lang="en-US" baseline="0" dirty="0" smtClean="0"/>
              <a:t> </a:t>
            </a:r>
            <a:r>
              <a:rPr lang="en-US" baseline="0" dirty="0" err="1" smtClean="0"/>
              <a:t>persaingan</a:t>
            </a:r>
            <a:r>
              <a:rPr lang="en-US" baseline="0" dirty="0" smtClean="0"/>
              <a:t> </a:t>
            </a:r>
            <a:r>
              <a:rPr lang="en-US" baseline="0" dirty="0" err="1" smtClean="0"/>
              <a:t>positif</a:t>
            </a:r>
            <a:r>
              <a:rPr lang="en-US" baseline="0" dirty="0" smtClean="0"/>
              <a:t> </a:t>
            </a:r>
            <a:r>
              <a:rPr lang="en-US" baseline="0" dirty="0" err="1" smtClean="0"/>
              <a:t>dalam</a:t>
            </a:r>
            <a:r>
              <a:rPr lang="en-US" baseline="0" dirty="0" smtClean="0"/>
              <a:t> </a:t>
            </a:r>
            <a:r>
              <a:rPr lang="en-US" baseline="0" dirty="0" err="1" smtClean="0"/>
              <a:t>meningkatkan</a:t>
            </a:r>
            <a:r>
              <a:rPr lang="en-US" baseline="0" dirty="0" smtClean="0"/>
              <a:t> </a:t>
            </a:r>
            <a:r>
              <a:rPr lang="en-US" baseline="0" dirty="0" err="1" smtClean="0"/>
              <a:t>kualiti</a:t>
            </a:r>
            <a:r>
              <a:rPr lang="en-US" baseline="0" dirty="0" smtClean="0"/>
              <a:t> </a:t>
            </a:r>
            <a:r>
              <a:rPr lang="en-US" baseline="0" dirty="0" err="1" smtClean="0"/>
              <a:t>dan</a:t>
            </a:r>
            <a:r>
              <a:rPr lang="en-US" baseline="0" dirty="0" smtClean="0"/>
              <a:t> </a:t>
            </a:r>
            <a:r>
              <a:rPr lang="en-US" baseline="0" dirty="0" err="1" smtClean="0"/>
              <a:t>produktiviti</a:t>
            </a:r>
            <a:r>
              <a:rPr lang="en-US" baseline="0" dirty="0" smtClean="0"/>
              <a:t> </a:t>
            </a:r>
            <a:r>
              <a:rPr lang="en-US" baseline="0" dirty="0" err="1" smtClean="0"/>
              <a:t>ke</a:t>
            </a:r>
            <a:r>
              <a:rPr lang="en-US" baseline="0" dirty="0" smtClean="0"/>
              <a:t> </a:t>
            </a:r>
            <a:r>
              <a:rPr lang="en-US" baseline="0" dirty="0" err="1" smtClean="0"/>
              <a:t>arah</a:t>
            </a:r>
            <a:r>
              <a:rPr lang="en-US" baseline="0" dirty="0" smtClean="0"/>
              <a:t> </a:t>
            </a:r>
            <a:r>
              <a:rPr lang="en-US" baseline="0" dirty="0" err="1" smtClean="0"/>
              <a:t>pencapaian</a:t>
            </a:r>
            <a:r>
              <a:rPr lang="en-US" baseline="0" dirty="0" smtClean="0"/>
              <a:t> </a:t>
            </a:r>
            <a:r>
              <a:rPr lang="en-US" baseline="0" dirty="0" err="1" smtClean="0"/>
              <a:t>objektif</a:t>
            </a:r>
            <a:r>
              <a:rPr lang="en-US" baseline="0" dirty="0" smtClean="0"/>
              <a:t> </a:t>
            </a:r>
            <a:r>
              <a:rPr lang="en-US" baseline="0" dirty="0" err="1" smtClean="0"/>
              <a:t>organisasi</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30</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lvl="0"/>
            <a:r>
              <a:rPr lang="ms-MY" sz="1200" kern="1200" dirty="0" smtClean="0">
                <a:solidFill>
                  <a:schemeClr val="tx1"/>
                </a:solidFill>
                <a:latin typeface="+mn-lt"/>
                <a:ea typeface="+mn-ea"/>
                <a:cs typeface="+mn-cs"/>
              </a:rPr>
              <a:t>Penilaian yang fleksibel bermaksud sistem penilaian yang tidak terikat kepada sesuatu kaedah penilaian semata-mata. Penilaian ini dijalankan berdasarkan perkara-perkara yang berikut. </a:t>
            </a:r>
            <a:endParaRPr lang="en-US" sz="1200" kern="1200" dirty="0" smtClean="0">
              <a:solidFill>
                <a:schemeClr val="tx1"/>
              </a:solidFill>
              <a:latin typeface="+mn-lt"/>
              <a:ea typeface="+mn-ea"/>
              <a:cs typeface="+mn-cs"/>
            </a:endParaRPr>
          </a:p>
          <a:p>
            <a:r>
              <a:rPr lang="ms-MY" sz="1200" kern="1200" dirty="0" smtClean="0">
                <a:solidFill>
                  <a:schemeClr val="tx1"/>
                </a:solidFill>
                <a:latin typeface="+mn-lt"/>
                <a:ea typeface="+mn-ea"/>
                <a:cs typeface="+mn-cs"/>
              </a:rPr>
              <a:t>Penilaian Yang Fleksibel:  </a:t>
            </a:r>
            <a:r>
              <a:rPr lang="ms-MY" sz="1200" b="1" kern="1200" dirty="0" smtClean="0">
                <a:solidFill>
                  <a:schemeClr val="tx1"/>
                </a:solidFill>
                <a:latin typeface="+mn-lt"/>
                <a:ea typeface="+mn-ea"/>
                <a:cs typeface="+mn-cs"/>
              </a:rPr>
              <a:t>SILA BACA PADA RAJAH DI SLAID</a:t>
            </a:r>
            <a:endParaRPr lang="en-US" sz="1200" b="1" kern="1200" dirty="0" smtClean="0">
              <a:solidFill>
                <a:schemeClr val="tx1"/>
              </a:solidFill>
              <a:latin typeface="+mn-lt"/>
              <a:ea typeface="+mn-ea"/>
              <a:cs typeface="+mn-cs"/>
            </a:endParaRPr>
          </a:p>
          <a:p>
            <a:r>
              <a:rPr lang="ms-MY" sz="1200" kern="1200" dirty="0" smtClean="0">
                <a:solidFill>
                  <a:schemeClr val="tx1"/>
                </a:solidFill>
                <a:latin typeface="+mn-lt"/>
                <a:ea typeface="+mn-ea"/>
                <a:cs typeface="+mn-cs"/>
              </a:rPr>
              <a:t> </a:t>
            </a:r>
            <a:endParaRPr lang="en-US" sz="1200" kern="1200" dirty="0" smtClean="0">
              <a:solidFill>
                <a:schemeClr val="tx1"/>
              </a:solidFill>
              <a:latin typeface="+mn-lt"/>
              <a:ea typeface="+mn-ea"/>
              <a:cs typeface="+mn-cs"/>
            </a:endParaRPr>
          </a:p>
          <a:p>
            <a:pPr marL="228600" lvl="0" indent="-228600">
              <a:buFont typeface="+mj-lt"/>
              <a:buAutoNum type="alphaLcParenR"/>
            </a:pPr>
            <a:r>
              <a:rPr lang="ms-MY" sz="1200" b="0" kern="1200" dirty="0" smtClean="0">
                <a:solidFill>
                  <a:schemeClr val="tx1"/>
                </a:solidFill>
                <a:latin typeface="+mn-lt"/>
                <a:ea typeface="+mn-ea"/>
                <a:cs typeface="+mn-cs"/>
              </a:rPr>
              <a:t>Kesesuaian Masa; -</a:t>
            </a:r>
            <a:r>
              <a:rPr lang="ms-MY" sz="1200" b="0" kern="1200" baseline="0" dirty="0" smtClean="0">
                <a:solidFill>
                  <a:schemeClr val="tx1"/>
                </a:solidFill>
                <a:latin typeface="+mn-lt"/>
                <a:ea typeface="+mn-ea"/>
                <a:cs typeface="+mn-cs"/>
              </a:rPr>
              <a:t> pagi/ petang/ malam – bergantung kepada majlis/ program</a:t>
            </a:r>
            <a:endParaRPr lang="en-US" sz="1200" b="0" kern="1200" dirty="0" smtClean="0">
              <a:solidFill>
                <a:schemeClr val="tx1"/>
              </a:solidFill>
              <a:latin typeface="+mn-lt"/>
              <a:ea typeface="+mn-ea"/>
              <a:cs typeface="+mn-cs"/>
            </a:endParaRPr>
          </a:p>
          <a:p>
            <a:pPr marL="228600" lvl="0" indent="-228600">
              <a:buFont typeface="+mj-lt"/>
              <a:buAutoNum type="alphaLcParenR"/>
            </a:pPr>
            <a:r>
              <a:rPr lang="ms-MY" sz="1200" b="0" kern="1200" dirty="0" smtClean="0">
                <a:solidFill>
                  <a:schemeClr val="tx1"/>
                </a:solidFill>
                <a:latin typeface="+mn-lt"/>
                <a:ea typeface="+mn-ea"/>
                <a:cs typeface="+mn-cs"/>
              </a:rPr>
              <a:t>Kesesuaian Tempat; - cth: bilik darjah/</a:t>
            </a:r>
            <a:r>
              <a:rPr lang="ms-MY" sz="1200" b="0" kern="1200" baseline="0" dirty="0" smtClean="0">
                <a:solidFill>
                  <a:schemeClr val="tx1"/>
                </a:solidFill>
                <a:latin typeface="+mn-lt"/>
                <a:ea typeface="+mn-ea"/>
                <a:cs typeface="+mn-cs"/>
              </a:rPr>
              <a:t> makmal/ padang</a:t>
            </a:r>
            <a:endParaRPr lang="en-US" sz="1200" b="0" kern="1200" dirty="0" smtClean="0">
              <a:solidFill>
                <a:schemeClr val="tx1"/>
              </a:solidFill>
              <a:latin typeface="+mn-lt"/>
              <a:ea typeface="+mn-ea"/>
              <a:cs typeface="+mn-cs"/>
            </a:endParaRPr>
          </a:p>
          <a:p>
            <a:pPr marL="228600" lvl="0" indent="-228600">
              <a:buFont typeface="+mj-lt"/>
              <a:buAutoNum type="alphaLcParenR"/>
            </a:pPr>
            <a:r>
              <a:rPr lang="ms-MY" sz="1200" b="0" kern="1200" dirty="0" smtClean="0">
                <a:solidFill>
                  <a:schemeClr val="tx1"/>
                </a:solidFill>
                <a:latin typeface="+mn-lt"/>
                <a:ea typeface="+mn-ea"/>
                <a:cs typeface="+mn-cs"/>
              </a:rPr>
              <a:t>Kepelbagaian Kaedah. – semakan</a:t>
            </a:r>
            <a:r>
              <a:rPr lang="ms-MY" sz="1200" b="0" kern="1200" baseline="0" dirty="0" smtClean="0">
                <a:solidFill>
                  <a:schemeClr val="tx1"/>
                </a:solidFill>
                <a:latin typeface="+mn-lt"/>
                <a:ea typeface="+mn-ea"/>
                <a:cs typeface="+mn-cs"/>
              </a:rPr>
              <a:t> bahan/ temu bual/ pencerapan/ pemerhatian</a:t>
            </a:r>
            <a:endParaRPr lang="en-US" sz="1200" b="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31</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347663" lvl="0" indent="-347663" algn="just">
              <a:buFont typeface="Wingdings" pitchFamily="2" charset="2"/>
              <a:buChar char="q"/>
            </a:pPr>
            <a:r>
              <a:rPr lang="ms-MY" sz="1200" dirty="0" smtClean="0"/>
              <a:t>PBPPP ini melibatkan </a:t>
            </a:r>
            <a:r>
              <a:rPr lang="ms-MY" sz="1200" b="1" dirty="0" smtClean="0"/>
              <a:t>dua PP</a:t>
            </a:r>
            <a:r>
              <a:rPr lang="ms-MY" sz="1200" dirty="0" smtClean="0"/>
              <a:t>, iaitu </a:t>
            </a:r>
            <a:r>
              <a:rPr lang="ms-MY" sz="1200" b="1" dirty="0" smtClean="0"/>
              <a:t>Pegawai Penilai Satu (PP1)</a:t>
            </a:r>
            <a:r>
              <a:rPr lang="ms-MY" sz="1200" dirty="0" smtClean="0"/>
              <a:t> dan </a:t>
            </a:r>
            <a:r>
              <a:rPr lang="ms-MY" sz="1200" b="1" dirty="0" smtClean="0"/>
              <a:t>Pegawai Penilai Dua (PP2)</a:t>
            </a:r>
            <a:r>
              <a:rPr lang="ms-MY" sz="1200" dirty="0" smtClean="0"/>
              <a:t>. Penilaian mesti dijalankan oleh PP yang mempunyai hubungan kerja dengan PYD. Perkara ini sangat penting untuk menentukan pencapaian prestasi PYD dalam tahun yang dinilai. PP merupakan individu yang menjalankan penilaian ke atas PYD dengan syarat-syarat tertentu. </a:t>
            </a:r>
            <a:endParaRPr lang="en-US" sz="1200" dirty="0" smtClean="0"/>
          </a:p>
          <a:p>
            <a:pPr eaLnBrk="1" fontAlgn="auto" hangingPunct="1">
              <a:spcBef>
                <a:spcPts val="0"/>
              </a:spcBef>
              <a:spcAft>
                <a:spcPts val="0"/>
              </a:spcAft>
              <a:defRPr/>
            </a:pPr>
            <a:r>
              <a:rPr lang="en-US" dirty="0" smtClean="0"/>
              <a:t>	</a:t>
            </a:r>
          </a:p>
          <a:p>
            <a:pPr marL="347663" lvl="0" indent="-347663" algn="just">
              <a:buFont typeface="Wingdings" pitchFamily="2" charset="2"/>
              <a:buChar char="q"/>
            </a:pPr>
            <a:r>
              <a:rPr lang="ms-MY" sz="1200" dirty="0" smtClean="0"/>
              <a:t>Pemberian markah antara kedua-dua PP kepada PYD adalah </a:t>
            </a:r>
            <a:r>
              <a:rPr lang="ms-MY" sz="1200" b="1" dirty="0" smtClean="0"/>
              <a:t>SULIT</a:t>
            </a:r>
            <a:r>
              <a:rPr lang="ms-MY" sz="1200" dirty="0" smtClean="0"/>
              <a:t>. PP1 dan PP2 </a:t>
            </a:r>
            <a:r>
              <a:rPr lang="ms-MY" sz="1200" b="1" dirty="0" smtClean="0"/>
              <a:t>TIDAK BOLEH BERBINCANG</a:t>
            </a:r>
            <a:r>
              <a:rPr lang="ms-MY" sz="1200" dirty="0" smtClean="0"/>
              <a:t> dalam proses pemberian markah PYD. </a:t>
            </a:r>
          </a:p>
          <a:p>
            <a:pPr marL="347663" lvl="0" indent="-347663" algn="just">
              <a:buFont typeface="Wingdings" pitchFamily="2" charset="2"/>
              <a:buNone/>
            </a:pPr>
            <a:endParaRPr lang="ms-MY" sz="1200" dirty="0" smtClean="0"/>
          </a:p>
          <a:p>
            <a:pPr marL="347663" lvl="0" indent="-347663" algn="just">
              <a:buFont typeface="Wingdings" pitchFamily="2" charset="2"/>
              <a:buChar char="q"/>
            </a:pPr>
            <a:r>
              <a:rPr lang="ms-MY" sz="1200" dirty="0" smtClean="0"/>
              <a:t>PP dilantik oleh JK PBPPP Organisasi berdasarkan kepada kriteria pegawai penilai. </a:t>
            </a:r>
          </a:p>
          <a:p>
            <a:pPr marL="347663" lvl="0" indent="-347663" algn="just">
              <a:buFont typeface="Wingdings" pitchFamily="2" charset="2"/>
              <a:buChar char="q"/>
            </a:pPr>
            <a:endParaRPr lang="ms-MY" sz="1200" dirty="0" smtClean="0"/>
          </a:p>
          <a:p>
            <a:pPr marL="347663" marR="0" lvl="0" indent="-347663" algn="just" defTabSz="914400" rtl="0" eaLnBrk="1" fontAlgn="auto" latinLnBrk="0" hangingPunct="1">
              <a:lnSpc>
                <a:spcPct val="100000"/>
              </a:lnSpc>
              <a:spcBef>
                <a:spcPts val="0"/>
              </a:spcBef>
              <a:spcAft>
                <a:spcPts val="0"/>
              </a:spcAft>
              <a:buClrTx/>
              <a:buSzTx/>
              <a:buFont typeface="Wingdings" pitchFamily="2" charset="2"/>
              <a:buChar char="q"/>
              <a:tabLst/>
              <a:defRPr/>
            </a:pPr>
            <a:r>
              <a:rPr lang="ms-MY" dirty="0" smtClean="0">
                <a:latin typeface="Arial" pitchFamily="34" charset="0"/>
              </a:rPr>
              <a:t>Penilaian juga dilaksanakan secara berasingan.</a:t>
            </a:r>
          </a:p>
          <a:p>
            <a:pPr marL="347663" lvl="0" indent="-347663" algn="just">
              <a:buFont typeface="Wingdings" pitchFamily="2" charset="2"/>
              <a:buChar char="q"/>
            </a:pPr>
            <a:endParaRPr lang="ms-MY" sz="1200" dirty="0" smtClean="0"/>
          </a:p>
          <a:p>
            <a:pPr marL="347663" lvl="0" indent="-347663" algn="just">
              <a:buFont typeface="Wingdings" pitchFamily="2" charset="2"/>
              <a:buChar char="q"/>
            </a:pPr>
            <a:endParaRPr lang="ms-MY" sz="1200" dirty="0" smtClean="0"/>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32</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lvl="0"/>
            <a:r>
              <a:rPr lang="ms-MY" sz="1200" kern="1200" dirty="0" smtClean="0">
                <a:solidFill>
                  <a:schemeClr val="tx1"/>
                </a:solidFill>
                <a:latin typeface="+mn-lt"/>
                <a:ea typeface="+mn-ea"/>
                <a:cs typeface="+mn-cs"/>
              </a:rPr>
              <a:t>KRITERIA</a:t>
            </a:r>
            <a:r>
              <a:rPr lang="ms-MY" sz="1200" kern="1200" baseline="0" dirty="0" smtClean="0">
                <a:solidFill>
                  <a:schemeClr val="tx1"/>
                </a:solidFill>
                <a:latin typeface="+mn-lt"/>
                <a:ea typeface="+mn-ea"/>
                <a:cs typeface="+mn-cs"/>
              </a:rPr>
              <a:t> UTAMA PEGAWAI PENILAI:</a:t>
            </a:r>
          </a:p>
          <a:p>
            <a:pPr lvl="0"/>
            <a:r>
              <a:rPr lang="ms-MY" sz="1200" kern="1200" dirty="0" smtClean="0">
                <a:solidFill>
                  <a:schemeClr val="tx1"/>
                </a:solidFill>
                <a:latin typeface="+mn-lt"/>
                <a:ea typeface="+mn-ea"/>
                <a:cs typeface="+mn-cs"/>
              </a:rPr>
              <a:t>Pelantikan atau penetapan PP dilaksanakan oleh Jawatankuasa PBPPP di organisasi masing-masing. Walau bagaimanapun, pelantikan PP perlu berdasarkan kriteria yang ditetapkan seperti yang berikut:</a:t>
            </a:r>
            <a:endParaRPr lang="en-US" sz="1200" kern="1200" dirty="0" smtClean="0">
              <a:solidFill>
                <a:schemeClr val="tx1"/>
              </a:solidFill>
              <a:latin typeface="+mn-lt"/>
              <a:ea typeface="+mn-ea"/>
              <a:cs typeface="+mn-cs"/>
            </a:endParaRPr>
          </a:p>
          <a:p>
            <a:pPr marL="228600" lvl="0" indent="-228600">
              <a:buFont typeface="+mj-lt"/>
              <a:buAutoNum type="alphaLcParenR"/>
            </a:pPr>
            <a:r>
              <a:rPr lang="en-US" sz="1200" kern="1200" dirty="0" err="1" smtClean="0">
                <a:solidFill>
                  <a:schemeClr val="tx1"/>
                </a:solidFill>
                <a:latin typeface="+mn-lt"/>
                <a:ea typeface="+mn-ea"/>
                <a:cs typeface="+mn-cs"/>
              </a:rPr>
              <a:t>Mempunya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ngetahu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kemahir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alam</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bidang</a:t>
            </a:r>
            <a:r>
              <a:rPr lang="en-US" sz="1200" kern="1200" dirty="0" smtClean="0">
                <a:solidFill>
                  <a:schemeClr val="tx1"/>
                </a:solidFill>
                <a:latin typeface="+mn-lt"/>
                <a:ea typeface="+mn-ea"/>
                <a:cs typeface="+mn-cs"/>
              </a:rPr>
              <a:t> PYD </a:t>
            </a:r>
            <a:r>
              <a:rPr lang="en-US" sz="1200" kern="1200" dirty="0" err="1" smtClean="0">
                <a:solidFill>
                  <a:schemeClr val="tx1"/>
                </a:solidFill>
                <a:latin typeface="+mn-lt"/>
                <a:ea typeface="+mn-ea"/>
                <a:cs typeface="+mn-cs"/>
              </a:rPr>
              <a:t>d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mempunya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kemahir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menila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secara</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objektif</a:t>
            </a:r>
            <a:r>
              <a:rPr lang="en-US" sz="1200" kern="1200" dirty="0" smtClean="0">
                <a:solidFill>
                  <a:schemeClr val="tx1"/>
                </a:solidFill>
                <a:latin typeface="+mn-lt"/>
                <a:ea typeface="+mn-ea"/>
                <a:cs typeface="+mn-cs"/>
              </a:rPr>
              <a:t>; </a:t>
            </a:r>
          </a:p>
          <a:p>
            <a:pPr marL="228600" lvl="0" indent="-228600">
              <a:buFont typeface="+mj-lt"/>
              <a:buAutoNum type="alphaLcParenR"/>
            </a:pPr>
            <a:r>
              <a:rPr lang="en-US" sz="1200" kern="1200" dirty="0" err="1" smtClean="0">
                <a:solidFill>
                  <a:schemeClr val="tx1"/>
                </a:solidFill>
                <a:latin typeface="+mn-lt"/>
                <a:ea typeface="+mn-ea"/>
                <a:cs typeface="+mn-cs"/>
              </a:rPr>
              <a:t>Sekurang-kurangnya</a:t>
            </a:r>
            <a:r>
              <a:rPr lang="en-US" sz="1200" kern="1200" dirty="0" smtClean="0">
                <a:solidFill>
                  <a:schemeClr val="tx1"/>
                </a:solidFill>
                <a:latin typeface="+mn-lt"/>
                <a:ea typeface="+mn-ea"/>
                <a:cs typeface="+mn-cs"/>
              </a:rPr>
              <a:t> </a:t>
            </a:r>
            <a:r>
              <a:rPr lang="en-US" sz="1200" b="1" kern="1200" dirty="0" err="1" smtClean="0">
                <a:solidFill>
                  <a:schemeClr val="tx1"/>
                </a:solidFill>
                <a:latin typeface="+mn-lt"/>
                <a:ea typeface="+mn-ea"/>
                <a:cs typeface="+mn-cs"/>
              </a:rPr>
              <a:t>satu</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gred</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lebih</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tingg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aripada</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gawai</a:t>
            </a:r>
            <a:r>
              <a:rPr lang="en-US" sz="1200" kern="1200" dirty="0" smtClean="0">
                <a:solidFill>
                  <a:schemeClr val="tx1"/>
                </a:solidFill>
                <a:latin typeface="+mn-lt"/>
                <a:ea typeface="+mn-ea"/>
                <a:cs typeface="+mn-cs"/>
              </a:rPr>
              <a:t> yang </a:t>
            </a:r>
            <a:r>
              <a:rPr lang="en-US" sz="1200" kern="1200" dirty="0" err="1" smtClean="0">
                <a:solidFill>
                  <a:schemeClr val="tx1"/>
                </a:solidFill>
                <a:latin typeface="+mn-lt"/>
                <a:ea typeface="+mn-ea"/>
                <a:cs typeface="+mn-cs"/>
              </a:rPr>
              <a:t>dinilai</a:t>
            </a:r>
            <a:r>
              <a:rPr lang="en-US" sz="1200" kern="1200" dirty="0" smtClean="0">
                <a:solidFill>
                  <a:schemeClr val="tx1"/>
                </a:solidFill>
                <a:latin typeface="+mn-lt"/>
                <a:ea typeface="+mn-ea"/>
                <a:cs typeface="+mn-cs"/>
              </a:rPr>
              <a:t> </a:t>
            </a:r>
            <a:r>
              <a:rPr lang="en-US" sz="1200" b="1" kern="1200" dirty="0" err="1" smtClean="0">
                <a:solidFill>
                  <a:schemeClr val="tx1"/>
                </a:solidFill>
                <a:latin typeface="+mn-lt"/>
                <a:ea typeface="+mn-ea"/>
                <a:cs typeface="+mn-cs"/>
              </a:rPr>
              <a:t>atau</a:t>
            </a:r>
            <a:r>
              <a:rPr lang="en-US" sz="1200" b="1"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Ketua</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Organisas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nyelia</a:t>
            </a:r>
            <a:r>
              <a:rPr lang="en-US" sz="1200" kern="1200" dirty="0" smtClean="0">
                <a:solidFill>
                  <a:schemeClr val="tx1"/>
                </a:solidFill>
                <a:latin typeface="+mn-lt"/>
                <a:ea typeface="+mn-ea"/>
                <a:cs typeface="+mn-cs"/>
              </a:rPr>
              <a:t>;</a:t>
            </a:r>
          </a:p>
          <a:p>
            <a:pPr marL="228600" marR="0" lvl="0" indent="-228600" algn="l" defTabSz="914400" rtl="0" eaLnBrk="1" fontAlgn="auto" latinLnBrk="0" hangingPunct="1">
              <a:lnSpc>
                <a:spcPct val="100000"/>
              </a:lnSpc>
              <a:spcBef>
                <a:spcPts val="0"/>
              </a:spcBef>
              <a:spcAft>
                <a:spcPts val="0"/>
              </a:spcAft>
              <a:buClrTx/>
              <a:buSzTx/>
              <a:buFont typeface="+mj-lt"/>
              <a:buAutoNum type="alphaLcParenR"/>
              <a:tabLst/>
              <a:defRPr/>
            </a:pPr>
            <a:r>
              <a:rPr lang="en-US" dirty="0" smtClean="0">
                <a:latin typeface="Arial" pitchFamily="34" charset="0"/>
                <a:cs typeface="Arial" pitchFamily="34" charset="0"/>
              </a:rPr>
              <a:t>Se</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kiranya</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kriteria</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PP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i</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atas</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tidak</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apat</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ipenuhi</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maka</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PP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boleh</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ilantik</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mengikut</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kekananan</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lama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tempoh</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berkhidmat</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alam</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gred</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semasa</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itentukan</a:t>
            </a:r>
            <a:r>
              <a:rPr kumimoji="0" lang="en-US" b="0" i="0" u="none" strike="noStrike" kern="1200" cap="none" spc="0" normalizeH="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noProof="0" dirty="0" err="1" smtClean="0">
                <a:ln>
                  <a:noFill/>
                </a:ln>
                <a:solidFill>
                  <a:schemeClr val="tx1"/>
                </a:solidFill>
                <a:effectLst/>
                <a:uLnTx/>
                <a:uFillTx/>
                <a:latin typeface="Arial" pitchFamily="34" charset="0"/>
                <a:cs typeface="Arial" pitchFamily="34" charset="0"/>
              </a:rPr>
              <a:t>oleh</a:t>
            </a:r>
            <a:r>
              <a:rPr kumimoji="0" lang="en-US" b="0" i="0" u="none" strike="noStrike" kern="1200" cap="none" spc="0" normalizeH="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noProof="0" dirty="0" err="1" smtClean="0">
                <a:ln>
                  <a:noFill/>
                </a:ln>
                <a:solidFill>
                  <a:schemeClr val="tx1"/>
                </a:solidFill>
                <a:effectLst/>
                <a:uLnTx/>
                <a:uFillTx/>
                <a:latin typeface="Arial" pitchFamily="34" charset="0"/>
                <a:cs typeface="Arial" pitchFamily="34" charset="0"/>
              </a:rPr>
              <a:t>jawatankuasa</a:t>
            </a:r>
            <a:r>
              <a:rPr kumimoji="0" lang="en-US" b="0" i="0" u="none" strike="noStrike" kern="1200" cap="none" spc="0" normalizeH="0" noProof="0" dirty="0" smtClean="0">
                <a:ln>
                  <a:noFill/>
                </a:ln>
                <a:solidFill>
                  <a:schemeClr val="tx1"/>
                </a:solidFill>
                <a:effectLst/>
                <a:uLnTx/>
                <a:uFillTx/>
                <a:latin typeface="Arial" pitchFamily="34" charset="0"/>
                <a:cs typeface="Arial" pitchFamily="34" charset="0"/>
              </a:rPr>
              <a:t> PBPPP </a:t>
            </a:r>
            <a:r>
              <a:rPr kumimoji="0" lang="en-US" b="0" i="0" u="none" strike="noStrike" kern="1200" cap="none" spc="0" normalizeH="0" noProof="0" dirty="0" err="1" smtClean="0">
                <a:ln>
                  <a:noFill/>
                </a:ln>
                <a:solidFill>
                  <a:schemeClr val="tx1"/>
                </a:solidFill>
                <a:effectLst/>
                <a:uLnTx/>
                <a:uFillTx/>
                <a:latin typeface="Arial" pitchFamily="34" charset="0"/>
                <a:cs typeface="Arial" pitchFamily="34" charset="0"/>
              </a:rPr>
              <a:t>organisasi</a:t>
            </a:r>
            <a:r>
              <a:rPr kumimoji="0" lang="en-US" b="0" i="0" u="none" strike="noStrike" kern="1200" cap="none" spc="0" normalizeH="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p>
          <a:p>
            <a:pPr marL="228600" lvl="0" indent="-228600">
              <a:buFont typeface="+mj-lt"/>
              <a:buNone/>
            </a:pPr>
            <a:endParaRPr lang="en-US" sz="1200" kern="1200" dirty="0" smtClean="0">
              <a:solidFill>
                <a:schemeClr val="tx1"/>
              </a:solidFill>
              <a:latin typeface="+mn-lt"/>
              <a:ea typeface="+mn-ea"/>
              <a:cs typeface="+mn-cs"/>
            </a:endParaRPr>
          </a:p>
          <a:p>
            <a:pPr marL="228600" lvl="0" indent="-228600">
              <a:buFont typeface="+mj-lt"/>
              <a:buNone/>
            </a:pPr>
            <a:r>
              <a:rPr lang="en-US" sz="1200" b="1" u="sng" kern="1200" dirty="0" smtClean="0">
                <a:solidFill>
                  <a:schemeClr val="tx1"/>
                </a:solidFill>
                <a:latin typeface="+mn-lt"/>
                <a:ea typeface="+mn-ea"/>
                <a:cs typeface="+mn-cs"/>
              </a:rPr>
              <a:t>NOTA:</a:t>
            </a:r>
          </a:p>
          <a:p>
            <a:pPr marL="228600" lvl="0" indent="-228600">
              <a:buFont typeface="+mj-lt"/>
              <a:buNone/>
            </a:pPr>
            <a:r>
              <a:rPr lang="en-US" sz="1200" kern="1200" dirty="0" smtClean="0">
                <a:solidFill>
                  <a:schemeClr val="tx1"/>
                </a:solidFill>
                <a:latin typeface="+mn-lt"/>
                <a:ea typeface="+mn-ea"/>
                <a:cs typeface="+mn-cs"/>
              </a:rPr>
              <a:t>Sekolah yang</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mempunyai</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ramai</a:t>
            </a:r>
            <a:r>
              <a:rPr lang="en-US" sz="1200" kern="1200" baseline="0" dirty="0" smtClean="0">
                <a:solidFill>
                  <a:schemeClr val="tx1"/>
                </a:solidFill>
                <a:latin typeface="+mn-lt"/>
                <a:ea typeface="+mn-ea"/>
                <a:cs typeface="+mn-cs"/>
              </a:rPr>
              <a:t> PYD </a:t>
            </a:r>
            <a:r>
              <a:rPr lang="en-US" sz="1200" kern="1200" baseline="0" dirty="0" err="1" smtClean="0">
                <a:solidFill>
                  <a:schemeClr val="tx1"/>
                </a:solidFill>
                <a:latin typeface="+mn-lt"/>
                <a:ea typeface="+mn-ea"/>
                <a:cs typeface="+mn-cs"/>
              </a:rPr>
              <a:t>dan</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sekolah</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rendah</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Ketua</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Panitia</a:t>
            </a:r>
            <a:r>
              <a:rPr lang="en-US" sz="1200" kern="1200" baseline="0" dirty="0" smtClean="0">
                <a:solidFill>
                  <a:schemeClr val="tx1"/>
                </a:solidFill>
                <a:latin typeface="+mn-lt"/>
                <a:ea typeface="+mn-ea"/>
                <a:cs typeface="+mn-cs"/>
              </a:rPr>
              <a:t> </a:t>
            </a:r>
          </a:p>
          <a:p>
            <a:pPr marL="228600" lvl="0" indent="-228600">
              <a:buFont typeface="+mj-lt"/>
              <a:buNone/>
            </a:pPr>
            <a:r>
              <a:rPr lang="en-US" sz="1200" kern="1200" baseline="0" dirty="0" err="1" smtClean="0">
                <a:solidFill>
                  <a:schemeClr val="tx1"/>
                </a:solidFill>
                <a:latin typeface="+mn-lt"/>
                <a:ea typeface="+mn-ea"/>
                <a:cs typeface="+mn-cs"/>
              </a:rPr>
              <a:t>boleh</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dilantik</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sebagai</a:t>
            </a:r>
            <a:r>
              <a:rPr lang="en-US" sz="1200" kern="1200" baseline="0" dirty="0" smtClean="0">
                <a:solidFill>
                  <a:schemeClr val="tx1"/>
                </a:solidFill>
                <a:latin typeface="+mn-lt"/>
                <a:ea typeface="+mn-ea"/>
                <a:cs typeface="+mn-cs"/>
              </a:rPr>
              <a:t> PP </a:t>
            </a:r>
            <a:r>
              <a:rPr lang="en-US" sz="1200" kern="1200" baseline="0" dirty="0" err="1" smtClean="0">
                <a:solidFill>
                  <a:schemeClr val="tx1"/>
                </a:solidFill>
                <a:latin typeface="+mn-lt"/>
                <a:ea typeface="+mn-ea"/>
                <a:cs typeface="+mn-cs"/>
              </a:rPr>
              <a:t>mengikut</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kriteria</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penilai</a:t>
            </a:r>
            <a:endParaRPr lang="en-US" sz="1200" kern="1200" dirty="0" smtClean="0">
              <a:solidFill>
                <a:schemeClr val="tx1"/>
              </a:solidFill>
              <a:latin typeface="+mn-lt"/>
              <a:ea typeface="+mn-ea"/>
              <a:cs typeface="+mn-cs"/>
            </a:endParaRPr>
          </a:p>
          <a:p>
            <a:pPr marL="228600" lvl="0" indent="-228600">
              <a:buFont typeface="+mj-lt"/>
              <a:buNone/>
            </a:pPr>
            <a:endParaRPr lang="en-US" sz="1200" kern="1200" dirty="0" smtClean="0">
              <a:solidFill>
                <a:schemeClr val="tx1"/>
              </a:solidFill>
              <a:latin typeface="+mn-lt"/>
              <a:ea typeface="+mn-ea"/>
              <a:cs typeface="+mn-cs"/>
            </a:endParaRPr>
          </a:p>
          <a:p>
            <a:pPr marL="228600" lvl="0" indent="-228600">
              <a:buFont typeface="+mj-lt"/>
              <a:buNone/>
            </a:pPr>
            <a:endParaRPr lang="en-US" sz="1200" kern="1200" dirty="0" smtClean="0">
              <a:solidFill>
                <a:schemeClr val="tx1"/>
              </a:solidFill>
              <a:latin typeface="+mn-lt"/>
              <a:ea typeface="+mn-ea"/>
              <a:cs typeface="+mn-cs"/>
            </a:endParaRPr>
          </a:p>
          <a:p>
            <a:pPr marL="228600" lvl="0" indent="-228600">
              <a:buFont typeface="+mj-lt"/>
              <a:buNone/>
            </a:pPr>
            <a:endParaRPr lang="en-US" sz="1200" kern="1200" dirty="0" smtClean="0">
              <a:solidFill>
                <a:schemeClr val="tx1"/>
              </a:solidFill>
              <a:latin typeface="+mn-lt"/>
              <a:ea typeface="+mn-ea"/>
              <a:cs typeface="+mn-cs"/>
            </a:endParaRPr>
          </a:p>
          <a:p>
            <a:pPr marL="228600" lvl="0" indent="-22860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33</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228600" marR="0" indent="-228600" algn="l" defTabSz="914400" rtl="0" eaLnBrk="1" fontAlgn="auto" latinLnBrk="0" hangingPunct="1">
              <a:lnSpc>
                <a:spcPct val="100000"/>
              </a:lnSpc>
              <a:spcBef>
                <a:spcPct val="0"/>
              </a:spcBef>
              <a:spcAft>
                <a:spcPts val="0"/>
              </a:spcAft>
              <a:buClrTx/>
              <a:buSzTx/>
              <a:buFont typeface="+mj-lt"/>
              <a:buAutoNum type="arabicPeriod"/>
              <a:tabLst/>
              <a:defRPr/>
            </a:pPr>
            <a:r>
              <a:rPr lang="ms-MY" sz="1200" dirty="0" smtClean="0"/>
              <a:t>Tiada hubungan kekeluargaan terdekat melalui pertalian darah atau perkahwinan (suami, isteri, anak, adik beradik, anak saudara, mertua, menantu, ipar, sepupu atau biras) antara PP dan PYD.</a:t>
            </a:r>
          </a:p>
          <a:p>
            <a:pPr marL="228600" indent="-228600" eaLnBrk="1" hangingPunct="1">
              <a:spcBef>
                <a:spcPct val="0"/>
              </a:spcBef>
              <a:buFont typeface="+mj-lt"/>
              <a:buAutoNum type="arabicPeriod"/>
            </a:pPr>
            <a:endParaRPr lang="en-SG" dirty="0" smtClean="0"/>
          </a:p>
          <a:p>
            <a:pPr marL="228600" marR="0" indent="-228600" algn="l" defTabSz="914400" rtl="0" eaLnBrk="1" fontAlgn="auto" latinLnBrk="0" hangingPunct="1">
              <a:lnSpc>
                <a:spcPct val="100000"/>
              </a:lnSpc>
              <a:spcBef>
                <a:spcPct val="0"/>
              </a:spcBef>
              <a:spcAft>
                <a:spcPts val="0"/>
              </a:spcAft>
              <a:buClrTx/>
              <a:buSzTx/>
              <a:buFont typeface="+mj-lt"/>
              <a:buAutoNum type="arabicPeriod"/>
              <a:tabLst/>
              <a:defRPr/>
            </a:pPr>
            <a:r>
              <a:rPr lang="ms-MY" sz="1200" dirty="0" smtClean="0"/>
              <a:t>Sekiranya tiada sesiapa yang memenuhi perjawatan hakiki dalam mana-mana organisasi maka PP boleh dilantik berdasarkan satu gred lebih tinggi/ mengikut kekananan/ lama tempoh berkhidmat dalam gred semasa atau ditentukan oleh Jawatankuasa PBPPP Organisasi dengan syarat memenuhi kriteria PP. </a:t>
            </a:r>
          </a:p>
          <a:p>
            <a:pPr marL="228600" marR="0" indent="-228600" algn="l" defTabSz="914400" rtl="0" eaLnBrk="1" fontAlgn="auto" latinLnBrk="0" hangingPunct="1">
              <a:lnSpc>
                <a:spcPct val="100000"/>
              </a:lnSpc>
              <a:spcBef>
                <a:spcPct val="0"/>
              </a:spcBef>
              <a:spcAft>
                <a:spcPts val="0"/>
              </a:spcAft>
              <a:buClrTx/>
              <a:buSzTx/>
              <a:buFont typeface="+mj-lt"/>
              <a:buAutoNum type="arabicPeriod"/>
              <a:tabLst/>
              <a:defRPr/>
            </a:pPr>
            <a:endParaRPr lang="ms-MY" sz="1200" dirty="0" smtClean="0"/>
          </a:p>
          <a:p>
            <a:pPr marL="228600" marR="0" indent="-228600" algn="l" defTabSz="914400" rtl="0" eaLnBrk="1" fontAlgn="auto" latinLnBrk="0" hangingPunct="1">
              <a:lnSpc>
                <a:spcPct val="100000"/>
              </a:lnSpc>
              <a:spcBef>
                <a:spcPct val="0"/>
              </a:spcBef>
              <a:spcAft>
                <a:spcPts val="0"/>
              </a:spcAft>
              <a:buClrTx/>
              <a:buSzTx/>
              <a:buFont typeface="+mj-lt"/>
              <a:buAutoNum type="arabicPeriod"/>
              <a:tabLst/>
              <a:defRPr/>
            </a:pPr>
            <a:r>
              <a:rPr lang="ms-MY" sz="1200" dirty="0" smtClean="0"/>
              <a:t>Sekiranya perjawatan hakiki dalam mana-mana organisasi tidak mencukupi maka PP boleh dilantik berdasarkan satu gred lebih tinggi/ mengikut kekananan/ lama tempoh berkhidmat dalam gred semasa atau ditentukan oleh Jawatankuasa PBPPP Organisasi dengan syarat memenuhi kriteria PP.</a:t>
            </a:r>
            <a:endParaRPr lang="en-US" sz="1050" dirty="0" smtClean="0"/>
          </a:p>
          <a:p>
            <a:pPr marL="228600" marR="0" indent="-228600" algn="l" defTabSz="914400" rtl="0" eaLnBrk="1" fontAlgn="auto" latinLnBrk="0" hangingPunct="1">
              <a:lnSpc>
                <a:spcPct val="100000"/>
              </a:lnSpc>
              <a:spcBef>
                <a:spcPct val="0"/>
              </a:spcBef>
              <a:spcAft>
                <a:spcPts val="0"/>
              </a:spcAft>
              <a:buClrTx/>
              <a:buSzTx/>
              <a:buFont typeface="+mj-lt"/>
              <a:buAutoNum type="arabicPeriod"/>
              <a:tabLst/>
              <a:defRPr/>
            </a:pPr>
            <a:endParaRPr lang="ms-MY" sz="1200" dirty="0" smtClean="0"/>
          </a:p>
          <a:p>
            <a:pPr marL="228600" marR="0" indent="-228600" algn="l" defTabSz="914400" rtl="0" eaLnBrk="1" fontAlgn="auto" latinLnBrk="0" hangingPunct="1">
              <a:lnSpc>
                <a:spcPct val="100000"/>
              </a:lnSpc>
              <a:spcBef>
                <a:spcPct val="0"/>
              </a:spcBef>
              <a:spcAft>
                <a:spcPts val="0"/>
              </a:spcAft>
              <a:buClrTx/>
              <a:buSzTx/>
              <a:buFont typeface="+mj-lt"/>
              <a:buAutoNum type="arabicPeriod"/>
              <a:tabLst/>
              <a:defRPr/>
            </a:pPr>
            <a:r>
              <a:rPr lang="ms-MY" sz="1200" dirty="0" smtClean="0"/>
              <a:t>PYD yang diselia oleh lebih daripada seorang PP dalam tempoh masa yang berbeza-beza dan tidak ada pegawai kanan lain yang layak membuat penilaian, maka PP yang paling lama tempoh penyeliaannya atau lebih banyak tugas yang berkaitan dengannya boleh membuat penilaian tersebut.</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34</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dirty="0" smtClean="0"/>
              <a:t># BACA SLAID</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b="1" dirty="0" smtClean="0"/>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M </a:t>
            </a:r>
            <a:r>
              <a:rPr lang="en-US" dirty="0" err="1" smtClean="0"/>
              <a:t>menyarankan</a:t>
            </a:r>
            <a:r>
              <a:rPr lang="en-US" baseline="0" dirty="0" smtClean="0"/>
              <a:t> agar PTK </a:t>
            </a:r>
            <a:r>
              <a:rPr lang="en-US" baseline="0" dirty="0" err="1" smtClean="0"/>
              <a:t>digantikan</a:t>
            </a:r>
            <a:r>
              <a:rPr lang="en-US" baseline="0" dirty="0" smtClean="0"/>
              <a:t> </a:t>
            </a:r>
            <a:r>
              <a:rPr lang="en-US" baseline="0" dirty="0" err="1" smtClean="0"/>
              <a:t>dengan</a:t>
            </a:r>
            <a:r>
              <a:rPr lang="en-US" baseline="0" dirty="0" smtClean="0"/>
              <a:t> </a:t>
            </a:r>
            <a:r>
              <a:rPr lang="en-US" baseline="0" dirty="0" err="1" smtClean="0"/>
              <a:t>penilaian</a:t>
            </a:r>
            <a:r>
              <a:rPr lang="en-US" baseline="0" dirty="0" smtClean="0"/>
              <a:t> </a:t>
            </a:r>
            <a:r>
              <a:rPr lang="en-US" b="1" baseline="0" dirty="0" err="1" smtClean="0">
                <a:solidFill>
                  <a:srgbClr val="FFC000"/>
                </a:solidFill>
              </a:rPr>
              <a:t>baharu</a:t>
            </a:r>
            <a:r>
              <a:rPr lang="en-US" baseline="0" dirty="0" smtClean="0"/>
              <a:t> yang </a:t>
            </a:r>
            <a:r>
              <a:rPr lang="en-US" baseline="0" dirty="0" err="1" smtClean="0"/>
              <a:t>memfokuskan</a:t>
            </a:r>
            <a:r>
              <a:rPr lang="en-US" baseline="0" dirty="0" smtClean="0"/>
              <a:t> </a:t>
            </a:r>
            <a:r>
              <a:rPr lang="en-US" baseline="0" dirty="0" err="1" smtClean="0"/>
              <a:t>kepada</a:t>
            </a:r>
            <a:r>
              <a:rPr lang="en-US" baseline="0" dirty="0" smtClean="0"/>
              <a:t> </a:t>
            </a:r>
            <a:r>
              <a:rPr lang="en-US" baseline="0" dirty="0" err="1" smtClean="0"/>
              <a:t>pembangunan</a:t>
            </a:r>
            <a:r>
              <a:rPr lang="en-US" baseline="0" dirty="0" smtClean="0"/>
              <a:t> </a:t>
            </a:r>
            <a:r>
              <a:rPr lang="en-US" baseline="0" dirty="0" err="1" smtClean="0"/>
              <a:t>kompetensi</a:t>
            </a:r>
            <a:r>
              <a:rPr lang="en-US" baseline="0" dirty="0" smtClean="0"/>
              <a:t> </a:t>
            </a:r>
            <a:r>
              <a:rPr lang="en-US" baseline="0" dirty="0" err="1" smtClean="0"/>
              <a:t>dan</a:t>
            </a:r>
            <a:r>
              <a:rPr lang="en-US" baseline="0" dirty="0" smtClean="0"/>
              <a:t> </a:t>
            </a:r>
            <a:r>
              <a:rPr lang="en-US" baseline="0" dirty="0" err="1" smtClean="0"/>
              <a:t>potensi</a:t>
            </a:r>
            <a:r>
              <a:rPr lang="en-US" baseline="0" dirty="0" smtClean="0"/>
              <a:t> PPP.</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t>
            </a:r>
            <a:r>
              <a:rPr lang="en-US" baseline="0" dirty="0" smtClean="0"/>
              <a:t> </a:t>
            </a:r>
            <a:r>
              <a:rPr lang="en-US" dirty="0" err="1" smtClean="0"/>
              <a:t>Kompetensi</a:t>
            </a:r>
            <a:r>
              <a:rPr lang="en-US" dirty="0" smtClean="0"/>
              <a:t> </a:t>
            </a:r>
            <a:r>
              <a:rPr lang="en-US" dirty="0" err="1" smtClean="0"/>
              <a:t>adalah</a:t>
            </a:r>
            <a:r>
              <a:rPr lang="en-US" dirty="0" smtClean="0"/>
              <a:t> </a:t>
            </a:r>
            <a:r>
              <a:rPr lang="en-US" dirty="0" err="1" smtClean="0"/>
              <a:t>kemahiran</a:t>
            </a:r>
            <a:r>
              <a:rPr lang="en-US" dirty="0" smtClean="0"/>
              <a:t>,</a:t>
            </a:r>
            <a:r>
              <a:rPr lang="en-US" baseline="0" dirty="0" smtClean="0"/>
              <a:t> </a:t>
            </a:r>
            <a:r>
              <a:rPr lang="en-US" baseline="0" dirty="0" err="1" smtClean="0"/>
              <a:t>pengetahuan</a:t>
            </a:r>
            <a:r>
              <a:rPr lang="en-US" baseline="0" dirty="0" smtClean="0"/>
              <a:t> </a:t>
            </a:r>
            <a:r>
              <a:rPr lang="en-US" baseline="0" dirty="0" err="1" smtClean="0"/>
              <a:t>dan</a:t>
            </a:r>
            <a:r>
              <a:rPr lang="en-US" baseline="0" dirty="0" smtClean="0"/>
              <a:t> </a:t>
            </a:r>
            <a:r>
              <a:rPr lang="en-US" baseline="0" dirty="0" err="1" smtClean="0"/>
              <a:t>sikap</a:t>
            </a:r>
            <a:r>
              <a:rPr lang="en-US" baseline="0" dirty="0" smtClean="0"/>
              <a:t> yang </a:t>
            </a:r>
            <a:r>
              <a:rPr lang="en-US" baseline="0" dirty="0" err="1" smtClean="0"/>
              <a:t>boleh</a:t>
            </a:r>
            <a:r>
              <a:rPr lang="en-US" baseline="0" dirty="0" smtClean="0"/>
              <a:t> </a:t>
            </a:r>
            <a:r>
              <a:rPr lang="en-US" baseline="0" dirty="0" err="1" smtClean="0"/>
              <a:t>dinilai</a:t>
            </a:r>
            <a:r>
              <a:rPr lang="en-US" baseline="0" dirty="0" smtClean="0"/>
              <a:t> </a:t>
            </a:r>
            <a:r>
              <a:rPr lang="en-US" baseline="0" dirty="0" err="1" smtClean="0"/>
              <a:t>mengi</a:t>
            </a:r>
            <a:r>
              <a:rPr lang="en-US" dirty="0" err="1" smtClean="0"/>
              <a:t>kut</a:t>
            </a:r>
            <a:r>
              <a:rPr lang="en-US" dirty="0" smtClean="0"/>
              <a:t> </a:t>
            </a:r>
            <a:r>
              <a:rPr lang="en-US" dirty="0" err="1" smtClean="0"/>
              <a:t>ukuran</a:t>
            </a:r>
            <a:r>
              <a:rPr lang="en-US" dirty="0" smtClean="0"/>
              <a:t> </a:t>
            </a:r>
            <a:r>
              <a:rPr lang="en-US" dirty="0" err="1" smtClean="0"/>
              <a:t>pada</a:t>
            </a:r>
            <a:r>
              <a:rPr lang="en-US" dirty="0" smtClean="0"/>
              <a:t> </a:t>
            </a:r>
            <a:r>
              <a:rPr lang="en-US" dirty="0" err="1" smtClean="0"/>
              <a:t>tahap</a:t>
            </a:r>
            <a:r>
              <a:rPr lang="en-US" dirty="0" smtClean="0"/>
              <a:t> </a:t>
            </a:r>
            <a:r>
              <a:rPr lang="en-US" dirty="0" err="1" smtClean="0"/>
              <a:t>semasa</a:t>
            </a:r>
            <a:endParaRPr lang="en-US" dirty="0" smtClean="0"/>
          </a:p>
          <a:p>
            <a:endParaRPr lang="en-US" dirty="0" smtClean="0"/>
          </a:p>
          <a:p>
            <a:r>
              <a:rPr lang="en-US" dirty="0" smtClean="0"/>
              <a:t>- </a:t>
            </a:r>
            <a:r>
              <a:rPr lang="en-US" dirty="0" err="1" smtClean="0"/>
              <a:t>Potensi</a:t>
            </a:r>
            <a:r>
              <a:rPr lang="en-US" dirty="0" smtClean="0"/>
              <a:t> </a:t>
            </a:r>
            <a:r>
              <a:rPr lang="en-US" dirty="0" err="1" smtClean="0"/>
              <a:t>ialah</a:t>
            </a:r>
            <a:r>
              <a:rPr lang="en-US" dirty="0" smtClean="0"/>
              <a:t> </a:t>
            </a:r>
            <a:r>
              <a:rPr lang="en-US" dirty="0" err="1" smtClean="0"/>
              <a:t>kebolehan</a:t>
            </a:r>
            <a:r>
              <a:rPr lang="en-US" dirty="0" smtClean="0"/>
              <a:t>, </a:t>
            </a:r>
            <a:r>
              <a:rPr lang="en-US" dirty="0" err="1" smtClean="0"/>
              <a:t>kemampuan</a:t>
            </a:r>
            <a:r>
              <a:rPr lang="en-US" dirty="0" smtClean="0"/>
              <a:t> </a:t>
            </a:r>
            <a:r>
              <a:rPr lang="en-US" dirty="0" err="1" smtClean="0"/>
              <a:t>jangka</a:t>
            </a:r>
            <a:r>
              <a:rPr lang="en-US" dirty="0" smtClean="0"/>
              <a:t> </a:t>
            </a:r>
            <a:r>
              <a:rPr lang="en-US" dirty="0" err="1" smtClean="0"/>
              <a:t>masa</a:t>
            </a:r>
            <a:r>
              <a:rPr lang="en-US" dirty="0" smtClean="0"/>
              <a:t> </a:t>
            </a:r>
            <a:r>
              <a:rPr lang="en-US" dirty="0" err="1" smtClean="0"/>
              <a:t>depan</a:t>
            </a:r>
            <a:r>
              <a:rPr lang="en-US" dirty="0" smtClean="0"/>
              <a:t> yang </a:t>
            </a:r>
            <a:r>
              <a:rPr lang="en-US" dirty="0" err="1" smtClean="0"/>
              <a:t>boleh</a:t>
            </a:r>
            <a:r>
              <a:rPr lang="en-US" dirty="0" smtClean="0"/>
              <a:t> </a:t>
            </a:r>
            <a:r>
              <a:rPr lang="en-US" dirty="0" err="1" smtClean="0"/>
              <a:t>dibangunkan</a:t>
            </a:r>
            <a:r>
              <a:rPr lang="en-US" dirty="0" smtClean="0"/>
              <a:t> </a:t>
            </a:r>
            <a:r>
              <a:rPr lang="en-US" dirty="0" err="1" smtClean="0"/>
              <a:t>atau</a:t>
            </a:r>
            <a:r>
              <a:rPr lang="en-US" dirty="0" smtClean="0"/>
              <a:t> </a:t>
            </a:r>
            <a:r>
              <a:rPr lang="en-US" dirty="0" err="1" smtClean="0"/>
              <a:t>ditingkatkan</a:t>
            </a:r>
            <a:r>
              <a:rPr lang="en-US" dirty="0" smtClean="0"/>
              <a:t>.</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4</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en-US" b="1" dirty="0" smtClean="0"/>
              <a:t># BACA SLAID</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35</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altLang="en-US" b="1" dirty="0" smtClean="0"/>
              <a:t># BACA SLAID</a:t>
            </a:r>
          </a:p>
        </p:txBody>
      </p:sp>
      <p:sp>
        <p:nvSpPr>
          <p:cNvPr id="4" name="Slide Number Placeholder 3"/>
          <p:cNvSpPr>
            <a:spLocks noGrp="1"/>
          </p:cNvSpPr>
          <p:nvPr>
            <p:ph type="sldNum" sz="quarter" idx="10"/>
          </p:nvPr>
        </p:nvSpPr>
        <p:spPr/>
        <p:txBody>
          <a:bodyPr/>
          <a:lstStyle/>
          <a:p>
            <a:fld id="{9CC02DA8-D85C-7A4F-9033-42FA4FDEEA1C}" type="slidenum">
              <a:rPr lang="en-US" smtClean="0"/>
              <a:pPr/>
              <a:t>36</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en-US" b="1" dirty="0" smtClean="0"/>
              <a:t># BACA SLAID</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38</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smtClean="0"/>
              <a:t># BACA SLAID</a:t>
            </a:r>
            <a:endParaRPr lang="en-US" altLang="en-US" b="1" dirty="0" smtClean="0"/>
          </a:p>
        </p:txBody>
      </p:sp>
      <p:sp>
        <p:nvSpPr>
          <p:cNvPr id="4" name="Slide Number Placeholder 3"/>
          <p:cNvSpPr>
            <a:spLocks noGrp="1"/>
          </p:cNvSpPr>
          <p:nvPr>
            <p:ph type="sldNum" sz="quarter" idx="10"/>
          </p:nvPr>
        </p:nvSpPr>
        <p:spPr/>
        <p:txBody>
          <a:bodyPr/>
          <a:lstStyle/>
          <a:p>
            <a:fld id="{DB9DE2D2-8BF5-4E91-9538-C3871E373F05}" type="slidenum">
              <a:rPr lang="en-US" smtClean="0"/>
              <a:pPr/>
              <a:t>39</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smtClean="0"/>
              <a:t># BACA SLAID</a:t>
            </a:r>
            <a:endParaRPr lang="en-US" altLang="en-US" b="1" dirty="0" smtClean="0"/>
          </a:p>
        </p:txBody>
      </p:sp>
      <p:sp>
        <p:nvSpPr>
          <p:cNvPr id="4" name="Slide Number Placeholder 3"/>
          <p:cNvSpPr>
            <a:spLocks noGrp="1"/>
          </p:cNvSpPr>
          <p:nvPr>
            <p:ph type="sldNum" sz="quarter" idx="10"/>
          </p:nvPr>
        </p:nvSpPr>
        <p:spPr/>
        <p:txBody>
          <a:bodyPr/>
          <a:lstStyle/>
          <a:p>
            <a:fld id="{DB9DE2D2-8BF5-4E91-9538-C3871E373F05}" type="slidenum">
              <a:rPr lang="en-US" smtClean="0"/>
              <a:pPr/>
              <a:t>40</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smtClean="0"/>
              <a:t># BACA SLAID</a:t>
            </a:r>
            <a:endParaRPr lang="en-US" altLang="en-US" b="1" dirty="0" smtClean="0"/>
          </a:p>
        </p:txBody>
      </p:sp>
      <p:sp>
        <p:nvSpPr>
          <p:cNvPr id="4" name="Slide Number Placeholder 3"/>
          <p:cNvSpPr>
            <a:spLocks noGrp="1"/>
          </p:cNvSpPr>
          <p:nvPr>
            <p:ph type="sldNum" sz="quarter" idx="10"/>
          </p:nvPr>
        </p:nvSpPr>
        <p:spPr/>
        <p:txBody>
          <a:bodyPr/>
          <a:lstStyle/>
          <a:p>
            <a:fld id="{DB9DE2D2-8BF5-4E91-9538-C3871E373F05}" type="slidenum">
              <a:rPr lang="en-US" smtClean="0"/>
              <a:pPr/>
              <a:t>41</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dirty="0" smtClean="0"/>
              <a:t># BACA SLAID</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dirty="0" smtClean="0"/>
              <a:t>PP </a:t>
            </a:r>
            <a:r>
              <a:rPr lang="en-US" altLang="en-US" b="1" dirty="0" err="1" smtClean="0"/>
              <a:t>perlu</a:t>
            </a:r>
            <a:r>
              <a:rPr lang="en-US" altLang="en-US" b="1" dirty="0" smtClean="0"/>
              <a:t> </a:t>
            </a:r>
            <a:r>
              <a:rPr lang="en-US" altLang="en-US" b="1" dirty="0" err="1" smtClean="0"/>
              <a:t>menjaga</a:t>
            </a:r>
            <a:r>
              <a:rPr lang="en-US" altLang="en-US" b="1" baseline="0" dirty="0" smtClean="0"/>
              <a:t> </a:t>
            </a:r>
            <a:r>
              <a:rPr lang="en-US" altLang="en-US" b="1" baseline="0" dirty="0" err="1" smtClean="0"/>
              <a:t>kerahsiaan</a:t>
            </a:r>
            <a:r>
              <a:rPr lang="en-US" altLang="en-US" b="1" baseline="0" dirty="0" smtClean="0"/>
              <a:t> </a:t>
            </a:r>
            <a:r>
              <a:rPr lang="en-US" altLang="en-US" b="1" baseline="0" dirty="0" err="1" smtClean="0"/>
              <a:t>markah</a:t>
            </a:r>
            <a:r>
              <a:rPr lang="en-US" altLang="en-US" b="1" baseline="0" dirty="0" smtClean="0"/>
              <a:t> PYD</a:t>
            </a:r>
            <a:endParaRPr lang="en-US" altLang="en-US" b="1" dirty="0" smtClean="0"/>
          </a:p>
        </p:txBody>
      </p:sp>
      <p:sp>
        <p:nvSpPr>
          <p:cNvPr id="4" name="Slide Number Placeholder 3"/>
          <p:cNvSpPr>
            <a:spLocks noGrp="1"/>
          </p:cNvSpPr>
          <p:nvPr>
            <p:ph type="sldNum" sz="quarter" idx="10"/>
          </p:nvPr>
        </p:nvSpPr>
        <p:spPr/>
        <p:txBody>
          <a:bodyPr/>
          <a:lstStyle/>
          <a:p>
            <a:fld id="{DB9DE2D2-8BF5-4E91-9538-C3871E373F05}" type="slidenum">
              <a:rPr lang="en-US" smtClean="0"/>
              <a:pPr/>
              <a:t>42</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en-US" b="1" dirty="0" smtClean="0"/>
              <a:t># BACA SLAID</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43</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dirty="0" smtClean="0"/>
              <a:t># BACA SLAID</a:t>
            </a:r>
          </a:p>
        </p:txBody>
      </p:sp>
      <p:sp>
        <p:nvSpPr>
          <p:cNvPr id="4" name="Slide Number Placeholder 3"/>
          <p:cNvSpPr>
            <a:spLocks noGrp="1"/>
          </p:cNvSpPr>
          <p:nvPr>
            <p:ph type="sldNum" sz="quarter" idx="10"/>
          </p:nvPr>
        </p:nvSpPr>
        <p:spPr/>
        <p:txBody>
          <a:bodyPr/>
          <a:lstStyle/>
          <a:p>
            <a:fld id="{DB9DE2D2-8BF5-4E91-9538-C3871E373F05}" type="slidenum">
              <a:rPr lang="en-US" smtClean="0"/>
              <a:pPr/>
              <a:t>47</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dirty="0" smtClean="0"/>
              <a:t># BACA SLAID</a:t>
            </a:r>
          </a:p>
          <a:p>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48</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ct val="0"/>
              </a:spcBef>
              <a:spcAft>
                <a:spcPts val="0"/>
              </a:spcAft>
              <a:buClrTx/>
              <a:buSzTx/>
              <a:buFont typeface="Wingdings" pitchFamily="2" charset="2"/>
              <a:buNone/>
              <a:tabLst/>
              <a:defRPr/>
            </a:pPr>
            <a:r>
              <a:rPr lang="en-US" altLang="en-US" dirty="0" err="1" smtClean="0">
                <a:solidFill>
                  <a:srgbClr val="FF0000"/>
                </a:solidFill>
              </a:rPr>
              <a:t>Antara</a:t>
            </a:r>
            <a:r>
              <a:rPr lang="en-US" altLang="en-US" baseline="0" dirty="0" smtClean="0">
                <a:solidFill>
                  <a:srgbClr val="FF0000"/>
                </a:solidFill>
              </a:rPr>
              <a:t> </a:t>
            </a:r>
            <a:r>
              <a:rPr lang="en-US" altLang="en-US" baseline="0" dirty="0" err="1" smtClean="0">
                <a:solidFill>
                  <a:srgbClr val="FF0000"/>
                </a:solidFill>
              </a:rPr>
              <a:t>punca</a:t>
            </a:r>
            <a:r>
              <a:rPr lang="en-US" altLang="en-US" baseline="0" dirty="0" smtClean="0">
                <a:solidFill>
                  <a:srgbClr val="FF0000"/>
                </a:solidFill>
              </a:rPr>
              <a:t> </a:t>
            </a:r>
            <a:r>
              <a:rPr lang="en-US" altLang="en-US" baseline="0" dirty="0" err="1" smtClean="0">
                <a:solidFill>
                  <a:srgbClr val="FF0000"/>
                </a:solidFill>
              </a:rPr>
              <a:t>kuasa</a:t>
            </a:r>
            <a:r>
              <a:rPr lang="en-US" altLang="en-US" baseline="0" dirty="0" smtClean="0">
                <a:solidFill>
                  <a:srgbClr val="FF0000"/>
                </a:solidFill>
              </a:rPr>
              <a:t> </a:t>
            </a:r>
            <a:r>
              <a:rPr lang="en-US" altLang="en-US" b="0" baseline="0" dirty="0" err="1" smtClean="0">
                <a:solidFill>
                  <a:srgbClr val="FF0000"/>
                </a:solidFill>
              </a:rPr>
              <a:t>pelaksanaan</a:t>
            </a:r>
            <a:r>
              <a:rPr lang="en-US" altLang="en-US" baseline="0" dirty="0" smtClean="0">
                <a:solidFill>
                  <a:srgbClr val="FF0000"/>
                </a:solidFill>
              </a:rPr>
              <a:t>  PBPPP </a:t>
            </a:r>
            <a:r>
              <a:rPr lang="en-US" altLang="en-US" baseline="0" dirty="0" err="1" smtClean="0">
                <a:solidFill>
                  <a:srgbClr val="FF0000"/>
                </a:solidFill>
              </a:rPr>
              <a:t>ini</a:t>
            </a:r>
            <a:r>
              <a:rPr lang="en-US" altLang="en-US" baseline="0" dirty="0" smtClean="0">
                <a:solidFill>
                  <a:srgbClr val="FF0000"/>
                </a:solidFill>
              </a:rPr>
              <a:t> </a:t>
            </a:r>
            <a:r>
              <a:rPr lang="en-US" altLang="en-US" baseline="0" dirty="0" err="1" smtClean="0">
                <a:solidFill>
                  <a:srgbClr val="FF0000"/>
                </a:solidFill>
              </a:rPr>
              <a:t>adalah</a:t>
            </a:r>
            <a:endParaRPr lang="en-US" altLang="en-US" baseline="0" dirty="0" smtClean="0">
              <a:solidFill>
                <a:srgbClr val="FF0000"/>
              </a:solidFill>
            </a:endParaRPr>
          </a:p>
          <a:p>
            <a:pPr>
              <a:spcBef>
                <a:spcPct val="0"/>
              </a:spcBef>
              <a:buFont typeface="Wingdings" pitchFamily="2" charset="2"/>
              <a:buNone/>
            </a:pPr>
            <a:endParaRPr lang="en-US" altLang="en-US" dirty="0" smtClean="0"/>
          </a:p>
          <a:p>
            <a:pPr>
              <a:spcBef>
                <a:spcPct val="0"/>
              </a:spcBef>
              <a:buFont typeface="Wingdings" pitchFamily="2" charset="2"/>
              <a:buChar char="Ø"/>
            </a:pPr>
            <a:r>
              <a:rPr lang="en-US" altLang="en-US" dirty="0" err="1" smtClean="0"/>
              <a:t>Berdasarkan</a:t>
            </a:r>
            <a:r>
              <a:rPr lang="en-US" altLang="en-US" dirty="0" smtClean="0"/>
              <a:t> </a:t>
            </a:r>
            <a:r>
              <a:rPr lang="en-US" altLang="en-US" dirty="0" err="1" smtClean="0"/>
              <a:t>keputusan</a:t>
            </a:r>
            <a:r>
              <a:rPr lang="en-US" altLang="en-US" dirty="0" smtClean="0"/>
              <a:t> </a:t>
            </a:r>
            <a:r>
              <a:rPr lang="en-US" altLang="en-US" dirty="0" err="1" smtClean="0"/>
              <a:t>Mesyuarat</a:t>
            </a:r>
            <a:r>
              <a:rPr lang="en-US" altLang="en-US" dirty="0" smtClean="0"/>
              <a:t> </a:t>
            </a:r>
            <a:r>
              <a:rPr lang="en-US" altLang="en-US" dirty="0" err="1" smtClean="0"/>
              <a:t>Pra</a:t>
            </a:r>
            <a:r>
              <a:rPr lang="en-US" altLang="en-US" dirty="0" smtClean="0"/>
              <a:t> DTF </a:t>
            </a:r>
            <a:r>
              <a:rPr lang="en-US" altLang="en-US" dirty="0" err="1" smtClean="0"/>
              <a:t>pada</a:t>
            </a:r>
            <a:r>
              <a:rPr lang="en-US" altLang="en-US" dirty="0" smtClean="0"/>
              <a:t> 18 September 2013, </a:t>
            </a:r>
            <a:r>
              <a:rPr lang="en-US" altLang="en-US" dirty="0" err="1" smtClean="0"/>
              <a:t>Ketua</a:t>
            </a:r>
            <a:r>
              <a:rPr lang="en-US" altLang="en-US" dirty="0" smtClean="0"/>
              <a:t> </a:t>
            </a:r>
            <a:r>
              <a:rPr lang="en-US" altLang="en-US" dirty="0" err="1" smtClean="0"/>
              <a:t>Pengarah</a:t>
            </a:r>
            <a:r>
              <a:rPr lang="en-US" altLang="en-US" dirty="0" smtClean="0"/>
              <a:t> </a:t>
            </a:r>
            <a:r>
              <a:rPr lang="en-US" altLang="en-US" dirty="0" err="1" smtClean="0"/>
              <a:t>Perkhidmatan</a:t>
            </a:r>
            <a:r>
              <a:rPr lang="en-US" altLang="en-US" dirty="0" smtClean="0"/>
              <a:t> </a:t>
            </a:r>
            <a:r>
              <a:rPr lang="en-US" altLang="en-US" dirty="0" err="1" smtClean="0"/>
              <a:t>Awam</a:t>
            </a:r>
            <a:r>
              <a:rPr lang="en-US" altLang="en-US" dirty="0" smtClean="0"/>
              <a:t> (KPPA) </a:t>
            </a:r>
            <a:r>
              <a:rPr lang="en-US" altLang="en-US" dirty="0" err="1" smtClean="0"/>
              <a:t>telah</a:t>
            </a:r>
            <a:r>
              <a:rPr lang="en-US" altLang="en-US" dirty="0" smtClean="0"/>
              <a:t> </a:t>
            </a:r>
            <a:r>
              <a:rPr lang="en-US" altLang="en-US" dirty="0" err="1" smtClean="0"/>
              <a:t>bersetuju</a:t>
            </a:r>
            <a:r>
              <a:rPr lang="en-US" altLang="en-US" dirty="0" smtClean="0"/>
              <a:t> </a:t>
            </a:r>
            <a:r>
              <a:rPr lang="en-US" altLang="en-US" dirty="0" err="1" smtClean="0"/>
              <a:t>bahawa</a:t>
            </a:r>
            <a:r>
              <a:rPr lang="en-US" altLang="en-US" dirty="0" smtClean="0"/>
              <a:t> PBPPP </a:t>
            </a:r>
            <a:r>
              <a:rPr lang="en-US" altLang="en-US" dirty="0" err="1" smtClean="0"/>
              <a:t>kumpulan</a:t>
            </a:r>
            <a:r>
              <a:rPr lang="en-US" altLang="en-US" dirty="0" smtClean="0"/>
              <a:t> </a:t>
            </a:r>
            <a:r>
              <a:rPr lang="en-US" altLang="en-US" dirty="0" err="1" smtClean="0"/>
              <a:t>pegawai</a:t>
            </a:r>
            <a:r>
              <a:rPr lang="en-US" altLang="en-US" dirty="0" smtClean="0"/>
              <a:t> </a:t>
            </a:r>
            <a:r>
              <a:rPr lang="en-US" altLang="en-US" dirty="0" err="1" smtClean="0"/>
              <a:t>perkhidmatan</a:t>
            </a:r>
            <a:r>
              <a:rPr lang="en-US" altLang="en-US" dirty="0" smtClean="0"/>
              <a:t> </a:t>
            </a:r>
            <a:r>
              <a:rPr lang="en-US" altLang="en-US" dirty="0" err="1" smtClean="0"/>
              <a:t>pendidikan</a:t>
            </a:r>
            <a:r>
              <a:rPr lang="en-US" altLang="en-US" dirty="0" smtClean="0"/>
              <a:t> (PPP) </a:t>
            </a:r>
            <a:r>
              <a:rPr lang="en-US" altLang="en-US" dirty="0" err="1" smtClean="0"/>
              <a:t>akan</a:t>
            </a:r>
            <a:r>
              <a:rPr lang="en-US" altLang="en-US" dirty="0" smtClean="0"/>
              <a:t> </a:t>
            </a:r>
            <a:r>
              <a:rPr lang="en-US" altLang="en-US" dirty="0" err="1" smtClean="0"/>
              <a:t>dilaksanakan</a:t>
            </a:r>
            <a:r>
              <a:rPr lang="en-US" altLang="en-US" dirty="0" smtClean="0"/>
              <a:t> </a:t>
            </a:r>
            <a:r>
              <a:rPr lang="en-US" altLang="en-US" dirty="0" err="1" smtClean="0"/>
              <a:t>sepenuhnya</a:t>
            </a:r>
            <a:r>
              <a:rPr lang="en-US" altLang="en-US" dirty="0" smtClean="0"/>
              <a:t> </a:t>
            </a:r>
            <a:r>
              <a:rPr lang="en-US" altLang="en-US" dirty="0" err="1" smtClean="0"/>
              <a:t>bermula</a:t>
            </a:r>
            <a:r>
              <a:rPr lang="en-US" altLang="en-US" dirty="0" smtClean="0"/>
              <a:t> </a:t>
            </a:r>
            <a:r>
              <a:rPr lang="en-US" altLang="en-US" dirty="0" err="1" smtClean="0"/>
              <a:t>tahun</a:t>
            </a:r>
            <a:r>
              <a:rPr lang="en-US" altLang="en-US" dirty="0" smtClean="0"/>
              <a:t> 2015</a:t>
            </a:r>
          </a:p>
          <a:p>
            <a:pPr>
              <a:spcBef>
                <a:spcPct val="0"/>
              </a:spcBef>
              <a:buFont typeface="Wingdings" pitchFamily="2" charset="2"/>
              <a:buChar char="Ø"/>
            </a:pPr>
            <a:endParaRPr lang="en-US" altLang="en-US" dirty="0" smtClean="0"/>
          </a:p>
          <a:p>
            <a:pPr>
              <a:spcBef>
                <a:spcPct val="0"/>
              </a:spcBef>
              <a:buFont typeface="Wingdings" pitchFamily="2" charset="2"/>
              <a:buChar char="Ø"/>
            </a:pPr>
            <a:r>
              <a:rPr lang="en-US" altLang="en-US" dirty="0" err="1" smtClean="0"/>
              <a:t>Keputusan</a:t>
            </a:r>
            <a:r>
              <a:rPr lang="en-US" altLang="en-US" dirty="0" smtClean="0"/>
              <a:t> </a:t>
            </a:r>
            <a:r>
              <a:rPr lang="en-US" altLang="en-US" dirty="0" err="1" smtClean="0"/>
              <a:t>ini</a:t>
            </a:r>
            <a:r>
              <a:rPr lang="en-US" altLang="en-US" dirty="0" smtClean="0"/>
              <a:t> </a:t>
            </a:r>
            <a:r>
              <a:rPr lang="en-US" altLang="en-US" dirty="0" err="1" smtClean="0"/>
              <a:t>juga</a:t>
            </a:r>
            <a:r>
              <a:rPr lang="en-US" altLang="en-US" dirty="0" smtClean="0"/>
              <a:t> </a:t>
            </a:r>
            <a:r>
              <a:rPr lang="en-US" altLang="en-US" dirty="0" err="1" smtClean="0"/>
              <a:t>telah</a:t>
            </a:r>
            <a:r>
              <a:rPr lang="en-US" altLang="en-US" dirty="0" smtClean="0"/>
              <a:t> </a:t>
            </a:r>
            <a:r>
              <a:rPr lang="en-US" altLang="en-US" dirty="0" err="1" smtClean="0"/>
              <a:t>dibawa</a:t>
            </a:r>
            <a:r>
              <a:rPr lang="en-US" altLang="en-US" dirty="0" smtClean="0"/>
              <a:t> </a:t>
            </a:r>
            <a:r>
              <a:rPr lang="en-US" altLang="en-US" dirty="0" err="1" smtClean="0"/>
              <a:t>dalam</a:t>
            </a:r>
            <a:r>
              <a:rPr lang="en-US" altLang="en-US" dirty="0" smtClean="0"/>
              <a:t> </a:t>
            </a:r>
            <a:r>
              <a:rPr lang="en-US" altLang="en-US" dirty="0" err="1" smtClean="0"/>
              <a:t>Mesyuarat</a:t>
            </a:r>
            <a:r>
              <a:rPr lang="en-US" altLang="en-US" dirty="0" smtClean="0"/>
              <a:t> DTF </a:t>
            </a:r>
            <a:r>
              <a:rPr lang="en-US" altLang="en-US" dirty="0" err="1" smtClean="0"/>
              <a:t>pada</a:t>
            </a:r>
            <a:r>
              <a:rPr lang="en-US" altLang="en-US" dirty="0" smtClean="0"/>
              <a:t> 19 September 2013 yang </a:t>
            </a:r>
            <a:r>
              <a:rPr lang="en-US" altLang="en-US" dirty="0" err="1" smtClean="0"/>
              <a:t>dipengerusikan</a:t>
            </a:r>
            <a:r>
              <a:rPr lang="en-US" altLang="en-US" dirty="0" smtClean="0"/>
              <a:t> </a:t>
            </a:r>
            <a:r>
              <a:rPr lang="en-US" altLang="en-US" dirty="0" err="1" smtClean="0"/>
              <a:t>oleh</a:t>
            </a:r>
            <a:r>
              <a:rPr lang="en-US" altLang="en-US" dirty="0" smtClean="0"/>
              <a:t> YAB Tan Sri </a:t>
            </a:r>
            <a:r>
              <a:rPr lang="en-US" altLang="en-US" dirty="0" err="1" smtClean="0"/>
              <a:t>Dato</a:t>
            </a:r>
            <a:r>
              <a:rPr lang="en-US" altLang="en-US" dirty="0" smtClean="0"/>
              <a:t>' </a:t>
            </a:r>
            <a:r>
              <a:rPr lang="en-US" altLang="en-US" dirty="0" err="1" smtClean="0"/>
              <a:t>Hj</a:t>
            </a:r>
            <a:r>
              <a:rPr lang="en-US" altLang="en-US" dirty="0" smtClean="0"/>
              <a:t> </a:t>
            </a:r>
            <a:r>
              <a:rPr lang="en-US" altLang="en-US" dirty="0" err="1" smtClean="0"/>
              <a:t>Muhyiddin</a:t>
            </a:r>
            <a:r>
              <a:rPr lang="en-US" altLang="en-US" dirty="0" smtClean="0"/>
              <a:t> B. </a:t>
            </a:r>
            <a:r>
              <a:rPr lang="en-US" altLang="en-US" dirty="0" err="1" smtClean="0"/>
              <a:t>Hj</a:t>
            </a:r>
            <a:r>
              <a:rPr lang="en-US" altLang="en-US" dirty="0" smtClean="0"/>
              <a:t> Mohd </a:t>
            </a:r>
            <a:r>
              <a:rPr lang="en-US" altLang="en-US" dirty="0" err="1" smtClean="0"/>
              <a:t>Yassin</a:t>
            </a:r>
            <a:r>
              <a:rPr lang="en-US" altLang="en-US" dirty="0" smtClean="0"/>
              <a:t>, </a:t>
            </a:r>
            <a:r>
              <a:rPr lang="en-US" altLang="en-US" dirty="0" err="1" smtClean="0"/>
              <a:t>Timbalan</a:t>
            </a:r>
            <a:r>
              <a:rPr lang="en-US" altLang="en-US" dirty="0" smtClean="0"/>
              <a:t> </a:t>
            </a:r>
            <a:r>
              <a:rPr lang="en-US" altLang="en-US" dirty="0" err="1" smtClean="0"/>
              <a:t>Perdana</a:t>
            </a:r>
            <a:r>
              <a:rPr lang="en-US" altLang="en-US" dirty="0" smtClean="0"/>
              <a:t> </a:t>
            </a:r>
            <a:r>
              <a:rPr lang="en-US" altLang="en-US" dirty="0" err="1" smtClean="0"/>
              <a:t>Menteri</a:t>
            </a:r>
            <a:r>
              <a:rPr lang="en-US" altLang="en-US" dirty="0" smtClean="0"/>
              <a:t> </a:t>
            </a:r>
            <a:r>
              <a:rPr lang="en-US" altLang="en-US" dirty="0" err="1" smtClean="0"/>
              <a:t>merangkap</a:t>
            </a:r>
            <a:r>
              <a:rPr lang="en-US" altLang="en-US" dirty="0" smtClean="0"/>
              <a:t> </a:t>
            </a:r>
            <a:r>
              <a:rPr lang="en-US" altLang="en-US" dirty="0" err="1" smtClean="0"/>
              <a:t>Menteri</a:t>
            </a:r>
            <a:r>
              <a:rPr lang="en-US" altLang="en-US" dirty="0" smtClean="0"/>
              <a:t> </a:t>
            </a:r>
            <a:r>
              <a:rPr lang="en-US" altLang="en-US" dirty="0" err="1" smtClean="0"/>
              <a:t>Pendidikan</a:t>
            </a:r>
            <a:r>
              <a:rPr lang="en-US" altLang="en-US" dirty="0" smtClean="0"/>
              <a:t> Malaysia </a:t>
            </a:r>
            <a:r>
              <a:rPr lang="en-US" altLang="en-US" dirty="0" err="1" smtClean="0"/>
              <a:t>telah</a:t>
            </a:r>
            <a:r>
              <a:rPr lang="en-US" altLang="en-US" dirty="0" smtClean="0"/>
              <a:t> </a:t>
            </a:r>
            <a:r>
              <a:rPr lang="en-US" altLang="en-US" b="1" dirty="0" err="1" smtClean="0"/>
              <a:t>bersetuju</a:t>
            </a:r>
            <a:r>
              <a:rPr lang="en-US" altLang="en-US" dirty="0" smtClean="0"/>
              <a:t> </a:t>
            </a:r>
            <a:r>
              <a:rPr lang="en-US" altLang="en-US" dirty="0" err="1" smtClean="0"/>
              <a:t>dengan</a:t>
            </a:r>
            <a:r>
              <a:rPr lang="en-US" altLang="en-US" dirty="0" smtClean="0"/>
              <a:t> </a:t>
            </a:r>
            <a:r>
              <a:rPr lang="en-US" altLang="en-US" dirty="0" err="1" smtClean="0"/>
              <a:t>keputusan</a:t>
            </a:r>
            <a:r>
              <a:rPr lang="en-US" altLang="en-US" dirty="0" smtClean="0"/>
              <a:t> </a:t>
            </a:r>
            <a:r>
              <a:rPr lang="en-US" altLang="en-US" dirty="0" err="1" smtClean="0"/>
              <a:t>berkenaan</a:t>
            </a:r>
            <a:r>
              <a:rPr lang="en-US" altLang="en-US" dirty="0" smtClean="0"/>
              <a:t>.</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5</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400" b="1" dirty="0" err="1" smtClean="0">
                <a:solidFill>
                  <a:srgbClr val="FF0000"/>
                </a:solidFill>
              </a:rPr>
              <a:t>Dimensi</a:t>
            </a:r>
            <a:r>
              <a:rPr lang="en-US" sz="1200" b="1" dirty="0" smtClean="0"/>
              <a:t> </a:t>
            </a:r>
            <a:r>
              <a:rPr lang="en-US" sz="1200" dirty="0" err="1" smtClean="0"/>
              <a:t>merupakan</a:t>
            </a:r>
            <a:r>
              <a:rPr lang="en-US" sz="1200" dirty="0" smtClean="0"/>
              <a:t> </a:t>
            </a:r>
            <a:r>
              <a:rPr lang="en-US" sz="1200" dirty="0" err="1" smtClean="0"/>
              <a:t>perkara</a:t>
            </a:r>
            <a:r>
              <a:rPr lang="en-US" sz="1200" dirty="0" smtClean="0"/>
              <a:t> </a:t>
            </a:r>
            <a:r>
              <a:rPr lang="en-US" sz="1200" dirty="0" err="1" smtClean="0"/>
              <a:t>pokok</a:t>
            </a:r>
            <a:r>
              <a:rPr lang="en-US" sz="1200" dirty="0" smtClean="0"/>
              <a:t> </a:t>
            </a:r>
            <a:r>
              <a:rPr lang="en-US" sz="1200" dirty="0" err="1" smtClean="0"/>
              <a:t>atau</a:t>
            </a:r>
            <a:r>
              <a:rPr lang="en-US" sz="1200" dirty="0" smtClean="0"/>
              <a:t> </a:t>
            </a:r>
            <a:r>
              <a:rPr lang="en-US" sz="1200" dirty="0" err="1" smtClean="0"/>
              <a:t>bidang</a:t>
            </a:r>
            <a:r>
              <a:rPr lang="en-US" sz="1200" dirty="0" smtClean="0"/>
              <a:t> </a:t>
            </a:r>
            <a:r>
              <a:rPr lang="en-US" sz="1200" dirty="0" err="1" smtClean="0"/>
              <a:t>utama</a:t>
            </a:r>
            <a:r>
              <a:rPr lang="en-US" sz="1200" dirty="0" smtClean="0"/>
              <a:t> </a:t>
            </a:r>
            <a:r>
              <a:rPr lang="en-US" sz="1200" dirty="0" err="1" smtClean="0"/>
              <a:t>pekerjaan</a:t>
            </a:r>
            <a:r>
              <a:rPr lang="en-US" sz="1200" dirty="0" smtClean="0"/>
              <a:t> yang </a:t>
            </a:r>
            <a:r>
              <a:rPr lang="en-US" sz="1200" dirty="0" err="1" smtClean="0"/>
              <a:t>hendak</a:t>
            </a:r>
            <a:r>
              <a:rPr lang="en-US" sz="1200" dirty="0" smtClean="0"/>
              <a:t> </a:t>
            </a:r>
            <a:r>
              <a:rPr lang="en-US" sz="1200" dirty="0" err="1" smtClean="0"/>
              <a:t>dinilai</a:t>
            </a:r>
            <a:r>
              <a:rPr lang="en-US" sz="1200" dirty="0" smtClean="0"/>
              <a:t> </a:t>
            </a:r>
            <a:r>
              <a:rPr lang="en-US" sz="1200" dirty="0" err="1" smtClean="0"/>
              <a:t>dan</a:t>
            </a:r>
            <a:r>
              <a:rPr lang="en-US" sz="1200" dirty="0" smtClean="0"/>
              <a:t> </a:t>
            </a:r>
            <a:r>
              <a:rPr lang="en-US" sz="1200" dirty="0" err="1" smtClean="0"/>
              <a:t>boleh</a:t>
            </a:r>
            <a:r>
              <a:rPr lang="en-US" sz="1200" dirty="0" smtClean="0"/>
              <a:t> </a:t>
            </a:r>
            <a:r>
              <a:rPr lang="en-US" sz="1200" dirty="0" err="1" smtClean="0"/>
              <a:t>diukur</a:t>
            </a:r>
            <a:r>
              <a:rPr lang="en-US" sz="1200" dirty="0" smtClean="0"/>
              <a:t>. </a:t>
            </a:r>
            <a:r>
              <a:rPr lang="en-US" sz="1200" dirty="0" err="1" smtClean="0"/>
              <a:t>Dimensi</a:t>
            </a:r>
            <a:r>
              <a:rPr lang="en-US" sz="1200" dirty="0" smtClean="0"/>
              <a:t> </a:t>
            </a:r>
            <a:r>
              <a:rPr lang="en-US" sz="1200" dirty="0" err="1" smtClean="0"/>
              <a:t>menggambarkan</a:t>
            </a:r>
            <a:r>
              <a:rPr lang="en-US" sz="1200" dirty="0" smtClean="0"/>
              <a:t> </a:t>
            </a:r>
            <a:r>
              <a:rPr lang="en-US" sz="1200" dirty="0" err="1" smtClean="0"/>
              <a:t>konstruk</a:t>
            </a:r>
            <a:r>
              <a:rPr lang="en-US" sz="1200" dirty="0" smtClean="0"/>
              <a:t> yang </a:t>
            </a:r>
            <a:r>
              <a:rPr lang="en-US" sz="1200" dirty="0" err="1" smtClean="0"/>
              <a:t>hendak</a:t>
            </a:r>
            <a:r>
              <a:rPr lang="en-US" sz="1200" dirty="0" smtClean="0"/>
              <a:t> </a:t>
            </a:r>
            <a:r>
              <a:rPr lang="en-US" sz="1200" dirty="0" err="1" smtClean="0"/>
              <a:t>dinilai</a:t>
            </a:r>
            <a:r>
              <a:rPr lang="en-US" sz="1200" dirty="0" smtClean="0"/>
              <a:t>.</a:t>
            </a:r>
          </a:p>
          <a:p>
            <a:endParaRPr lang="en-US" sz="1200" dirty="0" smtClean="0"/>
          </a:p>
          <a:p>
            <a:r>
              <a:rPr lang="en-US" sz="1200" b="1" dirty="0" err="1" smtClean="0">
                <a:solidFill>
                  <a:srgbClr val="FF0000"/>
                </a:solidFill>
              </a:rPr>
              <a:t>Elemen</a:t>
            </a:r>
            <a:r>
              <a:rPr lang="en-US" sz="1200" dirty="0" smtClean="0"/>
              <a:t> </a:t>
            </a:r>
            <a:r>
              <a:rPr lang="en-US" sz="1200" dirty="0" err="1" smtClean="0"/>
              <a:t>ialah</a:t>
            </a:r>
            <a:r>
              <a:rPr lang="en-US" sz="1200" dirty="0" smtClean="0"/>
              <a:t> </a:t>
            </a:r>
            <a:r>
              <a:rPr lang="en-US" sz="1200" dirty="0" err="1" smtClean="0"/>
              <a:t>bahagian-bahagian</a:t>
            </a:r>
            <a:r>
              <a:rPr lang="en-US" sz="1200" dirty="0" smtClean="0"/>
              <a:t> </a:t>
            </a:r>
            <a:r>
              <a:rPr lang="en-US" sz="1200" dirty="0" err="1" smtClean="0"/>
              <a:t>bidang</a:t>
            </a:r>
            <a:r>
              <a:rPr lang="en-US" sz="1200" dirty="0" smtClean="0"/>
              <a:t> </a:t>
            </a:r>
            <a:r>
              <a:rPr lang="en-US" sz="1200" dirty="0" err="1" smtClean="0"/>
              <a:t>utama</a:t>
            </a:r>
            <a:r>
              <a:rPr lang="en-US" sz="1200" dirty="0" smtClean="0"/>
              <a:t> </a:t>
            </a:r>
            <a:r>
              <a:rPr lang="en-US" sz="1200" dirty="0" err="1" smtClean="0"/>
              <a:t>pekerjaan</a:t>
            </a:r>
            <a:r>
              <a:rPr lang="en-US" sz="1200" dirty="0" smtClean="0"/>
              <a:t> yang </a:t>
            </a:r>
            <a:r>
              <a:rPr lang="en-US" sz="1200" dirty="0" err="1" smtClean="0"/>
              <a:t>hendak</a:t>
            </a:r>
            <a:r>
              <a:rPr lang="en-US" sz="1200" dirty="0" smtClean="0"/>
              <a:t> </a:t>
            </a:r>
            <a:r>
              <a:rPr lang="en-US" sz="1200" dirty="0" err="1" smtClean="0"/>
              <a:t>dinilai</a:t>
            </a:r>
            <a:r>
              <a:rPr lang="en-US" sz="1200" dirty="0" smtClean="0"/>
              <a:t> </a:t>
            </a:r>
            <a:r>
              <a:rPr lang="en-US" sz="1200" dirty="0" err="1" smtClean="0"/>
              <a:t>dan</a:t>
            </a:r>
            <a:r>
              <a:rPr lang="en-US" sz="1200" dirty="0" smtClean="0"/>
              <a:t> </a:t>
            </a:r>
            <a:r>
              <a:rPr lang="en-US" sz="1200" dirty="0" err="1" smtClean="0"/>
              <a:t>boleh</a:t>
            </a:r>
            <a:r>
              <a:rPr lang="en-US" sz="1200" dirty="0" smtClean="0"/>
              <a:t> </a:t>
            </a:r>
            <a:r>
              <a:rPr lang="en-US" sz="1200" dirty="0" err="1" smtClean="0"/>
              <a:t>diukur</a:t>
            </a:r>
            <a:r>
              <a:rPr lang="en-US" sz="1200" dirty="0" smtClean="0"/>
              <a:t>. </a:t>
            </a:r>
            <a:r>
              <a:rPr lang="en-US" sz="1200" dirty="0" err="1" smtClean="0"/>
              <a:t>Elemen</a:t>
            </a:r>
            <a:r>
              <a:rPr lang="en-US" sz="1200" dirty="0" smtClean="0"/>
              <a:t> </a:t>
            </a:r>
            <a:r>
              <a:rPr lang="en-US" sz="1200" dirty="0" err="1" smtClean="0"/>
              <a:t>adalah</a:t>
            </a:r>
            <a:r>
              <a:rPr lang="en-US" sz="1200" dirty="0" smtClean="0"/>
              <a:t> </a:t>
            </a:r>
            <a:r>
              <a:rPr lang="en-US" sz="1200" dirty="0" err="1" smtClean="0"/>
              <a:t>pembolehubah</a:t>
            </a:r>
            <a:r>
              <a:rPr lang="en-US" sz="1200" dirty="0" smtClean="0"/>
              <a:t> </a:t>
            </a:r>
            <a:r>
              <a:rPr lang="en-US" sz="1200" dirty="0" err="1" smtClean="0"/>
              <a:t>bagi</a:t>
            </a:r>
            <a:r>
              <a:rPr lang="en-US" sz="1200" dirty="0" smtClean="0"/>
              <a:t> </a:t>
            </a:r>
            <a:r>
              <a:rPr lang="en-US" sz="1200" dirty="0" err="1" smtClean="0"/>
              <a:t>sesuatu</a:t>
            </a:r>
            <a:r>
              <a:rPr lang="en-US" sz="1200" dirty="0" smtClean="0"/>
              <a:t> </a:t>
            </a:r>
            <a:r>
              <a:rPr lang="en-US" sz="1200" dirty="0" err="1" smtClean="0"/>
              <a:t>Dimensi</a:t>
            </a:r>
            <a:r>
              <a:rPr lang="en-US" sz="1200" dirty="0" smtClean="0"/>
              <a:t> (</a:t>
            </a:r>
            <a:r>
              <a:rPr lang="en-US" sz="1200" dirty="0" err="1" smtClean="0"/>
              <a:t>Konstruk</a:t>
            </a:r>
            <a:r>
              <a:rPr lang="en-US" sz="1200" dirty="0" smtClean="0"/>
              <a:t>)</a:t>
            </a:r>
          </a:p>
          <a:p>
            <a:endParaRPr lang="en-US" sz="1200" dirty="0" smtClean="0"/>
          </a:p>
          <a:p>
            <a:r>
              <a:rPr lang="en-US" sz="1200" b="1" dirty="0" err="1" smtClean="0">
                <a:solidFill>
                  <a:srgbClr val="FF0000"/>
                </a:solidFill>
              </a:rPr>
              <a:t>Aspek</a:t>
            </a:r>
            <a:r>
              <a:rPr lang="en-US" sz="1200" dirty="0" smtClean="0"/>
              <a:t> </a:t>
            </a:r>
            <a:r>
              <a:rPr lang="en-US" sz="1200" dirty="0" err="1" smtClean="0"/>
              <a:t>adalah</a:t>
            </a:r>
            <a:r>
              <a:rPr lang="en-US" sz="1200" dirty="0" smtClean="0"/>
              <a:t> </a:t>
            </a:r>
            <a:r>
              <a:rPr lang="en-US" sz="1200" dirty="0" err="1" smtClean="0"/>
              <a:t>bidang</a:t>
            </a:r>
            <a:r>
              <a:rPr lang="en-US" sz="1200" dirty="0" smtClean="0"/>
              <a:t> </a:t>
            </a:r>
            <a:r>
              <a:rPr lang="en-US" sz="1200" dirty="0" err="1" smtClean="0"/>
              <a:t>tugas</a:t>
            </a:r>
            <a:r>
              <a:rPr lang="en-US" sz="1200" dirty="0" smtClean="0"/>
              <a:t> </a:t>
            </a:r>
            <a:r>
              <a:rPr lang="en-US" sz="1200" dirty="0" err="1" smtClean="0"/>
              <a:t>dan</a:t>
            </a:r>
            <a:r>
              <a:rPr lang="en-US" sz="1200" dirty="0" smtClean="0"/>
              <a:t> </a:t>
            </a:r>
            <a:r>
              <a:rPr lang="en-US" sz="1200" dirty="0" err="1" smtClean="0"/>
              <a:t>tanggungjawab</a:t>
            </a:r>
            <a:r>
              <a:rPr lang="en-US" sz="1200" dirty="0" smtClean="0"/>
              <a:t> yang </a:t>
            </a:r>
            <a:r>
              <a:rPr lang="en-US" sz="1200" dirty="0" err="1" smtClean="0"/>
              <a:t>dinilai</a:t>
            </a:r>
            <a:r>
              <a:rPr lang="en-US" sz="1200" dirty="0" smtClean="0"/>
              <a:t> </a:t>
            </a:r>
            <a:r>
              <a:rPr lang="en-US" sz="1200" dirty="0" err="1" smtClean="0"/>
              <a:t>dalam</a:t>
            </a:r>
            <a:r>
              <a:rPr lang="en-US" sz="1200" dirty="0" smtClean="0"/>
              <a:t> </a:t>
            </a:r>
            <a:r>
              <a:rPr lang="en-US" sz="1200" dirty="0" err="1" smtClean="0"/>
              <a:t>satu</a:t>
            </a:r>
            <a:r>
              <a:rPr lang="en-US" sz="1200" dirty="0" smtClean="0"/>
              <a:t> </a:t>
            </a:r>
            <a:r>
              <a:rPr lang="en-US" sz="1200" dirty="0" err="1" smtClean="0"/>
              <a:t>tempoh</a:t>
            </a:r>
            <a:r>
              <a:rPr lang="en-US" sz="1200" dirty="0" smtClean="0"/>
              <a:t> yang </a:t>
            </a:r>
            <a:r>
              <a:rPr lang="en-US" sz="1200" dirty="0" err="1" smtClean="0"/>
              <a:t>ditetapkan</a:t>
            </a:r>
            <a:r>
              <a:rPr lang="en-US" sz="1200" dirty="0" smtClean="0"/>
              <a:t>. </a:t>
            </a:r>
            <a:r>
              <a:rPr lang="en-US" sz="1200" dirty="0" err="1" smtClean="0"/>
              <a:t>Aspek</a:t>
            </a:r>
            <a:r>
              <a:rPr lang="en-US" sz="1200" dirty="0" smtClean="0"/>
              <a:t> </a:t>
            </a:r>
            <a:r>
              <a:rPr lang="en-US" sz="1200" dirty="0" err="1" smtClean="0"/>
              <a:t>merupakan</a:t>
            </a:r>
            <a:r>
              <a:rPr lang="en-US" sz="1200" dirty="0" smtClean="0"/>
              <a:t> </a:t>
            </a:r>
            <a:r>
              <a:rPr lang="en-US" sz="1200" dirty="0" err="1" smtClean="0"/>
              <a:t>perincian</a:t>
            </a:r>
            <a:r>
              <a:rPr lang="en-US" sz="1200" dirty="0" smtClean="0"/>
              <a:t> </a:t>
            </a:r>
            <a:r>
              <a:rPr lang="en-US" sz="1200" dirty="0" err="1" smtClean="0"/>
              <a:t>tentang</a:t>
            </a:r>
            <a:r>
              <a:rPr lang="en-US" sz="1200" dirty="0" smtClean="0"/>
              <a:t> </a:t>
            </a:r>
            <a:r>
              <a:rPr lang="en-US" sz="1200" dirty="0" err="1" smtClean="0"/>
              <a:t>perkara</a:t>
            </a:r>
            <a:r>
              <a:rPr lang="en-US" sz="1200" dirty="0" smtClean="0"/>
              <a:t> yang </a:t>
            </a:r>
            <a:r>
              <a:rPr lang="en-US" sz="1200" dirty="0" err="1" smtClean="0"/>
              <a:t>dinilai</a:t>
            </a:r>
            <a:r>
              <a:rPr lang="en-US" sz="1200" dirty="0" smtClean="0"/>
              <a:t> </a:t>
            </a:r>
            <a:r>
              <a:rPr lang="en-US" sz="1200" dirty="0" err="1" smtClean="0"/>
              <a:t>dalam</a:t>
            </a:r>
            <a:r>
              <a:rPr lang="en-US" sz="1200" dirty="0" smtClean="0"/>
              <a:t> </a:t>
            </a:r>
            <a:r>
              <a:rPr lang="en-US" sz="1200" dirty="0" err="1" smtClean="0"/>
              <a:t>sesuatu</a:t>
            </a:r>
            <a:r>
              <a:rPr lang="en-US" sz="1200" dirty="0" smtClean="0"/>
              <a:t> </a:t>
            </a:r>
            <a:r>
              <a:rPr lang="en-US" sz="1200" dirty="0" err="1" smtClean="0"/>
              <a:t>elemen</a:t>
            </a:r>
            <a:r>
              <a:rPr lang="en-US" sz="1200" dirty="0" smtClean="0"/>
              <a:t>.</a:t>
            </a:r>
          </a:p>
          <a:p>
            <a:endParaRPr lang="en-US" sz="1200" dirty="0" smtClean="0"/>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50</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r>
              <a:rPr lang="ms-MY" sz="1200" baseline="0" dirty="0" smtClean="0"/>
              <a:t>Komponen generik  mempunyai 3 dimensi iaitu</a:t>
            </a:r>
          </a:p>
          <a:p>
            <a:pPr>
              <a:buFontTx/>
              <a:buNone/>
            </a:pPr>
            <a:r>
              <a:rPr lang="ms-MY" sz="1200" baseline="0" dirty="0" smtClean="0"/>
              <a:t>	D1 – Dimensi Profesionalisme (20%), </a:t>
            </a:r>
          </a:p>
          <a:p>
            <a:pPr>
              <a:buFontTx/>
              <a:buNone/>
            </a:pPr>
            <a:r>
              <a:rPr lang="ms-MY" sz="1200" baseline="0" dirty="0" smtClean="0"/>
              <a:t>	D2 – Dimensi Tugasan Tambahan (10%) dan</a:t>
            </a:r>
          </a:p>
          <a:p>
            <a:pPr>
              <a:buFontTx/>
              <a:buNone/>
            </a:pPr>
            <a:r>
              <a:rPr lang="ms-MY" sz="1200" baseline="0" dirty="0" smtClean="0"/>
              <a:t>	D3 - Dimensi Penglibatan (10%)</a:t>
            </a:r>
          </a:p>
          <a:p>
            <a:pPr>
              <a:buFontTx/>
              <a:buNone/>
            </a:pPr>
            <a:r>
              <a:rPr lang="ms-MY" sz="1200" baseline="0" dirty="0" smtClean="0"/>
              <a:t>	</a:t>
            </a:r>
          </a:p>
          <a:p>
            <a:pPr>
              <a:buFontTx/>
              <a:buNone/>
            </a:pPr>
            <a:r>
              <a:rPr lang="ms-MY" sz="1200" baseline="0" dirty="0" smtClean="0"/>
              <a:t>-Komponen fungsional mempunyai 1 dimensi iaitu D4 - Dimensi Kemahiran  (60%)</a:t>
            </a:r>
          </a:p>
          <a:p>
            <a:pPr>
              <a:buFontTx/>
              <a:buNone/>
            </a:pPr>
            <a:endParaRPr lang="ms-MY" sz="1200" baseline="0" dirty="0" smtClean="0"/>
          </a:p>
          <a:p>
            <a:pPr>
              <a:buFontTx/>
              <a:buNone/>
            </a:pPr>
            <a:r>
              <a:rPr lang="ms-MY" sz="1200" baseline="0" dirty="0" smtClean="0"/>
              <a:t>-Komponen keberhasilan (100%)</a:t>
            </a:r>
          </a:p>
          <a:p>
            <a:pPr>
              <a:buFontTx/>
              <a:buNone/>
            </a:pPr>
            <a:endParaRPr lang="ms-MY" sz="1200" baseline="0" dirty="0" smtClean="0"/>
          </a:p>
          <a:p>
            <a:pPr>
              <a:buFontTx/>
              <a:buChar char="-"/>
            </a:pPr>
            <a:r>
              <a:rPr lang="ms-MY" sz="1200" baseline="0" dirty="0" smtClean="0"/>
              <a:t>Jumlah keseluruhan wajaran adalah 100% di mana komponen generik dan fungsional sebanyak 90% sementara komponen keberhasilan adalah sebanyak 10%.</a:t>
            </a:r>
            <a:endParaRPr lang="ms-MY" sz="120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51</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buNone/>
            </a:pPr>
            <a:r>
              <a:rPr lang="ms-MY" b="1" dirty="0" smtClean="0"/>
              <a:t>Kandungan Instrumen PBPPP</a:t>
            </a:r>
            <a:r>
              <a:rPr lang="ms-MY" dirty="0" smtClean="0"/>
              <a:t>:</a:t>
            </a:r>
            <a:endParaRPr lang="en-US" dirty="0" smtClean="0"/>
          </a:p>
          <a:p>
            <a:pPr marL="624078" indent="-514350">
              <a:buClrTx/>
              <a:buSzPct val="72000"/>
              <a:buFont typeface="+mj-lt"/>
              <a:buAutoNum type="arabicPeriod"/>
            </a:pPr>
            <a:r>
              <a:rPr lang="en-US" dirty="0" err="1" smtClean="0"/>
              <a:t>Dimensi</a:t>
            </a:r>
            <a:endParaRPr lang="en-US" dirty="0" smtClean="0"/>
          </a:p>
          <a:p>
            <a:pPr marL="624078" lvl="0" indent="-514350">
              <a:buClr>
                <a:schemeClr val="tx1"/>
              </a:buClr>
              <a:buSzPct val="70000"/>
              <a:buFont typeface="+mj-lt"/>
              <a:buAutoNum type="arabicPeriod"/>
            </a:pPr>
            <a:r>
              <a:rPr lang="en-US" dirty="0" err="1" smtClean="0"/>
              <a:t>Elemen</a:t>
            </a:r>
            <a:endParaRPr lang="en-US" dirty="0" smtClean="0"/>
          </a:p>
          <a:p>
            <a:pPr marL="624078" lvl="0" indent="-514350">
              <a:buClrTx/>
              <a:buSzPct val="70000"/>
              <a:buFont typeface="+mj-lt"/>
              <a:buAutoNum type="arabicPeriod"/>
            </a:pPr>
            <a:r>
              <a:rPr lang="en-US" dirty="0" err="1" smtClean="0"/>
              <a:t>Aspek</a:t>
            </a:r>
            <a:endParaRPr lang="en-US" dirty="0" smtClean="0"/>
          </a:p>
          <a:p>
            <a:pPr marL="624078" lvl="0" indent="-514350">
              <a:buClrTx/>
              <a:buSzPct val="70000"/>
              <a:buFont typeface="+mj-lt"/>
              <a:buAutoNum type="arabicPeriod"/>
            </a:pPr>
            <a:r>
              <a:rPr lang="en-US" dirty="0" err="1" smtClean="0"/>
              <a:t>Deskripsi</a:t>
            </a:r>
            <a:r>
              <a:rPr lang="en-US" dirty="0" smtClean="0"/>
              <a:t> </a:t>
            </a:r>
            <a:r>
              <a:rPr lang="en-US" dirty="0" err="1" smtClean="0"/>
              <a:t>bagi</a:t>
            </a:r>
            <a:r>
              <a:rPr lang="en-US" dirty="0" smtClean="0"/>
              <a:t> </a:t>
            </a:r>
            <a:r>
              <a:rPr lang="en-US" dirty="0" err="1" smtClean="0"/>
              <a:t>aspek</a:t>
            </a:r>
            <a:r>
              <a:rPr lang="en-US" dirty="0" smtClean="0"/>
              <a:t> yang </a:t>
            </a:r>
            <a:r>
              <a:rPr lang="en-US" dirty="0" err="1" smtClean="0"/>
              <a:t>dinilai</a:t>
            </a:r>
            <a:endParaRPr lang="en-US" dirty="0" smtClean="0"/>
          </a:p>
          <a:p>
            <a:pPr marL="624078" lvl="0" indent="-514350">
              <a:buClrTx/>
              <a:buSzPct val="70000"/>
              <a:buFont typeface="+mj-lt"/>
              <a:buAutoNum type="arabicPeriod"/>
            </a:pPr>
            <a:r>
              <a:rPr lang="en-US" dirty="0" err="1" smtClean="0"/>
              <a:t>Kaedah-kaedah</a:t>
            </a:r>
            <a:r>
              <a:rPr lang="en-US" dirty="0" smtClean="0"/>
              <a:t> </a:t>
            </a:r>
            <a:r>
              <a:rPr lang="en-US" dirty="0" err="1" smtClean="0"/>
              <a:t>Penilaian</a:t>
            </a:r>
            <a:r>
              <a:rPr lang="en-US" dirty="0" smtClean="0"/>
              <a:t> </a:t>
            </a:r>
            <a:r>
              <a:rPr lang="en-US" dirty="0" err="1" smtClean="0"/>
              <a:t>dan</a:t>
            </a:r>
            <a:r>
              <a:rPr lang="en-US" dirty="0" smtClean="0"/>
              <a:t> </a:t>
            </a:r>
            <a:r>
              <a:rPr lang="en-US" dirty="0" err="1" smtClean="0"/>
              <a:t>contoh-contoh</a:t>
            </a:r>
            <a:r>
              <a:rPr lang="en-US" dirty="0" smtClean="0"/>
              <a:t> </a:t>
            </a:r>
            <a:r>
              <a:rPr lang="en-US" dirty="0" smtClean="0">
                <a:solidFill>
                  <a:srgbClr val="FF0000"/>
                </a:solidFill>
              </a:rPr>
              <a:t>‘</a:t>
            </a:r>
            <a:r>
              <a:rPr lang="en-US" dirty="0" err="1" smtClean="0">
                <a:solidFill>
                  <a:srgbClr val="FF0000"/>
                </a:solidFill>
              </a:rPr>
              <a:t>evidens</a:t>
            </a:r>
            <a:r>
              <a:rPr lang="en-US" dirty="0" smtClean="0">
                <a:solidFill>
                  <a:srgbClr val="FF0000"/>
                </a:solidFill>
              </a:rPr>
              <a:t>’</a:t>
            </a:r>
          </a:p>
          <a:p>
            <a:pPr marL="624078" lvl="0" indent="-514350">
              <a:buClrTx/>
              <a:buSzPct val="70000"/>
              <a:buFont typeface="+mj-lt"/>
              <a:buAutoNum type="arabicPeriod"/>
            </a:pPr>
            <a:r>
              <a:rPr lang="en-US" dirty="0" smtClean="0"/>
              <a:t>Aras </a:t>
            </a:r>
            <a:r>
              <a:rPr lang="en-US" dirty="0" err="1" smtClean="0"/>
              <a:t>Penilaian</a:t>
            </a:r>
            <a:r>
              <a:rPr lang="en-US" dirty="0" smtClean="0"/>
              <a:t> (</a:t>
            </a:r>
            <a:r>
              <a:rPr lang="en-US" dirty="0" err="1" smtClean="0"/>
              <a:t>Skor</a:t>
            </a:r>
            <a:r>
              <a:rPr lang="en-US" dirty="0" smtClean="0"/>
              <a:t> </a:t>
            </a:r>
            <a:r>
              <a:rPr lang="en-US" dirty="0" err="1" smtClean="0"/>
              <a:t>dan</a:t>
            </a:r>
            <a:r>
              <a:rPr lang="en-US" dirty="0" smtClean="0"/>
              <a:t> </a:t>
            </a:r>
            <a:r>
              <a:rPr lang="en-US" dirty="0" err="1" smtClean="0"/>
              <a:t>rubrik</a:t>
            </a:r>
            <a:r>
              <a:rPr lang="en-US" dirty="0" smtClean="0"/>
              <a:t> </a:t>
            </a:r>
            <a:r>
              <a:rPr lang="en-US" dirty="0" err="1" smtClean="0"/>
              <a:t>untuk</a:t>
            </a:r>
            <a:r>
              <a:rPr lang="en-US" dirty="0" smtClean="0"/>
              <a:t> </a:t>
            </a:r>
            <a:r>
              <a:rPr lang="en-US" dirty="0" err="1" smtClean="0"/>
              <a:t>pemberian</a:t>
            </a:r>
            <a:r>
              <a:rPr lang="en-US" dirty="0" smtClean="0"/>
              <a:t> </a:t>
            </a:r>
            <a:r>
              <a:rPr lang="en-US" dirty="0" err="1" smtClean="0"/>
              <a:t>markah</a:t>
            </a:r>
            <a:r>
              <a:rPr lang="en-US" dirty="0" smtClean="0"/>
              <a:t> </a:t>
            </a:r>
            <a:r>
              <a:rPr lang="en-US" dirty="0" err="1" smtClean="0"/>
              <a:t>atau</a:t>
            </a:r>
            <a:r>
              <a:rPr lang="en-US" dirty="0" smtClean="0"/>
              <a:t> </a:t>
            </a:r>
            <a:r>
              <a:rPr lang="en-US" dirty="0" err="1" smtClean="0"/>
              <a:t>aras</a:t>
            </a:r>
            <a:r>
              <a:rPr lang="en-US" dirty="0" smtClean="0"/>
              <a:t> </a:t>
            </a:r>
            <a:r>
              <a:rPr lang="en-US" dirty="0" err="1" smtClean="0"/>
              <a:t>penilaian</a:t>
            </a:r>
            <a:r>
              <a:rPr lang="en-US" dirty="0" smtClean="0"/>
              <a:t> </a:t>
            </a:r>
            <a:r>
              <a:rPr lang="en-US" dirty="0" err="1" smtClean="0"/>
              <a:t>bagi</a:t>
            </a:r>
            <a:r>
              <a:rPr lang="en-US" dirty="0" smtClean="0"/>
              <a:t> </a:t>
            </a:r>
            <a:r>
              <a:rPr lang="en-US" dirty="0" err="1" smtClean="0"/>
              <a:t>aspek</a:t>
            </a:r>
            <a:r>
              <a:rPr lang="en-US" dirty="0" smtClean="0"/>
              <a:t> yang </a:t>
            </a:r>
            <a:r>
              <a:rPr lang="en-US" dirty="0" err="1" smtClean="0"/>
              <a:t>dinilai</a:t>
            </a:r>
            <a:r>
              <a:rPr lang="en-US" dirty="0" smtClean="0"/>
              <a: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53</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Diskripsi</a:t>
            </a:r>
            <a:r>
              <a:rPr lang="en-US" dirty="0" smtClean="0"/>
              <a:t> </a:t>
            </a:r>
            <a:r>
              <a:rPr lang="en-US" dirty="0" err="1" smtClean="0"/>
              <a:t>adalah</a:t>
            </a:r>
            <a:r>
              <a:rPr lang="en-US" dirty="0" smtClean="0"/>
              <a:t> </a:t>
            </a:r>
            <a:r>
              <a:rPr lang="en-US" dirty="0" err="1" smtClean="0"/>
              <a:t>penyataan</a:t>
            </a:r>
            <a:r>
              <a:rPr lang="en-US" dirty="0" smtClean="0"/>
              <a:t> </a:t>
            </a:r>
            <a:r>
              <a:rPr lang="en-US" dirty="0" err="1" smtClean="0"/>
              <a:t>mengenai</a:t>
            </a:r>
            <a:r>
              <a:rPr lang="en-US" dirty="0" smtClean="0"/>
              <a:t> </a:t>
            </a:r>
            <a:r>
              <a:rPr lang="en-US" dirty="0" err="1" smtClean="0"/>
              <a:t>aspek</a:t>
            </a:r>
            <a:r>
              <a:rPr lang="en-US" dirty="0" smtClean="0"/>
              <a:t> yang </a:t>
            </a:r>
            <a:r>
              <a:rPr lang="en-US" dirty="0" err="1" smtClean="0"/>
              <a:t>hendak</a:t>
            </a:r>
            <a:r>
              <a:rPr lang="en-US" baseline="0" dirty="0" smtClean="0"/>
              <a:t> </a:t>
            </a:r>
            <a:r>
              <a:rPr lang="en-US" baseline="0" dirty="0" err="1" smtClean="0"/>
              <a:t>dinilai</a:t>
            </a:r>
            <a:r>
              <a:rPr lang="en-US" baseline="0" dirty="0" smtClean="0"/>
              <a:t>. </a:t>
            </a:r>
            <a:r>
              <a:rPr lang="en-US" baseline="0" dirty="0" err="1" smtClean="0"/>
              <a:t>Deskripsi</a:t>
            </a:r>
            <a:r>
              <a:rPr lang="en-US" baseline="0" dirty="0" smtClean="0"/>
              <a:t> </a:t>
            </a:r>
            <a:r>
              <a:rPr lang="en-US" baseline="0" dirty="0" err="1" smtClean="0"/>
              <a:t>bagi</a:t>
            </a:r>
            <a:r>
              <a:rPr lang="en-US" baseline="0" dirty="0" smtClean="0"/>
              <a:t> A1.1 </a:t>
            </a:r>
            <a:r>
              <a:rPr lang="en-US" baseline="0" dirty="0" err="1" smtClean="0"/>
              <a:t>iaitu</a:t>
            </a:r>
            <a:r>
              <a:rPr lang="en-US" baseline="0" dirty="0" smtClean="0"/>
              <a:t> </a:t>
            </a:r>
            <a:r>
              <a:rPr lang="en-US" baseline="0" dirty="0" err="1" smtClean="0"/>
              <a:t>Aspek</a:t>
            </a:r>
            <a:r>
              <a:rPr lang="en-US" baseline="0" dirty="0" smtClean="0"/>
              <a:t> </a:t>
            </a:r>
            <a:r>
              <a:rPr lang="en-US" baseline="0" dirty="0" err="1" smtClean="0"/>
              <a:t>Amalan</a:t>
            </a:r>
            <a:r>
              <a:rPr lang="en-US" baseline="0" dirty="0" smtClean="0"/>
              <a:t> </a:t>
            </a:r>
            <a:r>
              <a:rPr lang="en-US" baseline="0" dirty="0" err="1" smtClean="0"/>
              <a:t>Profesional</a:t>
            </a:r>
            <a:r>
              <a:rPr lang="en-US" baseline="0" dirty="0" smtClean="0"/>
              <a:t> </a:t>
            </a:r>
            <a:r>
              <a:rPr lang="en-US" baseline="0" dirty="0" err="1" smtClean="0"/>
              <a:t>bagi</a:t>
            </a:r>
            <a:r>
              <a:rPr lang="en-US" baseline="0" dirty="0" smtClean="0"/>
              <a:t> </a:t>
            </a:r>
            <a:r>
              <a:rPr lang="en-US" baseline="0" dirty="0" err="1" smtClean="0"/>
              <a:t>Elemen</a:t>
            </a:r>
            <a:r>
              <a:rPr lang="en-US" baseline="0" dirty="0" smtClean="0"/>
              <a:t> </a:t>
            </a:r>
            <a:r>
              <a:rPr lang="en-US" baseline="0" dirty="0" err="1" smtClean="0"/>
              <a:t>Nilai</a:t>
            </a:r>
            <a:r>
              <a:rPr lang="en-US" baseline="0" dirty="0" smtClean="0"/>
              <a:t> </a:t>
            </a:r>
            <a:r>
              <a:rPr lang="en-US" baseline="0" dirty="0" err="1" smtClean="0"/>
              <a:t>Profesionalisme</a:t>
            </a:r>
            <a:r>
              <a:rPr lang="en-US" baseline="0" dirty="0" smtClean="0"/>
              <a:t> </a:t>
            </a:r>
            <a:r>
              <a:rPr lang="en-US" baseline="0" dirty="0" err="1" smtClean="0"/>
              <a:t>pada</a:t>
            </a:r>
            <a:r>
              <a:rPr lang="en-US" baseline="0" dirty="0" smtClean="0"/>
              <a:t> </a:t>
            </a:r>
            <a:r>
              <a:rPr lang="en-US" baseline="0" dirty="0" err="1" smtClean="0"/>
              <a:t>Dimensi</a:t>
            </a:r>
            <a:r>
              <a:rPr lang="en-US" baseline="0" dirty="0" smtClean="0"/>
              <a:t> </a:t>
            </a:r>
            <a:r>
              <a:rPr lang="en-US" baseline="0" dirty="0" err="1" smtClean="0"/>
              <a:t>Profesionalisme</a:t>
            </a:r>
            <a:r>
              <a:rPr lang="en-US" baseline="0" dirty="0" smtClean="0"/>
              <a:t> </a:t>
            </a:r>
            <a:r>
              <a:rPr lang="en-US" baseline="0" dirty="0" err="1" smtClean="0"/>
              <a:t>adalah</a:t>
            </a:r>
            <a:r>
              <a:rPr lang="en-US" baseline="0" dirty="0" smtClean="0"/>
              <a:t>:</a:t>
            </a:r>
          </a:p>
          <a:p>
            <a:endParaRPr lang="en-US" b="1" baseline="0" dirty="0" smtClean="0"/>
          </a:p>
          <a:p>
            <a:r>
              <a:rPr lang="en-US" b="1" baseline="0" dirty="0" smtClean="0"/>
              <a:t># BACA SLAID PADA DESKRIPSI</a:t>
            </a:r>
            <a:endParaRPr lang="en-US" b="1"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54</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Contoh</a:t>
            </a:r>
            <a:r>
              <a:rPr lang="en-US" dirty="0" smtClean="0"/>
              <a:t> yang </a:t>
            </a:r>
            <a:r>
              <a:rPr lang="en-US" dirty="0" err="1" smtClean="0"/>
              <a:t>diberi</a:t>
            </a:r>
            <a:r>
              <a:rPr lang="en-US" dirty="0" smtClean="0"/>
              <a:t> </a:t>
            </a:r>
            <a:r>
              <a:rPr lang="en-US" dirty="0" err="1" smtClean="0"/>
              <a:t>dalam</a:t>
            </a:r>
            <a:r>
              <a:rPr lang="en-US" dirty="0" smtClean="0"/>
              <a:t> </a:t>
            </a:r>
            <a:r>
              <a:rPr lang="en-US" dirty="0" err="1" smtClean="0"/>
              <a:t>mencari</a:t>
            </a:r>
            <a:r>
              <a:rPr lang="en-US" dirty="0" smtClean="0"/>
              <a:t> </a:t>
            </a:r>
            <a:r>
              <a:rPr lang="en-US" dirty="0" err="1" smtClean="0"/>
              <a:t>evidens</a:t>
            </a:r>
            <a:r>
              <a:rPr lang="en-US" dirty="0" smtClean="0"/>
              <a:t> </a:t>
            </a:r>
            <a:r>
              <a:rPr lang="en-US" dirty="0" err="1" smtClean="0"/>
              <a:t>pada</a:t>
            </a:r>
            <a:r>
              <a:rPr lang="en-US" dirty="0" smtClean="0"/>
              <a:t> </a:t>
            </a:r>
            <a:r>
              <a:rPr lang="en-US" dirty="0" err="1" smtClean="0"/>
              <a:t>aspek</a:t>
            </a:r>
            <a:r>
              <a:rPr lang="en-US" dirty="0" smtClean="0"/>
              <a:t> </a:t>
            </a:r>
            <a:r>
              <a:rPr lang="en-US" dirty="0" err="1" smtClean="0"/>
              <a:t>amalan</a:t>
            </a:r>
            <a:r>
              <a:rPr lang="en-US" baseline="0" dirty="0" smtClean="0"/>
              <a:t> </a:t>
            </a:r>
            <a:r>
              <a:rPr lang="en-US" baseline="0" dirty="0" err="1" smtClean="0"/>
              <a:t>profesional</a:t>
            </a:r>
            <a:r>
              <a:rPr lang="en-US" dirty="0" smtClean="0"/>
              <a:t> </a:t>
            </a:r>
            <a:r>
              <a:rPr lang="en-US" dirty="0" err="1" smtClean="0"/>
              <a:t>ialah</a:t>
            </a:r>
            <a:r>
              <a:rPr lang="en-US" dirty="0" smtClean="0"/>
              <a:t> </a:t>
            </a:r>
            <a:r>
              <a:rPr lang="en-US" dirty="0" err="1" smtClean="0"/>
              <a:t>melalui</a:t>
            </a:r>
            <a:r>
              <a:rPr lang="en-US" dirty="0" smtClean="0"/>
              <a:t> </a:t>
            </a:r>
            <a:r>
              <a:rPr lang="en-US" dirty="0" err="1" smtClean="0"/>
              <a:t>kaedah</a:t>
            </a:r>
            <a:r>
              <a:rPr lang="en-US" dirty="0" smtClean="0"/>
              <a:t> </a:t>
            </a:r>
            <a:r>
              <a:rPr lang="en-US" dirty="0" err="1" smtClean="0"/>
              <a:t>pemerhatian</a:t>
            </a:r>
            <a:r>
              <a:rPr lang="en-US" dirty="0" smtClean="0"/>
              <a:t>.</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 BACA SLAID PADA </a:t>
            </a:r>
            <a:r>
              <a:rPr lang="en-US" b="1" i="0" baseline="0" dirty="0" smtClean="0"/>
              <a:t>LAJUR </a:t>
            </a:r>
            <a:r>
              <a:rPr lang="en-US" b="1" baseline="0" dirty="0" smtClean="0"/>
              <a:t>PEMERHATIAN (D)</a:t>
            </a:r>
            <a:endParaRPr lang="en-US" b="1" dirty="0" smtClean="0"/>
          </a:p>
          <a:p>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55</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Char char="-"/>
              <a:tabLst/>
              <a:defRPr/>
            </a:pPr>
            <a:r>
              <a:rPr lang="ms-MY" b="0" baseline="0" dirty="0" smtClean="0"/>
              <a:t>Aras penilaian diklasifikasikan mengikut skor berdasarkan rubrik yang diberi.</a:t>
            </a:r>
          </a:p>
          <a:p>
            <a:pPr marL="0" marR="0" indent="0" algn="l" defTabSz="914400" rtl="0" eaLnBrk="1" fontAlgn="auto" latinLnBrk="0" hangingPunct="1">
              <a:lnSpc>
                <a:spcPct val="100000"/>
              </a:lnSpc>
              <a:spcBef>
                <a:spcPts val="0"/>
              </a:spcBef>
              <a:spcAft>
                <a:spcPts val="0"/>
              </a:spcAft>
              <a:buClrTx/>
              <a:buSzTx/>
              <a:buFontTx/>
              <a:buChar char="-"/>
              <a:tabLst/>
              <a:defRPr/>
            </a:pPr>
            <a:r>
              <a:rPr lang="ms-MY" b="0" baseline="0" dirty="0" smtClean="0"/>
              <a:t>cemerlang (4), </a:t>
            </a:r>
          </a:p>
          <a:p>
            <a:pPr marL="0" marR="0" indent="0" algn="l" defTabSz="914400" rtl="0" eaLnBrk="1" fontAlgn="auto" latinLnBrk="0" hangingPunct="1">
              <a:lnSpc>
                <a:spcPct val="100000"/>
              </a:lnSpc>
              <a:spcBef>
                <a:spcPts val="0"/>
              </a:spcBef>
              <a:spcAft>
                <a:spcPts val="0"/>
              </a:spcAft>
              <a:buClrTx/>
              <a:buSzTx/>
              <a:buFontTx/>
              <a:buChar char="-"/>
              <a:tabLst/>
              <a:defRPr/>
            </a:pPr>
            <a:r>
              <a:rPr lang="ms-MY" b="0" baseline="0" dirty="0" smtClean="0"/>
              <a:t>baik (3), </a:t>
            </a:r>
          </a:p>
          <a:p>
            <a:pPr marL="0" marR="0" indent="0" algn="l" defTabSz="914400" rtl="0" eaLnBrk="1" fontAlgn="auto" latinLnBrk="0" hangingPunct="1">
              <a:lnSpc>
                <a:spcPct val="100000"/>
              </a:lnSpc>
              <a:spcBef>
                <a:spcPts val="0"/>
              </a:spcBef>
              <a:spcAft>
                <a:spcPts val="0"/>
              </a:spcAft>
              <a:buClrTx/>
              <a:buSzTx/>
              <a:buFontTx/>
              <a:buChar char="-"/>
              <a:tabLst/>
              <a:defRPr/>
            </a:pPr>
            <a:r>
              <a:rPr lang="ms-MY" b="0" baseline="0" dirty="0" smtClean="0"/>
              <a:t>sederhana (2) </a:t>
            </a:r>
          </a:p>
          <a:p>
            <a:pPr marL="0" marR="0" indent="0" algn="l" defTabSz="914400" rtl="0" eaLnBrk="1" fontAlgn="auto" latinLnBrk="0" hangingPunct="1">
              <a:lnSpc>
                <a:spcPct val="100000"/>
              </a:lnSpc>
              <a:spcBef>
                <a:spcPts val="0"/>
              </a:spcBef>
              <a:spcAft>
                <a:spcPts val="0"/>
              </a:spcAft>
              <a:buClrTx/>
              <a:buSzTx/>
              <a:buFontTx/>
              <a:buChar char="-"/>
              <a:tabLst/>
              <a:defRPr/>
            </a:pPr>
            <a:r>
              <a:rPr lang="ms-MY" b="0" baseline="0" dirty="0" smtClean="0"/>
              <a:t>dan lemah (1)</a:t>
            </a:r>
          </a:p>
          <a:p>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56</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Elemen</a:t>
            </a:r>
            <a:r>
              <a:rPr lang="en-US" baseline="0" dirty="0" smtClean="0"/>
              <a:t> </a:t>
            </a:r>
            <a:r>
              <a:rPr lang="en-US" baseline="0" dirty="0" err="1" smtClean="0"/>
              <a:t>dan</a:t>
            </a:r>
            <a:r>
              <a:rPr lang="en-US" baseline="0" dirty="0" smtClean="0"/>
              <a:t> </a:t>
            </a:r>
            <a:r>
              <a:rPr lang="en-US" baseline="0" dirty="0" err="1" smtClean="0"/>
              <a:t>aspek</a:t>
            </a:r>
            <a:r>
              <a:rPr lang="en-US" baseline="0" dirty="0" smtClean="0"/>
              <a:t> </a:t>
            </a:r>
            <a:r>
              <a:rPr lang="en-US" baseline="0" dirty="0" err="1" smtClean="0"/>
              <a:t>bagi</a:t>
            </a:r>
            <a:r>
              <a:rPr lang="en-US" baseline="0" dirty="0" smtClean="0"/>
              <a:t> </a:t>
            </a:r>
            <a:r>
              <a:rPr lang="en-US" baseline="0" dirty="0" err="1" smtClean="0"/>
              <a:t>Dimensi</a:t>
            </a:r>
            <a:r>
              <a:rPr lang="en-US" baseline="0" dirty="0" smtClean="0"/>
              <a:t> 1 </a:t>
            </a:r>
            <a:r>
              <a:rPr lang="en-US" baseline="0" dirty="0" err="1" smtClean="0"/>
              <a:t>adalah</a:t>
            </a:r>
            <a:r>
              <a:rPr lang="en-US" baseline="0" dirty="0" smtClean="0"/>
              <a:t> </a:t>
            </a:r>
            <a:r>
              <a:rPr lang="en-US" baseline="0" dirty="0" err="1" smtClean="0"/>
              <a:t>seperti</a:t>
            </a:r>
            <a:r>
              <a:rPr lang="en-US" baseline="0" dirty="0" smtClean="0"/>
              <a:t> </a:t>
            </a:r>
            <a:r>
              <a:rPr lang="en-US" baseline="0" dirty="0" err="1" smtClean="0"/>
              <a:t>berikut</a:t>
            </a:r>
            <a:r>
              <a:rPr lang="en-US" baseline="0" dirty="0" smtClean="0"/>
              <a:t>:</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dirty="0" smtClean="0"/>
              <a:t># BACA SLAID BERMULA PADA D1</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58</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err="1" smtClean="0"/>
              <a:t>Elemen</a:t>
            </a:r>
            <a:r>
              <a:rPr lang="en-US" baseline="0" dirty="0" smtClean="0"/>
              <a:t> </a:t>
            </a:r>
            <a:r>
              <a:rPr lang="en-US" baseline="0" dirty="0" err="1" smtClean="0"/>
              <a:t>dan</a:t>
            </a:r>
            <a:r>
              <a:rPr lang="en-US" baseline="0" dirty="0" smtClean="0"/>
              <a:t> </a:t>
            </a:r>
            <a:r>
              <a:rPr lang="en-US" baseline="0" dirty="0" err="1" smtClean="0"/>
              <a:t>aspek</a:t>
            </a:r>
            <a:r>
              <a:rPr lang="en-US" baseline="0" dirty="0" smtClean="0"/>
              <a:t> </a:t>
            </a:r>
            <a:r>
              <a:rPr lang="en-US" baseline="0" dirty="0" err="1" smtClean="0"/>
              <a:t>bagi</a:t>
            </a:r>
            <a:r>
              <a:rPr lang="en-US" baseline="0" dirty="0" smtClean="0"/>
              <a:t> </a:t>
            </a:r>
            <a:r>
              <a:rPr lang="en-US" baseline="0" dirty="0" err="1" smtClean="0"/>
              <a:t>Dimensi</a:t>
            </a:r>
            <a:r>
              <a:rPr lang="en-US" baseline="0" dirty="0" smtClean="0"/>
              <a:t> 2 </a:t>
            </a:r>
            <a:r>
              <a:rPr lang="en-US" baseline="0" dirty="0" err="1" smtClean="0"/>
              <a:t>dan</a:t>
            </a:r>
            <a:r>
              <a:rPr lang="en-US" baseline="0" dirty="0" smtClean="0"/>
              <a:t> 3 </a:t>
            </a:r>
            <a:r>
              <a:rPr lang="en-US" baseline="0" dirty="0" err="1" smtClean="0"/>
              <a:t>adalah</a:t>
            </a:r>
            <a:r>
              <a:rPr lang="en-US" baseline="0" dirty="0" smtClean="0"/>
              <a:t> </a:t>
            </a:r>
            <a:r>
              <a:rPr lang="en-US" baseline="0" dirty="0" err="1" smtClean="0"/>
              <a:t>seperti</a:t>
            </a:r>
            <a:r>
              <a:rPr lang="en-US" baseline="0" dirty="0" smtClean="0"/>
              <a:t> </a:t>
            </a:r>
            <a:r>
              <a:rPr lang="en-US" baseline="0" dirty="0" err="1" smtClean="0"/>
              <a:t>berikut</a:t>
            </a:r>
            <a:r>
              <a:rPr lang="en-US" baseline="0" dirty="0" smtClean="0"/>
              <a:t>:</a:t>
            </a:r>
          </a:p>
          <a:p>
            <a:endParaRPr lang="en-US" dirty="0" smtClean="0"/>
          </a:p>
          <a:p>
            <a:r>
              <a:rPr lang="en-US" dirty="0" err="1" smtClean="0"/>
              <a:t>Maksud</a:t>
            </a:r>
            <a:r>
              <a:rPr lang="en-US" dirty="0" smtClean="0"/>
              <a:t> </a:t>
            </a:r>
            <a:r>
              <a:rPr lang="en-US" dirty="0" err="1" smtClean="0"/>
              <a:t>Jaringan</a:t>
            </a:r>
            <a:r>
              <a:rPr lang="en-US" dirty="0" smtClean="0"/>
              <a:t> </a:t>
            </a:r>
            <a:r>
              <a:rPr lang="en-US" dirty="0" err="1" smtClean="0"/>
              <a:t>ialah</a:t>
            </a:r>
            <a:r>
              <a:rPr lang="en-US" dirty="0" smtClean="0"/>
              <a:t> </a:t>
            </a:r>
            <a:r>
              <a:rPr lang="en-US" dirty="0" err="1" smtClean="0"/>
              <a:t>mewujudkan</a:t>
            </a:r>
            <a:r>
              <a:rPr lang="en-US" dirty="0" smtClean="0"/>
              <a:t> </a:t>
            </a:r>
            <a:r>
              <a:rPr lang="en-US" dirty="0" err="1" smtClean="0"/>
              <a:t>dan</a:t>
            </a:r>
            <a:r>
              <a:rPr lang="en-US" dirty="0" smtClean="0"/>
              <a:t> </a:t>
            </a:r>
            <a:r>
              <a:rPr lang="en-US" dirty="0" err="1" smtClean="0"/>
              <a:t>membina</a:t>
            </a:r>
            <a:r>
              <a:rPr lang="en-US" dirty="0" smtClean="0"/>
              <a:t> </a:t>
            </a:r>
            <a:r>
              <a:rPr lang="en-US" dirty="0" err="1" smtClean="0"/>
              <a:t>hubungan</a:t>
            </a:r>
            <a:r>
              <a:rPr lang="en-US" dirty="0" smtClean="0"/>
              <a:t> </a:t>
            </a:r>
            <a:r>
              <a:rPr lang="en-US" dirty="0" err="1" smtClean="0"/>
              <a:t>secara</a:t>
            </a:r>
            <a:r>
              <a:rPr lang="en-US" dirty="0" smtClean="0"/>
              <a:t> </a:t>
            </a:r>
            <a:r>
              <a:rPr lang="en-US" dirty="0" err="1" smtClean="0"/>
              <a:t>kolaboratif</a:t>
            </a:r>
            <a:r>
              <a:rPr lang="en-US" dirty="0" smtClean="0"/>
              <a:t>, </a:t>
            </a:r>
            <a:r>
              <a:rPr lang="en-US" dirty="0" err="1" smtClean="0"/>
              <a:t>perkongsian</a:t>
            </a:r>
            <a:r>
              <a:rPr lang="en-US" dirty="0" smtClean="0"/>
              <a:t> </a:t>
            </a:r>
            <a:r>
              <a:rPr lang="en-US" dirty="0" err="1" smtClean="0"/>
              <a:t>pintar</a:t>
            </a:r>
            <a:r>
              <a:rPr lang="en-US" dirty="0" smtClean="0"/>
              <a:t> </a:t>
            </a:r>
            <a:r>
              <a:rPr lang="en-US" dirty="0" err="1" smtClean="0"/>
              <a:t>dengan</a:t>
            </a:r>
            <a:r>
              <a:rPr lang="en-US" dirty="0" smtClean="0"/>
              <a:t> </a:t>
            </a:r>
            <a:r>
              <a:rPr lang="en-US" dirty="0" err="1" smtClean="0"/>
              <a:t>pihak</a:t>
            </a:r>
            <a:r>
              <a:rPr lang="en-US" dirty="0" smtClean="0"/>
              <a:t> lain yang </a:t>
            </a:r>
            <a:r>
              <a:rPr lang="en-US" dirty="0" err="1" smtClean="0"/>
              <a:t>meibatkan</a:t>
            </a:r>
            <a:r>
              <a:rPr lang="en-US" dirty="0" smtClean="0"/>
              <a:t> </a:t>
            </a:r>
            <a:r>
              <a:rPr lang="en-US" dirty="0" err="1" smtClean="0"/>
              <a:t>bidang</a:t>
            </a:r>
            <a:r>
              <a:rPr lang="en-US" dirty="0" smtClean="0"/>
              <a:t> </a:t>
            </a:r>
            <a:r>
              <a:rPr lang="en-US" dirty="0" err="1" smtClean="0"/>
              <a:t>akademik</a:t>
            </a:r>
            <a:r>
              <a:rPr lang="en-US" dirty="0" smtClean="0"/>
              <a:t> </a:t>
            </a:r>
            <a:r>
              <a:rPr lang="en-US" dirty="0" err="1" smtClean="0"/>
              <a:t>dan</a:t>
            </a:r>
            <a:r>
              <a:rPr lang="en-US" dirty="0" smtClean="0"/>
              <a:t> </a:t>
            </a:r>
            <a:r>
              <a:rPr lang="en-US" dirty="0" err="1" smtClean="0"/>
              <a:t>kokurikulum</a:t>
            </a:r>
            <a:r>
              <a:rPr lang="en-US" dirty="0" smtClean="0"/>
              <a:t> </a:t>
            </a:r>
            <a:r>
              <a:rPr lang="en-US" dirty="0" err="1" smtClean="0"/>
              <a:t>sama</a:t>
            </a:r>
            <a:r>
              <a:rPr lang="en-US" dirty="0" smtClean="0"/>
              <a:t> </a:t>
            </a:r>
            <a:r>
              <a:rPr lang="en-US" dirty="0" err="1" smtClean="0"/>
              <a:t>ada</a:t>
            </a:r>
            <a:r>
              <a:rPr lang="en-US" dirty="0" smtClean="0"/>
              <a:t> </a:t>
            </a:r>
            <a:r>
              <a:rPr lang="en-US" dirty="0" err="1" smtClean="0"/>
              <a:t>antara</a:t>
            </a:r>
            <a:r>
              <a:rPr lang="en-US" dirty="0" smtClean="0"/>
              <a:t> </a:t>
            </a:r>
            <a:r>
              <a:rPr lang="en-US" dirty="0" err="1" smtClean="0"/>
              <a:t>sekolah</a:t>
            </a:r>
            <a:r>
              <a:rPr lang="en-US" dirty="0" smtClean="0"/>
              <a:t> </a:t>
            </a:r>
            <a:r>
              <a:rPr lang="en-US" dirty="0" err="1" smtClean="0"/>
              <a:t>dalam</a:t>
            </a:r>
            <a:r>
              <a:rPr lang="en-US" dirty="0" smtClean="0"/>
              <a:t> </a:t>
            </a:r>
            <a:r>
              <a:rPr lang="en-US" dirty="0" err="1" smtClean="0"/>
              <a:t>daerah</a:t>
            </a:r>
            <a:r>
              <a:rPr lang="en-US" dirty="0" smtClean="0"/>
              <a:t>, </a:t>
            </a:r>
            <a:r>
              <a:rPr lang="en-US" dirty="0" err="1" smtClean="0"/>
              <a:t>luar</a:t>
            </a:r>
            <a:r>
              <a:rPr lang="en-US" dirty="0" smtClean="0"/>
              <a:t> </a:t>
            </a:r>
            <a:r>
              <a:rPr lang="en-US" dirty="0" err="1" smtClean="0"/>
              <a:t>negeri</a:t>
            </a:r>
            <a:r>
              <a:rPr lang="en-US" dirty="0" smtClean="0"/>
              <a:t> </a:t>
            </a:r>
            <a:r>
              <a:rPr lang="en-US" dirty="0" err="1" smtClean="0"/>
              <a:t>dan</a:t>
            </a:r>
            <a:r>
              <a:rPr lang="en-US" dirty="0" smtClean="0"/>
              <a:t> </a:t>
            </a:r>
            <a:r>
              <a:rPr lang="en-US" dirty="0" err="1" smtClean="0"/>
              <a:t>luar</a:t>
            </a:r>
            <a:r>
              <a:rPr lang="en-US" dirty="0" smtClean="0"/>
              <a:t> </a:t>
            </a:r>
            <a:r>
              <a:rPr lang="en-US" dirty="0" err="1" smtClean="0"/>
              <a:t>negara</a:t>
            </a:r>
            <a:r>
              <a:rPr lang="en-US" dirty="0" smtClean="0"/>
              <a:t>.</a:t>
            </a:r>
          </a:p>
          <a:p>
            <a:endParaRPr lang="en-US" dirty="0" smtClean="0"/>
          </a:p>
          <a:p>
            <a:r>
              <a:rPr lang="en-US" dirty="0" err="1" smtClean="0"/>
              <a:t>Maksud</a:t>
            </a:r>
            <a:r>
              <a:rPr lang="en-US" dirty="0" smtClean="0"/>
              <a:t> </a:t>
            </a:r>
            <a:r>
              <a:rPr lang="en-US" dirty="0" err="1" smtClean="0"/>
              <a:t>jalinan</a:t>
            </a:r>
            <a:r>
              <a:rPr lang="en-US" baseline="0" dirty="0" smtClean="0"/>
              <a:t> </a:t>
            </a:r>
            <a:r>
              <a:rPr lang="en-US" baseline="0" dirty="0" err="1" smtClean="0"/>
              <a:t>ialah</a:t>
            </a:r>
            <a:r>
              <a:rPr lang="en-US" baseline="0" dirty="0" smtClean="0"/>
              <a:t> </a:t>
            </a:r>
            <a:r>
              <a:rPr lang="en-US" baseline="0" dirty="0" err="1" smtClean="0"/>
              <a:t>hubungan</a:t>
            </a:r>
            <a:r>
              <a:rPr lang="en-US" baseline="0" dirty="0" smtClean="0"/>
              <a:t> </a:t>
            </a:r>
            <a:r>
              <a:rPr lang="en-US" baseline="0" dirty="0" err="1" smtClean="0"/>
              <a:t>dengan</a:t>
            </a:r>
            <a:r>
              <a:rPr lang="en-US" baseline="0" dirty="0" smtClean="0"/>
              <a:t> </a:t>
            </a:r>
            <a:r>
              <a:rPr lang="en-US" baseline="0" dirty="0" err="1" smtClean="0"/>
              <a:t>institusi</a:t>
            </a:r>
            <a:r>
              <a:rPr lang="en-US" baseline="0" dirty="0" smtClean="0"/>
              <a:t> </a:t>
            </a:r>
            <a:r>
              <a:rPr lang="en-US" baseline="0" dirty="0" err="1" smtClean="0"/>
              <a:t>bukan</a:t>
            </a:r>
            <a:r>
              <a:rPr lang="en-US" baseline="0" dirty="0" smtClean="0"/>
              <a:t> </a:t>
            </a:r>
            <a:r>
              <a:rPr lang="en-US" baseline="0" dirty="0" err="1" smtClean="0"/>
              <a:t>sekolah</a:t>
            </a:r>
            <a:r>
              <a:rPr lang="en-US" baseline="0" dirty="0" smtClean="0"/>
              <a:t> (</a:t>
            </a:r>
            <a:r>
              <a:rPr lang="en-US" baseline="0" dirty="0" err="1" smtClean="0"/>
              <a:t>Universiti</a:t>
            </a:r>
            <a:r>
              <a:rPr lang="en-US" baseline="0" dirty="0" smtClean="0"/>
              <a:t>, </a:t>
            </a:r>
            <a:r>
              <a:rPr lang="en-US" baseline="0" dirty="0" err="1" smtClean="0"/>
              <a:t>swasta</a:t>
            </a:r>
            <a:r>
              <a:rPr lang="en-US" baseline="0" dirty="0" smtClean="0"/>
              <a:t> </a:t>
            </a:r>
            <a:r>
              <a:rPr lang="en-US" baseline="0" dirty="0" err="1" smtClean="0"/>
              <a:t>dan</a:t>
            </a:r>
            <a:r>
              <a:rPr lang="en-US" baseline="0" dirty="0" smtClean="0"/>
              <a:t> NGO) yang </a:t>
            </a:r>
            <a:r>
              <a:rPr lang="en-US" baseline="0" dirty="0" err="1" smtClean="0"/>
              <a:t>memberi</a:t>
            </a:r>
            <a:r>
              <a:rPr lang="en-US" baseline="0" dirty="0" smtClean="0"/>
              <a:t> </a:t>
            </a:r>
            <a:r>
              <a:rPr lang="en-US" baseline="0" dirty="0" err="1" smtClean="0"/>
              <a:t>faedah</a:t>
            </a:r>
            <a:r>
              <a:rPr lang="en-US" baseline="0" dirty="0" smtClean="0"/>
              <a:t> </a:t>
            </a:r>
            <a:r>
              <a:rPr lang="en-US" baseline="0" dirty="0" err="1" smtClean="0"/>
              <a:t>kepada</a:t>
            </a:r>
            <a:r>
              <a:rPr lang="en-US" baseline="0" dirty="0" smtClean="0"/>
              <a:t> </a:t>
            </a:r>
            <a:r>
              <a:rPr lang="en-US" baseline="0" dirty="0" err="1" smtClean="0"/>
              <a:t>pihak</a:t>
            </a:r>
            <a:r>
              <a:rPr lang="en-US" baseline="0" dirty="0" smtClean="0"/>
              <a:t> </a:t>
            </a:r>
            <a:r>
              <a:rPr lang="en-US" baseline="0" dirty="0" err="1" smtClean="0"/>
              <a:t>sekolah</a:t>
            </a:r>
            <a:r>
              <a:rPr lang="en-US" baseline="0" dirty="0" smtClean="0"/>
              <a:t>.</a:t>
            </a:r>
          </a:p>
          <a:p>
            <a:endParaRPr lang="en-US" baseline="0" dirty="0" smtClean="0"/>
          </a:p>
          <a:p>
            <a:r>
              <a:rPr lang="en-US" baseline="0" dirty="0" err="1" smtClean="0"/>
              <a:t>Tugas</a:t>
            </a:r>
            <a:r>
              <a:rPr lang="en-US" baseline="0" dirty="0" smtClean="0"/>
              <a:t> </a:t>
            </a:r>
            <a:r>
              <a:rPr lang="en-US" baseline="0" dirty="0" err="1" smtClean="0"/>
              <a:t>Sampingan</a:t>
            </a:r>
            <a:r>
              <a:rPr lang="en-US" baseline="0" dirty="0" smtClean="0"/>
              <a:t> – </a:t>
            </a:r>
            <a:r>
              <a:rPr lang="en-US" baseline="0" dirty="0" err="1" smtClean="0"/>
              <a:t>tugas</a:t>
            </a:r>
            <a:r>
              <a:rPr lang="en-US" baseline="0" dirty="0" smtClean="0"/>
              <a:t> yang </a:t>
            </a:r>
            <a:r>
              <a:rPr lang="en-US" baseline="0" dirty="0" err="1" smtClean="0"/>
              <a:t>diarahkan</a:t>
            </a:r>
            <a:r>
              <a:rPr lang="en-US" baseline="0" dirty="0" smtClean="0"/>
              <a:t> </a:t>
            </a:r>
            <a:r>
              <a:rPr lang="en-US" baseline="0" dirty="0" err="1" smtClean="0"/>
              <a:t>oleh</a:t>
            </a:r>
            <a:r>
              <a:rPr lang="en-US" baseline="0" dirty="0" smtClean="0"/>
              <a:t> </a:t>
            </a:r>
            <a:r>
              <a:rPr lang="en-US" baseline="0" dirty="0" err="1" smtClean="0"/>
              <a:t>ketua</a:t>
            </a:r>
            <a:r>
              <a:rPr lang="en-US" baseline="0" dirty="0" smtClean="0"/>
              <a:t> </a:t>
            </a:r>
            <a:r>
              <a:rPr lang="en-US" baseline="0" dirty="0" err="1" smtClean="0"/>
              <a:t>jabatan</a:t>
            </a:r>
            <a:r>
              <a:rPr lang="en-US" baseline="0" dirty="0" smtClean="0"/>
              <a:t> </a:t>
            </a:r>
            <a:r>
              <a:rPr lang="en-US" baseline="0" dirty="0" err="1" smtClean="0"/>
              <a:t>dari</a:t>
            </a:r>
            <a:r>
              <a:rPr lang="en-US" baseline="0" dirty="0" smtClean="0"/>
              <a:t> </a:t>
            </a:r>
            <a:r>
              <a:rPr lang="en-US" baseline="0" dirty="0" err="1" smtClean="0"/>
              <a:t>semasa</a:t>
            </a:r>
            <a:r>
              <a:rPr lang="en-US" baseline="0" dirty="0" smtClean="0"/>
              <a:t> </a:t>
            </a:r>
            <a:r>
              <a:rPr lang="en-US" baseline="0" dirty="0" err="1" smtClean="0"/>
              <a:t>ke</a:t>
            </a:r>
            <a:r>
              <a:rPr lang="en-US" baseline="0" dirty="0" smtClean="0"/>
              <a:t> </a:t>
            </a:r>
            <a:r>
              <a:rPr lang="en-US" baseline="0" dirty="0" err="1" smtClean="0"/>
              <a:t>semasa</a:t>
            </a:r>
            <a:r>
              <a:rPr lang="en-US" baseline="0" dirty="0" smtClean="0"/>
              <a:t> </a:t>
            </a:r>
            <a:r>
              <a:rPr lang="en-US" baseline="0" dirty="0" err="1" smtClean="0"/>
              <a:t>berkaitan</a:t>
            </a:r>
            <a:r>
              <a:rPr lang="en-US" baseline="0" dirty="0" smtClean="0"/>
              <a:t> </a:t>
            </a:r>
            <a:r>
              <a:rPr lang="en-US" baseline="0" dirty="0" err="1" smtClean="0"/>
              <a:t>bidang</a:t>
            </a:r>
            <a:r>
              <a:rPr lang="en-US" baseline="0" dirty="0" smtClean="0"/>
              <a:t> </a:t>
            </a:r>
            <a:r>
              <a:rPr lang="en-US" baseline="0" dirty="0" err="1" smtClean="0"/>
              <a:t>tugas</a:t>
            </a:r>
            <a:r>
              <a:rPr lang="en-US" baseline="0" dirty="0" smtClean="0"/>
              <a:t>.</a:t>
            </a:r>
          </a:p>
          <a:p>
            <a:endParaRPr lang="en-US" baseline="0" dirty="0" smtClean="0"/>
          </a:p>
          <a:p>
            <a:r>
              <a:rPr lang="en-US" baseline="0" dirty="0" err="1" smtClean="0"/>
              <a:t>Sumbangan</a:t>
            </a:r>
            <a:r>
              <a:rPr lang="en-US" baseline="0" dirty="0" smtClean="0"/>
              <a:t> </a:t>
            </a:r>
            <a:r>
              <a:rPr lang="en-US" baseline="0" dirty="0" err="1" smtClean="0"/>
              <a:t>profesional</a:t>
            </a:r>
            <a:r>
              <a:rPr lang="en-US" baseline="0" dirty="0" smtClean="0"/>
              <a:t> </a:t>
            </a:r>
            <a:r>
              <a:rPr lang="en-US" baseline="0" dirty="0" err="1" smtClean="0"/>
              <a:t>atau</a:t>
            </a:r>
            <a:r>
              <a:rPr lang="en-US" baseline="0" dirty="0" smtClean="0"/>
              <a:t> </a:t>
            </a:r>
            <a:r>
              <a:rPr lang="en-US" baseline="0" dirty="0" err="1" smtClean="0"/>
              <a:t>sosial</a:t>
            </a:r>
            <a:r>
              <a:rPr lang="en-US" baseline="0" dirty="0" smtClean="0"/>
              <a:t> – </a:t>
            </a:r>
            <a:r>
              <a:rPr lang="en-US" baseline="0" dirty="0" err="1" smtClean="0"/>
              <a:t>melibatkan</a:t>
            </a:r>
            <a:r>
              <a:rPr lang="en-US" baseline="0" dirty="0" smtClean="0"/>
              <a:t> </a:t>
            </a:r>
            <a:r>
              <a:rPr lang="en-US" baseline="0" dirty="0" err="1" smtClean="0"/>
              <a:t>diri</a:t>
            </a:r>
            <a:r>
              <a:rPr lang="en-US" baseline="0" dirty="0" smtClean="0"/>
              <a:t> </a:t>
            </a:r>
            <a:r>
              <a:rPr lang="en-US" baseline="0" dirty="0" err="1" smtClean="0"/>
              <a:t>dalam</a:t>
            </a:r>
            <a:r>
              <a:rPr lang="en-US" baseline="0" dirty="0" smtClean="0"/>
              <a:t> </a:t>
            </a:r>
            <a:r>
              <a:rPr lang="en-US" baseline="0" dirty="0" err="1" smtClean="0"/>
              <a:t>sumbangan</a:t>
            </a:r>
            <a:r>
              <a:rPr lang="en-US" baseline="0" dirty="0" smtClean="0"/>
              <a:t> </a:t>
            </a:r>
            <a:r>
              <a:rPr lang="en-US" baseline="0" dirty="0" err="1" smtClean="0"/>
              <a:t>selain</a:t>
            </a:r>
            <a:r>
              <a:rPr lang="en-US" baseline="0" dirty="0" smtClean="0"/>
              <a:t> </a:t>
            </a:r>
            <a:r>
              <a:rPr lang="en-US" baseline="0" dirty="0" err="1" smtClean="0"/>
              <a:t>daripada</a:t>
            </a:r>
            <a:r>
              <a:rPr lang="en-US" baseline="0" dirty="0" smtClean="0"/>
              <a:t> </a:t>
            </a:r>
            <a:r>
              <a:rPr lang="en-US" baseline="0" dirty="0" err="1" smtClean="0"/>
              <a:t>tugasan</a:t>
            </a:r>
            <a:r>
              <a:rPr lang="en-US" baseline="0" dirty="0" smtClean="0"/>
              <a:t> </a:t>
            </a:r>
            <a:r>
              <a:rPr lang="en-US" baseline="0" dirty="0" err="1" smtClean="0"/>
              <a:t>hakiki</a:t>
            </a:r>
            <a:r>
              <a:rPr lang="en-US" baseline="0" dirty="0" smtClean="0"/>
              <a:t> </a:t>
            </a:r>
            <a:r>
              <a:rPr lang="en-US" baseline="0" dirty="0" err="1" smtClean="0"/>
              <a:t>dan</a:t>
            </a:r>
            <a:r>
              <a:rPr lang="en-US" baseline="0" dirty="0" smtClean="0"/>
              <a:t> </a:t>
            </a:r>
            <a:r>
              <a:rPr lang="en-US" baseline="0" dirty="0" err="1" smtClean="0"/>
              <a:t>tugasan</a:t>
            </a:r>
            <a:r>
              <a:rPr lang="en-US" baseline="0" dirty="0" smtClean="0"/>
              <a:t> </a:t>
            </a:r>
            <a:r>
              <a:rPr lang="en-US" baseline="0" dirty="0" err="1" smtClean="0"/>
              <a:t>sampingan</a:t>
            </a:r>
            <a:r>
              <a:rPr lang="en-US" baseline="0" dirty="0" smtClean="0"/>
              <a:t>. </a:t>
            </a:r>
          </a:p>
          <a:p>
            <a:endParaRPr lang="en-US" baseline="0" dirty="0" smtClean="0"/>
          </a:p>
          <a:p>
            <a:endParaRPr lang="en-US" baseline="0" dirty="0" smtClean="0"/>
          </a:p>
          <a:p>
            <a:r>
              <a:rPr lang="en-US" b="1" baseline="0" dirty="0" smtClean="0">
                <a:solidFill>
                  <a:srgbClr val="FF0000"/>
                </a:solidFill>
              </a:rPr>
              <a:t>**RUJUK GARIS PANDUAN TERKINI</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59</a:t>
            </a:fld>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dirty="0" smtClean="0"/>
              <a:t># BACA SLAID</a:t>
            </a:r>
          </a:p>
          <a:p>
            <a:endParaRPr lang="en-US" dirty="0" smtClean="0"/>
          </a:p>
          <a:p>
            <a:r>
              <a:rPr lang="en-US" dirty="0" err="1" smtClean="0"/>
              <a:t>Ujian</a:t>
            </a:r>
            <a:r>
              <a:rPr lang="en-US" dirty="0" smtClean="0"/>
              <a:t> </a:t>
            </a:r>
            <a:r>
              <a:rPr lang="en-US" dirty="0" err="1" smtClean="0"/>
              <a:t>Psikometrik</a:t>
            </a:r>
            <a:r>
              <a:rPr lang="en-US" dirty="0" smtClean="0"/>
              <a:t>– </a:t>
            </a:r>
            <a:r>
              <a:rPr lang="en-US" dirty="0" err="1" smtClean="0"/>
              <a:t>Ujian</a:t>
            </a:r>
            <a:r>
              <a:rPr lang="en-US" dirty="0" smtClean="0"/>
              <a:t> </a:t>
            </a:r>
            <a:r>
              <a:rPr lang="en-US" dirty="0" err="1" smtClean="0"/>
              <a:t>untuk</a:t>
            </a:r>
            <a:r>
              <a:rPr lang="en-US" baseline="0" dirty="0" smtClean="0"/>
              <a:t> </a:t>
            </a:r>
            <a:r>
              <a:rPr lang="en-US" baseline="0" dirty="0" err="1" smtClean="0"/>
              <a:t>mengenal</a:t>
            </a:r>
            <a:r>
              <a:rPr lang="en-US" baseline="0" dirty="0" smtClean="0"/>
              <a:t> </a:t>
            </a:r>
            <a:r>
              <a:rPr lang="en-US" baseline="0" dirty="0" err="1" smtClean="0"/>
              <a:t>pasti</a:t>
            </a:r>
            <a:r>
              <a:rPr lang="en-US" baseline="0" dirty="0" smtClean="0"/>
              <a:t> </a:t>
            </a:r>
            <a:r>
              <a:rPr lang="en-US" dirty="0" err="1" smtClean="0"/>
              <a:t>minat</a:t>
            </a:r>
            <a:r>
              <a:rPr lang="en-US" dirty="0" smtClean="0"/>
              <a:t>, </a:t>
            </a:r>
            <a:r>
              <a:rPr lang="en-US" dirty="0" err="1" smtClean="0"/>
              <a:t>kecenderungan</a:t>
            </a:r>
            <a:r>
              <a:rPr lang="en-US" baseline="0" dirty="0" smtClean="0"/>
              <a:t> </a:t>
            </a:r>
            <a:r>
              <a:rPr lang="en-US" baseline="0" dirty="0" err="1" smtClean="0"/>
              <a:t>dan</a:t>
            </a:r>
            <a:r>
              <a:rPr lang="en-US" baseline="0" dirty="0" smtClean="0"/>
              <a:t> </a:t>
            </a:r>
            <a:r>
              <a:rPr lang="en-US" baseline="0" dirty="0" err="1" smtClean="0"/>
              <a:t>ba</a:t>
            </a:r>
            <a:r>
              <a:rPr lang="en-US" dirty="0" err="1" smtClean="0"/>
              <a:t>kat</a:t>
            </a:r>
            <a:r>
              <a:rPr lang="en-US" dirty="0" smtClean="0"/>
              <a:t>. </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64</a:t>
            </a:fld>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Kaedah</a:t>
            </a:r>
            <a:r>
              <a:rPr lang="en-US" dirty="0" smtClean="0"/>
              <a:t> </a:t>
            </a:r>
            <a:r>
              <a:rPr lang="en-US" dirty="0" err="1" smtClean="0"/>
              <a:t>Penilaian</a:t>
            </a:r>
            <a:r>
              <a:rPr lang="en-US" dirty="0" smtClean="0"/>
              <a:t> </a:t>
            </a:r>
            <a:r>
              <a:rPr lang="en-US" dirty="0" err="1" smtClean="0"/>
              <a:t>terdiri</a:t>
            </a:r>
            <a:r>
              <a:rPr lang="en-US" baseline="0" dirty="0" smtClean="0"/>
              <a:t> </a:t>
            </a:r>
            <a:r>
              <a:rPr lang="en-US" baseline="0" dirty="0" err="1" smtClean="0"/>
              <a:t>daripada</a:t>
            </a:r>
            <a:r>
              <a:rPr lang="en-US" baseline="0" dirty="0" smtClean="0"/>
              <a:t> 4 </a:t>
            </a:r>
            <a:r>
              <a:rPr lang="en-US" baseline="0" dirty="0" err="1" smtClean="0"/>
              <a:t>komponen</a:t>
            </a:r>
            <a:r>
              <a:rPr lang="en-US" baseline="0" dirty="0" smtClean="0"/>
              <a:t> </a:t>
            </a:r>
            <a:r>
              <a:rPr lang="en-US" baseline="0" dirty="0" err="1" smtClean="0"/>
              <a:t>iaitu</a:t>
            </a:r>
            <a:r>
              <a:rPr lang="en-US" baseline="0" dirty="0" smtClean="0"/>
              <a:t>:</a:t>
            </a:r>
          </a:p>
          <a:p>
            <a:pPr lvl="0">
              <a:buFont typeface="Arial" pitchFamily="34" charset="0"/>
              <a:buChar char="•"/>
            </a:pPr>
            <a:r>
              <a:rPr lang="en-US" baseline="0" dirty="0" err="1" smtClean="0"/>
              <a:t>Semakan</a:t>
            </a:r>
            <a:r>
              <a:rPr lang="en-US" baseline="0" dirty="0" smtClean="0"/>
              <a:t> </a:t>
            </a:r>
            <a:r>
              <a:rPr lang="en-US" baseline="0" dirty="0" err="1" smtClean="0"/>
              <a:t>bahan</a:t>
            </a:r>
            <a:r>
              <a:rPr lang="en-US" baseline="0" dirty="0" smtClean="0"/>
              <a:t> (A)</a:t>
            </a:r>
          </a:p>
          <a:p>
            <a:pPr>
              <a:buFont typeface="Arial" pitchFamily="34" charset="0"/>
              <a:buChar char="•"/>
            </a:pPr>
            <a:r>
              <a:rPr lang="en-US" baseline="0" dirty="0" err="1" smtClean="0"/>
              <a:t>Temu</a:t>
            </a:r>
            <a:r>
              <a:rPr lang="en-US" baseline="0" dirty="0" smtClean="0"/>
              <a:t> </a:t>
            </a:r>
            <a:r>
              <a:rPr lang="en-US" baseline="0" dirty="0" err="1" smtClean="0"/>
              <a:t>bual</a:t>
            </a:r>
            <a:r>
              <a:rPr lang="en-US" baseline="0" dirty="0" smtClean="0"/>
              <a:t> (B)</a:t>
            </a:r>
          </a:p>
          <a:p>
            <a:pPr>
              <a:buFont typeface="Arial" pitchFamily="34" charset="0"/>
              <a:buChar char="•"/>
            </a:pPr>
            <a:r>
              <a:rPr lang="en-US" baseline="0" dirty="0" err="1" smtClean="0"/>
              <a:t>Pencerapan</a:t>
            </a:r>
            <a:r>
              <a:rPr lang="en-US" baseline="0" dirty="0" smtClean="0"/>
              <a:t> (C)</a:t>
            </a:r>
          </a:p>
          <a:p>
            <a:pPr>
              <a:buFont typeface="Arial" pitchFamily="34" charset="0"/>
              <a:buChar char="•"/>
            </a:pPr>
            <a:r>
              <a:rPr lang="en-US" baseline="0" dirty="0" err="1" smtClean="0"/>
              <a:t>Pemerhatian</a:t>
            </a:r>
            <a:r>
              <a:rPr lang="en-US" baseline="0" dirty="0" smtClean="0"/>
              <a:t> (D)</a:t>
            </a:r>
            <a:endParaRPr lang="en-US" dirty="0" smtClean="0"/>
          </a:p>
          <a:p>
            <a:pPr>
              <a:buFontTx/>
              <a:buChar char="-"/>
            </a:pPr>
            <a:r>
              <a:rPr lang="en-US" baseline="0" dirty="0" smtClean="0"/>
              <a:t> PP </a:t>
            </a:r>
            <a:r>
              <a:rPr lang="en-US" baseline="0" dirty="0" err="1" smtClean="0"/>
              <a:t>boleh</a:t>
            </a:r>
            <a:r>
              <a:rPr lang="en-US" baseline="0" dirty="0" smtClean="0"/>
              <a:t> </a:t>
            </a:r>
            <a:r>
              <a:rPr lang="en-US" baseline="0" dirty="0" err="1" smtClean="0"/>
              <a:t>menilai</a:t>
            </a:r>
            <a:r>
              <a:rPr lang="en-US" baseline="0" dirty="0" smtClean="0"/>
              <a:t> </a:t>
            </a:r>
            <a:r>
              <a:rPr lang="en-US" baseline="0" dirty="0" err="1" smtClean="0"/>
              <a:t>dengan</a:t>
            </a:r>
            <a:r>
              <a:rPr lang="en-US" baseline="0" dirty="0" smtClean="0"/>
              <a:t> </a:t>
            </a:r>
            <a:r>
              <a:rPr lang="en-US" baseline="0" dirty="0" err="1" smtClean="0"/>
              <a:t>menggunakan</a:t>
            </a:r>
            <a:r>
              <a:rPr lang="en-US" baseline="0" dirty="0" smtClean="0"/>
              <a:t> </a:t>
            </a:r>
            <a:r>
              <a:rPr lang="en-US" baseline="0" dirty="0" err="1" smtClean="0"/>
              <a:t>satu</a:t>
            </a:r>
            <a:r>
              <a:rPr lang="en-US" baseline="0" dirty="0" smtClean="0"/>
              <a:t> </a:t>
            </a:r>
            <a:r>
              <a:rPr lang="en-US" baseline="0" dirty="0" err="1" smtClean="0"/>
              <a:t>atau</a:t>
            </a:r>
            <a:r>
              <a:rPr lang="en-US" baseline="0" dirty="0" smtClean="0"/>
              <a:t> </a:t>
            </a:r>
            <a:r>
              <a:rPr lang="en-US" baseline="0" dirty="0" err="1" smtClean="0"/>
              <a:t>lebih</a:t>
            </a:r>
            <a:r>
              <a:rPr lang="en-US" baseline="0" dirty="0" smtClean="0"/>
              <a:t> </a:t>
            </a:r>
            <a:r>
              <a:rPr lang="en-US" baseline="0" dirty="0" err="1" smtClean="0"/>
              <a:t>daripada</a:t>
            </a:r>
            <a:r>
              <a:rPr lang="en-US" baseline="0" dirty="0" smtClean="0"/>
              <a:t> </a:t>
            </a:r>
            <a:r>
              <a:rPr lang="en-US" baseline="0" dirty="0" err="1" smtClean="0"/>
              <a:t>kaedah</a:t>
            </a:r>
            <a:r>
              <a:rPr lang="en-US" baseline="0" dirty="0" smtClean="0"/>
              <a:t> </a:t>
            </a:r>
            <a:r>
              <a:rPr lang="ms-MY" sz="1200" b="0" dirty="0" smtClean="0">
                <a:solidFill>
                  <a:schemeClr val="tx1"/>
                </a:solidFill>
                <a:latin typeface="Arial" pitchFamily="34" charset="0"/>
                <a:cs typeface="Arial" pitchFamily="34" charset="0"/>
              </a:rPr>
              <a:t>penilaian berdasarkan kesesuaian untuk meningkatkan kesahan dan kebolehpercayaan penilaian</a:t>
            </a:r>
            <a:endParaRPr lang="en-US" b="0" baseline="0" dirty="0" smtClean="0"/>
          </a:p>
          <a:p>
            <a:pPr>
              <a:buFontTx/>
              <a:buChar char="-"/>
            </a:pPr>
            <a:r>
              <a:rPr lang="en-US" baseline="0" dirty="0" err="1" smtClean="0"/>
              <a:t>Terpulang</a:t>
            </a:r>
            <a:r>
              <a:rPr lang="en-US" baseline="0" dirty="0" smtClean="0"/>
              <a:t> </a:t>
            </a:r>
            <a:r>
              <a:rPr lang="en-US" baseline="0" dirty="0" err="1" smtClean="0"/>
              <a:t>kepada</a:t>
            </a:r>
            <a:r>
              <a:rPr lang="en-US" baseline="0" dirty="0" smtClean="0"/>
              <a:t> </a:t>
            </a:r>
            <a:r>
              <a:rPr lang="en-US" baseline="0" dirty="0" err="1" smtClean="0"/>
              <a:t>pertimbangan</a:t>
            </a:r>
            <a:r>
              <a:rPr lang="en-US" baseline="0" dirty="0" smtClean="0"/>
              <a:t> PP </a:t>
            </a:r>
            <a:r>
              <a:rPr lang="en-US" baseline="0" dirty="0" err="1" smtClean="0"/>
              <a:t>supaya</a:t>
            </a:r>
            <a:r>
              <a:rPr lang="en-US" baseline="0" dirty="0" smtClean="0"/>
              <a:t> </a:t>
            </a:r>
            <a:r>
              <a:rPr lang="en-US" baseline="0" dirty="0" err="1" smtClean="0"/>
              <a:t>penilaian</a:t>
            </a:r>
            <a:r>
              <a:rPr lang="en-US" baseline="0" dirty="0" smtClean="0"/>
              <a:t> </a:t>
            </a:r>
            <a:r>
              <a:rPr lang="en-US" baseline="0" dirty="0" err="1" smtClean="0"/>
              <a:t>dapat</a:t>
            </a:r>
            <a:r>
              <a:rPr lang="en-US" baseline="0" dirty="0" smtClean="0"/>
              <a:t> </a:t>
            </a:r>
            <a:r>
              <a:rPr lang="en-US" baseline="0" dirty="0" err="1" smtClean="0"/>
              <a:t>diberikan</a:t>
            </a:r>
            <a:r>
              <a:rPr lang="en-US" baseline="0" dirty="0" smtClean="0"/>
              <a:t> </a:t>
            </a:r>
            <a:r>
              <a:rPr lang="en-US" baseline="0" dirty="0" err="1" smtClean="0"/>
              <a:t>dengan</a:t>
            </a:r>
            <a:r>
              <a:rPr lang="en-US" baseline="0" dirty="0" smtClean="0"/>
              <a:t> </a:t>
            </a:r>
            <a:r>
              <a:rPr lang="en-US" baseline="0" dirty="0" err="1" smtClean="0"/>
              <a:t>seberapa</a:t>
            </a:r>
            <a:r>
              <a:rPr lang="en-US" baseline="0" dirty="0" smtClean="0"/>
              <a:t> </a:t>
            </a:r>
            <a:r>
              <a:rPr lang="en-US" baseline="0" dirty="0" err="1" smtClean="0"/>
              <a:t>tepat</a:t>
            </a:r>
            <a:r>
              <a:rPr lang="en-US" baseline="0" dirty="0" smtClean="0"/>
              <a:t> agar </a:t>
            </a:r>
            <a:r>
              <a:rPr lang="en-US" baseline="0" dirty="0" err="1" smtClean="0"/>
              <a:t>ianya</a:t>
            </a:r>
            <a:r>
              <a:rPr lang="en-US" baseline="0" dirty="0" smtClean="0"/>
              <a:t> </a:t>
            </a:r>
            <a:r>
              <a:rPr lang="en-US" baseline="0" dirty="0" err="1" smtClean="0"/>
              <a:t>adil</a:t>
            </a:r>
            <a:r>
              <a:rPr lang="en-US" baseline="0" dirty="0" smtClean="0"/>
              <a:t> </a:t>
            </a:r>
            <a:r>
              <a:rPr lang="en-US" baseline="0" dirty="0" err="1" smtClean="0"/>
              <a:t>dan</a:t>
            </a:r>
            <a:r>
              <a:rPr lang="en-US" baseline="0" dirty="0" smtClean="0"/>
              <a:t> </a:t>
            </a:r>
            <a:r>
              <a:rPr lang="en-US" baseline="0" dirty="0" err="1" smtClean="0"/>
              <a:t>munasabah</a:t>
            </a:r>
            <a:r>
              <a:rPr lang="en-US" baseline="0" dirty="0" smtClean="0"/>
              <a:t>.</a:t>
            </a:r>
          </a:p>
          <a:p>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66</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MY" dirty="0" smtClean="0"/>
              <a:t>Surat </a:t>
            </a:r>
            <a:r>
              <a:rPr lang="en-MY" dirty="0" err="1" smtClean="0"/>
              <a:t>Arahan</a:t>
            </a:r>
            <a:r>
              <a:rPr lang="en-MY" dirty="0" smtClean="0"/>
              <a:t> </a:t>
            </a:r>
            <a:r>
              <a:rPr lang="en-MY" dirty="0" err="1" smtClean="0"/>
              <a:t>Pelaksanaan</a:t>
            </a:r>
            <a:r>
              <a:rPr lang="en-MY" baseline="0" dirty="0" smtClean="0"/>
              <a:t> PBPPP yang </a:t>
            </a:r>
            <a:r>
              <a:rPr lang="en-MY" baseline="0" dirty="0" err="1" smtClean="0"/>
              <a:t>bertarikh</a:t>
            </a:r>
            <a:r>
              <a:rPr lang="en-MY" baseline="0" dirty="0" smtClean="0"/>
              <a:t> 27 Mac 2015 </a:t>
            </a:r>
            <a:r>
              <a:rPr lang="en-MY" baseline="0" dirty="0" err="1" smtClean="0"/>
              <a:t>daripada</a:t>
            </a:r>
            <a:r>
              <a:rPr lang="en-MY" baseline="0" dirty="0" smtClean="0"/>
              <a:t> </a:t>
            </a:r>
            <a:r>
              <a:rPr lang="en-MY" baseline="0" dirty="0" err="1" smtClean="0"/>
              <a:t>YBhg</a:t>
            </a:r>
            <a:r>
              <a:rPr lang="en-MY" baseline="0" dirty="0" smtClean="0"/>
              <a:t>. Tan Sri Dr. </a:t>
            </a:r>
            <a:r>
              <a:rPr lang="en-MY" baseline="0" dirty="0" err="1" smtClean="0"/>
              <a:t>Madinah</a:t>
            </a:r>
            <a:r>
              <a:rPr lang="en-MY" baseline="0" dirty="0" smtClean="0"/>
              <a:t> binti Mohamad, </a:t>
            </a:r>
            <a:r>
              <a:rPr lang="en-MY" baseline="0" dirty="0" err="1" smtClean="0"/>
              <a:t>Ketua</a:t>
            </a:r>
            <a:r>
              <a:rPr lang="en-MY" baseline="0" dirty="0" smtClean="0"/>
              <a:t> </a:t>
            </a:r>
            <a:r>
              <a:rPr lang="en-MY" baseline="0" dirty="0" err="1" smtClean="0"/>
              <a:t>Setiausaha</a:t>
            </a:r>
            <a:r>
              <a:rPr lang="en-MY" baseline="0" dirty="0" smtClean="0"/>
              <a:t> </a:t>
            </a:r>
            <a:r>
              <a:rPr lang="en-MY" baseline="0" dirty="0" err="1" smtClean="0"/>
              <a:t>Kementerian</a:t>
            </a:r>
            <a:r>
              <a:rPr lang="en-MY" baseline="0" dirty="0" smtClean="0"/>
              <a:t> </a:t>
            </a:r>
            <a:r>
              <a:rPr lang="en-MY" baseline="0" dirty="0" err="1" smtClean="0"/>
              <a:t>Pendidikan</a:t>
            </a:r>
            <a:r>
              <a:rPr lang="en-MY" baseline="0" dirty="0" smtClean="0"/>
              <a:t> Malaysia.</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6</a:t>
            </a:fld>
            <a:endParaRPr 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Contoh</a:t>
            </a:r>
            <a:r>
              <a:rPr lang="en-US" dirty="0" smtClean="0"/>
              <a:t> </a:t>
            </a:r>
            <a:r>
              <a:rPr lang="en-US" dirty="0" err="1" smtClean="0"/>
              <a:t>Penggunaan</a:t>
            </a:r>
            <a:r>
              <a:rPr lang="en-US" dirty="0" smtClean="0"/>
              <a:t> </a:t>
            </a:r>
            <a:r>
              <a:rPr lang="en-US" dirty="0" err="1" smtClean="0"/>
              <a:t>Kaedah</a:t>
            </a:r>
            <a:r>
              <a:rPr lang="en-US" dirty="0" smtClean="0"/>
              <a:t> </a:t>
            </a:r>
            <a:r>
              <a:rPr lang="en-US" dirty="0" err="1" smtClean="0"/>
              <a:t>Semakan</a:t>
            </a:r>
            <a:r>
              <a:rPr lang="en-US" dirty="0" smtClean="0"/>
              <a:t> </a:t>
            </a:r>
            <a:r>
              <a:rPr lang="en-US" dirty="0" err="1" smtClean="0"/>
              <a:t>Bahan</a:t>
            </a:r>
            <a:endParaRPr lang="en-US" dirty="0" smtClean="0"/>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dirty="0" smtClean="0"/>
              <a:t># BACA SLAID</a:t>
            </a:r>
          </a:p>
          <a:p>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67</a:t>
            </a:fld>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r>
              <a:rPr lang="en-US" baseline="0" dirty="0" err="1" smtClean="0"/>
              <a:t>Temu</a:t>
            </a:r>
            <a:r>
              <a:rPr lang="en-US" baseline="0" dirty="0" smtClean="0"/>
              <a:t> </a:t>
            </a:r>
            <a:r>
              <a:rPr lang="en-US" baseline="0" dirty="0" err="1" smtClean="0"/>
              <a:t>bual</a:t>
            </a:r>
            <a:r>
              <a:rPr lang="en-US" baseline="0" dirty="0" smtClean="0"/>
              <a:t> </a:t>
            </a:r>
            <a:r>
              <a:rPr lang="en-US" baseline="0" dirty="0" err="1" smtClean="0"/>
              <a:t>dibuat</a:t>
            </a:r>
            <a:r>
              <a:rPr lang="en-US" baseline="0" dirty="0" smtClean="0"/>
              <a:t> </a:t>
            </a:r>
            <a:r>
              <a:rPr lang="en-US" baseline="0" dirty="0" err="1" smtClean="0"/>
              <a:t>secara</a:t>
            </a:r>
            <a:r>
              <a:rPr lang="en-US" baseline="0" dirty="0" smtClean="0"/>
              <a:t> formal </a:t>
            </a:r>
            <a:r>
              <a:rPr lang="en-US" baseline="0" dirty="0" err="1" smtClean="0"/>
              <a:t>atau</a:t>
            </a:r>
            <a:r>
              <a:rPr lang="en-US" baseline="0" dirty="0" smtClean="0"/>
              <a:t> </a:t>
            </a:r>
            <a:r>
              <a:rPr lang="en-US" baseline="0" dirty="0" err="1" smtClean="0"/>
              <a:t>tidak</a:t>
            </a:r>
            <a:r>
              <a:rPr lang="en-US" baseline="0" dirty="0" smtClean="0"/>
              <a:t> formal </a:t>
            </a:r>
            <a:r>
              <a:rPr lang="en-US" baseline="0" dirty="0" err="1" smtClean="0"/>
              <a:t>tentang</a:t>
            </a:r>
            <a:r>
              <a:rPr lang="en-US" baseline="0" dirty="0" smtClean="0"/>
              <a:t> </a:t>
            </a:r>
            <a:r>
              <a:rPr lang="en-US" baseline="0" dirty="0" err="1" smtClean="0"/>
              <a:t>bidang</a:t>
            </a:r>
            <a:r>
              <a:rPr lang="en-US" baseline="0" dirty="0" smtClean="0"/>
              <a:t> </a:t>
            </a:r>
            <a:r>
              <a:rPr lang="en-US" baseline="0" dirty="0" err="1" smtClean="0"/>
              <a:t>tugas</a:t>
            </a:r>
            <a:r>
              <a:rPr lang="en-US" baseline="0" dirty="0" smtClean="0"/>
              <a:t> PYD.</a:t>
            </a:r>
          </a:p>
          <a:p>
            <a:pPr>
              <a:buFontTx/>
              <a:buChar char="-"/>
            </a:pPr>
            <a:r>
              <a:rPr lang="en-US" baseline="0" dirty="0" smtClean="0"/>
              <a:t> </a:t>
            </a:r>
            <a:r>
              <a:rPr lang="en-US" baseline="0" dirty="0" err="1" smtClean="0"/>
              <a:t>Boleh</a:t>
            </a:r>
            <a:r>
              <a:rPr lang="en-US" baseline="0" dirty="0" smtClean="0"/>
              <a:t> </a:t>
            </a:r>
            <a:r>
              <a:rPr lang="en-US" baseline="0" dirty="0" err="1" smtClean="0"/>
              <a:t>juga</a:t>
            </a:r>
            <a:r>
              <a:rPr lang="en-US" baseline="0" dirty="0" smtClean="0"/>
              <a:t> </a:t>
            </a:r>
            <a:r>
              <a:rPr lang="en-US" baseline="0" dirty="0" err="1" smtClean="0"/>
              <a:t>dibuat</a:t>
            </a:r>
            <a:r>
              <a:rPr lang="en-US" baseline="0" dirty="0" smtClean="0"/>
              <a:t> </a:t>
            </a:r>
            <a:r>
              <a:rPr lang="en-US" baseline="0" dirty="0" err="1" smtClean="0"/>
              <a:t>secara</a:t>
            </a:r>
            <a:r>
              <a:rPr lang="en-US" baseline="0" dirty="0" smtClean="0"/>
              <a:t> </a:t>
            </a:r>
            <a:r>
              <a:rPr lang="en-US" baseline="0" dirty="0" err="1" smtClean="0"/>
              <a:t>bersemuka</a:t>
            </a:r>
            <a:r>
              <a:rPr lang="en-US" baseline="0" dirty="0" smtClean="0"/>
              <a:t> </a:t>
            </a:r>
            <a:r>
              <a:rPr lang="en-US" baseline="0" dirty="0" err="1" smtClean="0"/>
              <a:t>atau</a:t>
            </a:r>
            <a:r>
              <a:rPr lang="en-US" baseline="0" dirty="0" smtClean="0"/>
              <a:t> </a:t>
            </a:r>
            <a:r>
              <a:rPr lang="en-US" baseline="0" dirty="0" err="1" smtClean="0"/>
              <a:t>elektronik</a:t>
            </a:r>
            <a:r>
              <a:rPr lang="en-US" baseline="0" dirty="0" smtClean="0"/>
              <a:t> (FB, </a:t>
            </a:r>
            <a:r>
              <a:rPr lang="en-US" baseline="0" dirty="0" err="1" smtClean="0"/>
              <a:t>Whatsapp</a:t>
            </a:r>
            <a:r>
              <a:rPr lang="en-US" baseline="0" dirty="0" smtClean="0"/>
              <a:t>, </a:t>
            </a:r>
            <a:r>
              <a:rPr lang="en-US" baseline="0" dirty="0" err="1" smtClean="0"/>
              <a:t>telefon</a:t>
            </a:r>
            <a:r>
              <a:rPr lang="en-US" baseline="0" dirty="0" smtClean="0"/>
              <a:t>, </a:t>
            </a:r>
            <a:r>
              <a:rPr lang="en-US" baseline="0" dirty="0" err="1" smtClean="0"/>
              <a:t>emel</a:t>
            </a:r>
            <a:r>
              <a:rPr lang="en-US" baseline="0" dirty="0" smtClean="0"/>
              <a:t>).</a:t>
            </a:r>
          </a:p>
          <a:p>
            <a:pPr>
              <a:buFontTx/>
              <a:buChar char="-"/>
            </a:pPr>
            <a:r>
              <a:rPr lang="en-US" baseline="0" dirty="0" smtClean="0"/>
              <a:t> </a:t>
            </a:r>
            <a:r>
              <a:rPr lang="en-US" baseline="0" dirty="0" err="1" smtClean="0"/>
              <a:t>Dicadangkan</a:t>
            </a:r>
            <a:r>
              <a:rPr lang="en-US" baseline="0" dirty="0" smtClean="0"/>
              <a:t> </a:t>
            </a:r>
            <a:r>
              <a:rPr lang="en-US" baseline="0" dirty="0" err="1" smtClean="0"/>
              <a:t>bahan</a:t>
            </a:r>
            <a:r>
              <a:rPr lang="en-US" baseline="0" dirty="0" smtClean="0"/>
              <a:t> </a:t>
            </a:r>
            <a:r>
              <a:rPr lang="en-US" baseline="0" dirty="0" err="1" smtClean="0"/>
              <a:t>temu</a:t>
            </a:r>
            <a:r>
              <a:rPr lang="en-US" baseline="0" dirty="0" smtClean="0"/>
              <a:t> </a:t>
            </a:r>
            <a:r>
              <a:rPr lang="en-US" baseline="0" dirty="0" err="1" smtClean="0"/>
              <a:t>bual</a:t>
            </a:r>
            <a:r>
              <a:rPr lang="en-US" baseline="0" dirty="0" smtClean="0"/>
              <a:t> </a:t>
            </a:r>
            <a:r>
              <a:rPr lang="en-US" baseline="0" dirty="0" err="1" smtClean="0"/>
              <a:t>dicatat</a:t>
            </a:r>
            <a:r>
              <a:rPr lang="en-US" baseline="0" dirty="0" smtClean="0"/>
              <a:t> </a:t>
            </a:r>
            <a:r>
              <a:rPr lang="en-US" baseline="0" dirty="0" err="1" smtClean="0"/>
              <a:t>untuk</a:t>
            </a:r>
            <a:r>
              <a:rPr lang="en-US" baseline="0" dirty="0" smtClean="0"/>
              <a:t> </a:t>
            </a:r>
            <a:r>
              <a:rPr lang="en-US" baseline="0" dirty="0" err="1" smtClean="0"/>
              <a:t>dijadikan</a:t>
            </a:r>
            <a:r>
              <a:rPr lang="en-US" baseline="0" dirty="0" smtClean="0"/>
              <a:t> </a:t>
            </a:r>
            <a:r>
              <a:rPr lang="en-US" baseline="0" dirty="0" err="1" smtClean="0"/>
              <a:t>bahan</a:t>
            </a:r>
            <a:r>
              <a:rPr lang="en-US" baseline="0" dirty="0" smtClean="0"/>
              <a:t> </a:t>
            </a:r>
            <a:r>
              <a:rPr lang="en-US" baseline="0" dirty="0" err="1" smtClean="0"/>
              <a:t>bukti</a:t>
            </a:r>
            <a:r>
              <a:rPr lang="en-US" baseline="0" dirty="0" smtClean="0"/>
              <a:t>.</a:t>
            </a:r>
          </a:p>
          <a:p>
            <a:pPr>
              <a:buFontTx/>
              <a:buChar char="-"/>
            </a:pPr>
            <a:endParaRPr lang="en-US" dirty="0" smtClean="0"/>
          </a:p>
          <a:p>
            <a:pPr>
              <a:buFontTx/>
              <a:buChar char="-"/>
            </a:pPr>
            <a:r>
              <a:rPr lang="en-US" dirty="0" err="1" smtClean="0"/>
              <a:t>Pencerapan</a:t>
            </a:r>
            <a:r>
              <a:rPr lang="en-US" dirty="0" smtClean="0"/>
              <a:t> yang </a:t>
            </a:r>
            <a:r>
              <a:rPr lang="en-US" dirty="0" err="1" smtClean="0"/>
              <a:t>dibuat</a:t>
            </a:r>
            <a:r>
              <a:rPr lang="en-US" dirty="0" smtClean="0"/>
              <a:t> </a:t>
            </a:r>
            <a:r>
              <a:rPr lang="en-US" dirty="0" err="1" smtClean="0"/>
              <a:t>semasa</a:t>
            </a:r>
            <a:r>
              <a:rPr lang="en-US" dirty="0" smtClean="0"/>
              <a:t> </a:t>
            </a:r>
            <a:r>
              <a:rPr lang="en-US" dirty="0" err="1" smtClean="0"/>
              <a:t>PdP</a:t>
            </a:r>
            <a:r>
              <a:rPr lang="en-US" dirty="0" smtClean="0"/>
              <a:t> </a:t>
            </a:r>
            <a:r>
              <a:rPr lang="en-US" dirty="0" err="1" smtClean="0"/>
              <a:t>dalam</a:t>
            </a:r>
            <a:r>
              <a:rPr lang="en-US" dirty="0" smtClean="0"/>
              <a:t> </a:t>
            </a:r>
            <a:r>
              <a:rPr lang="en-US" dirty="0" err="1" smtClean="0"/>
              <a:t>jangka</a:t>
            </a:r>
            <a:r>
              <a:rPr lang="en-US" dirty="0" smtClean="0"/>
              <a:t> </a:t>
            </a:r>
            <a:r>
              <a:rPr lang="en-US" dirty="0" err="1" smtClean="0"/>
              <a:t>waktu</a:t>
            </a:r>
            <a:r>
              <a:rPr lang="en-US" dirty="0" smtClean="0"/>
              <a:t> yang </a:t>
            </a:r>
            <a:r>
              <a:rPr lang="en-US" dirty="0" err="1" smtClean="0"/>
              <a:t>ditetapkan</a:t>
            </a:r>
            <a:r>
              <a:rPr lang="en-US" dirty="0" smtClean="0"/>
              <a:t>.</a:t>
            </a:r>
          </a:p>
          <a:p>
            <a:pPr>
              <a:buFontTx/>
              <a:buChar char="-"/>
            </a:pPr>
            <a:r>
              <a:rPr lang="en-US" baseline="0" dirty="0" smtClean="0"/>
              <a:t> </a:t>
            </a:r>
            <a:r>
              <a:rPr lang="en-US" baseline="0" dirty="0" err="1" smtClean="0"/>
              <a:t>Senarai</a:t>
            </a:r>
            <a:r>
              <a:rPr lang="en-US" baseline="0" dirty="0" smtClean="0"/>
              <a:t> </a:t>
            </a:r>
            <a:r>
              <a:rPr lang="en-US" baseline="0" dirty="0" err="1" smtClean="0"/>
              <a:t>semak</a:t>
            </a:r>
            <a:r>
              <a:rPr lang="en-US" baseline="0" dirty="0" smtClean="0"/>
              <a:t> </a:t>
            </a:r>
            <a:r>
              <a:rPr lang="en-US" baseline="0" dirty="0" err="1" smtClean="0"/>
              <a:t>pencerapan</a:t>
            </a:r>
            <a:r>
              <a:rPr lang="en-US" baseline="0" dirty="0" smtClean="0"/>
              <a:t> yang </a:t>
            </a:r>
            <a:r>
              <a:rPr lang="en-US" baseline="0" dirty="0" err="1" smtClean="0"/>
              <a:t>digunakan</a:t>
            </a:r>
            <a:r>
              <a:rPr lang="en-US" baseline="0" dirty="0" smtClean="0"/>
              <a:t> </a:t>
            </a:r>
            <a:r>
              <a:rPr lang="en-US" baseline="0" dirty="0" err="1" smtClean="0"/>
              <a:t>perlu</a:t>
            </a:r>
            <a:r>
              <a:rPr lang="en-US" baseline="0" dirty="0" smtClean="0"/>
              <a:t> </a:t>
            </a:r>
            <a:r>
              <a:rPr lang="en-US" baseline="0" dirty="0" err="1" smtClean="0"/>
              <a:t>disimpan</a:t>
            </a:r>
            <a:r>
              <a:rPr lang="en-US" baseline="0" dirty="0" smtClean="0"/>
              <a:t> </a:t>
            </a:r>
            <a:r>
              <a:rPr lang="en-US" baseline="0" dirty="0" err="1" smtClean="0"/>
              <a:t>sebagai</a:t>
            </a:r>
            <a:r>
              <a:rPr lang="en-US" baseline="0" dirty="0" smtClean="0"/>
              <a:t> </a:t>
            </a:r>
            <a:r>
              <a:rPr lang="en-US" baseline="0" dirty="0" err="1" smtClean="0"/>
              <a:t>bukti</a:t>
            </a:r>
            <a:r>
              <a:rPr lang="en-US" baseline="0" dirty="0" smtClean="0"/>
              <a:t>.</a:t>
            </a:r>
          </a:p>
          <a:p>
            <a:pPr>
              <a:buFontTx/>
              <a:buNone/>
            </a:pPr>
            <a:r>
              <a:rPr lang="en-US" baseline="0" dirty="0" smtClean="0"/>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t>
            </a:r>
            <a:r>
              <a:rPr lang="en-US" baseline="0" dirty="0" smtClean="0"/>
              <a:t> </a:t>
            </a:r>
            <a:r>
              <a:rPr lang="en-US" baseline="0" dirty="0" err="1" smtClean="0"/>
              <a:t>Pemerhatian</a:t>
            </a:r>
            <a:r>
              <a:rPr lang="en-US" baseline="0" dirty="0" smtClean="0"/>
              <a:t> yang </a:t>
            </a:r>
            <a:r>
              <a:rPr lang="en-US" baseline="0" dirty="0" err="1" smtClean="0"/>
              <a:t>dibuat</a:t>
            </a:r>
            <a:r>
              <a:rPr lang="en-US" baseline="0" dirty="0" smtClean="0"/>
              <a:t> </a:t>
            </a:r>
            <a:r>
              <a:rPr lang="en-US" baseline="0" dirty="0" err="1" smtClean="0"/>
              <a:t>secara</a:t>
            </a:r>
            <a:r>
              <a:rPr lang="en-US" baseline="0" dirty="0" smtClean="0"/>
              <a:t> </a:t>
            </a:r>
            <a:r>
              <a:rPr lang="en-US" baseline="0" dirty="0" err="1" smtClean="0"/>
              <a:t>berterusan</a:t>
            </a:r>
            <a:r>
              <a:rPr lang="en-US" baseline="0" dirty="0" smtClean="0"/>
              <a:t> </a:t>
            </a:r>
            <a:r>
              <a:rPr lang="en-US" baseline="0" dirty="0" err="1" smtClean="0"/>
              <a:t>akan</a:t>
            </a:r>
            <a:r>
              <a:rPr lang="en-US" baseline="0" dirty="0" smtClean="0"/>
              <a:t> </a:t>
            </a:r>
            <a:r>
              <a:rPr lang="en-US" baseline="0" dirty="0" err="1" smtClean="0"/>
              <a:t>memperoleh</a:t>
            </a:r>
            <a:r>
              <a:rPr lang="en-US" baseline="0" dirty="0" smtClean="0"/>
              <a:t> </a:t>
            </a:r>
            <a:r>
              <a:rPr lang="en-US" baseline="0" dirty="0" err="1" smtClean="0"/>
              <a:t>maklumat</a:t>
            </a:r>
            <a:r>
              <a:rPr lang="en-US" baseline="0" dirty="0" smtClean="0"/>
              <a:t> </a:t>
            </a:r>
            <a:r>
              <a:rPr lang="en-US" baseline="0" dirty="0" err="1" smtClean="0"/>
              <a:t>dari</a:t>
            </a:r>
            <a:r>
              <a:rPr lang="en-US" baseline="0" dirty="0" smtClean="0"/>
              <a:t> </a:t>
            </a:r>
            <a:r>
              <a:rPr lang="en-US" baseline="0" dirty="0" err="1" smtClean="0"/>
              <a:t>pihak</a:t>
            </a:r>
            <a:r>
              <a:rPr lang="en-US" baseline="0" dirty="0" smtClean="0"/>
              <a:t> lain (</a:t>
            </a:r>
            <a:r>
              <a:rPr lang="en-US" baseline="0" dirty="0" err="1" smtClean="0"/>
              <a:t>murid</a:t>
            </a:r>
            <a:r>
              <a:rPr lang="en-US" baseline="0" dirty="0" smtClean="0"/>
              <a:t>, </a:t>
            </a:r>
            <a:r>
              <a:rPr lang="en-US" baseline="0" dirty="0" err="1" smtClean="0"/>
              <a:t>rakan</a:t>
            </a:r>
            <a:r>
              <a:rPr lang="en-US" baseline="0" dirty="0" smtClean="0"/>
              <a:t> </a:t>
            </a:r>
            <a:r>
              <a:rPr lang="en-US" baseline="0" dirty="0" err="1" smtClean="0"/>
              <a:t>sekerja</a:t>
            </a:r>
            <a:r>
              <a:rPr lang="en-US" baseline="0" dirty="0" smtClean="0"/>
              <a:t>, PPD </a:t>
            </a:r>
            <a:r>
              <a:rPr lang="en-US" baseline="0" dirty="0" err="1" smtClean="0"/>
              <a:t>dan</a:t>
            </a:r>
            <a:r>
              <a:rPr lang="en-US" baseline="0" dirty="0" smtClean="0"/>
              <a:t> JPN )</a:t>
            </a:r>
          </a:p>
          <a:p>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68</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P </a:t>
            </a:r>
            <a:r>
              <a:rPr lang="en-US" dirty="0" err="1" smtClean="0"/>
              <a:t>melaksanakan</a:t>
            </a:r>
            <a:r>
              <a:rPr lang="en-US" dirty="0" smtClean="0"/>
              <a:t> </a:t>
            </a:r>
            <a:r>
              <a:rPr lang="en-US" dirty="0" err="1" smtClean="0"/>
              <a:t>penilaian</a:t>
            </a:r>
            <a:r>
              <a:rPr lang="en-US" dirty="0" smtClean="0"/>
              <a:t> </a:t>
            </a:r>
            <a:r>
              <a:rPr lang="en-US" dirty="0" err="1" smtClean="0"/>
              <a:t>dengan</a:t>
            </a:r>
            <a:r>
              <a:rPr lang="en-US" dirty="0" smtClean="0"/>
              <a:t> </a:t>
            </a:r>
            <a:r>
              <a:rPr lang="en-US" dirty="0" err="1" smtClean="0"/>
              <a:t>menggunakan</a:t>
            </a:r>
            <a:r>
              <a:rPr lang="en-US" dirty="0" smtClean="0"/>
              <a:t> </a:t>
            </a:r>
            <a:r>
              <a:rPr lang="en-US" dirty="0" err="1" smtClean="0"/>
              <a:t>hanya</a:t>
            </a:r>
            <a:r>
              <a:rPr lang="en-US" dirty="0" smtClean="0"/>
              <a:t> </a:t>
            </a:r>
            <a:r>
              <a:rPr lang="en-US" dirty="0" err="1" smtClean="0"/>
              <a:t>satu</a:t>
            </a:r>
            <a:r>
              <a:rPr lang="en-US" dirty="0" smtClean="0"/>
              <a:t> </a:t>
            </a:r>
            <a:r>
              <a:rPr lang="en-US" i="0" dirty="0" err="1" smtClean="0"/>
              <a:t>kaedah</a:t>
            </a:r>
            <a:r>
              <a:rPr lang="en-US" i="0" dirty="0" smtClean="0"/>
              <a:t> </a:t>
            </a:r>
            <a:r>
              <a:rPr lang="en-US" i="0" dirty="0" err="1" smtClean="0"/>
              <a:t>penilaian</a:t>
            </a:r>
            <a:r>
              <a:rPr lang="en-US" i="0" dirty="0" smtClean="0"/>
              <a:t> </a:t>
            </a:r>
            <a:r>
              <a:rPr lang="en-US" dirty="0" err="1" smtClean="0"/>
              <a:t>dengan</a:t>
            </a:r>
            <a:r>
              <a:rPr lang="en-US" dirty="0" smtClean="0"/>
              <a:t> </a:t>
            </a:r>
            <a:r>
              <a:rPr lang="en-US" dirty="0" err="1" smtClean="0"/>
              <a:t>merujuk</a:t>
            </a:r>
            <a:r>
              <a:rPr lang="en-US" baseline="0" dirty="0" smtClean="0"/>
              <a:t> </a:t>
            </a:r>
            <a:r>
              <a:rPr lang="en-US" baseline="0" dirty="0" err="1" smtClean="0"/>
              <a:t>mana-mana</a:t>
            </a:r>
            <a:r>
              <a:rPr lang="en-US" baseline="0" dirty="0" smtClean="0"/>
              <a:t> </a:t>
            </a:r>
            <a:r>
              <a:rPr lang="en-US" baseline="0" dirty="0" err="1" smtClean="0"/>
              <a:t>bahan</a:t>
            </a:r>
            <a:r>
              <a:rPr lang="en-US" baseline="0" dirty="0" smtClean="0"/>
              <a:t> yang </a:t>
            </a:r>
            <a:r>
              <a:rPr lang="en-US" baseline="0" dirty="0" err="1" smtClean="0"/>
              <a:t>berkaitan</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69</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P </a:t>
            </a:r>
            <a:r>
              <a:rPr lang="en-US" dirty="0" err="1" smtClean="0"/>
              <a:t>menggunakan</a:t>
            </a:r>
            <a:r>
              <a:rPr lang="en-US" dirty="0" smtClean="0"/>
              <a:t> </a:t>
            </a:r>
            <a:r>
              <a:rPr lang="en-US" dirty="0" err="1" smtClean="0"/>
              <a:t>dua</a:t>
            </a:r>
            <a:r>
              <a:rPr lang="en-US" dirty="0" smtClean="0"/>
              <a:t> </a:t>
            </a:r>
            <a:r>
              <a:rPr lang="en-US" i="0" dirty="0" err="1" smtClean="0"/>
              <a:t>kaedah</a:t>
            </a:r>
            <a:r>
              <a:rPr lang="en-US" i="0" dirty="0" smtClean="0"/>
              <a:t> </a:t>
            </a:r>
            <a:r>
              <a:rPr lang="en-US" i="0" dirty="0" err="1" smtClean="0"/>
              <a:t>penilaian</a:t>
            </a:r>
            <a:r>
              <a:rPr lang="en-US" i="0" dirty="0" smtClean="0"/>
              <a:t> </a:t>
            </a:r>
            <a:r>
              <a:rPr lang="en-US" dirty="0" err="1" smtClean="0"/>
              <a:t>dengan</a:t>
            </a:r>
            <a:r>
              <a:rPr lang="en-US" dirty="0" smtClean="0"/>
              <a:t> </a:t>
            </a:r>
            <a:r>
              <a:rPr lang="en-US" dirty="0" err="1" smtClean="0"/>
              <a:t>merujuk</a:t>
            </a:r>
            <a:r>
              <a:rPr lang="en-US" baseline="0" dirty="0" smtClean="0"/>
              <a:t> </a:t>
            </a:r>
            <a:r>
              <a:rPr lang="en-US" baseline="0" dirty="0" err="1" smtClean="0"/>
              <a:t>mana-mana</a:t>
            </a:r>
            <a:r>
              <a:rPr lang="en-US" baseline="0" dirty="0" smtClean="0"/>
              <a:t> </a:t>
            </a:r>
            <a:r>
              <a:rPr lang="en-US" baseline="0" dirty="0" err="1" smtClean="0"/>
              <a:t>bukti</a:t>
            </a:r>
            <a:r>
              <a:rPr lang="en-US" baseline="0" dirty="0" smtClean="0"/>
              <a:t> yang </a:t>
            </a:r>
            <a:r>
              <a:rPr lang="en-US" baseline="0" dirty="0" err="1" smtClean="0"/>
              <a:t>berkaitan</a:t>
            </a:r>
            <a:r>
              <a:rPr lang="en-US" baseline="0" dirty="0" smtClean="0"/>
              <a:t> </a:t>
            </a:r>
            <a:r>
              <a:rPr lang="en-US" baseline="0" dirty="0" err="1" smtClean="0"/>
              <a:t>bagi</a:t>
            </a:r>
            <a:r>
              <a:rPr lang="en-US" baseline="0" dirty="0" smtClean="0"/>
              <a:t> </a:t>
            </a:r>
            <a:r>
              <a:rPr lang="en-US" baseline="0" dirty="0" err="1" smtClean="0"/>
              <a:t>menentukan</a:t>
            </a:r>
            <a:r>
              <a:rPr lang="en-US" baseline="0" dirty="0" smtClean="0"/>
              <a:t> </a:t>
            </a:r>
            <a:r>
              <a:rPr lang="en-US" baseline="0" dirty="0" err="1" smtClean="0"/>
              <a:t>skor</a:t>
            </a:r>
            <a:r>
              <a:rPr lang="en-US" baseline="0" dirty="0" smtClean="0"/>
              <a:t> PYD. </a:t>
            </a:r>
          </a:p>
          <a:p>
            <a:r>
              <a:rPr lang="en-US" baseline="0" dirty="0" err="1" smtClean="0"/>
              <a:t>Sebagai</a:t>
            </a:r>
            <a:r>
              <a:rPr lang="en-US" baseline="0" dirty="0" smtClean="0"/>
              <a:t> </a:t>
            </a:r>
            <a:r>
              <a:rPr lang="en-US" baseline="0" dirty="0" err="1" smtClean="0"/>
              <a:t>contoh</a:t>
            </a:r>
            <a:r>
              <a:rPr lang="en-US" baseline="0" dirty="0" smtClean="0"/>
              <a:t> PP </a:t>
            </a:r>
            <a:r>
              <a:rPr lang="en-US" baseline="0" dirty="0" err="1" smtClean="0"/>
              <a:t>menggunakan</a:t>
            </a:r>
            <a:r>
              <a:rPr lang="en-US" baseline="0" dirty="0" smtClean="0"/>
              <a:t> </a:t>
            </a:r>
            <a:r>
              <a:rPr lang="en-US" baseline="0" dirty="0" err="1" smtClean="0"/>
              <a:t>kaedah</a:t>
            </a:r>
            <a:r>
              <a:rPr lang="en-US" baseline="0" dirty="0" smtClean="0"/>
              <a:t> </a:t>
            </a:r>
            <a:r>
              <a:rPr lang="en-US" baseline="0" dirty="0" err="1" smtClean="0"/>
              <a:t>semakan</a:t>
            </a:r>
            <a:r>
              <a:rPr lang="en-US" baseline="0" dirty="0" smtClean="0"/>
              <a:t> </a:t>
            </a:r>
            <a:r>
              <a:rPr lang="en-US" baseline="0" dirty="0" err="1" smtClean="0"/>
              <a:t>bahan</a:t>
            </a:r>
            <a:r>
              <a:rPr lang="en-US" baseline="0" dirty="0" smtClean="0"/>
              <a:t> </a:t>
            </a:r>
            <a:r>
              <a:rPr lang="en-US" baseline="0" dirty="0" err="1" smtClean="0"/>
              <a:t>dan</a:t>
            </a:r>
            <a:r>
              <a:rPr lang="en-US" baseline="0" dirty="0" smtClean="0"/>
              <a:t> </a:t>
            </a:r>
            <a:r>
              <a:rPr lang="en-US" baseline="0" dirty="0" err="1" smtClean="0"/>
              <a:t>pemerhatian</a:t>
            </a:r>
            <a:r>
              <a:rPr lang="en-US" baseline="0" dirty="0" smtClean="0"/>
              <a:t>.</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dirty="0" smtClean="0"/>
              <a:t># BACA SLAID </a:t>
            </a:r>
            <a:r>
              <a:rPr lang="en-US" altLang="en-US" b="1" dirty="0" err="1" smtClean="0"/>
              <a:t>pada</a:t>
            </a:r>
            <a:r>
              <a:rPr lang="en-US" altLang="en-US" b="1" dirty="0" smtClean="0"/>
              <a:t> </a:t>
            </a:r>
            <a:r>
              <a:rPr lang="en-US" altLang="en-US" b="1" dirty="0" err="1" smtClean="0"/>
              <a:t>contoh</a:t>
            </a:r>
            <a:r>
              <a:rPr lang="en-US" altLang="en-US" b="1" dirty="0" smtClean="0"/>
              <a:t> </a:t>
            </a:r>
            <a:r>
              <a:rPr lang="en-US" altLang="en-US" b="1" dirty="0" err="1" smtClean="0"/>
              <a:t>kaedah</a:t>
            </a:r>
            <a:r>
              <a:rPr lang="en-US" altLang="en-US" b="1" dirty="0" smtClean="0"/>
              <a:t> yang </a:t>
            </a:r>
            <a:r>
              <a:rPr lang="en-US" altLang="en-US" b="1" dirty="0" err="1" smtClean="0"/>
              <a:t>diberi</a:t>
            </a:r>
            <a:endParaRPr lang="en-US" altLang="en-US" b="1" dirty="0" smtClean="0"/>
          </a:p>
          <a:p>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70</a:t>
            </a:fld>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P </a:t>
            </a:r>
            <a:r>
              <a:rPr lang="en-US" dirty="0" err="1" smtClean="0"/>
              <a:t>menggunakan</a:t>
            </a:r>
            <a:r>
              <a:rPr lang="en-US" dirty="0" smtClean="0"/>
              <a:t> </a:t>
            </a:r>
            <a:r>
              <a:rPr lang="en-US" dirty="0" err="1" smtClean="0"/>
              <a:t>tiga</a:t>
            </a:r>
            <a:r>
              <a:rPr lang="en-US" dirty="0" smtClean="0"/>
              <a:t> </a:t>
            </a:r>
            <a:r>
              <a:rPr lang="en-US" i="0" dirty="0" err="1" smtClean="0"/>
              <a:t>kaedah</a:t>
            </a:r>
            <a:r>
              <a:rPr lang="en-US" i="0" dirty="0" smtClean="0"/>
              <a:t> </a:t>
            </a:r>
            <a:r>
              <a:rPr lang="en-US" i="0" dirty="0" err="1" smtClean="0"/>
              <a:t>penilaian</a:t>
            </a:r>
            <a:r>
              <a:rPr lang="en-US" i="0" dirty="0" smtClean="0"/>
              <a:t> </a:t>
            </a:r>
            <a:r>
              <a:rPr lang="en-US" dirty="0" err="1" smtClean="0"/>
              <a:t>dengan</a:t>
            </a:r>
            <a:r>
              <a:rPr lang="en-US" dirty="0" smtClean="0"/>
              <a:t> </a:t>
            </a:r>
            <a:r>
              <a:rPr lang="en-US" dirty="0" err="1" smtClean="0"/>
              <a:t>merujuk</a:t>
            </a:r>
            <a:r>
              <a:rPr lang="en-US" baseline="0" dirty="0" smtClean="0"/>
              <a:t> </a:t>
            </a:r>
            <a:r>
              <a:rPr lang="en-US" baseline="0" dirty="0" err="1" smtClean="0"/>
              <a:t>mana-mana</a:t>
            </a:r>
            <a:r>
              <a:rPr lang="en-US" baseline="0" dirty="0" smtClean="0"/>
              <a:t> </a:t>
            </a:r>
            <a:r>
              <a:rPr lang="en-US" baseline="0" dirty="0" err="1" smtClean="0"/>
              <a:t>bukti</a:t>
            </a:r>
            <a:r>
              <a:rPr lang="en-US" baseline="0" dirty="0" smtClean="0"/>
              <a:t> yang </a:t>
            </a:r>
            <a:r>
              <a:rPr lang="en-US" baseline="0" dirty="0" err="1" smtClean="0"/>
              <a:t>berkaitan</a:t>
            </a:r>
            <a:r>
              <a:rPr lang="en-US" baseline="0" dirty="0" smtClean="0"/>
              <a:t> </a:t>
            </a:r>
            <a:r>
              <a:rPr lang="en-US" baseline="0" dirty="0" err="1" smtClean="0"/>
              <a:t>bagi</a:t>
            </a:r>
            <a:r>
              <a:rPr lang="en-US" baseline="0" dirty="0" smtClean="0"/>
              <a:t> </a:t>
            </a:r>
            <a:r>
              <a:rPr lang="en-US" baseline="0" dirty="0" err="1" smtClean="0"/>
              <a:t>menentukan</a:t>
            </a:r>
            <a:r>
              <a:rPr lang="en-US" baseline="0" dirty="0" smtClean="0"/>
              <a:t> </a:t>
            </a:r>
            <a:r>
              <a:rPr lang="en-US" baseline="0" dirty="0" err="1" smtClean="0"/>
              <a:t>skor</a:t>
            </a:r>
            <a:r>
              <a:rPr lang="en-US" baseline="0" dirty="0" smtClean="0"/>
              <a:t> PYD. </a:t>
            </a:r>
          </a:p>
          <a:p>
            <a:r>
              <a:rPr lang="en-US" baseline="0" dirty="0" err="1" smtClean="0"/>
              <a:t>Sebagai</a:t>
            </a:r>
            <a:r>
              <a:rPr lang="en-US" baseline="0" dirty="0" smtClean="0"/>
              <a:t> </a:t>
            </a:r>
            <a:r>
              <a:rPr lang="en-US" baseline="0" dirty="0" err="1" smtClean="0"/>
              <a:t>contoh</a:t>
            </a:r>
            <a:r>
              <a:rPr lang="en-US" baseline="0" dirty="0" smtClean="0"/>
              <a:t> PP </a:t>
            </a:r>
            <a:r>
              <a:rPr lang="en-US" baseline="0" dirty="0" err="1" smtClean="0"/>
              <a:t>menggunakan</a:t>
            </a:r>
            <a:r>
              <a:rPr lang="en-US" baseline="0" dirty="0" smtClean="0"/>
              <a:t> </a:t>
            </a:r>
            <a:r>
              <a:rPr lang="en-US" baseline="0" dirty="0" err="1" smtClean="0"/>
              <a:t>kaedah</a:t>
            </a:r>
            <a:r>
              <a:rPr lang="en-US" baseline="0" dirty="0" smtClean="0"/>
              <a:t> </a:t>
            </a:r>
            <a:r>
              <a:rPr lang="en-US" baseline="0" dirty="0" err="1" smtClean="0"/>
              <a:t>semakan</a:t>
            </a:r>
            <a:r>
              <a:rPr lang="en-US" baseline="0" dirty="0" smtClean="0"/>
              <a:t> </a:t>
            </a:r>
            <a:r>
              <a:rPr lang="en-US" baseline="0" dirty="0" err="1" smtClean="0"/>
              <a:t>bahan</a:t>
            </a:r>
            <a:r>
              <a:rPr lang="en-US" baseline="0" dirty="0" smtClean="0"/>
              <a:t>, </a:t>
            </a:r>
            <a:r>
              <a:rPr lang="en-US" baseline="0" dirty="0" err="1" smtClean="0"/>
              <a:t>pemerhatian</a:t>
            </a:r>
            <a:r>
              <a:rPr lang="en-US" baseline="0" dirty="0" smtClean="0"/>
              <a:t> </a:t>
            </a:r>
            <a:r>
              <a:rPr lang="en-US" baseline="0" dirty="0" err="1" smtClean="0"/>
              <a:t>dan</a:t>
            </a:r>
            <a:r>
              <a:rPr lang="en-US" baseline="0" dirty="0" smtClean="0"/>
              <a:t> </a:t>
            </a:r>
            <a:r>
              <a:rPr lang="en-US" baseline="0" dirty="0" err="1" smtClean="0"/>
              <a:t>temubual</a:t>
            </a:r>
            <a:r>
              <a:rPr lang="en-US" baseline="0" dirty="0" smtClean="0"/>
              <a:t>.</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b="1" dirty="0" smtClean="0"/>
              <a:t># BACA SLAID </a:t>
            </a:r>
            <a:r>
              <a:rPr lang="en-US" altLang="en-US" b="1" dirty="0" err="1" smtClean="0"/>
              <a:t>pada</a:t>
            </a:r>
            <a:r>
              <a:rPr lang="en-US" altLang="en-US" b="1" dirty="0" smtClean="0"/>
              <a:t> </a:t>
            </a:r>
            <a:r>
              <a:rPr lang="en-US" altLang="en-US" b="1" dirty="0" err="1" smtClean="0"/>
              <a:t>contoh</a:t>
            </a:r>
            <a:r>
              <a:rPr lang="en-US" altLang="en-US" b="1" dirty="0" smtClean="0"/>
              <a:t> </a:t>
            </a:r>
            <a:r>
              <a:rPr lang="en-US" altLang="en-US" b="1" dirty="0" err="1" smtClean="0"/>
              <a:t>kaedah</a:t>
            </a:r>
            <a:r>
              <a:rPr lang="en-US" altLang="en-US" b="1" dirty="0" smtClean="0"/>
              <a:t> yang </a:t>
            </a:r>
            <a:r>
              <a:rPr lang="en-US" altLang="en-US" b="1" dirty="0" err="1" smtClean="0"/>
              <a:t>diberi</a:t>
            </a:r>
            <a:endParaRPr lang="en-US" altLang="en-US" b="1" dirty="0" smtClean="0"/>
          </a:p>
          <a:p>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71</a:t>
            </a:fld>
            <a:endParaRPr 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72</a:t>
            </a:fld>
            <a:endParaRPr lang="en-US"/>
          </a:p>
        </p:txBody>
      </p:sp>
    </p:spTree>
    <p:extLst>
      <p:ext uri="{BB962C8B-B14F-4D97-AF65-F5344CB8AC3E}">
        <p14:creationId xmlns:p14="http://schemas.microsoft.com/office/powerpoint/2010/main" val="3973800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Hasrat</a:t>
            </a:r>
            <a:r>
              <a:rPr lang="en-US" baseline="0" dirty="0" smtClean="0"/>
              <a:t> </a:t>
            </a:r>
            <a:r>
              <a:rPr lang="en-US" dirty="0" smtClean="0"/>
              <a:t>PBPPP</a:t>
            </a:r>
            <a:r>
              <a:rPr lang="en-US" baseline="0" dirty="0" smtClean="0"/>
              <a:t> </a:t>
            </a:r>
            <a:r>
              <a:rPr lang="en-US" baseline="0" dirty="0" err="1" smtClean="0"/>
              <a:t>dibangunkan</a:t>
            </a:r>
            <a:r>
              <a:rPr lang="en-US" baseline="0" dirty="0" smtClean="0"/>
              <a:t> </a:t>
            </a:r>
            <a:r>
              <a:rPr lang="en-US" baseline="0" dirty="0" err="1" smtClean="0"/>
              <a:t>adalah</a:t>
            </a:r>
            <a:r>
              <a:rPr lang="en-US" baseline="0" dirty="0" smtClean="0"/>
              <a:t> </a:t>
            </a:r>
            <a:r>
              <a:rPr lang="en-US" baseline="0" dirty="0" err="1" smtClean="0"/>
              <a:t>untuk</a:t>
            </a:r>
            <a:r>
              <a:rPr lang="en-US" baseline="0" dirty="0" smtClean="0"/>
              <a:t> </a:t>
            </a:r>
            <a:r>
              <a:rPr lang="en-US" baseline="0" dirty="0" err="1" smtClean="0"/>
              <a:t>menggantikan</a:t>
            </a:r>
            <a:r>
              <a:rPr lang="en-US" baseline="0" dirty="0" smtClean="0"/>
              <a:t> </a:t>
            </a:r>
            <a:r>
              <a:rPr lang="en-US" baseline="0" dirty="0" err="1" smtClean="0"/>
              <a:t>beberapa</a:t>
            </a:r>
            <a:r>
              <a:rPr lang="en-US" baseline="0" dirty="0" smtClean="0"/>
              <a:t> </a:t>
            </a:r>
            <a:r>
              <a:rPr lang="en-US" baseline="0" dirty="0" err="1" smtClean="0"/>
              <a:t>penilaian</a:t>
            </a:r>
            <a:r>
              <a:rPr lang="en-US" baseline="0" dirty="0" smtClean="0"/>
              <a:t> </a:t>
            </a:r>
            <a:r>
              <a:rPr lang="en-US" baseline="0" dirty="0" err="1" smtClean="0"/>
              <a:t>sedia</a:t>
            </a:r>
            <a:r>
              <a:rPr lang="en-US" baseline="0" dirty="0" smtClean="0"/>
              <a:t> </a:t>
            </a:r>
            <a:r>
              <a:rPr lang="en-US" baseline="0" dirty="0" err="1" smtClean="0"/>
              <a:t>ada</a:t>
            </a:r>
            <a:r>
              <a:rPr lang="en-US" baseline="0" dirty="0" smtClean="0"/>
              <a:t> </a:t>
            </a:r>
            <a:r>
              <a:rPr lang="en-US" baseline="0" dirty="0" err="1" smtClean="0"/>
              <a:t>di</a:t>
            </a:r>
            <a:r>
              <a:rPr lang="en-US" baseline="0" dirty="0" smtClean="0"/>
              <a:t> KPM </a:t>
            </a:r>
            <a:r>
              <a:rPr lang="en-US" baseline="0" dirty="0" err="1" smtClean="0"/>
              <a:t>digabungkan</a:t>
            </a:r>
            <a:r>
              <a:rPr lang="en-US" baseline="0" dirty="0" smtClean="0"/>
              <a:t> </a:t>
            </a:r>
            <a:r>
              <a:rPr lang="en-US" baseline="0" dirty="0" err="1" smtClean="0"/>
              <a:t>menjadi</a:t>
            </a:r>
            <a:r>
              <a:rPr lang="en-US" baseline="0" dirty="0" smtClean="0"/>
              <a:t> </a:t>
            </a:r>
            <a:r>
              <a:rPr lang="en-US" baseline="0" dirty="0" err="1" smtClean="0"/>
              <a:t>satu</a:t>
            </a:r>
            <a:r>
              <a:rPr lang="en-US" baseline="0" dirty="0" smtClean="0"/>
              <a:t> </a:t>
            </a:r>
            <a:r>
              <a:rPr lang="en-US" baseline="0" dirty="0" err="1" smtClean="0"/>
              <a:t>instrumen</a:t>
            </a:r>
            <a:r>
              <a:rPr lang="en-US" baseline="0" dirty="0" smtClean="0"/>
              <a:t> </a:t>
            </a:r>
            <a:r>
              <a:rPr lang="en-US" baseline="0" dirty="0" err="1" smtClean="0"/>
              <a:t>penilaian</a:t>
            </a:r>
            <a:r>
              <a:rPr lang="en-US" baseline="0" dirty="0" smtClean="0"/>
              <a:t> </a:t>
            </a:r>
            <a:r>
              <a:rPr lang="en-US" baseline="0" dirty="0" err="1" smtClean="0"/>
              <a:t>untuk</a:t>
            </a:r>
            <a:r>
              <a:rPr lang="en-US" baseline="0" dirty="0" smtClean="0"/>
              <a:t> </a:t>
            </a:r>
            <a:r>
              <a:rPr lang="en-US" altLang="en-US" dirty="0" err="1" smtClean="0"/>
              <a:t>kepelbagaian</a:t>
            </a:r>
            <a:r>
              <a:rPr lang="en-US" altLang="en-US" dirty="0" smtClean="0"/>
              <a:t> </a:t>
            </a:r>
            <a:r>
              <a:rPr lang="en-US" baseline="0" dirty="0" err="1" smtClean="0"/>
              <a:t>penggunaan</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DB9DE2D2-8BF5-4E91-9538-C3871E373F05}" type="slidenum">
              <a:rPr lang="en-US" smtClean="0"/>
              <a:pPr/>
              <a:t>7</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eaLnBrk="1" hangingPunct="1">
              <a:spcBef>
                <a:spcPct val="0"/>
              </a:spcBef>
              <a:buFont typeface="Wingdings" pitchFamily="2" charset="2"/>
              <a:buChar char="Ø"/>
            </a:pPr>
            <a:r>
              <a:rPr lang="en-US" altLang="en-US" dirty="0" smtClean="0"/>
              <a:t>PBPPP </a:t>
            </a:r>
            <a:r>
              <a:rPr lang="en-US" altLang="en-US" dirty="0" err="1" smtClean="0"/>
              <a:t>adalah</a:t>
            </a:r>
            <a:r>
              <a:rPr lang="en-US" altLang="en-US" dirty="0" smtClean="0"/>
              <a:t> </a:t>
            </a:r>
            <a:r>
              <a:rPr lang="en-US" altLang="en-US" dirty="0" err="1" smtClean="0"/>
              <a:t>penilaian</a:t>
            </a:r>
            <a:r>
              <a:rPr lang="en-US" altLang="en-US" dirty="0" smtClean="0"/>
              <a:t> </a:t>
            </a:r>
            <a:r>
              <a:rPr lang="en-US" altLang="en-US" dirty="0" err="1" smtClean="0"/>
              <a:t>baharu</a:t>
            </a:r>
            <a:r>
              <a:rPr lang="en-US" altLang="en-US" dirty="0" smtClean="0"/>
              <a:t> </a:t>
            </a:r>
            <a:r>
              <a:rPr lang="en-US" altLang="en-US" dirty="0" err="1" smtClean="0"/>
              <a:t>memberi</a:t>
            </a:r>
            <a:r>
              <a:rPr lang="en-US" altLang="en-US" dirty="0" smtClean="0"/>
              <a:t> </a:t>
            </a:r>
            <a:r>
              <a:rPr lang="en-US" altLang="en-US" dirty="0" err="1" smtClean="0"/>
              <a:t>fokus</a:t>
            </a:r>
            <a:r>
              <a:rPr lang="en-US" altLang="en-US" dirty="0" smtClean="0"/>
              <a:t> </a:t>
            </a:r>
            <a:r>
              <a:rPr lang="en-US" altLang="en-US" dirty="0" err="1" smtClean="0"/>
              <a:t>kepada</a:t>
            </a:r>
            <a:r>
              <a:rPr lang="en-US" altLang="en-US" dirty="0" smtClean="0"/>
              <a:t> </a:t>
            </a:r>
            <a:r>
              <a:rPr lang="en-US" altLang="en-US" dirty="0" err="1" smtClean="0"/>
              <a:t>elemen</a:t>
            </a:r>
            <a:r>
              <a:rPr lang="en-US" altLang="en-US" dirty="0" smtClean="0"/>
              <a:t> </a:t>
            </a:r>
            <a:r>
              <a:rPr lang="en-US" altLang="en-US" dirty="0" err="1" smtClean="0"/>
              <a:t>pembangunan</a:t>
            </a:r>
            <a:r>
              <a:rPr lang="en-US" altLang="en-US" dirty="0" smtClean="0"/>
              <a:t> </a:t>
            </a:r>
            <a:r>
              <a:rPr lang="en-US" altLang="en-US" dirty="0" err="1" smtClean="0"/>
              <a:t>kompetensi</a:t>
            </a:r>
            <a:r>
              <a:rPr lang="en-US" altLang="en-US" dirty="0" smtClean="0"/>
              <a:t>, </a:t>
            </a:r>
            <a:r>
              <a:rPr lang="en-US" altLang="en-US" dirty="0" err="1" smtClean="0"/>
              <a:t>potensi</a:t>
            </a:r>
            <a:r>
              <a:rPr lang="en-US" altLang="en-US" dirty="0" smtClean="0"/>
              <a:t>  </a:t>
            </a:r>
            <a:r>
              <a:rPr lang="en-US" altLang="en-US" dirty="0" err="1" smtClean="0"/>
              <a:t>dan</a:t>
            </a:r>
            <a:r>
              <a:rPr lang="en-US" altLang="en-US" dirty="0" smtClean="0"/>
              <a:t> </a:t>
            </a:r>
            <a:r>
              <a:rPr lang="en-US" altLang="en-US" dirty="0" err="1" smtClean="0"/>
              <a:t>keberhasilan</a:t>
            </a:r>
            <a:r>
              <a:rPr lang="en-US" altLang="en-US" dirty="0" smtClean="0"/>
              <a:t> </a:t>
            </a:r>
            <a:r>
              <a:rPr lang="en-US" altLang="en-US" dirty="0" err="1" smtClean="0"/>
              <a:t>berasaskan</a:t>
            </a:r>
            <a:r>
              <a:rPr lang="en-US" altLang="en-US" dirty="0" smtClean="0"/>
              <a:t> </a:t>
            </a:r>
            <a:r>
              <a:rPr lang="en-US" altLang="en-US" dirty="0" err="1" smtClean="0"/>
              <a:t>gred</a:t>
            </a:r>
            <a:r>
              <a:rPr lang="en-US" altLang="en-US" dirty="0" smtClean="0"/>
              <a:t> </a:t>
            </a:r>
            <a:r>
              <a:rPr lang="en-US" altLang="en-US" dirty="0" err="1" smtClean="0"/>
              <a:t>dan</a:t>
            </a:r>
            <a:r>
              <a:rPr lang="en-US" altLang="en-US" dirty="0" smtClean="0"/>
              <a:t> </a:t>
            </a:r>
            <a:r>
              <a:rPr lang="en-US" altLang="en-US" dirty="0" err="1" smtClean="0"/>
              <a:t>jawatan</a:t>
            </a:r>
            <a:r>
              <a:rPr lang="en-US" altLang="en-US" dirty="0" smtClean="0"/>
              <a:t> </a:t>
            </a:r>
            <a:r>
              <a:rPr lang="en-US" altLang="en-US" dirty="0" err="1" smtClean="0"/>
              <a:t>serta</a:t>
            </a:r>
            <a:r>
              <a:rPr lang="en-US" altLang="en-US" dirty="0" smtClean="0"/>
              <a:t> </a:t>
            </a:r>
            <a:r>
              <a:rPr lang="en-US" altLang="en-US" dirty="0" err="1" smtClean="0"/>
              <a:t>mengambil</a:t>
            </a:r>
            <a:r>
              <a:rPr lang="en-US" altLang="en-US" dirty="0" smtClean="0"/>
              <a:t> </a:t>
            </a:r>
            <a:r>
              <a:rPr lang="en-US" altLang="en-US" dirty="0" err="1" smtClean="0"/>
              <a:t>kira</a:t>
            </a:r>
            <a:r>
              <a:rPr lang="en-US" altLang="en-US" dirty="0" smtClean="0"/>
              <a:t> </a:t>
            </a:r>
            <a:r>
              <a:rPr lang="en-US" altLang="en-US" dirty="0" err="1" smtClean="0"/>
              <a:t>kepelbagaian</a:t>
            </a:r>
            <a:r>
              <a:rPr lang="en-US" altLang="en-US" dirty="0" smtClean="0"/>
              <a:t> </a:t>
            </a:r>
            <a:r>
              <a:rPr lang="en-US" altLang="en-US" dirty="0" err="1" smtClean="0"/>
              <a:t>bidang</a:t>
            </a:r>
            <a:r>
              <a:rPr lang="en-US" altLang="en-US" dirty="0" smtClean="0"/>
              <a:t> </a:t>
            </a:r>
            <a:r>
              <a:rPr lang="en-US" altLang="en-US" dirty="0" err="1" smtClean="0"/>
              <a:t>tugas</a:t>
            </a:r>
            <a:r>
              <a:rPr lang="en-US" altLang="en-US" dirty="0" smtClean="0"/>
              <a:t> </a:t>
            </a:r>
            <a:r>
              <a:rPr lang="en-US" altLang="en-US" dirty="0" err="1" smtClean="0"/>
              <a:t>Pegawai</a:t>
            </a:r>
            <a:r>
              <a:rPr lang="en-US" altLang="en-US" dirty="0" smtClean="0"/>
              <a:t> </a:t>
            </a:r>
            <a:r>
              <a:rPr lang="en-US" altLang="en-US" dirty="0" err="1" smtClean="0"/>
              <a:t>Perkhidmatan</a:t>
            </a:r>
            <a:r>
              <a:rPr lang="en-US" altLang="en-US" dirty="0" smtClean="0"/>
              <a:t> </a:t>
            </a:r>
            <a:r>
              <a:rPr lang="en-US" altLang="en-US" dirty="0" err="1" smtClean="0"/>
              <a:t>Pendidikan</a:t>
            </a:r>
            <a:r>
              <a:rPr lang="en-US" altLang="en-US" dirty="0" smtClean="0"/>
              <a:t> (PPP);</a:t>
            </a:r>
          </a:p>
          <a:p>
            <a:pPr eaLnBrk="1" hangingPunct="1">
              <a:spcBef>
                <a:spcPct val="0"/>
              </a:spcBef>
              <a:buFont typeface="Wingdings" pitchFamily="2" charset="2"/>
              <a:buNone/>
            </a:pPr>
            <a:endParaRPr lang="en-US" altLang="en-US" dirty="0" smtClean="0"/>
          </a:p>
          <a:p>
            <a:pPr eaLnBrk="1" hangingPunct="1">
              <a:spcBef>
                <a:spcPct val="0"/>
              </a:spcBef>
              <a:buFont typeface="Wingdings" pitchFamily="2" charset="2"/>
              <a:buChar char="Ø"/>
            </a:pPr>
            <a:r>
              <a:rPr lang="en-US" altLang="en-US" dirty="0" err="1" smtClean="0"/>
              <a:t>Konsep</a:t>
            </a:r>
            <a:r>
              <a:rPr lang="en-US" altLang="en-US" dirty="0" smtClean="0"/>
              <a:t> </a:t>
            </a:r>
            <a:r>
              <a:rPr lang="en-US" altLang="en-US" dirty="0" err="1" smtClean="0"/>
              <a:t>Berasaskan</a:t>
            </a:r>
            <a:r>
              <a:rPr lang="en-US" altLang="en-US" dirty="0" smtClean="0"/>
              <a:t> </a:t>
            </a:r>
            <a:r>
              <a:rPr lang="en-US" altLang="en-US" dirty="0" err="1" smtClean="0"/>
              <a:t>Tugas</a:t>
            </a:r>
            <a:r>
              <a:rPr lang="en-US" altLang="en-US" dirty="0" smtClean="0"/>
              <a:t> </a:t>
            </a:r>
            <a:r>
              <a:rPr lang="en-US" altLang="en-US" dirty="0" err="1" smtClean="0"/>
              <a:t>dan</a:t>
            </a:r>
            <a:r>
              <a:rPr lang="en-US" altLang="en-US" dirty="0" smtClean="0"/>
              <a:t> </a:t>
            </a:r>
            <a:r>
              <a:rPr lang="en-US" altLang="en-US" dirty="0" err="1" smtClean="0"/>
              <a:t>Tempat</a:t>
            </a:r>
            <a:r>
              <a:rPr lang="en-US" altLang="en-US" dirty="0" smtClean="0"/>
              <a:t> </a:t>
            </a:r>
            <a:r>
              <a:rPr lang="en-US" altLang="en-US" dirty="0" err="1" smtClean="0"/>
              <a:t>Bertugas</a:t>
            </a:r>
            <a:r>
              <a:rPr lang="en-US" altLang="en-US" dirty="0" smtClean="0"/>
              <a:t> </a:t>
            </a:r>
            <a:r>
              <a:rPr lang="en-US" altLang="en-US" dirty="0" err="1" smtClean="0"/>
              <a:t>bermaksud</a:t>
            </a:r>
            <a:r>
              <a:rPr lang="en-US" altLang="en-US" dirty="0" smtClean="0"/>
              <a:t> </a:t>
            </a:r>
            <a:r>
              <a:rPr lang="en-US" altLang="en-US" dirty="0" err="1" smtClean="0"/>
              <a:t>penilaian</a:t>
            </a:r>
            <a:r>
              <a:rPr lang="en-US" altLang="en-US" dirty="0" smtClean="0"/>
              <a:t> </a:t>
            </a:r>
            <a:r>
              <a:rPr lang="en-US" altLang="en-US" dirty="0" err="1" smtClean="0"/>
              <a:t>dilaksanakan</a:t>
            </a:r>
            <a:r>
              <a:rPr lang="en-US" altLang="en-US" dirty="0" smtClean="0"/>
              <a:t> </a:t>
            </a:r>
            <a:r>
              <a:rPr lang="en-US" altLang="en-US" dirty="0" err="1" smtClean="0"/>
              <a:t>berdasarkan</a:t>
            </a:r>
            <a:r>
              <a:rPr lang="en-US" altLang="en-US" dirty="0" smtClean="0"/>
              <a:t> </a:t>
            </a:r>
            <a:r>
              <a:rPr lang="en-US" altLang="en-US" dirty="0" err="1" smtClean="0"/>
              <a:t>bidang</a:t>
            </a:r>
            <a:r>
              <a:rPr lang="en-US" altLang="en-US" dirty="0" smtClean="0"/>
              <a:t> </a:t>
            </a:r>
            <a:r>
              <a:rPr lang="en-US" altLang="en-US" dirty="0" err="1" smtClean="0"/>
              <a:t>tugas</a:t>
            </a:r>
            <a:r>
              <a:rPr lang="en-US" altLang="en-US" dirty="0" smtClean="0"/>
              <a:t> </a:t>
            </a:r>
            <a:r>
              <a:rPr lang="en-US" altLang="en-US" dirty="0" err="1" smtClean="0"/>
              <a:t>dan</a:t>
            </a:r>
            <a:r>
              <a:rPr lang="en-US" altLang="en-US" dirty="0" smtClean="0"/>
              <a:t> </a:t>
            </a:r>
            <a:r>
              <a:rPr lang="en-US" altLang="en-US" dirty="0" err="1" smtClean="0"/>
              <a:t>tempat</a:t>
            </a:r>
            <a:r>
              <a:rPr lang="en-US" altLang="en-US" dirty="0" smtClean="0"/>
              <a:t> </a:t>
            </a:r>
            <a:r>
              <a:rPr lang="en-US" altLang="en-US" dirty="0" err="1" smtClean="0"/>
              <a:t>bertugas</a:t>
            </a:r>
            <a:r>
              <a:rPr lang="en-US" altLang="en-US" dirty="0" smtClean="0"/>
              <a:t> PPP;</a:t>
            </a:r>
          </a:p>
          <a:p>
            <a:pPr eaLnBrk="1" hangingPunct="1">
              <a:spcBef>
                <a:spcPct val="0"/>
              </a:spcBef>
              <a:buFont typeface="Wingdings" pitchFamily="2" charset="2"/>
              <a:buNone/>
            </a:pPr>
            <a:endParaRPr lang="en-US" altLang="en-US" dirty="0" smtClean="0"/>
          </a:p>
          <a:p>
            <a:pPr eaLnBrk="1" hangingPunct="1">
              <a:spcBef>
                <a:spcPct val="0"/>
              </a:spcBef>
              <a:buFont typeface="Wingdings" pitchFamily="2" charset="2"/>
              <a:buChar char="Ø"/>
            </a:pPr>
            <a:r>
              <a:rPr lang="en-US" altLang="en-US" dirty="0" smtClean="0"/>
              <a:t> Pembangunan </a:t>
            </a:r>
            <a:r>
              <a:rPr lang="en-US" altLang="en-US" dirty="0" err="1" smtClean="0"/>
              <a:t>instrumen</a:t>
            </a:r>
            <a:r>
              <a:rPr lang="en-US" altLang="en-US" dirty="0" smtClean="0"/>
              <a:t> PBPPP </a:t>
            </a:r>
            <a:r>
              <a:rPr lang="en-US" altLang="en-US" dirty="0" err="1" smtClean="0"/>
              <a:t>berdasarkan</a:t>
            </a:r>
            <a:r>
              <a:rPr lang="en-US" altLang="en-US" dirty="0" smtClean="0"/>
              <a:t> Standard </a:t>
            </a:r>
            <a:r>
              <a:rPr lang="en-US" altLang="en-US" dirty="0" err="1" smtClean="0"/>
              <a:t>Prestasi</a:t>
            </a:r>
            <a:r>
              <a:rPr lang="en-US" altLang="en-US" dirty="0" smtClean="0"/>
              <a:t> yang </a:t>
            </a:r>
            <a:r>
              <a:rPr lang="en-US" altLang="en-US" dirty="0" err="1" smtClean="0"/>
              <a:t>selaras</a:t>
            </a:r>
            <a:r>
              <a:rPr lang="en-US" altLang="en-US" dirty="0" smtClean="0"/>
              <a:t> </a:t>
            </a:r>
            <a:r>
              <a:rPr lang="en-US" altLang="en-US" dirty="0" err="1" smtClean="0"/>
              <a:t>dengan</a:t>
            </a:r>
            <a:r>
              <a:rPr lang="en-US" altLang="en-US" dirty="0" smtClean="0"/>
              <a:t> Government Transformation </a:t>
            </a:r>
            <a:r>
              <a:rPr lang="en-US" altLang="en-US" dirty="0" err="1" smtClean="0"/>
              <a:t>Programme</a:t>
            </a:r>
            <a:r>
              <a:rPr lang="en-US" altLang="en-US" dirty="0" smtClean="0"/>
              <a:t> 2.0  </a:t>
            </a:r>
            <a:r>
              <a:rPr lang="en-US" altLang="en-US" dirty="0" err="1" smtClean="0"/>
              <a:t>dan</a:t>
            </a:r>
            <a:r>
              <a:rPr lang="en-US" altLang="en-US" baseline="0" dirty="0" smtClean="0"/>
              <a:t> </a:t>
            </a:r>
            <a:r>
              <a:rPr lang="en-US" altLang="en-US" dirty="0" err="1" smtClean="0"/>
              <a:t>Pelan</a:t>
            </a:r>
            <a:r>
              <a:rPr lang="en-US" altLang="en-US" dirty="0" smtClean="0"/>
              <a:t> Pembangunan </a:t>
            </a:r>
            <a:r>
              <a:rPr lang="en-US" altLang="en-US" dirty="0" err="1" smtClean="0"/>
              <a:t>Pendidikan</a:t>
            </a:r>
            <a:r>
              <a:rPr lang="en-US" altLang="en-US" dirty="0" smtClean="0"/>
              <a:t> Malaysia 2013-2025 </a:t>
            </a:r>
            <a:r>
              <a:rPr lang="en-US" altLang="en-US" dirty="0" err="1" smtClean="0"/>
              <a:t>iaitu</a:t>
            </a:r>
            <a:r>
              <a:rPr lang="en-US" altLang="en-US" dirty="0" smtClean="0"/>
              <a:t> </a:t>
            </a:r>
            <a:r>
              <a:rPr lang="en-US" altLang="en-US" dirty="0" err="1" smtClean="0"/>
              <a:t>pada</a:t>
            </a:r>
            <a:r>
              <a:rPr lang="en-US" altLang="en-US" dirty="0" smtClean="0"/>
              <a:t> </a:t>
            </a:r>
            <a:r>
              <a:rPr lang="en-US" altLang="en-US" dirty="0" err="1" smtClean="0"/>
              <a:t>Anjakan</a:t>
            </a:r>
            <a:r>
              <a:rPr lang="en-US" altLang="en-US" dirty="0" smtClean="0"/>
              <a:t> 4 (</a:t>
            </a:r>
            <a:r>
              <a:rPr lang="en-US" altLang="en-US" dirty="0" err="1" smtClean="0"/>
              <a:t>Transformasi</a:t>
            </a:r>
            <a:r>
              <a:rPr lang="en-US" altLang="en-US" dirty="0" smtClean="0"/>
              <a:t> </a:t>
            </a:r>
            <a:r>
              <a:rPr lang="en-US" altLang="en-US" dirty="0" err="1" smtClean="0"/>
              <a:t>Keguruan</a:t>
            </a:r>
            <a:r>
              <a:rPr lang="en-US" altLang="en-US" dirty="0" smtClean="0"/>
              <a:t> </a:t>
            </a:r>
            <a:r>
              <a:rPr lang="en-US" altLang="en-US" dirty="0" err="1" smtClean="0"/>
              <a:t>Sebagai</a:t>
            </a:r>
            <a:r>
              <a:rPr lang="en-US" altLang="en-US" dirty="0" smtClean="0"/>
              <a:t> </a:t>
            </a:r>
            <a:r>
              <a:rPr lang="en-US" altLang="en-US" dirty="0" err="1" smtClean="0"/>
              <a:t>Profesion</a:t>
            </a:r>
            <a:r>
              <a:rPr lang="en-US" altLang="en-US" dirty="0" smtClean="0"/>
              <a:t> </a:t>
            </a:r>
            <a:r>
              <a:rPr lang="en-US" altLang="en-US" dirty="0" err="1" smtClean="0"/>
              <a:t>Pilihan</a:t>
            </a:r>
            <a:r>
              <a:rPr lang="en-US" altLang="en-US" dirty="0" smtClean="0"/>
              <a:t>) </a:t>
            </a:r>
            <a:r>
              <a:rPr lang="en-US" altLang="en-US" dirty="0" err="1" smtClean="0"/>
              <a:t>dan</a:t>
            </a:r>
            <a:r>
              <a:rPr lang="en-US" altLang="en-US" dirty="0" smtClean="0"/>
              <a:t> 5 (</a:t>
            </a:r>
            <a:r>
              <a:rPr lang="en-US" altLang="en-US" dirty="0" err="1" smtClean="0"/>
              <a:t>Memastikan</a:t>
            </a:r>
            <a:r>
              <a:rPr lang="en-US" altLang="en-US" dirty="0" smtClean="0"/>
              <a:t> </a:t>
            </a:r>
            <a:r>
              <a:rPr lang="en-US" altLang="en-US" dirty="0" err="1" smtClean="0"/>
              <a:t>Kepimpinan</a:t>
            </a:r>
            <a:r>
              <a:rPr lang="en-US" altLang="en-US" dirty="0" smtClean="0"/>
              <a:t> </a:t>
            </a:r>
            <a:r>
              <a:rPr lang="en-US" altLang="en-US" dirty="0" err="1" smtClean="0"/>
              <a:t>Berprestasi</a:t>
            </a:r>
            <a:r>
              <a:rPr lang="en-US" altLang="en-US" dirty="0" smtClean="0"/>
              <a:t> </a:t>
            </a:r>
            <a:r>
              <a:rPr lang="en-US" altLang="en-US" dirty="0" err="1" smtClean="0"/>
              <a:t>Tinggi</a:t>
            </a:r>
            <a:r>
              <a:rPr lang="en-US" altLang="en-US" dirty="0" smtClean="0"/>
              <a:t> </a:t>
            </a:r>
            <a:r>
              <a:rPr lang="en-US" altLang="en-US" dirty="0" err="1" smtClean="0"/>
              <a:t>Ditempatkan</a:t>
            </a:r>
            <a:r>
              <a:rPr lang="en-US" altLang="en-US" dirty="0" smtClean="0"/>
              <a:t> Di </a:t>
            </a:r>
            <a:r>
              <a:rPr lang="en-US" altLang="en-US" dirty="0" err="1" smtClean="0"/>
              <a:t>Setiap</a:t>
            </a:r>
            <a:r>
              <a:rPr lang="en-US" altLang="en-US" dirty="0" smtClean="0"/>
              <a:t> Sekolah).</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8</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ct val="0"/>
              </a:spcBef>
              <a:spcAft>
                <a:spcPts val="0"/>
              </a:spcAft>
              <a:buClrTx/>
              <a:buSzTx/>
              <a:buFont typeface="Wingdings" pitchFamily="2" charset="2"/>
              <a:buNone/>
              <a:tabLst/>
              <a:defRPr/>
            </a:pPr>
            <a:r>
              <a:rPr lang="en-US" altLang="en-US" dirty="0" smtClean="0"/>
              <a:t>PBPPP</a:t>
            </a:r>
            <a:r>
              <a:rPr lang="en-US" altLang="en-US" baseline="0" dirty="0" smtClean="0"/>
              <a:t> </a:t>
            </a:r>
            <a:r>
              <a:rPr lang="en-US" altLang="en-US" baseline="0" dirty="0" err="1" smtClean="0"/>
              <a:t>adalah</a:t>
            </a:r>
            <a:r>
              <a:rPr lang="en-US" altLang="en-US" baseline="0" dirty="0" smtClean="0"/>
              <a:t> </a:t>
            </a:r>
            <a:r>
              <a:rPr lang="en-US" altLang="en-US" baseline="0" dirty="0" err="1" smtClean="0"/>
              <a:t>memenuhi</a:t>
            </a:r>
            <a:r>
              <a:rPr lang="en-US" altLang="en-US" baseline="0" dirty="0" smtClean="0"/>
              <a:t> </a:t>
            </a:r>
            <a:r>
              <a:rPr lang="en-US" altLang="en-US" baseline="0" dirty="0" err="1" smtClean="0"/>
              <a:t>kehendak</a:t>
            </a:r>
            <a:r>
              <a:rPr lang="en-US" altLang="en-US" baseline="0" dirty="0" smtClean="0"/>
              <a:t> </a:t>
            </a:r>
            <a:r>
              <a:rPr lang="en-US" altLang="en-US" baseline="0" dirty="0" err="1" smtClean="0"/>
              <a:t>Anjakan</a:t>
            </a:r>
            <a:r>
              <a:rPr lang="en-US" altLang="en-US" baseline="0" dirty="0" smtClean="0"/>
              <a:t> 4 </a:t>
            </a:r>
            <a:r>
              <a:rPr lang="en-US" altLang="en-US" baseline="0" dirty="0" err="1" smtClean="0"/>
              <a:t>dan</a:t>
            </a:r>
            <a:r>
              <a:rPr lang="en-US" altLang="en-US" baseline="0" dirty="0" smtClean="0"/>
              <a:t> </a:t>
            </a:r>
            <a:r>
              <a:rPr lang="en-US" altLang="en-US" baseline="0" dirty="0" err="1" smtClean="0"/>
              <a:t>Anjakan</a:t>
            </a:r>
            <a:r>
              <a:rPr lang="en-US" altLang="en-US" baseline="0" dirty="0" smtClean="0"/>
              <a:t> 5 PPPM 2013-2025 </a:t>
            </a:r>
            <a:r>
              <a:rPr lang="en-US" altLang="en-US" baseline="0" dirty="0" err="1" smtClean="0"/>
              <a:t>dalam</a:t>
            </a:r>
            <a:r>
              <a:rPr lang="en-US" altLang="en-US" baseline="0" dirty="0" smtClean="0"/>
              <a:t> </a:t>
            </a:r>
            <a:r>
              <a:rPr lang="en-US" altLang="en-US" baseline="0" dirty="0" err="1" smtClean="0"/>
              <a:t>usaha</a:t>
            </a:r>
            <a:r>
              <a:rPr lang="en-US" altLang="en-US" baseline="0" dirty="0" smtClean="0"/>
              <a:t> </a:t>
            </a:r>
            <a:r>
              <a:rPr lang="en-US" altLang="en-US" baseline="0" dirty="0" err="1" smtClean="0"/>
              <a:t>Transformasi</a:t>
            </a:r>
            <a:r>
              <a:rPr lang="en-US" altLang="en-US" baseline="0" dirty="0" smtClean="0"/>
              <a:t> </a:t>
            </a:r>
            <a:r>
              <a:rPr lang="en-US" altLang="en-US" baseline="0" dirty="0" err="1" smtClean="0"/>
              <a:t>Pendidikan</a:t>
            </a:r>
            <a:r>
              <a:rPr lang="en-US" altLang="en-US" baseline="0" dirty="0" smtClean="0"/>
              <a:t> Negara </a:t>
            </a:r>
            <a:endParaRPr lang="en-US" altLang="en-US" dirty="0" smtClean="0"/>
          </a:p>
          <a:p>
            <a:pPr eaLnBrk="1" hangingPunct="1">
              <a:spcBef>
                <a:spcPct val="0"/>
              </a:spcBef>
              <a:buFont typeface="Wingdings" pitchFamily="2" charset="2"/>
              <a:buNone/>
            </a:pPr>
            <a:endParaRPr lang="en-US" altLang="en-US" dirty="0" smtClean="0"/>
          </a:p>
          <a:p>
            <a:pPr eaLnBrk="1" hangingPunct="1">
              <a:spcBef>
                <a:spcPct val="0"/>
              </a:spcBef>
              <a:buFont typeface="Wingdings" pitchFamily="2" charset="2"/>
              <a:buNone/>
            </a:pPr>
            <a:endParaRPr lang="en-US" altLang="en-US" strike="sngStrike" dirty="0" smtClean="0"/>
          </a:p>
          <a:p>
            <a:pPr marL="0" marR="0" indent="0" algn="l" defTabSz="914400" rtl="0" eaLnBrk="1" fontAlgn="auto" latinLnBrk="0" hangingPunct="1">
              <a:lnSpc>
                <a:spcPct val="100000"/>
              </a:lnSpc>
              <a:spcBef>
                <a:spcPct val="0"/>
              </a:spcBef>
              <a:spcAft>
                <a:spcPts val="0"/>
              </a:spcAft>
              <a:buClrTx/>
              <a:buSzTx/>
              <a:buFont typeface="Wingdings" pitchFamily="2" charset="2"/>
              <a:buChar char="Ø"/>
              <a:tabLst/>
              <a:defRPr/>
            </a:pPr>
            <a:r>
              <a:rPr lang="en-US" altLang="en-US" b="1" strike="noStrike" dirty="0" err="1" smtClean="0"/>
              <a:t>Anjakan</a:t>
            </a:r>
            <a:r>
              <a:rPr lang="en-US" altLang="en-US" b="1" strike="noStrike" dirty="0" smtClean="0"/>
              <a:t> 4 </a:t>
            </a:r>
            <a:r>
              <a:rPr lang="en-US" altLang="en-US" strike="noStrike" dirty="0" err="1" smtClean="0"/>
              <a:t>iaitu</a:t>
            </a:r>
            <a:r>
              <a:rPr lang="en-US" altLang="en-US" strike="noStrike" dirty="0" smtClean="0"/>
              <a:t> </a:t>
            </a:r>
            <a:r>
              <a:rPr lang="en-US" altLang="en-US" strike="noStrike" dirty="0" err="1" smtClean="0"/>
              <a:t>Transformasi</a:t>
            </a:r>
            <a:r>
              <a:rPr lang="en-US" altLang="en-US" strike="noStrike" dirty="0" smtClean="0"/>
              <a:t> </a:t>
            </a:r>
            <a:r>
              <a:rPr lang="en-US" altLang="en-US" strike="noStrike" dirty="0" err="1" smtClean="0"/>
              <a:t>Keguruan</a:t>
            </a:r>
            <a:r>
              <a:rPr lang="en-US" altLang="en-US" strike="noStrike" dirty="0" smtClean="0"/>
              <a:t> </a:t>
            </a:r>
            <a:r>
              <a:rPr lang="en-US" altLang="en-US" sz="1400" strike="noStrike" dirty="0" err="1" smtClean="0"/>
              <a:t>S</a:t>
            </a:r>
            <a:r>
              <a:rPr lang="en-US" altLang="en-US" strike="noStrike" dirty="0" err="1" smtClean="0"/>
              <a:t>ebagai</a:t>
            </a:r>
            <a:r>
              <a:rPr lang="en-US" altLang="en-US" strike="noStrike" dirty="0" smtClean="0"/>
              <a:t> </a:t>
            </a:r>
            <a:r>
              <a:rPr lang="en-US" altLang="en-US" dirty="0" smtClean="0"/>
              <a:t>Profession </a:t>
            </a:r>
            <a:r>
              <a:rPr lang="en-US" altLang="en-US" dirty="0" err="1" smtClean="0"/>
              <a:t>Pilihan</a:t>
            </a:r>
            <a:r>
              <a:rPr lang="en-US" altLang="en-US" dirty="0" smtClean="0"/>
              <a:t> – </a:t>
            </a:r>
            <a:r>
              <a:rPr lang="en-US" altLang="en-US" dirty="0" err="1" smtClean="0"/>
              <a:t>melaksanakan</a:t>
            </a:r>
            <a:r>
              <a:rPr lang="en-US" altLang="en-US" dirty="0" smtClean="0"/>
              <a:t> </a:t>
            </a:r>
            <a:r>
              <a:rPr lang="en-US" altLang="en-US" dirty="0" err="1" smtClean="0"/>
              <a:t>laluan</a:t>
            </a:r>
            <a:r>
              <a:rPr lang="en-US" altLang="en-US" dirty="0" smtClean="0"/>
              <a:t> </a:t>
            </a:r>
            <a:r>
              <a:rPr lang="en-US" altLang="en-US" dirty="0" err="1" smtClean="0"/>
              <a:t>kerjaya</a:t>
            </a:r>
            <a:r>
              <a:rPr lang="en-US" altLang="en-US" dirty="0" smtClean="0"/>
              <a:t> guru </a:t>
            </a:r>
            <a:r>
              <a:rPr lang="en-US" altLang="en-US" dirty="0" err="1" smtClean="0"/>
              <a:t>berasaskan</a:t>
            </a:r>
            <a:r>
              <a:rPr lang="en-US" altLang="en-US" dirty="0" smtClean="0"/>
              <a:t> </a:t>
            </a:r>
            <a:r>
              <a:rPr lang="en-US" altLang="en-US" dirty="0" err="1" smtClean="0"/>
              <a:t>kompetensi</a:t>
            </a:r>
            <a:r>
              <a:rPr lang="en-US" altLang="en-US" dirty="0" smtClean="0"/>
              <a:t> </a:t>
            </a:r>
            <a:r>
              <a:rPr lang="en-US" altLang="en-US" b="0" dirty="0" err="1" smtClean="0"/>
              <a:t>dan</a:t>
            </a:r>
            <a:r>
              <a:rPr lang="en-US" altLang="en-US" b="0" dirty="0" smtClean="0"/>
              <a:t> </a:t>
            </a:r>
            <a:r>
              <a:rPr lang="en-US" altLang="en-US" b="0" dirty="0" err="1" smtClean="0"/>
              <a:t>prestasi</a:t>
            </a:r>
            <a:r>
              <a:rPr lang="en-US" altLang="en-US" b="0" dirty="0" smtClean="0"/>
              <a:t> </a:t>
            </a:r>
            <a:r>
              <a:rPr lang="en-US" altLang="en-US" dirty="0" err="1" smtClean="0"/>
              <a:t>mulai</a:t>
            </a:r>
            <a:r>
              <a:rPr lang="en-US" altLang="en-US" dirty="0" smtClean="0"/>
              <a:t> 2016</a:t>
            </a:r>
          </a:p>
          <a:p>
            <a:pPr eaLnBrk="1" hangingPunct="1">
              <a:spcBef>
                <a:spcPct val="0"/>
              </a:spcBef>
              <a:buFont typeface="Wingdings" pitchFamily="2" charset="2"/>
              <a:buChar char="Ø"/>
            </a:pPr>
            <a:endParaRPr lang="en-US" altLang="en-US" dirty="0" smtClean="0"/>
          </a:p>
          <a:p>
            <a:pPr eaLnBrk="1" hangingPunct="1">
              <a:spcBef>
                <a:spcPct val="0"/>
              </a:spcBef>
              <a:buFont typeface="Wingdings" pitchFamily="2" charset="2"/>
              <a:buNone/>
            </a:pPr>
            <a:endParaRPr lang="en-US" altLang="en-US" dirty="0" smtClean="0"/>
          </a:p>
          <a:p>
            <a:pPr eaLnBrk="1" hangingPunct="1">
              <a:spcBef>
                <a:spcPct val="0"/>
              </a:spcBef>
              <a:buFont typeface="Wingdings" pitchFamily="2" charset="2"/>
              <a:buChar char="Ø"/>
            </a:pPr>
            <a:r>
              <a:rPr lang="en-US" altLang="en-US" b="1" dirty="0" err="1" smtClean="0"/>
              <a:t>Anjakan</a:t>
            </a:r>
            <a:r>
              <a:rPr lang="en-US" altLang="en-US" b="1" dirty="0" smtClean="0"/>
              <a:t> 5</a:t>
            </a:r>
            <a:r>
              <a:rPr lang="en-US" altLang="en-US" dirty="0" smtClean="0"/>
              <a:t> </a:t>
            </a:r>
            <a:r>
              <a:rPr lang="en-US" altLang="en-US" dirty="0" err="1" smtClean="0"/>
              <a:t>iaitu</a:t>
            </a:r>
            <a:r>
              <a:rPr lang="en-US" altLang="en-US" dirty="0" smtClean="0"/>
              <a:t> </a:t>
            </a:r>
            <a:r>
              <a:rPr lang="en-US" altLang="en-US" dirty="0" err="1" smtClean="0"/>
              <a:t>memastikan</a:t>
            </a:r>
            <a:r>
              <a:rPr lang="en-US" altLang="en-US" dirty="0" smtClean="0"/>
              <a:t> </a:t>
            </a:r>
            <a:r>
              <a:rPr lang="en-US" altLang="en-US" dirty="0" err="1" smtClean="0"/>
              <a:t>Kepimpinan</a:t>
            </a:r>
            <a:r>
              <a:rPr lang="en-US" altLang="en-US" dirty="0" smtClean="0"/>
              <a:t> </a:t>
            </a:r>
            <a:r>
              <a:rPr lang="en-US" altLang="en-US" dirty="0" err="1" smtClean="0"/>
              <a:t>Berprestasi</a:t>
            </a:r>
            <a:r>
              <a:rPr lang="en-US" altLang="en-US" dirty="0" smtClean="0"/>
              <a:t> </a:t>
            </a:r>
            <a:r>
              <a:rPr lang="en-US" altLang="en-US" dirty="0" err="1" smtClean="0"/>
              <a:t>Tinggi</a:t>
            </a:r>
            <a:r>
              <a:rPr lang="en-US" altLang="en-US" dirty="0" smtClean="0"/>
              <a:t> </a:t>
            </a:r>
            <a:r>
              <a:rPr lang="en-US" altLang="en-US" dirty="0" err="1" smtClean="0"/>
              <a:t>ditempatkan</a:t>
            </a:r>
            <a:r>
              <a:rPr lang="en-US" altLang="en-US" dirty="0" smtClean="0"/>
              <a:t> </a:t>
            </a:r>
            <a:r>
              <a:rPr lang="en-US" altLang="en-US" dirty="0" err="1" smtClean="0"/>
              <a:t>di</a:t>
            </a:r>
            <a:r>
              <a:rPr lang="en-US" altLang="en-US" dirty="0" smtClean="0"/>
              <a:t> </a:t>
            </a:r>
            <a:r>
              <a:rPr lang="en-US" altLang="en-US" dirty="0" err="1" smtClean="0"/>
              <a:t>setiap</a:t>
            </a:r>
            <a:r>
              <a:rPr lang="en-US" altLang="en-US" dirty="0" smtClean="0"/>
              <a:t> </a:t>
            </a:r>
            <a:r>
              <a:rPr lang="en-US" altLang="en-US" dirty="0" err="1" smtClean="0"/>
              <a:t>sekolah</a:t>
            </a:r>
            <a:r>
              <a:rPr lang="en-US" altLang="en-US" dirty="0" smtClean="0"/>
              <a:t> – </a:t>
            </a:r>
            <a:r>
              <a:rPr lang="en-US" altLang="en-US" dirty="0" err="1" smtClean="0"/>
              <a:t>memperkukuh</a:t>
            </a:r>
            <a:r>
              <a:rPr lang="en-US" altLang="en-US" baseline="0" dirty="0" smtClean="0"/>
              <a:t> </a:t>
            </a:r>
            <a:r>
              <a:rPr lang="en-US" altLang="en-US" dirty="0" err="1" smtClean="0"/>
              <a:t>kriteria</a:t>
            </a:r>
            <a:r>
              <a:rPr lang="en-US" altLang="en-US" dirty="0" smtClean="0"/>
              <a:t> </a:t>
            </a:r>
            <a:r>
              <a:rPr lang="en-US" altLang="en-US" dirty="0" err="1" smtClean="0"/>
              <a:t>pemilihan</a:t>
            </a:r>
            <a:r>
              <a:rPr lang="en-US" altLang="en-US" dirty="0" smtClean="0"/>
              <a:t> </a:t>
            </a:r>
            <a:r>
              <a:rPr lang="en-US" altLang="en-US" dirty="0" err="1" smtClean="0"/>
              <a:t>dan</a:t>
            </a:r>
            <a:r>
              <a:rPr lang="en-US" altLang="en-US" dirty="0" smtClean="0"/>
              <a:t> </a:t>
            </a:r>
            <a:r>
              <a:rPr lang="en-US" altLang="en-US" dirty="0" err="1" smtClean="0"/>
              <a:t>proses</a:t>
            </a:r>
            <a:r>
              <a:rPr lang="en-US" altLang="en-US" dirty="0" smtClean="0"/>
              <a:t> </a:t>
            </a:r>
            <a:r>
              <a:rPr lang="en-US" altLang="en-US" dirty="0" err="1" smtClean="0"/>
              <a:t>perancangan</a:t>
            </a:r>
            <a:r>
              <a:rPr lang="en-US" altLang="en-US" dirty="0" smtClean="0"/>
              <a:t> </a:t>
            </a:r>
            <a:r>
              <a:rPr lang="en-US" altLang="en-US" dirty="0" err="1" smtClean="0"/>
              <a:t>penggantian</a:t>
            </a:r>
            <a:r>
              <a:rPr lang="en-US" altLang="en-US" dirty="0" smtClean="0"/>
              <a:t> </a:t>
            </a:r>
            <a:r>
              <a:rPr lang="en-US" altLang="en-US" dirty="0" err="1" smtClean="0"/>
              <a:t>bagi</a:t>
            </a:r>
            <a:r>
              <a:rPr lang="en-US" altLang="en-US" dirty="0" smtClean="0"/>
              <a:t> </a:t>
            </a:r>
            <a:r>
              <a:rPr lang="en-US" altLang="en-US" dirty="0" err="1" smtClean="0"/>
              <a:t>pengetua</a:t>
            </a:r>
            <a:r>
              <a:rPr lang="en-US" altLang="en-US" dirty="0" smtClean="0"/>
              <a:t>/guru </a:t>
            </a:r>
            <a:r>
              <a:rPr lang="en-US" altLang="en-US" dirty="0" err="1" smtClean="0"/>
              <a:t>besar</a:t>
            </a:r>
            <a:r>
              <a:rPr lang="en-US" altLang="en-US" dirty="0" smtClean="0"/>
              <a:t> </a:t>
            </a:r>
            <a:r>
              <a:rPr lang="en-US" altLang="en-US" dirty="0" err="1" smtClean="0"/>
              <a:t>mulai</a:t>
            </a:r>
            <a:r>
              <a:rPr lang="en-US" altLang="en-US" dirty="0" smtClean="0"/>
              <a:t> 2013</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9</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fontScale="92500" lnSpcReduction="20000"/>
          </a:bodyPr>
          <a:lstStyle/>
          <a:p>
            <a:pPr lvl="0"/>
            <a:r>
              <a:rPr lang="ms-MY" sz="1200" kern="1200" dirty="0" smtClean="0">
                <a:solidFill>
                  <a:schemeClr val="tx1"/>
                </a:solidFill>
                <a:latin typeface="+mn-lt"/>
                <a:ea typeface="+mn-ea"/>
                <a:cs typeface="+mn-cs"/>
              </a:rPr>
              <a:t>Terdapat 9 instrumen penilaian dibangunkan dalam instrumen PBPPP berdasarkan </a:t>
            </a:r>
            <a:r>
              <a:rPr lang="ms-MY" sz="1200" b="1" kern="1200" dirty="0" smtClean="0">
                <a:solidFill>
                  <a:schemeClr val="tx1"/>
                </a:solidFill>
                <a:latin typeface="+mn-lt"/>
                <a:ea typeface="+mn-ea"/>
                <a:cs typeface="+mn-cs"/>
              </a:rPr>
              <a:t>lima</a:t>
            </a:r>
            <a:r>
              <a:rPr lang="ms-MY" sz="1200" kern="1200" dirty="0" smtClean="0">
                <a:solidFill>
                  <a:schemeClr val="tx1"/>
                </a:solidFill>
                <a:latin typeface="+mn-lt"/>
                <a:ea typeface="+mn-ea"/>
                <a:cs typeface="+mn-cs"/>
              </a:rPr>
              <a:t> kategori kumpulan Berasaskan Bidang Tugas seperti di bawah: </a:t>
            </a:r>
            <a:endParaRPr lang="en-US" sz="1200" kern="1200" dirty="0" smtClean="0">
              <a:solidFill>
                <a:schemeClr val="tx1"/>
              </a:solidFill>
              <a:latin typeface="+mn-lt"/>
              <a:ea typeface="+mn-ea"/>
              <a:cs typeface="+mn-cs"/>
            </a:endParaRPr>
          </a:p>
          <a:p>
            <a:r>
              <a:rPr lang="ms-MY" sz="1200" b="1" kern="1200" dirty="0" smtClean="0">
                <a:solidFill>
                  <a:schemeClr val="tx1"/>
                </a:solidFill>
                <a:latin typeface="+mn-lt"/>
                <a:ea typeface="+mn-ea"/>
                <a:cs typeface="+mn-cs"/>
              </a:rPr>
              <a:t> </a:t>
            </a:r>
            <a:endParaRPr lang="en-US" sz="1200" kern="1200" dirty="0" smtClean="0">
              <a:solidFill>
                <a:schemeClr val="tx1"/>
              </a:solidFill>
              <a:latin typeface="+mn-lt"/>
              <a:ea typeface="+mn-ea"/>
              <a:cs typeface="+mn-cs"/>
            </a:endParaRPr>
          </a:p>
          <a:p>
            <a:r>
              <a:rPr lang="ms-MY" sz="1200" b="1" kern="1200" dirty="0" smtClean="0">
                <a:solidFill>
                  <a:schemeClr val="tx1"/>
                </a:solidFill>
                <a:latin typeface="+mn-lt"/>
                <a:ea typeface="+mn-ea"/>
                <a:cs typeface="+mn-cs"/>
              </a:rPr>
              <a:t>1.  Kumpulan PdP</a:t>
            </a:r>
            <a:r>
              <a:rPr lang="ms-MY" sz="1200" kern="1200" dirty="0" smtClean="0">
                <a:solidFill>
                  <a:schemeClr val="tx1"/>
                </a:solidFill>
                <a:latin typeface="+mn-lt"/>
                <a:ea typeface="+mn-ea"/>
                <a:cs typeface="+mn-cs"/>
              </a:rPr>
              <a:t>: </a:t>
            </a:r>
            <a:endParaRPr lang="en-US" sz="1200" kern="1200" dirty="0" smtClean="0">
              <a:solidFill>
                <a:schemeClr val="tx1"/>
              </a:solidFill>
              <a:latin typeface="+mn-lt"/>
              <a:ea typeface="+mn-ea"/>
              <a:cs typeface="+mn-cs"/>
            </a:endParaRPr>
          </a:p>
          <a:p>
            <a:pPr lvl="0"/>
            <a:r>
              <a:rPr lang="en-US" sz="1200" kern="1200" dirty="0" smtClean="0">
                <a:solidFill>
                  <a:schemeClr val="tx1"/>
                </a:solidFill>
                <a:latin typeface="+mn-lt"/>
                <a:ea typeface="+mn-ea"/>
                <a:cs typeface="+mn-cs"/>
              </a:rPr>
              <a:t>PPP yang </a:t>
            </a:r>
            <a:r>
              <a:rPr lang="en-US" sz="1200" kern="1200" dirty="0" err="1" smtClean="0">
                <a:solidFill>
                  <a:schemeClr val="tx1"/>
                </a:solidFill>
                <a:latin typeface="+mn-lt"/>
                <a:ea typeface="+mn-ea"/>
                <a:cs typeface="+mn-cs"/>
              </a:rPr>
              <a:t>terlibat</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alam</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ngajar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mbelajar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sekolah</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institus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ndidik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bawah</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kelolaan</a:t>
            </a:r>
            <a:r>
              <a:rPr lang="en-US" sz="1200" kern="1200" dirty="0" smtClean="0">
                <a:solidFill>
                  <a:schemeClr val="tx1"/>
                </a:solidFill>
                <a:latin typeface="+mn-lt"/>
                <a:ea typeface="+mn-ea"/>
                <a:cs typeface="+mn-cs"/>
              </a:rPr>
              <a:t> KPM</a:t>
            </a:r>
            <a:r>
              <a:rPr lang="ms-MY" sz="1200" kern="1200" dirty="0" smtClean="0">
                <a:solidFill>
                  <a:schemeClr val="tx1"/>
                </a:solidFill>
                <a:latin typeface="+mn-lt"/>
                <a:ea typeface="+mn-ea"/>
                <a:cs typeface="+mn-cs"/>
              </a:rPr>
              <a:t> (Sektor Pelajaran):</a:t>
            </a:r>
            <a:endParaRPr lang="en-US" sz="1200" kern="1200" dirty="0" smtClean="0">
              <a:solidFill>
                <a:schemeClr val="tx1"/>
              </a:solidFill>
              <a:latin typeface="+mn-lt"/>
              <a:ea typeface="+mn-ea"/>
              <a:cs typeface="+mn-cs"/>
            </a:endParaRPr>
          </a:p>
          <a:p>
            <a:pPr lvl="0"/>
            <a:r>
              <a:rPr lang="ms-MY" sz="1200" kern="1200" dirty="0" smtClean="0">
                <a:solidFill>
                  <a:schemeClr val="tx1"/>
                </a:solidFill>
                <a:latin typeface="+mn-lt"/>
                <a:ea typeface="+mn-ea"/>
                <a:cs typeface="+mn-cs"/>
              </a:rPr>
              <a:t>	-Guru; dan</a:t>
            </a:r>
            <a:endParaRPr lang="en-US" sz="1200" kern="1200" dirty="0" smtClean="0">
              <a:solidFill>
                <a:schemeClr val="tx1"/>
              </a:solidFill>
              <a:latin typeface="+mn-lt"/>
              <a:ea typeface="+mn-ea"/>
              <a:cs typeface="+mn-cs"/>
            </a:endParaRPr>
          </a:p>
          <a:p>
            <a:pPr lvl="0"/>
            <a:r>
              <a:rPr lang="ms-MY" sz="1200" kern="1200" dirty="0" smtClean="0">
                <a:solidFill>
                  <a:schemeClr val="tx1"/>
                </a:solidFill>
                <a:latin typeface="+mn-lt"/>
                <a:ea typeface="+mn-ea"/>
                <a:cs typeface="+mn-cs"/>
              </a:rPr>
              <a:t>	-Pensyarah</a:t>
            </a:r>
            <a:endParaRPr lang="en-US" sz="1200" kern="1200" dirty="0" smtClean="0">
              <a:solidFill>
                <a:schemeClr val="tx1"/>
              </a:solidFill>
              <a:latin typeface="+mn-lt"/>
              <a:ea typeface="+mn-ea"/>
              <a:cs typeface="+mn-cs"/>
            </a:endParaRPr>
          </a:p>
          <a:p>
            <a:r>
              <a:rPr lang="ms-MY" sz="1200" kern="1200" dirty="0" smtClean="0">
                <a:solidFill>
                  <a:schemeClr val="tx1"/>
                </a:solidFill>
                <a:latin typeface="+mn-lt"/>
                <a:ea typeface="+mn-ea"/>
                <a:cs typeface="+mn-cs"/>
              </a:rPr>
              <a:t> </a:t>
            </a:r>
            <a:endParaRPr lang="en-US" sz="1200" kern="1200" dirty="0" smtClean="0">
              <a:solidFill>
                <a:schemeClr val="tx1"/>
              </a:solidFill>
              <a:latin typeface="+mn-lt"/>
              <a:ea typeface="+mn-ea"/>
              <a:cs typeface="+mn-cs"/>
            </a:endParaRPr>
          </a:p>
          <a:p>
            <a:r>
              <a:rPr lang="ms-MY" sz="1200" b="1" kern="1200" dirty="0" smtClean="0">
                <a:solidFill>
                  <a:schemeClr val="tx1"/>
                </a:solidFill>
                <a:latin typeface="+mn-lt"/>
                <a:ea typeface="+mn-ea"/>
                <a:cs typeface="+mn-cs"/>
              </a:rPr>
              <a:t>2.  Kumpulan PT (A)</a:t>
            </a:r>
            <a:endParaRPr lang="en-US" sz="1200" kern="1200" dirty="0" smtClean="0">
              <a:solidFill>
                <a:schemeClr val="tx1"/>
              </a:solidFill>
              <a:latin typeface="+mn-lt"/>
              <a:ea typeface="+mn-ea"/>
              <a:cs typeface="+mn-cs"/>
            </a:endParaRPr>
          </a:p>
          <a:p>
            <a:pPr lvl="0"/>
            <a:r>
              <a:rPr lang="en-US" sz="1200" kern="1200" dirty="0" smtClean="0">
                <a:solidFill>
                  <a:schemeClr val="tx1"/>
                </a:solidFill>
                <a:latin typeface="+mn-lt"/>
                <a:ea typeface="+mn-ea"/>
                <a:cs typeface="+mn-cs"/>
              </a:rPr>
              <a:t>PPP </a:t>
            </a:r>
            <a:r>
              <a:rPr lang="en-US" sz="1200" kern="1200" dirty="0" err="1" smtClean="0">
                <a:solidFill>
                  <a:schemeClr val="tx1"/>
                </a:solidFill>
                <a:latin typeface="+mn-lt"/>
                <a:ea typeface="+mn-ea"/>
                <a:cs typeface="+mn-cs"/>
              </a:rPr>
              <a:t>d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ringkat</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ngurus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sekolah</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institus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ngaji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bawah</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kelolaan</a:t>
            </a:r>
            <a:r>
              <a:rPr lang="en-US" sz="1200" kern="1200" dirty="0" smtClean="0">
                <a:solidFill>
                  <a:schemeClr val="tx1"/>
                </a:solidFill>
                <a:latin typeface="+mn-lt"/>
                <a:ea typeface="+mn-ea"/>
                <a:cs typeface="+mn-cs"/>
              </a:rPr>
              <a:t> KPM yang </a:t>
            </a:r>
            <a:r>
              <a:rPr lang="en-US" sz="1200" kern="1200" dirty="0" err="1" smtClean="0">
                <a:solidFill>
                  <a:schemeClr val="tx1"/>
                </a:solidFill>
                <a:latin typeface="+mn-lt"/>
                <a:ea typeface="+mn-ea"/>
                <a:cs typeface="+mn-cs"/>
              </a:rPr>
              <a:t>terlibat</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alam</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ngurusan</a:t>
            </a:r>
            <a:r>
              <a:rPr lang="en-US" sz="1200" b="1" kern="1200" dirty="0" smtClean="0">
                <a:solidFill>
                  <a:schemeClr val="tx1"/>
                </a:solidFill>
                <a:latin typeface="+mn-lt"/>
                <a:ea typeface="+mn-ea"/>
                <a:cs typeface="+mn-cs"/>
              </a:rPr>
              <a:t> SERTA </a:t>
            </a:r>
            <a:r>
              <a:rPr lang="en-US" sz="1200" kern="1200" dirty="0" err="1" smtClean="0">
                <a:solidFill>
                  <a:schemeClr val="tx1"/>
                </a:solidFill>
                <a:latin typeface="+mn-lt"/>
                <a:ea typeface="+mn-ea"/>
                <a:cs typeface="+mn-cs"/>
              </a:rPr>
              <a:t>pengajar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mbelajaran</a:t>
            </a:r>
            <a:r>
              <a:rPr lang="en-US" sz="1200" kern="1200" dirty="0" smtClean="0">
                <a:solidFill>
                  <a:schemeClr val="tx1"/>
                </a:solidFill>
                <a:latin typeface="+mn-lt"/>
                <a:ea typeface="+mn-ea"/>
                <a:cs typeface="+mn-cs"/>
              </a:rPr>
              <a:t>:</a:t>
            </a:r>
          </a:p>
          <a:p>
            <a:pPr lvl="0"/>
            <a:r>
              <a:rPr lang="ms-MY" sz="1200" kern="1200" dirty="0" smtClean="0">
                <a:solidFill>
                  <a:schemeClr val="tx1"/>
                </a:solidFill>
                <a:latin typeface="+mn-lt"/>
                <a:ea typeface="+mn-ea"/>
                <a:cs typeface="+mn-cs"/>
              </a:rPr>
              <a:t>	-Kepimpinan sekolah; dan Kepimpinan Institusi Pendidikan</a:t>
            </a:r>
            <a:endParaRPr lang="en-US" sz="1200" kern="1200" dirty="0" smtClean="0">
              <a:solidFill>
                <a:schemeClr val="tx1"/>
              </a:solidFill>
              <a:latin typeface="+mn-lt"/>
              <a:ea typeface="+mn-ea"/>
              <a:cs typeface="+mn-cs"/>
            </a:endParaRPr>
          </a:p>
          <a:p>
            <a:r>
              <a:rPr lang="ms-MY" sz="1200" kern="1200" dirty="0" smtClean="0">
                <a:solidFill>
                  <a:schemeClr val="tx1"/>
                </a:solidFill>
                <a:latin typeface="+mn-lt"/>
                <a:ea typeface="+mn-ea"/>
                <a:cs typeface="+mn-cs"/>
              </a:rPr>
              <a:t> </a:t>
            </a:r>
            <a:endParaRPr lang="en-US" sz="1200" kern="1200" dirty="0" smtClean="0">
              <a:solidFill>
                <a:schemeClr val="tx1"/>
              </a:solidFill>
              <a:latin typeface="+mn-lt"/>
              <a:ea typeface="+mn-ea"/>
              <a:cs typeface="+mn-cs"/>
            </a:endParaRPr>
          </a:p>
          <a:p>
            <a:r>
              <a:rPr lang="ms-MY" sz="1200" b="1" kern="1200" dirty="0" smtClean="0">
                <a:solidFill>
                  <a:schemeClr val="tx1"/>
                </a:solidFill>
                <a:latin typeface="+mn-lt"/>
                <a:ea typeface="+mn-ea"/>
                <a:cs typeface="+mn-cs"/>
              </a:rPr>
              <a:t>3.  Kumpulan PT (B)</a:t>
            </a:r>
            <a:endParaRPr lang="en-US" sz="1200" kern="1200" dirty="0" smtClean="0">
              <a:solidFill>
                <a:schemeClr val="tx1"/>
              </a:solidFill>
              <a:latin typeface="+mn-lt"/>
              <a:ea typeface="+mn-ea"/>
              <a:cs typeface="+mn-cs"/>
            </a:endParaRPr>
          </a:p>
          <a:p>
            <a:pPr lvl="0"/>
            <a:r>
              <a:rPr lang="en-US" sz="1200" kern="1200" dirty="0" smtClean="0">
                <a:solidFill>
                  <a:schemeClr val="tx1"/>
                </a:solidFill>
                <a:latin typeface="+mn-lt"/>
                <a:ea typeface="+mn-ea"/>
                <a:cs typeface="+mn-cs"/>
              </a:rPr>
              <a:t>PPP </a:t>
            </a:r>
            <a:r>
              <a:rPr lang="en-US" sz="1200" kern="1200" dirty="0" err="1" smtClean="0">
                <a:solidFill>
                  <a:schemeClr val="tx1"/>
                </a:solidFill>
                <a:latin typeface="+mn-lt"/>
                <a:ea typeface="+mn-ea"/>
                <a:cs typeface="+mn-cs"/>
              </a:rPr>
              <a:t>d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ringkat</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ngurus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ntadbir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di</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organisasi</a:t>
            </a:r>
            <a:r>
              <a:rPr lang="en-US" sz="1200" kern="1200" dirty="0" smtClean="0">
                <a:solidFill>
                  <a:schemeClr val="tx1"/>
                </a:solidFill>
                <a:latin typeface="+mn-lt"/>
                <a:ea typeface="+mn-ea"/>
                <a:cs typeface="+mn-cs"/>
              </a:rPr>
              <a:t> KPM yang </a:t>
            </a:r>
            <a:r>
              <a:rPr lang="en-US" sz="1200" kern="1200" dirty="0" err="1" smtClean="0">
                <a:solidFill>
                  <a:schemeClr val="tx1"/>
                </a:solidFill>
                <a:latin typeface="+mn-lt"/>
                <a:ea typeface="+mn-ea"/>
                <a:cs typeface="+mn-cs"/>
              </a:rPr>
              <a:t>terlibat</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hanya</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berkaitan</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engurusan</a:t>
            </a:r>
            <a:r>
              <a:rPr lang="en-US" sz="1200" kern="1200" dirty="0" smtClean="0">
                <a:solidFill>
                  <a:schemeClr val="tx1"/>
                </a:solidFill>
                <a:latin typeface="+mn-lt"/>
                <a:ea typeface="+mn-ea"/>
                <a:cs typeface="+mn-cs"/>
              </a:rPr>
              <a:t> </a:t>
            </a:r>
            <a:r>
              <a:rPr lang="en-US" sz="1200" b="1" kern="1200" dirty="0" smtClean="0">
                <a:solidFill>
                  <a:schemeClr val="tx1"/>
                </a:solidFill>
                <a:latin typeface="+mn-lt"/>
                <a:ea typeface="+mn-ea"/>
                <a:cs typeface="+mn-cs"/>
              </a:rPr>
              <a:t>TANPA </a:t>
            </a:r>
            <a:r>
              <a:rPr lang="en-US" sz="1200" kern="1200" dirty="0" err="1" smtClean="0">
                <a:solidFill>
                  <a:schemeClr val="tx1"/>
                </a:solidFill>
                <a:latin typeface="+mn-lt"/>
                <a:ea typeface="+mn-ea"/>
                <a:cs typeface="+mn-cs"/>
              </a:rPr>
              <a:t>pengajaran</a:t>
            </a:r>
            <a:r>
              <a:rPr lang="en-US" sz="1200" kern="1200" dirty="0" smtClean="0">
                <a:solidFill>
                  <a:schemeClr val="tx1"/>
                </a:solidFill>
                <a:latin typeface="+mn-lt"/>
                <a:ea typeface="+mn-ea"/>
                <a:cs typeface="+mn-cs"/>
              </a:rPr>
              <a:t>: </a:t>
            </a:r>
          </a:p>
          <a:p>
            <a:pPr lvl="0"/>
            <a:r>
              <a:rPr lang="ms-MY" sz="1200" kern="1200" dirty="0" smtClean="0">
                <a:solidFill>
                  <a:schemeClr val="tx1"/>
                </a:solidFill>
                <a:latin typeface="+mn-lt"/>
                <a:ea typeface="+mn-ea"/>
                <a:cs typeface="+mn-cs"/>
              </a:rPr>
              <a:t>	-Pegawai di Bahagian, JPN, PPD dan di Institusi Pendidikan.</a:t>
            </a:r>
            <a:endParaRPr lang="en-US" sz="1200" kern="1200" dirty="0" smtClean="0">
              <a:solidFill>
                <a:schemeClr val="tx1"/>
              </a:solidFill>
              <a:latin typeface="+mn-lt"/>
              <a:ea typeface="+mn-ea"/>
              <a:cs typeface="+mn-cs"/>
            </a:endParaRPr>
          </a:p>
          <a:p>
            <a:r>
              <a:rPr lang="ms-MY" sz="1200" kern="1200" dirty="0" smtClean="0">
                <a:solidFill>
                  <a:schemeClr val="tx1"/>
                </a:solidFill>
                <a:latin typeface="+mn-lt"/>
                <a:ea typeface="+mn-ea"/>
                <a:cs typeface="+mn-cs"/>
              </a:rPr>
              <a:t> </a:t>
            </a:r>
            <a:endParaRPr lang="en-US" sz="1200" kern="1200" dirty="0" smtClean="0">
              <a:solidFill>
                <a:schemeClr val="tx1"/>
              </a:solidFill>
              <a:latin typeface="+mn-lt"/>
              <a:ea typeface="+mn-ea"/>
              <a:cs typeface="+mn-cs"/>
            </a:endParaRPr>
          </a:p>
          <a:p>
            <a:r>
              <a:rPr lang="ms-MY" sz="1200" b="1" kern="1200" dirty="0" smtClean="0">
                <a:solidFill>
                  <a:schemeClr val="tx1"/>
                </a:solidFill>
                <a:latin typeface="+mn-lt"/>
                <a:ea typeface="+mn-ea"/>
                <a:cs typeface="+mn-cs"/>
              </a:rPr>
              <a:t>4.  Kumpulan Fasilitator</a:t>
            </a:r>
            <a:endParaRPr lang="en-US" sz="1200" kern="1200" dirty="0" smtClean="0">
              <a:solidFill>
                <a:schemeClr val="tx1"/>
              </a:solidFill>
              <a:latin typeface="+mn-lt"/>
              <a:ea typeface="+mn-ea"/>
              <a:cs typeface="+mn-cs"/>
            </a:endParaRPr>
          </a:p>
          <a:p>
            <a:pPr lvl="0"/>
            <a:r>
              <a:rPr lang="ms-MY" sz="1200" kern="1200" dirty="0" smtClean="0">
                <a:solidFill>
                  <a:schemeClr val="tx1"/>
                </a:solidFill>
                <a:latin typeface="+mn-lt"/>
                <a:ea typeface="+mn-ea"/>
                <a:cs typeface="+mn-cs"/>
              </a:rPr>
              <a:t>PPP yang bertugas sebagai:</a:t>
            </a:r>
            <a:endParaRPr lang="en-US" sz="1200" kern="1200" dirty="0" smtClean="0">
              <a:solidFill>
                <a:schemeClr val="tx1"/>
              </a:solidFill>
              <a:latin typeface="+mn-lt"/>
              <a:ea typeface="+mn-ea"/>
              <a:cs typeface="+mn-cs"/>
            </a:endParaRPr>
          </a:p>
          <a:p>
            <a:pPr lvl="0"/>
            <a:r>
              <a:rPr lang="ms-MY" sz="1200" kern="1200" dirty="0" smtClean="0">
                <a:solidFill>
                  <a:schemeClr val="tx1"/>
                </a:solidFill>
                <a:latin typeface="+mn-lt"/>
                <a:ea typeface="+mn-ea"/>
                <a:cs typeface="+mn-cs"/>
              </a:rPr>
              <a:t>	5.  Guru Bimbingan dan Kaunseling</a:t>
            </a:r>
            <a:endParaRPr lang="en-US" sz="1200" kern="1200" dirty="0" smtClean="0">
              <a:solidFill>
                <a:schemeClr val="tx1"/>
              </a:solidFill>
              <a:latin typeface="+mn-lt"/>
              <a:ea typeface="+mn-ea"/>
              <a:cs typeface="+mn-cs"/>
            </a:endParaRPr>
          </a:p>
          <a:p>
            <a:pPr lvl="0"/>
            <a:r>
              <a:rPr lang="ms-MY" sz="1200" kern="1200" dirty="0" smtClean="0">
                <a:solidFill>
                  <a:schemeClr val="tx1"/>
                </a:solidFill>
                <a:latin typeface="+mn-lt"/>
                <a:ea typeface="+mn-ea"/>
                <a:cs typeface="+mn-cs"/>
              </a:rPr>
              <a:t>	6.  Kaunselor Organisasi (Bahagian, JPN, PPD, IPG dan KM)</a:t>
            </a:r>
            <a:endParaRPr lang="en-US" sz="1200" kern="1200" dirty="0" smtClean="0">
              <a:solidFill>
                <a:schemeClr val="tx1"/>
              </a:solidFill>
              <a:latin typeface="+mn-lt"/>
              <a:ea typeface="+mn-ea"/>
              <a:cs typeface="+mn-cs"/>
            </a:endParaRPr>
          </a:p>
          <a:p>
            <a:pPr lvl="0"/>
            <a:r>
              <a:rPr lang="ms-MY" sz="1200" kern="1200" dirty="0" smtClean="0">
                <a:solidFill>
                  <a:schemeClr val="tx1"/>
                </a:solidFill>
                <a:latin typeface="+mn-lt"/>
                <a:ea typeface="+mn-ea"/>
                <a:cs typeface="+mn-cs"/>
              </a:rPr>
              <a:t>	7.  SIPartners+, SISC+ dan FasiLINU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                   8.</a:t>
            </a:r>
            <a:r>
              <a:rPr lang="en-US" sz="1200" kern="1200" baseline="0" dirty="0" smtClean="0">
                <a:solidFill>
                  <a:schemeClr val="tx1"/>
                </a:solidFill>
                <a:latin typeface="+mn-lt"/>
                <a:ea typeface="+mn-ea"/>
                <a:cs typeface="+mn-cs"/>
              </a:rPr>
              <a:t> </a:t>
            </a:r>
            <a:r>
              <a:rPr lang="en-US" sz="1200" dirty="0" err="1" smtClean="0">
                <a:cs typeface="Arial" pitchFamily="34" charset="0"/>
              </a:rPr>
              <a:t>Pegawai</a:t>
            </a:r>
            <a:r>
              <a:rPr lang="en-US" sz="1200" dirty="0" smtClean="0">
                <a:cs typeface="Arial" pitchFamily="34" charset="0"/>
              </a:rPr>
              <a:t> </a:t>
            </a:r>
            <a:r>
              <a:rPr lang="en-US" sz="1200" dirty="0" err="1" smtClean="0">
                <a:cs typeface="Arial" pitchFamily="34" charset="0"/>
              </a:rPr>
              <a:t>Pusat</a:t>
            </a:r>
            <a:r>
              <a:rPr lang="en-US" sz="1200" dirty="0" smtClean="0">
                <a:cs typeface="Arial" pitchFamily="34" charset="0"/>
              </a:rPr>
              <a:t> </a:t>
            </a:r>
            <a:r>
              <a:rPr lang="en-US" sz="1200" dirty="0" err="1" smtClean="0">
                <a:cs typeface="Arial" pitchFamily="34" charset="0"/>
              </a:rPr>
              <a:t>Perkhidmatan</a:t>
            </a:r>
            <a:r>
              <a:rPr lang="en-US" sz="1200" dirty="0" smtClean="0">
                <a:cs typeface="Arial" pitchFamily="34" charset="0"/>
              </a:rPr>
              <a:t> </a:t>
            </a:r>
            <a:r>
              <a:rPr lang="en-US" sz="1200" dirty="0" err="1" smtClean="0">
                <a:cs typeface="Arial" pitchFamily="34" charset="0"/>
              </a:rPr>
              <a:t>Pendidikan</a:t>
            </a:r>
            <a:r>
              <a:rPr lang="en-US" sz="1200" dirty="0" smtClean="0">
                <a:cs typeface="Arial" pitchFamily="34" charset="0"/>
              </a:rPr>
              <a:t> </a:t>
            </a:r>
            <a:r>
              <a:rPr lang="en-US" sz="1200" dirty="0" err="1" smtClean="0">
                <a:cs typeface="Arial" pitchFamily="34" charset="0"/>
              </a:rPr>
              <a:t>Khas</a:t>
            </a:r>
            <a:r>
              <a:rPr lang="en-US" sz="1200" dirty="0" smtClean="0">
                <a:cs typeface="Arial" pitchFamily="34" charset="0"/>
              </a:rPr>
              <a:t> </a:t>
            </a:r>
          </a:p>
          <a:p>
            <a:pPr lvl="0"/>
            <a:endParaRPr lang="en-US" sz="1200" kern="1200" dirty="0" smtClean="0">
              <a:solidFill>
                <a:schemeClr val="tx1"/>
              </a:solidFill>
              <a:latin typeface="+mn-lt"/>
              <a:ea typeface="+mn-ea"/>
              <a:cs typeface="+mn-cs"/>
            </a:endParaRPr>
          </a:p>
          <a:p>
            <a:r>
              <a:rPr lang="ms-MY" sz="1200" kern="1200" dirty="0" smtClean="0">
                <a:solidFill>
                  <a:schemeClr val="tx1"/>
                </a:solidFill>
                <a:latin typeface="+mn-lt"/>
                <a:ea typeface="+mn-ea"/>
                <a:cs typeface="+mn-cs"/>
              </a:rPr>
              <a:t> </a:t>
            </a:r>
            <a:endParaRPr lang="en-US" sz="1200" kern="1200" dirty="0" smtClean="0">
              <a:solidFill>
                <a:schemeClr val="tx1"/>
              </a:solidFill>
              <a:latin typeface="+mn-lt"/>
              <a:ea typeface="+mn-ea"/>
              <a:cs typeface="+mn-cs"/>
            </a:endParaRPr>
          </a:p>
          <a:p>
            <a:r>
              <a:rPr lang="ms-MY" sz="1200" b="1" kern="1200" dirty="0" smtClean="0">
                <a:solidFill>
                  <a:schemeClr val="tx1"/>
                </a:solidFill>
                <a:latin typeface="+mn-lt"/>
                <a:ea typeface="+mn-ea"/>
                <a:cs typeface="+mn-cs"/>
              </a:rPr>
              <a:t>5.  Kumpulan Jurulatih</a:t>
            </a:r>
            <a:endParaRPr lang="en-US" sz="1200" kern="1200" dirty="0" smtClean="0">
              <a:solidFill>
                <a:schemeClr val="tx1"/>
              </a:solidFill>
              <a:latin typeface="+mn-lt"/>
              <a:ea typeface="+mn-ea"/>
              <a:cs typeface="+mn-cs"/>
            </a:endParaRPr>
          </a:p>
          <a:p>
            <a:pPr lvl="0"/>
            <a:r>
              <a:rPr lang="ms-MY" sz="1200" kern="1200" dirty="0" smtClean="0">
                <a:solidFill>
                  <a:schemeClr val="tx1"/>
                </a:solidFill>
                <a:latin typeface="+mn-lt"/>
                <a:ea typeface="+mn-ea"/>
                <a:cs typeface="+mn-cs"/>
              </a:rPr>
              <a:t>PPP yang bertugas sepenuh masa sebagai:</a:t>
            </a:r>
            <a:endParaRPr lang="en-US" sz="1200" kern="1200" dirty="0" smtClean="0">
              <a:solidFill>
                <a:schemeClr val="tx1"/>
              </a:solidFill>
              <a:latin typeface="+mn-lt"/>
              <a:ea typeface="+mn-ea"/>
              <a:cs typeface="+mn-cs"/>
            </a:endParaRPr>
          </a:p>
          <a:p>
            <a:pPr lvl="0"/>
            <a:r>
              <a:rPr lang="ms-MY" sz="1200" kern="1200" dirty="0" smtClean="0">
                <a:solidFill>
                  <a:schemeClr val="tx1"/>
                </a:solidFill>
                <a:latin typeface="+mn-lt"/>
                <a:ea typeface="+mn-ea"/>
                <a:cs typeface="+mn-cs"/>
              </a:rPr>
              <a:t>	9.  Jurulatih Sukan atau Jurulatih Seni</a:t>
            </a:r>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14</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err="1" smtClean="0"/>
              <a:t>Komponen</a:t>
            </a:r>
            <a:r>
              <a:rPr lang="en-US" altLang="en-US" dirty="0" smtClean="0"/>
              <a:t> </a:t>
            </a:r>
            <a:r>
              <a:rPr lang="en-US" altLang="en-US" dirty="0" err="1" smtClean="0"/>
              <a:t>Instrumen</a:t>
            </a:r>
            <a:r>
              <a:rPr lang="en-US" altLang="en-US" dirty="0" smtClean="0"/>
              <a:t> PBPPP </a:t>
            </a:r>
            <a:r>
              <a:rPr lang="en-US" altLang="en-US" dirty="0" err="1" smtClean="0"/>
              <a:t>terbahagi</a:t>
            </a:r>
            <a:r>
              <a:rPr lang="en-US" altLang="en-US" dirty="0" smtClean="0"/>
              <a:t> </a:t>
            </a:r>
            <a:r>
              <a:rPr lang="en-US" altLang="en-US" dirty="0" err="1" smtClean="0"/>
              <a:t>kepada</a:t>
            </a:r>
            <a:r>
              <a:rPr lang="en-US" altLang="en-US" dirty="0" smtClean="0"/>
              <a:t> </a:t>
            </a:r>
            <a:r>
              <a:rPr lang="en-US" altLang="en-US" dirty="0" err="1" smtClean="0"/>
              <a:t>tiga</a:t>
            </a:r>
            <a:r>
              <a:rPr lang="en-US" altLang="en-US" dirty="0" smtClean="0"/>
              <a:t> </a:t>
            </a:r>
            <a:r>
              <a:rPr lang="en-US" altLang="en-US" dirty="0" err="1" smtClean="0"/>
              <a:t>iaitu</a:t>
            </a:r>
            <a:r>
              <a:rPr lang="en-US" altLang="en-US" dirty="0" smtClean="0"/>
              <a:t> </a:t>
            </a:r>
            <a:r>
              <a:rPr lang="en-US" altLang="en-US" dirty="0" err="1" smtClean="0"/>
              <a:t>Generik</a:t>
            </a:r>
            <a:r>
              <a:rPr lang="en-US" altLang="en-US" dirty="0" smtClean="0"/>
              <a:t>, </a:t>
            </a:r>
            <a:r>
              <a:rPr lang="en-US" altLang="en-US" dirty="0" err="1" smtClean="0"/>
              <a:t>Fungsional</a:t>
            </a:r>
            <a:r>
              <a:rPr lang="en-US" altLang="en-US" dirty="0" smtClean="0"/>
              <a:t> </a:t>
            </a:r>
            <a:r>
              <a:rPr lang="en-US" altLang="en-US" dirty="0" err="1" smtClean="0"/>
              <a:t>dan</a:t>
            </a:r>
            <a:r>
              <a:rPr lang="en-US" altLang="en-US" dirty="0" smtClean="0"/>
              <a:t> </a:t>
            </a:r>
            <a:r>
              <a:rPr lang="en-US" altLang="en-US" dirty="0" err="1" smtClean="0"/>
              <a:t>Keberhasilan</a:t>
            </a:r>
            <a:r>
              <a:rPr lang="en-US" altLang="en-US" dirty="0" smtClean="0"/>
              <a:t>.</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Komponen</a:t>
            </a:r>
            <a:r>
              <a:rPr lang="en-US" dirty="0" smtClean="0"/>
              <a:t> </a:t>
            </a:r>
            <a:r>
              <a:rPr lang="en-US" dirty="0" err="1" smtClean="0"/>
              <a:t>Generik</a:t>
            </a:r>
            <a:r>
              <a:rPr lang="en-US" dirty="0" smtClean="0"/>
              <a:t> </a:t>
            </a:r>
            <a:r>
              <a:rPr lang="en-US" dirty="0" err="1" smtClean="0"/>
              <a:t>membawa</a:t>
            </a:r>
            <a:r>
              <a:rPr lang="en-US" dirty="0" smtClean="0"/>
              <a:t> </a:t>
            </a:r>
            <a:r>
              <a:rPr lang="en-US" dirty="0" err="1" smtClean="0"/>
              <a:t>maksud</a:t>
            </a:r>
            <a:r>
              <a:rPr lang="en-US" dirty="0" smtClean="0"/>
              <a:t> </a:t>
            </a:r>
            <a:r>
              <a:rPr lang="ms-MY" altLang="en-US" sz="1200" b="0" dirty="0" smtClean="0">
                <a:solidFill>
                  <a:srgbClr val="002060"/>
                </a:solidFill>
                <a:latin typeface="Arial" pitchFamily="34" charset="0"/>
              </a:rPr>
              <a:t>SEMUA PPP dinilai berdasarkan </a:t>
            </a:r>
            <a:r>
              <a:rPr lang="en-US" sz="1200" b="0" dirty="0" err="1" smtClean="0">
                <a:solidFill>
                  <a:srgbClr val="002060"/>
                </a:solidFill>
                <a:latin typeface="Arial" pitchFamily="34" charset="0"/>
              </a:rPr>
              <a:t>dimensi</a:t>
            </a:r>
            <a:r>
              <a:rPr lang="en-US" sz="1200" b="0" dirty="0" smtClean="0">
                <a:solidFill>
                  <a:srgbClr val="002060"/>
                </a:solidFill>
                <a:latin typeface="Arial" pitchFamily="34" charset="0"/>
              </a:rPr>
              <a:t>, </a:t>
            </a:r>
            <a:r>
              <a:rPr lang="en-US" sz="1200" b="0" dirty="0" err="1" smtClean="0">
                <a:solidFill>
                  <a:srgbClr val="002060"/>
                </a:solidFill>
                <a:latin typeface="Arial" pitchFamily="34" charset="0"/>
              </a:rPr>
              <a:t>elemen</a:t>
            </a:r>
            <a:r>
              <a:rPr lang="en-US" sz="1200" b="0" dirty="0" smtClean="0">
                <a:solidFill>
                  <a:srgbClr val="002060"/>
                </a:solidFill>
                <a:latin typeface="Arial" pitchFamily="34" charset="0"/>
              </a:rPr>
              <a:t> </a:t>
            </a:r>
            <a:r>
              <a:rPr lang="en-US" sz="1200" b="0" dirty="0" err="1" smtClean="0">
                <a:solidFill>
                  <a:srgbClr val="002060"/>
                </a:solidFill>
                <a:latin typeface="Arial" pitchFamily="34" charset="0"/>
              </a:rPr>
              <a:t>dan</a:t>
            </a:r>
            <a:r>
              <a:rPr lang="en-US" sz="1200" b="0" dirty="0" smtClean="0">
                <a:solidFill>
                  <a:srgbClr val="002060"/>
                </a:solidFill>
                <a:latin typeface="Arial" pitchFamily="34" charset="0"/>
              </a:rPr>
              <a:t> </a:t>
            </a:r>
            <a:r>
              <a:rPr lang="en-US" sz="1200" b="0" dirty="0" err="1" smtClean="0">
                <a:solidFill>
                  <a:srgbClr val="002060"/>
                </a:solidFill>
                <a:latin typeface="Arial" pitchFamily="34" charset="0"/>
              </a:rPr>
              <a:t>aspek</a:t>
            </a:r>
            <a:r>
              <a:rPr lang="en-US" sz="1200" b="0" dirty="0" smtClean="0">
                <a:solidFill>
                  <a:srgbClr val="002060"/>
                </a:solidFill>
                <a:latin typeface="Arial" pitchFamily="34" charset="0"/>
              </a:rPr>
              <a:t> yang </a:t>
            </a:r>
            <a:r>
              <a:rPr lang="en-US" sz="1200" b="0" dirty="0" err="1" smtClean="0">
                <a:solidFill>
                  <a:srgbClr val="002060"/>
                </a:solidFill>
                <a:latin typeface="Arial" pitchFamily="34" charset="0"/>
              </a:rPr>
              <a:t>sama</a:t>
            </a:r>
            <a:r>
              <a:rPr lang="ms-MY" altLang="en-US" sz="1200" b="0" dirty="0" smtClean="0">
                <a:solidFill>
                  <a:srgbClr val="002060"/>
                </a:solidFill>
                <a:latin typeface="Arial" pitchFamily="34" charset="0"/>
              </a:rPr>
              <a:t>.</a:t>
            </a:r>
          </a:p>
          <a:p>
            <a:pPr eaLnBrk="1" hangingPunct="1">
              <a:buFontTx/>
              <a:buChar cha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Komponen</a:t>
            </a:r>
            <a:r>
              <a:rPr lang="en-US" dirty="0" smtClean="0"/>
              <a:t> </a:t>
            </a:r>
            <a:r>
              <a:rPr lang="en-US" dirty="0" err="1" smtClean="0"/>
              <a:t>fungsional</a:t>
            </a:r>
            <a:r>
              <a:rPr lang="en-US" dirty="0" smtClean="0"/>
              <a:t> </a:t>
            </a:r>
            <a:r>
              <a:rPr lang="en-US" dirty="0" err="1" smtClean="0"/>
              <a:t>iaitu</a:t>
            </a:r>
            <a:r>
              <a:rPr lang="en-US" dirty="0" smtClean="0"/>
              <a:t> PPP d</a:t>
            </a:r>
            <a:r>
              <a:rPr lang="ms-MY" altLang="en-US" sz="1200" b="0" dirty="0" smtClean="0">
                <a:solidFill>
                  <a:srgbClr val="002060"/>
                </a:solidFill>
                <a:latin typeface="Arial" pitchFamily="34" charset="0"/>
              </a:rPr>
              <a:t>inilai berdasarkan pengetahuan dan kemahiran dalam bidang tugas masing-masing</a:t>
            </a:r>
            <a:r>
              <a:rPr lang="en-US" dirty="0" smtClean="0"/>
              <a:t>. </a:t>
            </a:r>
          </a:p>
          <a:p>
            <a:pPr marL="342900" indent="-342900" eaLnBrk="1" hangingPunct="1">
              <a:buFont typeface="+mj-lt"/>
              <a:buNone/>
              <a:defRPr/>
            </a:pPr>
            <a:endParaRPr lang="en-US" dirty="0" smtClean="0">
              <a:latin typeface="Arial" charset="0"/>
            </a:endParaRPr>
          </a:p>
          <a:p>
            <a:pPr eaLnBrk="1" hangingPunct="1">
              <a:spcBef>
                <a:spcPct val="0"/>
              </a:spcBef>
              <a:buFont typeface="Wingdings" pitchFamily="2" charset="2"/>
              <a:buNone/>
            </a:pPr>
            <a:r>
              <a:rPr lang="en-US" altLang="en-US" dirty="0" err="1" smtClean="0"/>
              <a:t>Komponen</a:t>
            </a:r>
            <a:r>
              <a:rPr lang="en-US" altLang="en-US" dirty="0" smtClean="0"/>
              <a:t> </a:t>
            </a:r>
            <a:r>
              <a:rPr lang="en-US" altLang="en-US" dirty="0" err="1" smtClean="0"/>
              <a:t>Keberhasilan</a:t>
            </a:r>
            <a:r>
              <a:rPr lang="en-US" altLang="en-US" dirty="0" smtClean="0"/>
              <a:t> </a:t>
            </a:r>
            <a:r>
              <a:rPr lang="en-US" altLang="en-US" dirty="0" err="1" smtClean="0"/>
              <a:t>dinilai</a:t>
            </a:r>
            <a:r>
              <a:rPr lang="en-US" altLang="en-US" dirty="0" smtClean="0"/>
              <a:t> </a:t>
            </a:r>
            <a:r>
              <a:rPr lang="en-US" altLang="en-US" dirty="0" err="1" smtClean="0"/>
              <a:t>berdasarkan</a:t>
            </a:r>
            <a:r>
              <a:rPr lang="en-US" altLang="en-US" dirty="0" smtClean="0"/>
              <a:t> </a:t>
            </a:r>
            <a:r>
              <a:rPr lang="en-US" altLang="en-US" dirty="0" err="1" smtClean="0"/>
              <a:t>peningkatan</a:t>
            </a:r>
            <a:r>
              <a:rPr lang="en-US" altLang="en-US" dirty="0" smtClean="0"/>
              <a:t> </a:t>
            </a:r>
            <a:r>
              <a:rPr lang="en-US" altLang="en-US" dirty="0" err="1" smtClean="0"/>
              <a:t>berasaskan</a:t>
            </a:r>
            <a:r>
              <a:rPr lang="en-US" altLang="en-US" dirty="0" smtClean="0"/>
              <a:t> </a:t>
            </a:r>
            <a:r>
              <a:rPr lang="en-US" altLang="en-US" dirty="0" err="1" smtClean="0"/>
              <a:t>bidang</a:t>
            </a:r>
            <a:r>
              <a:rPr lang="en-US" altLang="en-US" dirty="0" smtClean="0"/>
              <a:t> </a:t>
            </a:r>
            <a:r>
              <a:rPr lang="en-US" altLang="en-US" dirty="0" err="1" smtClean="0"/>
              <a:t>tugas</a:t>
            </a:r>
            <a:r>
              <a:rPr lang="en-US" altLang="en-US" dirty="0" smtClean="0"/>
              <a:t>. (</a:t>
            </a:r>
            <a:r>
              <a:rPr lang="en-US" altLang="en-US" dirty="0" err="1" smtClean="0"/>
              <a:t>bagi</a:t>
            </a:r>
            <a:r>
              <a:rPr lang="en-US" altLang="en-US" dirty="0" smtClean="0"/>
              <a:t> </a:t>
            </a:r>
            <a:r>
              <a:rPr lang="en-US" altLang="en-US" dirty="0" err="1" smtClean="0"/>
              <a:t>Kategori</a:t>
            </a:r>
            <a:r>
              <a:rPr lang="en-US" altLang="en-US" dirty="0" smtClean="0"/>
              <a:t> Kumpulan </a:t>
            </a:r>
            <a:r>
              <a:rPr lang="en-US" altLang="en-US" dirty="0" err="1" smtClean="0"/>
              <a:t>PdP</a:t>
            </a:r>
            <a:r>
              <a:rPr lang="en-US" altLang="en-US" dirty="0" smtClean="0"/>
              <a:t> </a:t>
            </a:r>
            <a:r>
              <a:rPr lang="en-US" altLang="en-US" dirty="0" err="1" smtClean="0"/>
              <a:t>dan</a:t>
            </a:r>
            <a:r>
              <a:rPr lang="en-US" altLang="en-US" dirty="0" smtClean="0"/>
              <a:t> PTA)</a:t>
            </a:r>
            <a:endParaRPr lang="en-US" altLang="en-US" b="1" dirty="0" smtClean="0"/>
          </a:p>
          <a:p>
            <a:pPr eaLnBrk="1" hangingPunct="1">
              <a:spcBef>
                <a:spcPct val="0"/>
              </a:spcBef>
              <a:buFont typeface="Wingdings" pitchFamily="2" charset="2"/>
              <a:buNone/>
            </a:pPr>
            <a:endParaRPr lang="en-US" altLang="en-US" b="1" dirty="0" smtClean="0"/>
          </a:p>
          <a:p>
            <a:pPr eaLnBrk="1" hangingPunct="1">
              <a:spcBef>
                <a:spcPct val="0"/>
              </a:spcBef>
              <a:buFont typeface="Wingdings" pitchFamily="2" charset="2"/>
              <a:buNone/>
            </a:pPr>
            <a:r>
              <a:rPr lang="en-US" altLang="en-US" b="1" dirty="0" smtClean="0"/>
              <a:t>#  </a:t>
            </a:r>
            <a:r>
              <a:rPr lang="en-US" altLang="en-US" b="1" dirty="0" err="1" smtClean="0"/>
              <a:t>Keterangan</a:t>
            </a:r>
            <a:r>
              <a:rPr lang="en-US" altLang="en-US" b="1" dirty="0" smtClean="0"/>
              <a:t> </a:t>
            </a:r>
            <a:r>
              <a:rPr lang="en-US" altLang="en-US" b="1" dirty="0" err="1" smtClean="0"/>
              <a:t>berkaitan</a:t>
            </a:r>
            <a:r>
              <a:rPr lang="en-US" altLang="en-US" b="1" baseline="0" dirty="0" smtClean="0"/>
              <a:t> </a:t>
            </a:r>
            <a:r>
              <a:rPr lang="en-US" altLang="en-US" b="1" baseline="0" dirty="0" err="1" smtClean="0"/>
              <a:t>instrumen</a:t>
            </a:r>
            <a:r>
              <a:rPr lang="en-US" altLang="en-US" b="1" baseline="0" dirty="0" smtClean="0"/>
              <a:t> </a:t>
            </a:r>
            <a:r>
              <a:rPr lang="en-US" altLang="en-US" b="1" baseline="0" dirty="0" err="1" smtClean="0"/>
              <a:t>akan</a:t>
            </a:r>
            <a:r>
              <a:rPr lang="en-US" altLang="en-US" b="1" baseline="0" dirty="0" smtClean="0"/>
              <a:t> </a:t>
            </a:r>
            <a:r>
              <a:rPr lang="en-US" altLang="en-US" b="1" baseline="0" dirty="0" err="1" smtClean="0"/>
              <a:t>diterangkan</a:t>
            </a:r>
            <a:r>
              <a:rPr lang="en-US" altLang="en-US" b="1" baseline="0" dirty="0" smtClean="0"/>
              <a:t> </a:t>
            </a:r>
            <a:r>
              <a:rPr lang="en-US" altLang="en-US" b="1" baseline="0" dirty="0" err="1" smtClean="0"/>
              <a:t>lebih</a:t>
            </a:r>
            <a:r>
              <a:rPr lang="en-US" altLang="en-US" b="1" baseline="0" dirty="0" smtClean="0"/>
              <a:t> </a:t>
            </a:r>
            <a:r>
              <a:rPr lang="en-US" altLang="en-US" b="1" baseline="0" dirty="0" err="1" smtClean="0"/>
              <a:t>lanjut</a:t>
            </a:r>
            <a:r>
              <a:rPr lang="en-US" altLang="en-US" b="1" baseline="0" dirty="0" smtClean="0"/>
              <a:t> </a:t>
            </a:r>
            <a:r>
              <a:rPr lang="en-US" altLang="en-US" b="1" baseline="0" dirty="0" err="1" smtClean="0"/>
              <a:t>pada</a:t>
            </a:r>
            <a:r>
              <a:rPr lang="en-US" altLang="en-US" b="1" baseline="0" dirty="0" smtClean="0"/>
              <a:t> </a:t>
            </a:r>
            <a:r>
              <a:rPr lang="en-US" altLang="en-US" b="1" baseline="0" dirty="0" err="1" smtClean="0"/>
              <a:t>sesi</a:t>
            </a:r>
            <a:r>
              <a:rPr lang="en-US" altLang="en-US" b="1" baseline="0" dirty="0" smtClean="0"/>
              <a:t> </a:t>
            </a:r>
            <a:r>
              <a:rPr lang="en-US" altLang="en-US" b="1" baseline="0" dirty="0" err="1" smtClean="0"/>
              <a:t>seterusnya</a:t>
            </a:r>
            <a:r>
              <a:rPr lang="en-US" altLang="en-US" b="1" baseline="0" dirty="0" smtClean="0"/>
              <a:t> </a:t>
            </a:r>
            <a:r>
              <a:rPr lang="en-US" altLang="en-US" b="1" baseline="0" dirty="0" err="1" smtClean="0"/>
              <a:t>iaitu</a:t>
            </a:r>
            <a:r>
              <a:rPr lang="en-US" altLang="en-US" b="1" baseline="0" dirty="0" smtClean="0"/>
              <a:t> </a:t>
            </a:r>
            <a:r>
              <a:rPr lang="en-US" altLang="en-US" b="1" baseline="0" dirty="0" err="1" smtClean="0"/>
              <a:t>pada</a:t>
            </a:r>
            <a:r>
              <a:rPr lang="en-US" altLang="en-US" b="1" baseline="0" dirty="0" smtClean="0"/>
              <a:t> </a:t>
            </a:r>
            <a:r>
              <a:rPr lang="en-US" altLang="en-US" b="1" baseline="0" dirty="0" err="1" smtClean="0"/>
              <a:t>tajuk</a:t>
            </a:r>
            <a:r>
              <a:rPr lang="en-US" altLang="en-US" b="1" baseline="0" dirty="0" smtClean="0"/>
              <a:t> </a:t>
            </a:r>
            <a:r>
              <a:rPr lang="en-US" altLang="en-US" b="1" baseline="0" dirty="0" err="1" smtClean="0"/>
              <a:t>instrumen</a:t>
            </a:r>
            <a:r>
              <a:rPr lang="en-US" altLang="en-US" b="1" baseline="0" dirty="0" smtClean="0"/>
              <a:t>, </a:t>
            </a:r>
            <a:r>
              <a:rPr lang="en-US" altLang="en-US" b="1" baseline="0" dirty="0" err="1" smtClean="0"/>
              <a:t>rubrik</a:t>
            </a:r>
            <a:r>
              <a:rPr lang="en-US" altLang="en-US" b="1" baseline="0" dirty="0" smtClean="0"/>
              <a:t> </a:t>
            </a:r>
            <a:r>
              <a:rPr lang="en-US" altLang="en-US" b="1" baseline="0" dirty="0" err="1" smtClean="0"/>
              <a:t>dan</a:t>
            </a:r>
            <a:r>
              <a:rPr lang="en-US" altLang="en-US" b="1" baseline="0" dirty="0" smtClean="0"/>
              <a:t> </a:t>
            </a:r>
            <a:r>
              <a:rPr lang="en-US" altLang="en-US" b="1" baseline="0" dirty="0" err="1" smtClean="0"/>
              <a:t>skor</a:t>
            </a:r>
            <a:r>
              <a:rPr lang="en-US" altLang="en-US" b="1" baseline="0" dirty="0" smtClean="0"/>
              <a:t>.</a:t>
            </a:r>
            <a:endParaRPr lang="en-US" altLang="en-US" b="1" dirty="0" smtClean="0"/>
          </a:p>
          <a:p>
            <a:endParaRPr lang="en-US" dirty="0"/>
          </a:p>
        </p:txBody>
      </p:sp>
      <p:sp>
        <p:nvSpPr>
          <p:cNvPr id="4" name="Slide Number Placeholder 3"/>
          <p:cNvSpPr>
            <a:spLocks noGrp="1"/>
          </p:cNvSpPr>
          <p:nvPr>
            <p:ph type="sldNum" sz="quarter" idx="10"/>
          </p:nvPr>
        </p:nvSpPr>
        <p:spPr/>
        <p:txBody>
          <a:bodyPr/>
          <a:lstStyle/>
          <a:p>
            <a:fld id="{9CC02DA8-D85C-7A4F-9033-42FA4FDEEA1C}" type="slidenum">
              <a:rPr lang="en-US" smtClean="0"/>
              <a:pPr/>
              <a:t>15</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7ED62ED-F14D-4DF7-A085-229B1325769A}" type="datetime1">
              <a:rPr lang="en-US" smtClean="0"/>
              <a:t>4/21/2015</a:t>
            </a:fld>
            <a:endParaRPr lang="en-US"/>
          </a:p>
        </p:txBody>
      </p:sp>
      <p:sp>
        <p:nvSpPr>
          <p:cNvPr id="5" name="Footer Placeholder 4"/>
          <p:cNvSpPr>
            <a:spLocks noGrp="1"/>
          </p:cNvSpPr>
          <p:nvPr>
            <p:ph type="ftr" sz="quarter" idx="11"/>
          </p:nvPr>
        </p:nvSpPr>
        <p:spPr/>
        <p:txBody>
          <a:bodyPr/>
          <a:lstStyle/>
          <a:p>
            <a:r>
              <a:rPr lang="en-US" smtClean="0"/>
              <a:t>GURU (SEKOLAH)</a:t>
            </a:r>
            <a:endParaRPr lang="en-US"/>
          </a:p>
        </p:txBody>
      </p:sp>
      <p:sp>
        <p:nvSpPr>
          <p:cNvPr id="6" name="Slide Number Placeholder 5"/>
          <p:cNvSpPr>
            <a:spLocks noGrp="1"/>
          </p:cNvSpPr>
          <p:nvPr>
            <p:ph type="sldNum" sz="quarter" idx="12"/>
          </p:nvPr>
        </p:nvSpPr>
        <p:spPr/>
        <p:txBody>
          <a:bodyPr/>
          <a:lstStyle/>
          <a:p>
            <a:fld id="{66731F63-CBAA-544E-A397-F4B05AAB0976}" type="slidenum">
              <a:rPr lang="en-US" smtClean="0"/>
              <a:pPr/>
              <a:t>‹#›</a:t>
            </a:fld>
            <a:endParaRPr lang="en-US"/>
          </a:p>
        </p:txBody>
      </p:sp>
    </p:spTree>
    <p:extLst>
      <p:ext uri="{BB962C8B-B14F-4D97-AF65-F5344CB8AC3E}">
        <p14:creationId xmlns:p14="http://schemas.microsoft.com/office/powerpoint/2010/main" val="20483548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4FAD0EC-A79F-415F-BBB1-3F4BDDC8C784}" type="datetime1">
              <a:rPr lang="en-US" smtClean="0"/>
              <a:t>4/21/2015</a:t>
            </a:fld>
            <a:endParaRPr lang="en-US"/>
          </a:p>
        </p:txBody>
      </p:sp>
      <p:sp>
        <p:nvSpPr>
          <p:cNvPr id="5" name="Footer Placeholder 4"/>
          <p:cNvSpPr>
            <a:spLocks noGrp="1"/>
          </p:cNvSpPr>
          <p:nvPr>
            <p:ph type="ftr" sz="quarter" idx="11"/>
          </p:nvPr>
        </p:nvSpPr>
        <p:spPr/>
        <p:txBody>
          <a:bodyPr/>
          <a:lstStyle/>
          <a:p>
            <a:r>
              <a:rPr lang="en-US" smtClean="0"/>
              <a:t>GURU (SEKOLAH)</a:t>
            </a:r>
            <a:endParaRPr lang="en-US"/>
          </a:p>
        </p:txBody>
      </p:sp>
      <p:sp>
        <p:nvSpPr>
          <p:cNvPr id="6" name="Slide Number Placeholder 5"/>
          <p:cNvSpPr>
            <a:spLocks noGrp="1"/>
          </p:cNvSpPr>
          <p:nvPr>
            <p:ph type="sldNum" sz="quarter" idx="12"/>
          </p:nvPr>
        </p:nvSpPr>
        <p:spPr/>
        <p:txBody>
          <a:bodyPr/>
          <a:lstStyle/>
          <a:p>
            <a:fld id="{66731F63-CBAA-544E-A397-F4B05AAB0976}" type="slidenum">
              <a:rPr lang="en-US" smtClean="0"/>
              <a:pPr/>
              <a:t>‹#›</a:t>
            </a:fld>
            <a:endParaRPr lang="en-US"/>
          </a:p>
        </p:txBody>
      </p:sp>
    </p:spTree>
    <p:extLst>
      <p:ext uri="{BB962C8B-B14F-4D97-AF65-F5344CB8AC3E}">
        <p14:creationId xmlns:p14="http://schemas.microsoft.com/office/powerpoint/2010/main" val="21499767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52A9288-3A5A-4DFB-9795-D5536F7FFE90}" type="datetime1">
              <a:rPr lang="en-US" smtClean="0"/>
              <a:t>4/21/2015</a:t>
            </a:fld>
            <a:endParaRPr lang="en-US"/>
          </a:p>
        </p:txBody>
      </p:sp>
      <p:sp>
        <p:nvSpPr>
          <p:cNvPr id="5" name="Footer Placeholder 4"/>
          <p:cNvSpPr>
            <a:spLocks noGrp="1"/>
          </p:cNvSpPr>
          <p:nvPr>
            <p:ph type="ftr" sz="quarter" idx="11"/>
          </p:nvPr>
        </p:nvSpPr>
        <p:spPr/>
        <p:txBody>
          <a:bodyPr/>
          <a:lstStyle/>
          <a:p>
            <a:r>
              <a:rPr lang="en-US" smtClean="0"/>
              <a:t>GURU (SEKOLAH)</a:t>
            </a:r>
            <a:endParaRPr lang="en-US"/>
          </a:p>
        </p:txBody>
      </p:sp>
      <p:sp>
        <p:nvSpPr>
          <p:cNvPr id="6" name="Slide Number Placeholder 5"/>
          <p:cNvSpPr>
            <a:spLocks noGrp="1"/>
          </p:cNvSpPr>
          <p:nvPr>
            <p:ph type="sldNum" sz="quarter" idx="12"/>
          </p:nvPr>
        </p:nvSpPr>
        <p:spPr/>
        <p:txBody>
          <a:bodyPr/>
          <a:lstStyle/>
          <a:p>
            <a:fld id="{66731F63-CBAA-544E-A397-F4B05AAB0976}" type="slidenum">
              <a:rPr lang="en-US" smtClean="0"/>
              <a:pPr/>
              <a:t>‹#›</a:t>
            </a:fld>
            <a:endParaRPr lang="en-US"/>
          </a:p>
        </p:txBody>
      </p:sp>
    </p:spTree>
    <p:extLst>
      <p:ext uri="{BB962C8B-B14F-4D97-AF65-F5344CB8AC3E}">
        <p14:creationId xmlns:p14="http://schemas.microsoft.com/office/powerpoint/2010/main" val="932368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CB8AA7-8B86-4568-99C2-269108B316E5}" type="datetime1">
              <a:rPr lang="en-US" smtClean="0"/>
              <a:t>4/21/2015</a:t>
            </a:fld>
            <a:endParaRPr lang="en-US"/>
          </a:p>
        </p:txBody>
      </p:sp>
      <p:sp>
        <p:nvSpPr>
          <p:cNvPr id="5" name="Footer Placeholder 4"/>
          <p:cNvSpPr>
            <a:spLocks noGrp="1"/>
          </p:cNvSpPr>
          <p:nvPr>
            <p:ph type="ftr" sz="quarter" idx="11"/>
          </p:nvPr>
        </p:nvSpPr>
        <p:spPr/>
        <p:txBody>
          <a:bodyPr/>
          <a:lstStyle/>
          <a:p>
            <a:r>
              <a:rPr lang="en-US" smtClean="0"/>
              <a:t>GURU (SEKOLAH)</a:t>
            </a:r>
            <a:endParaRPr lang="en-US"/>
          </a:p>
        </p:txBody>
      </p:sp>
      <p:sp>
        <p:nvSpPr>
          <p:cNvPr id="6" name="Slide Number Placeholder 5"/>
          <p:cNvSpPr>
            <a:spLocks noGrp="1"/>
          </p:cNvSpPr>
          <p:nvPr>
            <p:ph type="sldNum" sz="quarter" idx="12"/>
          </p:nvPr>
        </p:nvSpPr>
        <p:spPr/>
        <p:txBody>
          <a:bodyPr/>
          <a:lstStyle/>
          <a:p>
            <a:fld id="{66731F63-CBAA-544E-A397-F4B05AAB0976}" type="slidenum">
              <a:rPr lang="en-US" smtClean="0"/>
              <a:pPr/>
              <a:t>‹#›</a:t>
            </a:fld>
            <a:endParaRPr lang="en-US"/>
          </a:p>
        </p:txBody>
      </p:sp>
    </p:spTree>
    <p:extLst>
      <p:ext uri="{BB962C8B-B14F-4D97-AF65-F5344CB8AC3E}">
        <p14:creationId xmlns:p14="http://schemas.microsoft.com/office/powerpoint/2010/main" val="11217915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554177F-F847-43BB-AD72-967DC5B9415A}" type="datetime1">
              <a:rPr lang="en-US" smtClean="0"/>
              <a:t>4/21/2015</a:t>
            </a:fld>
            <a:endParaRPr lang="en-US"/>
          </a:p>
        </p:txBody>
      </p:sp>
      <p:sp>
        <p:nvSpPr>
          <p:cNvPr id="5" name="Footer Placeholder 4"/>
          <p:cNvSpPr>
            <a:spLocks noGrp="1"/>
          </p:cNvSpPr>
          <p:nvPr>
            <p:ph type="ftr" sz="quarter" idx="11"/>
          </p:nvPr>
        </p:nvSpPr>
        <p:spPr/>
        <p:txBody>
          <a:bodyPr/>
          <a:lstStyle/>
          <a:p>
            <a:r>
              <a:rPr lang="en-US" smtClean="0"/>
              <a:t>GURU (SEKOLAH)</a:t>
            </a:r>
            <a:endParaRPr lang="en-US"/>
          </a:p>
        </p:txBody>
      </p:sp>
      <p:sp>
        <p:nvSpPr>
          <p:cNvPr id="6" name="Slide Number Placeholder 5"/>
          <p:cNvSpPr>
            <a:spLocks noGrp="1"/>
          </p:cNvSpPr>
          <p:nvPr>
            <p:ph type="sldNum" sz="quarter" idx="12"/>
          </p:nvPr>
        </p:nvSpPr>
        <p:spPr/>
        <p:txBody>
          <a:bodyPr/>
          <a:lstStyle/>
          <a:p>
            <a:fld id="{66731F63-CBAA-544E-A397-F4B05AAB0976}" type="slidenum">
              <a:rPr lang="en-US" smtClean="0"/>
              <a:pPr/>
              <a:t>‹#›</a:t>
            </a:fld>
            <a:endParaRPr lang="en-US"/>
          </a:p>
        </p:txBody>
      </p:sp>
    </p:spTree>
    <p:extLst>
      <p:ext uri="{BB962C8B-B14F-4D97-AF65-F5344CB8AC3E}">
        <p14:creationId xmlns:p14="http://schemas.microsoft.com/office/powerpoint/2010/main" val="31156779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FB18E4E-FD0A-4B64-91FA-F3D6D38F8F5B}" type="datetime1">
              <a:rPr lang="en-US" smtClean="0"/>
              <a:t>4/21/2015</a:t>
            </a:fld>
            <a:endParaRPr lang="en-US"/>
          </a:p>
        </p:txBody>
      </p:sp>
      <p:sp>
        <p:nvSpPr>
          <p:cNvPr id="6" name="Footer Placeholder 5"/>
          <p:cNvSpPr>
            <a:spLocks noGrp="1"/>
          </p:cNvSpPr>
          <p:nvPr>
            <p:ph type="ftr" sz="quarter" idx="11"/>
          </p:nvPr>
        </p:nvSpPr>
        <p:spPr/>
        <p:txBody>
          <a:bodyPr/>
          <a:lstStyle/>
          <a:p>
            <a:r>
              <a:rPr lang="en-US" smtClean="0"/>
              <a:t>GURU (SEKOLAH)</a:t>
            </a:r>
            <a:endParaRPr lang="en-US"/>
          </a:p>
        </p:txBody>
      </p:sp>
      <p:sp>
        <p:nvSpPr>
          <p:cNvPr id="7" name="Slide Number Placeholder 6"/>
          <p:cNvSpPr>
            <a:spLocks noGrp="1"/>
          </p:cNvSpPr>
          <p:nvPr>
            <p:ph type="sldNum" sz="quarter" idx="12"/>
          </p:nvPr>
        </p:nvSpPr>
        <p:spPr/>
        <p:txBody>
          <a:bodyPr/>
          <a:lstStyle/>
          <a:p>
            <a:fld id="{66731F63-CBAA-544E-A397-F4B05AAB0976}" type="slidenum">
              <a:rPr lang="en-US" smtClean="0"/>
              <a:pPr/>
              <a:t>‹#›</a:t>
            </a:fld>
            <a:endParaRPr lang="en-US"/>
          </a:p>
        </p:txBody>
      </p:sp>
    </p:spTree>
    <p:extLst>
      <p:ext uri="{BB962C8B-B14F-4D97-AF65-F5344CB8AC3E}">
        <p14:creationId xmlns:p14="http://schemas.microsoft.com/office/powerpoint/2010/main" val="2199610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112D8AE-F0D8-4639-8D53-2F2CE045C762}" type="datetime1">
              <a:rPr lang="en-US" smtClean="0"/>
              <a:t>4/21/2015</a:t>
            </a:fld>
            <a:endParaRPr lang="en-US"/>
          </a:p>
        </p:txBody>
      </p:sp>
      <p:sp>
        <p:nvSpPr>
          <p:cNvPr id="8" name="Footer Placeholder 7"/>
          <p:cNvSpPr>
            <a:spLocks noGrp="1"/>
          </p:cNvSpPr>
          <p:nvPr>
            <p:ph type="ftr" sz="quarter" idx="11"/>
          </p:nvPr>
        </p:nvSpPr>
        <p:spPr/>
        <p:txBody>
          <a:bodyPr/>
          <a:lstStyle/>
          <a:p>
            <a:r>
              <a:rPr lang="en-US" smtClean="0"/>
              <a:t>GURU (SEKOLAH)</a:t>
            </a:r>
            <a:endParaRPr lang="en-US"/>
          </a:p>
        </p:txBody>
      </p:sp>
      <p:sp>
        <p:nvSpPr>
          <p:cNvPr id="9" name="Slide Number Placeholder 8"/>
          <p:cNvSpPr>
            <a:spLocks noGrp="1"/>
          </p:cNvSpPr>
          <p:nvPr>
            <p:ph type="sldNum" sz="quarter" idx="12"/>
          </p:nvPr>
        </p:nvSpPr>
        <p:spPr/>
        <p:txBody>
          <a:bodyPr/>
          <a:lstStyle/>
          <a:p>
            <a:fld id="{66731F63-CBAA-544E-A397-F4B05AAB0976}" type="slidenum">
              <a:rPr lang="en-US" smtClean="0"/>
              <a:pPr/>
              <a:t>‹#›</a:t>
            </a:fld>
            <a:endParaRPr lang="en-US"/>
          </a:p>
        </p:txBody>
      </p:sp>
    </p:spTree>
    <p:extLst>
      <p:ext uri="{BB962C8B-B14F-4D97-AF65-F5344CB8AC3E}">
        <p14:creationId xmlns:p14="http://schemas.microsoft.com/office/powerpoint/2010/main" val="18043235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62AEEAE-0C5F-4B3B-8DC9-8A70F1BC926A}" type="datetime1">
              <a:rPr lang="en-US" smtClean="0"/>
              <a:t>4/21/2015</a:t>
            </a:fld>
            <a:endParaRPr lang="en-US"/>
          </a:p>
        </p:txBody>
      </p:sp>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66731F63-CBAA-544E-A397-F4B05AAB0976}" type="slidenum">
              <a:rPr lang="en-US" smtClean="0"/>
              <a:pPr/>
              <a:t>‹#›</a:t>
            </a:fld>
            <a:endParaRPr lang="en-US"/>
          </a:p>
        </p:txBody>
      </p:sp>
    </p:spTree>
    <p:extLst>
      <p:ext uri="{BB962C8B-B14F-4D97-AF65-F5344CB8AC3E}">
        <p14:creationId xmlns:p14="http://schemas.microsoft.com/office/powerpoint/2010/main" val="19697169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17B142-CD82-488A-B9D3-6ED8F937366A}" type="datetime1">
              <a:rPr lang="en-US" smtClean="0"/>
              <a:t>4/21/2015</a:t>
            </a:fld>
            <a:endParaRPr lang="en-US"/>
          </a:p>
        </p:txBody>
      </p:sp>
      <p:sp>
        <p:nvSpPr>
          <p:cNvPr id="3" name="Footer Placeholder 2"/>
          <p:cNvSpPr>
            <a:spLocks noGrp="1"/>
          </p:cNvSpPr>
          <p:nvPr>
            <p:ph type="ftr" sz="quarter" idx="11"/>
          </p:nvPr>
        </p:nvSpPr>
        <p:spPr/>
        <p:txBody>
          <a:bodyPr/>
          <a:lstStyle/>
          <a:p>
            <a:r>
              <a:rPr lang="en-US" smtClean="0"/>
              <a:t>GURU (SEKOLAH)</a:t>
            </a:r>
            <a:endParaRPr lang="en-US"/>
          </a:p>
        </p:txBody>
      </p:sp>
      <p:sp>
        <p:nvSpPr>
          <p:cNvPr id="4" name="Slide Number Placeholder 3"/>
          <p:cNvSpPr>
            <a:spLocks noGrp="1"/>
          </p:cNvSpPr>
          <p:nvPr>
            <p:ph type="sldNum" sz="quarter" idx="12"/>
          </p:nvPr>
        </p:nvSpPr>
        <p:spPr/>
        <p:txBody>
          <a:bodyPr/>
          <a:lstStyle/>
          <a:p>
            <a:fld id="{66731F63-CBAA-544E-A397-F4B05AAB0976}" type="slidenum">
              <a:rPr lang="en-US" smtClean="0"/>
              <a:pPr/>
              <a:t>‹#›</a:t>
            </a:fld>
            <a:endParaRPr lang="en-US"/>
          </a:p>
        </p:txBody>
      </p:sp>
    </p:spTree>
    <p:extLst>
      <p:ext uri="{BB962C8B-B14F-4D97-AF65-F5344CB8AC3E}">
        <p14:creationId xmlns:p14="http://schemas.microsoft.com/office/powerpoint/2010/main" val="7026184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F489789-99F1-4122-9F67-FC4452C7C789}" type="datetime1">
              <a:rPr lang="en-US" smtClean="0"/>
              <a:t>4/21/2015</a:t>
            </a:fld>
            <a:endParaRPr lang="en-US"/>
          </a:p>
        </p:txBody>
      </p:sp>
      <p:sp>
        <p:nvSpPr>
          <p:cNvPr id="6" name="Footer Placeholder 5"/>
          <p:cNvSpPr>
            <a:spLocks noGrp="1"/>
          </p:cNvSpPr>
          <p:nvPr>
            <p:ph type="ftr" sz="quarter" idx="11"/>
          </p:nvPr>
        </p:nvSpPr>
        <p:spPr/>
        <p:txBody>
          <a:bodyPr/>
          <a:lstStyle/>
          <a:p>
            <a:r>
              <a:rPr lang="en-US" smtClean="0"/>
              <a:t>GURU (SEKOLAH)</a:t>
            </a:r>
            <a:endParaRPr lang="en-US"/>
          </a:p>
        </p:txBody>
      </p:sp>
      <p:sp>
        <p:nvSpPr>
          <p:cNvPr id="7" name="Slide Number Placeholder 6"/>
          <p:cNvSpPr>
            <a:spLocks noGrp="1"/>
          </p:cNvSpPr>
          <p:nvPr>
            <p:ph type="sldNum" sz="quarter" idx="12"/>
          </p:nvPr>
        </p:nvSpPr>
        <p:spPr/>
        <p:txBody>
          <a:bodyPr/>
          <a:lstStyle/>
          <a:p>
            <a:fld id="{66731F63-CBAA-544E-A397-F4B05AAB0976}" type="slidenum">
              <a:rPr lang="en-US" smtClean="0"/>
              <a:pPr/>
              <a:t>‹#›</a:t>
            </a:fld>
            <a:endParaRPr lang="en-US"/>
          </a:p>
        </p:txBody>
      </p:sp>
    </p:spTree>
    <p:extLst>
      <p:ext uri="{BB962C8B-B14F-4D97-AF65-F5344CB8AC3E}">
        <p14:creationId xmlns:p14="http://schemas.microsoft.com/office/powerpoint/2010/main" val="37066127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F28A44D-ED70-48F6-BC9C-DF67287D537C}" type="datetime1">
              <a:rPr lang="en-US" smtClean="0"/>
              <a:t>4/21/2015</a:t>
            </a:fld>
            <a:endParaRPr lang="en-US"/>
          </a:p>
        </p:txBody>
      </p:sp>
      <p:sp>
        <p:nvSpPr>
          <p:cNvPr id="6" name="Footer Placeholder 5"/>
          <p:cNvSpPr>
            <a:spLocks noGrp="1"/>
          </p:cNvSpPr>
          <p:nvPr>
            <p:ph type="ftr" sz="quarter" idx="11"/>
          </p:nvPr>
        </p:nvSpPr>
        <p:spPr/>
        <p:txBody>
          <a:bodyPr/>
          <a:lstStyle/>
          <a:p>
            <a:r>
              <a:rPr lang="en-US" smtClean="0"/>
              <a:t>GURU (SEKOLAH)</a:t>
            </a:r>
            <a:endParaRPr lang="en-US"/>
          </a:p>
        </p:txBody>
      </p:sp>
      <p:sp>
        <p:nvSpPr>
          <p:cNvPr id="7" name="Slide Number Placeholder 6"/>
          <p:cNvSpPr>
            <a:spLocks noGrp="1"/>
          </p:cNvSpPr>
          <p:nvPr>
            <p:ph type="sldNum" sz="quarter" idx="12"/>
          </p:nvPr>
        </p:nvSpPr>
        <p:spPr/>
        <p:txBody>
          <a:bodyPr/>
          <a:lstStyle/>
          <a:p>
            <a:fld id="{66731F63-CBAA-544E-A397-F4B05AAB0976}" type="slidenum">
              <a:rPr lang="en-US" smtClean="0"/>
              <a:pPr/>
              <a:t>‹#›</a:t>
            </a:fld>
            <a:endParaRPr lang="en-US"/>
          </a:p>
        </p:txBody>
      </p:sp>
    </p:spTree>
    <p:extLst>
      <p:ext uri="{BB962C8B-B14F-4D97-AF65-F5344CB8AC3E}">
        <p14:creationId xmlns:p14="http://schemas.microsoft.com/office/powerpoint/2010/main" val="26972993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954B16-AFD7-4CEF-B9BB-11F6526B1ECF}" type="datetime1">
              <a:rPr lang="en-US" smtClean="0"/>
              <a:t>4/21/2015</a:t>
            </a:fld>
            <a:endParaRPr lang="en-US"/>
          </a:p>
        </p:txBody>
      </p:sp>
      <p:sp>
        <p:nvSpPr>
          <p:cNvPr id="5" name="Footer Placeholder 4"/>
          <p:cNvSpPr>
            <a:spLocks noGrp="1"/>
          </p:cNvSpPr>
          <p:nvPr>
            <p:ph type="ftr" sz="quarter" idx="3"/>
          </p:nvPr>
        </p:nvSpPr>
        <p:spPr>
          <a:xfrm>
            <a:off x="5354983" y="6356350"/>
            <a:ext cx="2895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smtClean="0"/>
              <a:t>GURU (SEKOLAH)</a:t>
            </a: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731F63-CBAA-544E-A397-F4B05AAB0976}" type="slidenum">
              <a:rPr lang="en-US" smtClean="0"/>
              <a:pPr/>
              <a:t>‹#›</a:t>
            </a:fld>
            <a:endParaRPr lang="en-US"/>
          </a:p>
        </p:txBody>
      </p:sp>
    </p:spTree>
    <p:extLst>
      <p:ext uri="{BB962C8B-B14F-4D97-AF65-F5344CB8AC3E}">
        <p14:creationId xmlns:p14="http://schemas.microsoft.com/office/powerpoint/2010/main" val="17222996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4.png"/><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27.jpeg"/><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hyperlink" Target="http://apps8.moe.gov.my/smg/10/" TargetMode="External"/><Relationship Id="rId1" Type="http://schemas.openxmlformats.org/officeDocument/2006/relationships/slideLayout" Target="../slideLayouts/slideLayout2.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0.png"/><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4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46.jpeg"/><Relationship Id="rId4" Type="http://schemas.openxmlformats.org/officeDocument/2006/relationships/notesSlide" Target="../notesSlides/notesSlide15.xml"/></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image" Target="../media/image49.png"/></Relationships>
</file>

<file path=ppt/slides/_rels/slide33.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microsoft.com/office/2007/relationships/hdphoto" Target="../media/hdphoto1.wdp"/></Relationships>
</file>

<file path=ppt/slides/_rels/slide4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7.png"/><Relationship Id="rId5" Type="http://schemas.openxmlformats.org/officeDocument/2006/relationships/notesSlide" Target="../notesSlides/notesSlide28.xml"/><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67.png"/><Relationship Id="rId4" Type="http://schemas.openxmlformats.org/officeDocument/2006/relationships/image" Target="../media/image68.gi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73.png"/></Relationships>
</file>

<file path=ppt/slides/_rels/slide5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image" Target="../media/image74.png"/><Relationship Id="rId4" Type="http://schemas.openxmlformats.org/officeDocument/2006/relationships/tags" Target="../tags/tag18.xml"/><Relationship Id="rId9" Type="http://schemas.openxmlformats.org/officeDocument/2006/relationships/notesSlide" Target="../notesSlides/notesSlide3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76.png"/><Relationship Id="rId4" Type="http://schemas.openxmlformats.org/officeDocument/2006/relationships/image" Target="../media/image75.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75.png"/><Relationship Id="rId4" Type="http://schemas.openxmlformats.org/officeDocument/2006/relationships/image" Target="../media/image77.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78.png"/><Relationship Id="rId4" Type="http://schemas.openxmlformats.org/officeDocument/2006/relationships/image" Target="../media/image75.png"/></Relationships>
</file>

<file path=ppt/slides/_rels/slide5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notesSlide" Target="../notesSlides/notesSlide4.xml"/></Relationships>
</file>

<file path=ppt/slides/_rels/slide6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25.xml"/><Relationship Id="rId5" Type="http://schemas.openxmlformats.org/officeDocument/2006/relationships/image" Target="../media/image85.png"/><Relationship Id="rId4" Type="http://schemas.openxmlformats.org/officeDocument/2006/relationships/image" Target="../media/image7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26.xml"/><Relationship Id="rId5" Type="http://schemas.openxmlformats.org/officeDocument/2006/relationships/image" Target="../media/image75.png"/><Relationship Id="rId4" Type="http://schemas.openxmlformats.org/officeDocument/2006/relationships/image" Target="../media/image86.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27.xml"/><Relationship Id="rId5" Type="http://schemas.openxmlformats.org/officeDocument/2006/relationships/image" Target="../media/image87.png"/><Relationship Id="rId4" Type="http://schemas.openxmlformats.org/officeDocument/2006/relationships/image" Target="../media/image75.png"/></Relationships>
</file>

<file path=ppt/slides/_rels/slide7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7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81851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smtClean="0">
                <a:solidFill>
                  <a:schemeClr val="bg1"/>
                </a:solidFill>
                <a:latin typeface="Segoe UI" pitchFamily="34" charset="0"/>
                <a:ea typeface="Segoe UI" pitchFamily="34" charset="0"/>
                <a:cs typeface="Segoe UI" pitchFamily="34" charset="0"/>
              </a:rPr>
              <a:t>LATAR BELAKANG INSTRUMEN</a:t>
            </a:r>
            <a:endParaRPr lang="en-US" sz="3600" b="1" dirty="0">
              <a:solidFill>
                <a:schemeClr val="bg1"/>
              </a:solidFill>
              <a:latin typeface="Segoe UI" pitchFamily="34" charset="0"/>
              <a:ea typeface="Segoe UI" pitchFamily="34" charset="0"/>
              <a:cs typeface="Segoe UI" pitchFamily="34" charset="0"/>
            </a:endParaRPr>
          </a:p>
        </p:txBody>
      </p:sp>
      <p:grpSp>
        <p:nvGrpSpPr>
          <p:cNvPr id="2" name="Group 5"/>
          <p:cNvGrpSpPr/>
          <p:nvPr/>
        </p:nvGrpSpPr>
        <p:grpSpPr>
          <a:xfrm>
            <a:off x="5853281" y="1336470"/>
            <a:ext cx="3071835" cy="5844966"/>
            <a:chOff x="5500662" y="571480"/>
            <a:chExt cx="3071834" cy="5844966"/>
          </a:xfrm>
        </p:grpSpPr>
        <p:grpSp>
          <p:nvGrpSpPr>
            <p:cNvPr id="3" name="Group 34"/>
            <p:cNvGrpSpPr/>
            <p:nvPr/>
          </p:nvGrpSpPr>
          <p:grpSpPr>
            <a:xfrm>
              <a:off x="5572132" y="571480"/>
              <a:ext cx="2867358" cy="2867358"/>
              <a:chOff x="6156077" y="1620740"/>
              <a:chExt cx="2867358" cy="2867358"/>
            </a:xfrm>
            <a:effectLst>
              <a:reflection blurRad="6350" stA="52000" endA="300" endPos="35000" dir="5400000" sy="-100000" algn="bl" rotWithShape="0"/>
            </a:effectLst>
          </p:grpSpPr>
          <p:sp>
            <p:nvSpPr>
              <p:cNvPr id="12" name="Oval 11"/>
              <p:cNvSpPr/>
              <p:nvPr/>
            </p:nvSpPr>
            <p:spPr>
              <a:xfrm rot="302816">
                <a:off x="6156077" y="1620740"/>
                <a:ext cx="2867358" cy="2867358"/>
              </a:xfrm>
              <a:prstGeom prst="ellipse">
                <a:avLst/>
              </a:prstGeom>
              <a:solidFill>
                <a:schemeClr val="bg1"/>
              </a:solidFill>
              <a:ln>
                <a:noFill/>
              </a:ln>
              <a:effectLst>
                <a:innerShdw blurRad="127000" dist="50800" dir="13500000">
                  <a:prstClr val="black">
                    <a:alpha val="50000"/>
                  </a:prstClr>
                </a:innerShdw>
                <a:reflection blurRad="6350" stA="50000" endA="300" endPos="55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6286512" y="2000240"/>
                <a:ext cx="2571768" cy="2071702"/>
              </a:xfrm>
              <a:prstGeom prst="rect">
                <a:avLst/>
              </a:prstGeom>
              <a:noFill/>
              <a:ln w="12700" cap="flat" cmpd="sng" algn="ctr">
                <a:noFill/>
                <a:prstDash val="solid"/>
              </a:ln>
              <a:effectLst/>
            </p:spPr>
            <p:txBody>
              <a:bodyPr lIns="91440" tIns="0" rIns="91440" bIns="0" rtlCol="0" anchor="ctr"/>
              <a:lstStyle/>
              <a:p>
                <a:pPr lvl="0" algn="ctr">
                  <a:defRPr/>
                </a:pPr>
                <a:r>
                  <a:rPr lang="en-US" sz="1400" dirty="0" err="1" smtClean="0">
                    <a:latin typeface="Arial" pitchFamily="34" charset="0"/>
                    <a:cs typeface="Arial" pitchFamily="34" charset="0"/>
                  </a:rPr>
                  <a:t>Penilaian</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ini</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telah</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dibangunkan</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oleh</a:t>
                </a:r>
                <a:r>
                  <a:rPr lang="en-US" sz="1400" dirty="0" smtClean="0">
                    <a:latin typeface="Arial" pitchFamily="34" charset="0"/>
                    <a:cs typeface="Arial" pitchFamily="34" charset="0"/>
                  </a:rPr>
                  <a:t> </a:t>
                </a:r>
              </a:p>
              <a:p>
                <a:pPr lvl="0" algn="ctr">
                  <a:defRPr/>
                </a:pPr>
                <a:r>
                  <a:rPr lang="en-US" sz="1400" b="1" i="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Teachers Lab</a:t>
                </a:r>
                <a:r>
                  <a:rPr lang="en-US" sz="14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 </a:t>
                </a:r>
                <a:r>
                  <a:rPr lang="en-US" sz="1400" b="1" i="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Government Transformation Program </a:t>
                </a:r>
                <a:r>
                  <a:rPr lang="en-US" sz="14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GTP) 2.0</a:t>
                </a:r>
                <a:r>
                  <a:rPr lang="en-US" sz="1400" dirty="0" smtClean="0">
                    <a:latin typeface="Arial" pitchFamily="34" charset="0"/>
                    <a:cs typeface="Arial" pitchFamily="34" charset="0"/>
                  </a:rPr>
                  <a:t> yang </a:t>
                </a:r>
                <a:r>
                  <a:rPr lang="en-US" sz="1400" dirty="0" err="1" smtClean="0">
                    <a:latin typeface="Arial" pitchFamily="34" charset="0"/>
                    <a:cs typeface="Arial" pitchFamily="34" charset="0"/>
                  </a:rPr>
                  <a:t>menggabungkan</a:t>
                </a:r>
                <a:r>
                  <a:rPr lang="en-US" sz="1400" dirty="0" smtClean="0">
                    <a:latin typeface="Arial" pitchFamily="34" charset="0"/>
                    <a:cs typeface="Arial" pitchFamily="34" charset="0"/>
                  </a:rPr>
                  <a:t> lima </a:t>
                </a:r>
                <a:r>
                  <a:rPr lang="en-US" sz="1400" dirty="0" err="1" smtClean="0">
                    <a:latin typeface="Arial" pitchFamily="34" charset="0"/>
                    <a:cs typeface="Arial" pitchFamily="34" charset="0"/>
                  </a:rPr>
                  <a:t>bentuk</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penilaian</a:t>
                </a:r>
                <a:r>
                  <a:rPr lang="en-US" sz="1400" dirty="0" smtClean="0">
                    <a:latin typeface="Arial" pitchFamily="34" charset="0"/>
                    <a:cs typeface="Arial" pitchFamily="34" charset="0"/>
                  </a:rPr>
                  <a:t> guru yang </a:t>
                </a:r>
                <a:r>
                  <a:rPr lang="en-US" sz="1400" dirty="0" err="1" smtClean="0">
                    <a:latin typeface="Arial" pitchFamily="34" charset="0"/>
                    <a:cs typeface="Arial" pitchFamily="34" charset="0"/>
                  </a:rPr>
                  <a:t>wujud</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di</a:t>
                </a:r>
                <a:r>
                  <a:rPr lang="en-US" sz="1400" dirty="0" smtClean="0">
                    <a:latin typeface="Arial" pitchFamily="34" charset="0"/>
                    <a:cs typeface="Arial" pitchFamily="34" charset="0"/>
                  </a:rPr>
                  <a:t> KPM</a:t>
                </a:r>
                <a:endParaRPr kumimoji="0" lang="en-US" sz="1400" b="0" i="1" u="none" strike="noStrike" kern="0" cap="none" spc="0" normalizeH="0" baseline="0" noProof="0" dirty="0" smtClean="0">
                  <a:ln>
                    <a:noFill/>
                  </a:ln>
                  <a:solidFill>
                    <a:sysClr val="windowText" lastClr="000000">
                      <a:lumMod val="65000"/>
                      <a:lumOff val="35000"/>
                    </a:sysClr>
                  </a:solidFill>
                  <a:effectLst/>
                  <a:uLnTx/>
                  <a:uFillTx/>
                  <a:latin typeface="Arial" pitchFamily="34" charset="0"/>
                  <a:cs typeface="Arial" pitchFamily="34" charset="0"/>
                </a:endParaRPr>
              </a:p>
            </p:txBody>
          </p:sp>
        </p:grpSp>
        <p:grpSp>
          <p:nvGrpSpPr>
            <p:cNvPr id="6" name="Group 37"/>
            <p:cNvGrpSpPr/>
            <p:nvPr/>
          </p:nvGrpSpPr>
          <p:grpSpPr>
            <a:xfrm>
              <a:off x="5500662" y="3479881"/>
              <a:ext cx="3071834" cy="2936565"/>
              <a:chOff x="6072166" y="3765633"/>
              <a:chExt cx="3071834" cy="2936565"/>
            </a:xfrm>
          </p:grpSpPr>
          <p:sp>
            <p:nvSpPr>
              <p:cNvPr id="10" name="Oval 9"/>
              <p:cNvSpPr/>
              <p:nvPr/>
            </p:nvSpPr>
            <p:spPr>
              <a:xfrm rot="302816">
                <a:off x="6195890" y="3765633"/>
                <a:ext cx="2824418" cy="2936565"/>
              </a:xfrm>
              <a:prstGeom prst="ellipse">
                <a:avLst/>
              </a:prstGeom>
              <a:solidFill>
                <a:schemeClr val="bg1"/>
              </a:solidFill>
              <a:ln>
                <a:noFill/>
              </a:ln>
              <a:effectLst>
                <a:innerShdw blurRad="127000" dist="50800" dir="13500000">
                  <a:prstClr val="black">
                    <a:alpha val="50000"/>
                  </a:prstClr>
                </a:innerShdw>
                <a:reflection blurRad="6350" stA="50000" endA="300" endPos="55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6072166" y="4572008"/>
                <a:ext cx="3071834" cy="1384995"/>
              </a:xfrm>
              <a:prstGeom prst="rect">
                <a:avLst/>
              </a:prstGeom>
            </p:spPr>
            <p:txBody>
              <a:bodyPr wrap="square">
                <a:spAutoFit/>
              </a:bodyPr>
              <a:lstStyle/>
              <a:p>
                <a:pPr algn="ctr"/>
                <a:r>
                  <a:rPr lang="en-US" sz="1400" dirty="0" err="1" smtClean="0">
                    <a:latin typeface="Arial" pitchFamily="34" charset="0"/>
                    <a:cs typeface="Arial" pitchFamily="34" charset="0"/>
                  </a:rPr>
                  <a:t>Bertepatan</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dengan</a:t>
                </a:r>
                <a:r>
                  <a:rPr lang="en-US" sz="1400" dirty="0" smtClean="0">
                    <a:latin typeface="Arial" pitchFamily="34" charset="0"/>
                    <a:cs typeface="Arial" pitchFamily="34" charset="0"/>
                  </a:rPr>
                  <a:t> </a:t>
                </a:r>
              </a:p>
              <a:p>
                <a:pPr algn="ctr"/>
                <a:r>
                  <a:rPr lang="en-US" sz="1400" b="1" dirty="0" err="1" smtClean="0">
                    <a:solidFill>
                      <a:srgbClr val="FF0000"/>
                    </a:solidFill>
                    <a:effectLst>
                      <a:outerShdw blurRad="38100" dist="38100" dir="2700000" algn="tl">
                        <a:srgbClr val="000000">
                          <a:alpha val="43137"/>
                        </a:srgbClr>
                      </a:outerShdw>
                    </a:effectLst>
                    <a:latin typeface="Arial" pitchFamily="34" charset="0"/>
                    <a:cs typeface="Arial" pitchFamily="34" charset="0"/>
                  </a:rPr>
                  <a:t>Pelan</a:t>
                </a:r>
                <a:r>
                  <a:rPr lang="en-US" sz="14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 Pembangunan </a:t>
                </a:r>
                <a:r>
                  <a:rPr lang="en-US" sz="1400" b="1" dirty="0" err="1" smtClean="0">
                    <a:solidFill>
                      <a:srgbClr val="FF0000"/>
                    </a:solidFill>
                    <a:effectLst>
                      <a:outerShdw blurRad="38100" dist="38100" dir="2700000" algn="tl">
                        <a:srgbClr val="000000">
                          <a:alpha val="43137"/>
                        </a:srgbClr>
                      </a:outerShdw>
                    </a:effectLst>
                    <a:latin typeface="Arial" pitchFamily="34" charset="0"/>
                    <a:cs typeface="Arial" pitchFamily="34" charset="0"/>
                  </a:rPr>
                  <a:t>Pendidikan</a:t>
                </a:r>
                <a:r>
                  <a:rPr lang="en-US" sz="14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 </a:t>
                </a:r>
              </a:p>
              <a:p>
                <a:pPr algn="ctr"/>
                <a:r>
                  <a:rPr lang="en-US" sz="14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2013-2025 </a:t>
                </a:r>
              </a:p>
              <a:p>
                <a:pPr algn="ctr"/>
                <a:r>
                  <a:rPr lang="en-US" sz="14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a:t>
                </a:r>
                <a:r>
                  <a:rPr lang="en-US" sz="1400" b="1" i="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Malaysia Education Blueprint</a:t>
                </a:r>
                <a:r>
                  <a:rPr lang="en-US" sz="1400"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 </a:t>
                </a:r>
              </a:p>
              <a:p>
                <a:pPr algn="ctr"/>
                <a:r>
                  <a:rPr lang="en-US" sz="1400" dirty="0" smtClean="0">
                    <a:latin typeface="Arial" pitchFamily="34" charset="0"/>
                    <a:cs typeface="Arial" pitchFamily="34" charset="0"/>
                  </a:rPr>
                  <a:t>yang </a:t>
                </a:r>
                <a:r>
                  <a:rPr lang="en-US" sz="1400" dirty="0" err="1" smtClean="0">
                    <a:latin typeface="Arial" pitchFamily="34" charset="0"/>
                    <a:cs typeface="Arial" pitchFamily="34" charset="0"/>
                  </a:rPr>
                  <a:t>menekankan</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peningkatan</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kualiti</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pendidikan</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negara</a:t>
                </a:r>
                <a:r>
                  <a:rPr lang="en-US" sz="1400" dirty="0" smtClean="0">
                    <a:latin typeface="Arial" pitchFamily="34" charset="0"/>
                    <a:cs typeface="Arial" pitchFamily="34" charset="0"/>
                  </a:rPr>
                  <a:t>.</a:t>
                </a:r>
                <a:endParaRPr lang="en-US" sz="1400" dirty="0">
                  <a:latin typeface="Arial" pitchFamily="34" charset="0"/>
                  <a:cs typeface="Arial" pitchFamily="34" charset="0"/>
                </a:endParaRPr>
              </a:p>
            </p:txBody>
          </p:sp>
        </p:grpSp>
        <p:pic>
          <p:nvPicPr>
            <p:cNvPr id="9" name="Picture 8" descr="PPPM-1.jpg"/>
            <p:cNvPicPr>
              <a:picLocks noChangeAspect="1"/>
            </p:cNvPicPr>
            <p:nvPr/>
          </p:nvPicPr>
          <p:blipFill>
            <a:blip r:embed="rId2" cstate="print"/>
            <a:stretch>
              <a:fillRect/>
            </a:stretch>
          </p:blipFill>
          <p:spPr>
            <a:xfrm>
              <a:off x="6357950" y="2857496"/>
              <a:ext cx="1374957" cy="1357298"/>
            </a:xfrm>
            <a:prstGeom prst="rect">
              <a:avLst/>
            </a:prstGeom>
            <a:effectLst>
              <a:outerShdw blurRad="50800" dist="88900" dir="2700000" algn="tl" rotWithShape="0">
                <a:srgbClr val="000000">
                  <a:alpha val="96000"/>
                </a:srgbClr>
              </a:outerShdw>
            </a:effectLst>
          </p:spPr>
        </p:pic>
      </p:grpSp>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10</a:t>
            </a:fld>
            <a:endParaRPr lang="en-US"/>
          </a:p>
        </p:txBody>
      </p:sp>
      <p:grpSp>
        <p:nvGrpSpPr>
          <p:cNvPr id="7" name="Group 13"/>
          <p:cNvGrpSpPr/>
          <p:nvPr/>
        </p:nvGrpSpPr>
        <p:grpSpPr>
          <a:xfrm>
            <a:off x="92719" y="1332740"/>
            <a:ext cx="5500725" cy="5715000"/>
            <a:chOff x="142845" y="714396"/>
            <a:chExt cx="5500725" cy="5715000"/>
          </a:xfrm>
        </p:grpSpPr>
        <p:grpSp>
          <p:nvGrpSpPr>
            <p:cNvPr id="8" name="Group 57"/>
            <p:cNvGrpSpPr/>
            <p:nvPr/>
          </p:nvGrpSpPr>
          <p:grpSpPr>
            <a:xfrm>
              <a:off x="142845" y="714396"/>
              <a:ext cx="5496875" cy="5715000"/>
              <a:chOff x="522925" y="714372"/>
              <a:chExt cx="5496875" cy="5715000"/>
            </a:xfrm>
          </p:grpSpPr>
          <p:sp>
            <p:nvSpPr>
              <p:cNvPr id="19" name="Rounded Rectangle 4"/>
              <p:cNvSpPr/>
              <p:nvPr/>
            </p:nvSpPr>
            <p:spPr>
              <a:xfrm>
                <a:off x="3398520" y="4067172"/>
                <a:ext cx="2621279" cy="1925494"/>
              </a:xfrm>
              <a:custGeom>
                <a:avLst/>
                <a:gdLst>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41347 w 4426023"/>
                  <a:gd name="connsiteY0" fmla="*/ 0 h 3240050"/>
                  <a:gd name="connsiteX1" fmla="*/ 3891099 w 4426023"/>
                  <a:gd name="connsiteY1" fmla="*/ 0 h 3240050"/>
                  <a:gd name="connsiteX2" fmla="*/ 4426023 w 4426023"/>
                  <a:gd name="connsiteY2" fmla="*/ 534924 h 3240050"/>
                  <a:gd name="connsiteX3" fmla="*/ 4426023 w 4426023"/>
                  <a:gd name="connsiteY3" fmla="*/ 1446276 h 3240050"/>
                  <a:gd name="connsiteX4" fmla="*/ 3891099 w 4426023"/>
                  <a:gd name="connsiteY4" fmla="*/ 1981200 h 3240050"/>
                  <a:gd name="connsiteX5" fmla="*/ 2242893 w 4426023"/>
                  <a:gd name="connsiteY5" fmla="*/ 1981200 h 3240050"/>
                  <a:gd name="connsiteX6" fmla="*/ 0 w 4426023"/>
                  <a:gd name="connsiteY6" fmla="*/ 3240050 h 3240050"/>
                  <a:gd name="connsiteX7" fmla="*/ 6422 w 4426023"/>
                  <a:gd name="connsiteY7" fmla="*/ 1080448 h 3240050"/>
                  <a:gd name="connsiteX8" fmla="*/ 6423 w 4426023"/>
                  <a:gd name="connsiteY8" fmla="*/ 1080448 h 3240050"/>
                  <a:gd name="connsiteX9" fmla="*/ 6423 w 4426023"/>
                  <a:gd name="connsiteY9" fmla="*/ 534924 h 3240050"/>
                  <a:gd name="connsiteX10" fmla="*/ 541347 w 4426023"/>
                  <a:gd name="connsiteY10" fmla="*/ 0 h 3240050"/>
                  <a:gd name="connsiteX0" fmla="*/ 534925 w 4419601"/>
                  <a:gd name="connsiteY0" fmla="*/ 0 h 3246474"/>
                  <a:gd name="connsiteX1" fmla="*/ 3884677 w 4419601"/>
                  <a:gd name="connsiteY1" fmla="*/ 0 h 3246474"/>
                  <a:gd name="connsiteX2" fmla="*/ 4419601 w 4419601"/>
                  <a:gd name="connsiteY2" fmla="*/ 534924 h 3246474"/>
                  <a:gd name="connsiteX3" fmla="*/ 4419601 w 4419601"/>
                  <a:gd name="connsiteY3" fmla="*/ 1446276 h 3246474"/>
                  <a:gd name="connsiteX4" fmla="*/ 3884677 w 4419601"/>
                  <a:gd name="connsiteY4" fmla="*/ 1981200 h 3246474"/>
                  <a:gd name="connsiteX5" fmla="*/ 2236471 w 4419601"/>
                  <a:gd name="connsiteY5" fmla="*/ 1981200 h 3246474"/>
                  <a:gd name="connsiteX6" fmla="*/ 2 w 4419601"/>
                  <a:gd name="connsiteY6" fmla="*/ 3246474 h 3246474"/>
                  <a:gd name="connsiteX7" fmla="*/ 0 w 4419601"/>
                  <a:gd name="connsiteY7" fmla="*/ 1080448 h 3246474"/>
                  <a:gd name="connsiteX8" fmla="*/ 1 w 4419601"/>
                  <a:gd name="connsiteY8" fmla="*/ 1080448 h 3246474"/>
                  <a:gd name="connsiteX9" fmla="*/ 1 w 4419601"/>
                  <a:gd name="connsiteY9" fmla="*/ 534924 h 3246474"/>
                  <a:gd name="connsiteX10" fmla="*/ 534925 w 4419601"/>
                  <a:gd name="connsiteY10" fmla="*/ 0 h 324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9601" h="3246474">
                    <a:moveTo>
                      <a:pt x="534925" y="0"/>
                    </a:moveTo>
                    <a:lnTo>
                      <a:pt x="3884677" y="0"/>
                    </a:lnTo>
                    <a:cubicBezTo>
                      <a:pt x="4180107" y="0"/>
                      <a:pt x="4419601" y="239494"/>
                      <a:pt x="4419601" y="534924"/>
                    </a:cubicBezTo>
                    <a:lnTo>
                      <a:pt x="4419601" y="1446276"/>
                    </a:lnTo>
                    <a:cubicBezTo>
                      <a:pt x="4419601" y="1741706"/>
                      <a:pt x="4180107" y="1981200"/>
                      <a:pt x="3884677" y="1981200"/>
                    </a:cubicBezTo>
                    <a:lnTo>
                      <a:pt x="2236471" y="1981200"/>
                    </a:lnTo>
                    <a:cubicBezTo>
                      <a:pt x="1001303" y="1981200"/>
                      <a:pt x="299722" y="2361264"/>
                      <a:pt x="2" y="3246474"/>
                    </a:cubicBezTo>
                    <a:cubicBezTo>
                      <a:pt x="2" y="2387423"/>
                      <a:pt x="0" y="1939499"/>
                      <a:pt x="0" y="1080448"/>
                    </a:cubicBezTo>
                    <a:lnTo>
                      <a:pt x="1" y="1080448"/>
                    </a:lnTo>
                    <a:lnTo>
                      <a:pt x="1" y="534924"/>
                    </a:lnTo>
                    <a:cubicBezTo>
                      <a:pt x="1" y="239494"/>
                      <a:pt x="239495" y="0"/>
                      <a:pt x="534925" y="0"/>
                    </a:cubicBezTo>
                    <a:close/>
                  </a:path>
                </a:pathLst>
              </a:custGeom>
              <a:gradFill flip="none" rotWithShape="1">
                <a:gsLst>
                  <a:gs pos="81000">
                    <a:schemeClr val="bg2">
                      <a:lumMod val="25000"/>
                    </a:schemeClr>
                  </a:gs>
                  <a:gs pos="0">
                    <a:schemeClr val="bg2">
                      <a:lumMod val="50000"/>
                    </a:schemeClr>
                  </a:gs>
                  <a:gs pos="100000">
                    <a:schemeClr val="bg2">
                      <a:lumMod val="10000"/>
                    </a:schemeClr>
                  </a:gs>
                </a:gsLst>
                <a:lin ang="10800000" scaled="1"/>
                <a:tileRect/>
              </a:gradFill>
              <a:ln>
                <a:noFill/>
              </a:ln>
              <a:effectLst>
                <a:outerShdw blurRad="127000" dist="38100" dir="54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4"/>
              <p:cNvSpPr/>
              <p:nvPr/>
            </p:nvSpPr>
            <p:spPr>
              <a:xfrm flipH="1">
                <a:off x="594362" y="3437078"/>
                <a:ext cx="2621279" cy="1925494"/>
              </a:xfrm>
              <a:custGeom>
                <a:avLst/>
                <a:gdLst>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41347 w 4426023"/>
                  <a:gd name="connsiteY0" fmla="*/ 0 h 3240050"/>
                  <a:gd name="connsiteX1" fmla="*/ 3891099 w 4426023"/>
                  <a:gd name="connsiteY1" fmla="*/ 0 h 3240050"/>
                  <a:gd name="connsiteX2" fmla="*/ 4426023 w 4426023"/>
                  <a:gd name="connsiteY2" fmla="*/ 534924 h 3240050"/>
                  <a:gd name="connsiteX3" fmla="*/ 4426023 w 4426023"/>
                  <a:gd name="connsiteY3" fmla="*/ 1446276 h 3240050"/>
                  <a:gd name="connsiteX4" fmla="*/ 3891099 w 4426023"/>
                  <a:gd name="connsiteY4" fmla="*/ 1981200 h 3240050"/>
                  <a:gd name="connsiteX5" fmla="*/ 2242893 w 4426023"/>
                  <a:gd name="connsiteY5" fmla="*/ 1981200 h 3240050"/>
                  <a:gd name="connsiteX6" fmla="*/ 0 w 4426023"/>
                  <a:gd name="connsiteY6" fmla="*/ 3240050 h 3240050"/>
                  <a:gd name="connsiteX7" fmla="*/ 6422 w 4426023"/>
                  <a:gd name="connsiteY7" fmla="*/ 1080448 h 3240050"/>
                  <a:gd name="connsiteX8" fmla="*/ 6423 w 4426023"/>
                  <a:gd name="connsiteY8" fmla="*/ 1080448 h 3240050"/>
                  <a:gd name="connsiteX9" fmla="*/ 6423 w 4426023"/>
                  <a:gd name="connsiteY9" fmla="*/ 534924 h 3240050"/>
                  <a:gd name="connsiteX10" fmla="*/ 541347 w 4426023"/>
                  <a:gd name="connsiteY10" fmla="*/ 0 h 3240050"/>
                  <a:gd name="connsiteX0" fmla="*/ 534925 w 4419601"/>
                  <a:gd name="connsiteY0" fmla="*/ 0 h 3246474"/>
                  <a:gd name="connsiteX1" fmla="*/ 3884677 w 4419601"/>
                  <a:gd name="connsiteY1" fmla="*/ 0 h 3246474"/>
                  <a:gd name="connsiteX2" fmla="*/ 4419601 w 4419601"/>
                  <a:gd name="connsiteY2" fmla="*/ 534924 h 3246474"/>
                  <a:gd name="connsiteX3" fmla="*/ 4419601 w 4419601"/>
                  <a:gd name="connsiteY3" fmla="*/ 1446276 h 3246474"/>
                  <a:gd name="connsiteX4" fmla="*/ 3884677 w 4419601"/>
                  <a:gd name="connsiteY4" fmla="*/ 1981200 h 3246474"/>
                  <a:gd name="connsiteX5" fmla="*/ 2236471 w 4419601"/>
                  <a:gd name="connsiteY5" fmla="*/ 1981200 h 3246474"/>
                  <a:gd name="connsiteX6" fmla="*/ 2 w 4419601"/>
                  <a:gd name="connsiteY6" fmla="*/ 3246474 h 3246474"/>
                  <a:gd name="connsiteX7" fmla="*/ 0 w 4419601"/>
                  <a:gd name="connsiteY7" fmla="*/ 1080448 h 3246474"/>
                  <a:gd name="connsiteX8" fmla="*/ 1 w 4419601"/>
                  <a:gd name="connsiteY8" fmla="*/ 1080448 h 3246474"/>
                  <a:gd name="connsiteX9" fmla="*/ 1 w 4419601"/>
                  <a:gd name="connsiteY9" fmla="*/ 534924 h 3246474"/>
                  <a:gd name="connsiteX10" fmla="*/ 534925 w 4419601"/>
                  <a:gd name="connsiteY10" fmla="*/ 0 h 324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9601" h="3246474">
                    <a:moveTo>
                      <a:pt x="534925" y="0"/>
                    </a:moveTo>
                    <a:lnTo>
                      <a:pt x="3884677" y="0"/>
                    </a:lnTo>
                    <a:cubicBezTo>
                      <a:pt x="4180107" y="0"/>
                      <a:pt x="4419601" y="239494"/>
                      <a:pt x="4419601" y="534924"/>
                    </a:cubicBezTo>
                    <a:lnTo>
                      <a:pt x="4419601" y="1446276"/>
                    </a:lnTo>
                    <a:cubicBezTo>
                      <a:pt x="4419601" y="1741706"/>
                      <a:pt x="4180107" y="1981200"/>
                      <a:pt x="3884677" y="1981200"/>
                    </a:cubicBezTo>
                    <a:lnTo>
                      <a:pt x="2236471" y="1981200"/>
                    </a:lnTo>
                    <a:cubicBezTo>
                      <a:pt x="1001303" y="1981200"/>
                      <a:pt x="299722" y="2361264"/>
                      <a:pt x="2" y="3246474"/>
                    </a:cubicBezTo>
                    <a:cubicBezTo>
                      <a:pt x="2" y="2387423"/>
                      <a:pt x="0" y="1939499"/>
                      <a:pt x="0" y="1080448"/>
                    </a:cubicBezTo>
                    <a:lnTo>
                      <a:pt x="1" y="1080448"/>
                    </a:lnTo>
                    <a:lnTo>
                      <a:pt x="1" y="534924"/>
                    </a:lnTo>
                    <a:cubicBezTo>
                      <a:pt x="1" y="239494"/>
                      <a:pt x="239495" y="0"/>
                      <a:pt x="534925" y="0"/>
                    </a:cubicBezTo>
                    <a:close/>
                  </a:path>
                </a:pathLst>
              </a:custGeom>
              <a:gradFill flip="none" rotWithShape="1">
                <a:gsLst>
                  <a:gs pos="78000">
                    <a:srgbClr val="D9A803"/>
                  </a:gs>
                  <a:gs pos="0">
                    <a:srgbClr val="FFE101"/>
                  </a:gs>
                  <a:gs pos="100000">
                    <a:schemeClr val="accent6">
                      <a:lumMod val="50000"/>
                    </a:schemeClr>
                  </a:gs>
                </a:gsLst>
                <a:lin ang="10800000" scaled="1"/>
                <a:tileRect/>
              </a:gradFill>
              <a:ln>
                <a:noFill/>
              </a:ln>
              <a:effectLst>
                <a:outerShdw blurRad="127000" dist="38100" dir="54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4"/>
              <p:cNvSpPr/>
              <p:nvPr/>
            </p:nvSpPr>
            <p:spPr>
              <a:xfrm>
                <a:off x="3398521" y="2543172"/>
                <a:ext cx="2621279" cy="1925494"/>
              </a:xfrm>
              <a:custGeom>
                <a:avLst/>
                <a:gdLst>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41347 w 4426023"/>
                  <a:gd name="connsiteY0" fmla="*/ 0 h 3240050"/>
                  <a:gd name="connsiteX1" fmla="*/ 3891099 w 4426023"/>
                  <a:gd name="connsiteY1" fmla="*/ 0 h 3240050"/>
                  <a:gd name="connsiteX2" fmla="*/ 4426023 w 4426023"/>
                  <a:gd name="connsiteY2" fmla="*/ 534924 h 3240050"/>
                  <a:gd name="connsiteX3" fmla="*/ 4426023 w 4426023"/>
                  <a:gd name="connsiteY3" fmla="*/ 1446276 h 3240050"/>
                  <a:gd name="connsiteX4" fmla="*/ 3891099 w 4426023"/>
                  <a:gd name="connsiteY4" fmla="*/ 1981200 h 3240050"/>
                  <a:gd name="connsiteX5" fmla="*/ 2242893 w 4426023"/>
                  <a:gd name="connsiteY5" fmla="*/ 1981200 h 3240050"/>
                  <a:gd name="connsiteX6" fmla="*/ 0 w 4426023"/>
                  <a:gd name="connsiteY6" fmla="*/ 3240050 h 3240050"/>
                  <a:gd name="connsiteX7" fmla="*/ 6422 w 4426023"/>
                  <a:gd name="connsiteY7" fmla="*/ 1080448 h 3240050"/>
                  <a:gd name="connsiteX8" fmla="*/ 6423 w 4426023"/>
                  <a:gd name="connsiteY8" fmla="*/ 1080448 h 3240050"/>
                  <a:gd name="connsiteX9" fmla="*/ 6423 w 4426023"/>
                  <a:gd name="connsiteY9" fmla="*/ 534924 h 3240050"/>
                  <a:gd name="connsiteX10" fmla="*/ 541347 w 4426023"/>
                  <a:gd name="connsiteY10" fmla="*/ 0 h 3240050"/>
                  <a:gd name="connsiteX0" fmla="*/ 534925 w 4419601"/>
                  <a:gd name="connsiteY0" fmla="*/ 0 h 3246474"/>
                  <a:gd name="connsiteX1" fmla="*/ 3884677 w 4419601"/>
                  <a:gd name="connsiteY1" fmla="*/ 0 h 3246474"/>
                  <a:gd name="connsiteX2" fmla="*/ 4419601 w 4419601"/>
                  <a:gd name="connsiteY2" fmla="*/ 534924 h 3246474"/>
                  <a:gd name="connsiteX3" fmla="*/ 4419601 w 4419601"/>
                  <a:gd name="connsiteY3" fmla="*/ 1446276 h 3246474"/>
                  <a:gd name="connsiteX4" fmla="*/ 3884677 w 4419601"/>
                  <a:gd name="connsiteY4" fmla="*/ 1981200 h 3246474"/>
                  <a:gd name="connsiteX5" fmla="*/ 2236471 w 4419601"/>
                  <a:gd name="connsiteY5" fmla="*/ 1981200 h 3246474"/>
                  <a:gd name="connsiteX6" fmla="*/ 2 w 4419601"/>
                  <a:gd name="connsiteY6" fmla="*/ 3246474 h 3246474"/>
                  <a:gd name="connsiteX7" fmla="*/ 0 w 4419601"/>
                  <a:gd name="connsiteY7" fmla="*/ 1080448 h 3246474"/>
                  <a:gd name="connsiteX8" fmla="*/ 1 w 4419601"/>
                  <a:gd name="connsiteY8" fmla="*/ 1080448 h 3246474"/>
                  <a:gd name="connsiteX9" fmla="*/ 1 w 4419601"/>
                  <a:gd name="connsiteY9" fmla="*/ 534924 h 3246474"/>
                  <a:gd name="connsiteX10" fmla="*/ 534925 w 4419601"/>
                  <a:gd name="connsiteY10" fmla="*/ 0 h 324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9601" h="3246474">
                    <a:moveTo>
                      <a:pt x="534925" y="0"/>
                    </a:moveTo>
                    <a:lnTo>
                      <a:pt x="3884677" y="0"/>
                    </a:lnTo>
                    <a:cubicBezTo>
                      <a:pt x="4180107" y="0"/>
                      <a:pt x="4419601" y="239494"/>
                      <a:pt x="4419601" y="534924"/>
                    </a:cubicBezTo>
                    <a:lnTo>
                      <a:pt x="4419601" y="1446276"/>
                    </a:lnTo>
                    <a:cubicBezTo>
                      <a:pt x="4419601" y="1741706"/>
                      <a:pt x="4180107" y="1981200"/>
                      <a:pt x="3884677" y="1981200"/>
                    </a:cubicBezTo>
                    <a:lnTo>
                      <a:pt x="2236471" y="1981200"/>
                    </a:lnTo>
                    <a:cubicBezTo>
                      <a:pt x="1001303" y="1981200"/>
                      <a:pt x="299722" y="2361264"/>
                      <a:pt x="2" y="3246474"/>
                    </a:cubicBezTo>
                    <a:cubicBezTo>
                      <a:pt x="2" y="2387423"/>
                      <a:pt x="0" y="1939499"/>
                      <a:pt x="0" y="1080448"/>
                    </a:cubicBezTo>
                    <a:lnTo>
                      <a:pt x="1" y="1080448"/>
                    </a:lnTo>
                    <a:lnTo>
                      <a:pt x="1" y="534924"/>
                    </a:lnTo>
                    <a:cubicBezTo>
                      <a:pt x="1" y="239494"/>
                      <a:pt x="239495" y="0"/>
                      <a:pt x="534925" y="0"/>
                    </a:cubicBezTo>
                    <a:close/>
                  </a:path>
                </a:pathLst>
              </a:custGeom>
              <a:gradFill flip="none" rotWithShape="1">
                <a:gsLst>
                  <a:gs pos="81000">
                    <a:srgbClr val="0E618F"/>
                  </a:gs>
                  <a:gs pos="0">
                    <a:srgbClr val="00B0F0"/>
                  </a:gs>
                  <a:gs pos="100000">
                    <a:srgbClr val="182848"/>
                  </a:gs>
                </a:gsLst>
                <a:lin ang="10800000" scaled="1"/>
                <a:tileRect/>
              </a:gradFill>
              <a:ln>
                <a:noFill/>
              </a:ln>
              <a:effectLst>
                <a:outerShdw blurRad="127000" dist="38100" dir="54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Pentagon 21"/>
              <p:cNvSpPr/>
              <p:nvPr/>
            </p:nvSpPr>
            <p:spPr>
              <a:xfrm rot="16200000">
                <a:off x="449581" y="3480432"/>
                <a:ext cx="5715000" cy="182880"/>
              </a:xfrm>
              <a:prstGeom prst="homePlate">
                <a:avLst/>
              </a:prstGeom>
              <a:gradFill flip="none" rotWithShape="1">
                <a:gsLst>
                  <a:gs pos="50000">
                    <a:schemeClr val="tx1">
                      <a:lumMod val="75000"/>
                      <a:lumOff val="25000"/>
                    </a:schemeClr>
                  </a:gs>
                  <a:gs pos="0">
                    <a:schemeClr val="tx1">
                      <a:lumMod val="95000"/>
                      <a:lumOff val="5000"/>
                    </a:schemeClr>
                  </a:gs>
                  <a:gs pos="100000">
                    <a:schemeClr val="tx1">
                      <a:lumMod val="95000"/>
                      <a:lumOff val="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ed Rectangle 4"/>
              <p:cNvSpPr/>
              <p:nvPr/>
            </p:nvSpPr>
            <p:spPr>
              <a:xfrm>
                <a:off x="3398521" y="1019172"/>
                <a:ext cx="2621279" cy="1925494"/>
              </a:xfrm>
              <a:custGeom>
                <a:avLst/>
                <a:gdLst>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41347 w 4426023"/>
                  <a:gd name="connsiteY0" fmla="*/ 0 h 3240050"/>
                  <a:gd name="connsiteX1" fmla="*/ 3891099 w 4426023"/>
                  <a:gd name="connsiteY1" fmla="*/ 0 h 3240050"/>
                  <a:gd name="connsiteX2" fmla="*/ 4426023 w 4426023"/>
                  <a:gd name="connsiteY2" fmla="*/ 534924 h 3240050"/>
                  <a:gd name="connsiteX3" fmla="*/ 4426023 w 4426023"/>
                  <a:gd name="connsiteY3" fmla="*/ 1446276 h 3240050"/>
                  <a:gd name="connsiteX4" fmla="*/ 3891099 w 4426023"/>
                  <a:gd name="connsiteY4" fmla="*/ 1981200 h 3240050"/>
                  <a:gd name="connsiteX5" fmla="*/ 2242893 w 4426023"/>
                  <a:gd name="connsiteY5" fmla="*/ 1981200 h 3240050"/>
                  <a:gd name="connsiteX6" fmla="*/ 0 w 4426023"/>
                  <a:gd name="connsiteY6" fmla="*/ 3240050 h 3240050"/>
                  <a:gd name="connsiteX7" fmla="*/ 6422 w 4426023"/>
                  <a:gd name="connsiteY7" fmla="*/ 1080448 h 3240050"/>
                  <a:gd name="connsiteX8" fmla="*/ 6423 w 4426023"/>
                  <a:gd name="connsiteY8" fmla="*/ 1080448 h 3240050"/>
                  <a:gd name="connsiteX9" fmla="*/ 6423 w 4426023"/>
                  <a:gd name="connsiteY9" fmla="*/ 534924 h 3240050"/>
                  <a:gd name="connsiteX10" fmla="*/ 541347 w 4426023"/>
                  <a:gd name="connsiteY10" fmla="*/ 0 h 3240050"/>
                  <a:gd name="connsiteX0" fmla="*/ 534925 w 4419601"/>
                  <a:gd name="connsiteY0" fmla="*/ 0 h 3246474"/>
                  <a:gd name="connsiteX1" fmla="*/ 3884677 w 4419601"/>
                  <a:gd name="connsiteY1" fmla="*/ 0 h 3246474"/>
                  <a:gd name="connsiteX2" fmla="*/ 4419601 w 4419601"/>
                  <a:gd name="connsiteY2" fmla="*/ 534924 h 3246474"/>
                  <a:gd name="connsiteX3" fmla="*/ 4419601 w 4419601"/>
                  <a:gd name="connsiteY3" fmla="*/ 1446276 h 3246474"/>
                  <a:gd name="connsiteX4" fmla="*/ 3884677 w 4419601"/>
                  <a:gd name="connsiteY4" fmla="*/ 1981200 h 3246474"/>
                  <a:gd name="connsiteX5" fmla="*/ 2236471 w 4419601"/>
                  <a:gd name="connsiteY5" fmla="*/ 1981200 h 3246474"/>
                  <a:gd name="connsiteX6" fmla="*/ 2 w 4419601"/>
                  <a:gd name="connsiteY6" fmla="*/ 3246474 h 3246474"/>
                  <a:gd name="connsiteX7" fmla="*/ 0 w 4419601"/>
                  <a:gd name="connsiteY7" fmla="*/ 1080448 h 3246474"/>
                  <a:gd name="connsiteX8" fmla="*/ 1 w 4419601"/>
                  <a:gd name="connsiteY8" fmla="*/ 1080448 h 3246474"/>
                  <a:gd name="connsiteX9" fmla="*/ 1 w 4419601"/>
                  <a:gd name="connsiteY9" fmla="*/ 534924 h 3246474"/>
                  <a:gd name="connsiteX10" fmla="*/ 534925 w 4419601"/>
                  <a:gd name="connsiteY10" fmla="*/ 0 h 324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9601" h="3246474">
                    <a:moveTo>
                      <a:pt x="534925" y="0"/>
                    </a:moveTo>
                    <a:lnTo>
                      <a:pt x="3884677" y="0"/>
                    </a:lnTo>
                    <a:cubicBezTo>
                      <a:pt x="4180107" y="0"/>
                      <a:pt x="4419601" y="239494"/>
                      <a:pt x="4419601" y="534924"/>
                    </a:cubicBezTo>
                    <a:lnTo>
                      <a:pt x="4419601" y="1446276"/>
                    </a:lnTo>
                    <a:cubicBezTo>
                      <a:pt x="4419601" y="1741706"/>
                      <a:pt x="4180107" y="1981200"/>
                      <a:pt x="3884677" y="1981200"/>
                    </a:cubicBezTo>
                    <a:lnTo>
                      <a:pt x="2236471" y="1981200"/>
                    </a:lnTo>
                    <a:cubicBezTo>
                      <a:pt x="1001303" y="1981200"/>
                      <a:pt x="299722" y="2361264"/>
                      <a:pt x="2" y="3246474"/>
                    </a:cubicBezTo>
                    <a:cubicBezTo>
                      <a:pt x="2" y="2387423"/>
                      <a:pt x="0" y="1939499"/>
                      <a:pt x="0" y="1080448"/>
                    </a:cubicBezTo>
                    <a:lnTo>
                      <a:pt x="1" y="1080448"/>
                    </a:lnTo>
                    <a:lnTo>
                      <a:pt x="1" y="534924"/>
                    </a:lnTo>
                    <a:cubicBezTo>
                      <a:pt x="1" y="239494"/>
                      <a:pt x="239495" y="0"/>
                      <a:pt x="534925" y="0"/>
                    </a:cubicBezTo>
                    <a:close/>
                  </a:path>
                </a:pathLst>
              </a:custGeom>
              <a:gradFill flip="none" rotWithShape="1">
                <a:gsLst>
                  <a:gs pos="83000">
                    <a:srgbClr val="5A930E"/>
                  </a:gs>
                  <a:gs pos="0">
                    <a:srgbClr val="9BED17"/>
                  </a:gs>
                  <a:gs pos="100000">
                    <a:srgbClr val="305808"/>
                  </a:gs>
                </a:gsLst>
                <a:lin ang="10800000" scaled="1"/>
                <a:tileRect/>
              </a:gradFill>
              <a:ln>
                <a:noFill/>
              </a:ln>
              <a:effectLst>
                <a:outerShdw blurRad="127000" dist="38100" dir="54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4"/>
              <p:cNvSpPr/>
              <p:nvPr/>
            </p:nvSpPr>
            <p:spPr>
              <a:xfrm flipH="1">
                <a:off x="594362" y="1971090"/>
                <a:ext cx="2621279" cy="1925494"/>
              </a:xfrm>
              <a:custGeom>
                <a:avLst/>
                <a:gdLst>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41347 w 4426023"/>
                  <a:gd name="connsiteY0" fmla="*/ 0 h 3240050"/>
                  <a:gd name="connsiteX1" fmla="*/ 3891099 w 4426023"/>
                  <a:gd name="connsiteY1" fmla="*/ 0 h 3240050"/>
                  <a:gd name="connsiteX2" fmla="*/ 4426023 w 4426023"/>
                  <a:gd name="connsiteY2" fmla="*/ 534924 h 3240050"/>
                  <a:gd name="connsiteX3" fmla="*/ 4426023 w 4426023"/>
                  <a:gd name="connsiteY3" fmla="*/ 1446276 h 3240050"/>
                  <a:gd name="connsiteX4" fmla="*/ 3891099 w 4426023"/>
                  <a:gd name="connsiteY4" fmla="*/ 1981200 h 3240050"/>
                  <a:gd name="connsiteX5" fmla="*/ 2242893 w 4426023"/>
                  <a:gd name="connsiteY5" fmla="*/ 1981200 h 3240050"/>
                  <a:gd name="connsiteX6" fmla="*/ 0 w 4426023"/>
                  <a:gd name="connsiteY6" fmla="*/ 3240050 h 3240050"/>
                  <a:gd name="connsiteX7" fmla="*/ 6422 w 4426023"/>
                  <a:gd name="connsiteY7" fmla="*/ 1080448 h 3240050"/>
                  <a:gd name="connsiteX8" fmla="*/ 6423 w 4426023"/>
                  <a:gd name="connsiteY8" fmla="*/ 1080448 h 3240050"/>
                  <a:gd name="connsiteX9" fmla="*/ 6423 w 4426023"/>
                  <a:gd name="connsiteY9" fmla="*/ 534924 h 3240050"/>
                  <a:gd name="connsiteX10" fmla="*/ 541347 w 4426023"/>
                  <a:gd name="connsiteY10" fmla="*/ 0 h 3240050"/>
                  <a:gd name="connsiteX0" fmla="*/ 534925 w 4419601"/>
                  <a:gd name="connsiteY0" fmla="*/ 0 h 3246474"/>
                  <a:gd name="connsiteX1" fmla="*/ 3884677 w 4419601"/>
                  <a:gd name="connsiteY1" fmla="*/ 0 h 3246474"/>
                  <a:gd name="connsiteX2" fmla="*/ 4419601 w 4419601"/>
                  <a:gd name="connsiteY2" fmla="*/ 534924 h 3246474"/>
                  <a:gd name="connsiteX3" fmla="*/ 4419601 w 4419601"/>
                  <a:gd name="connsiteY3" fmla="*/ 1446276 h 3246474"/>
                  <a:gd name="connsiteX4" fmla="*/ 3884677 w 4419601"/>
                  <a:gd name="connsiteY4" fmla="*/ 1981200 h 3246474"/>
                  <a:gd name="connsiteX5" fmla="*/ 2236471 w 4419601"/>
                  <a:gd name="connsiteY5" fmla="*/ 1981200 h 3246474"/>
                  <a:gd name="connsiteX6" fmla="*/ 2 w 4419601"/>
                  <a:gd name="connsiteY6" fmla="*/ 3246474 h 3246474"/>
                  <a:gd name="connsiteX7" fmla="*/ 0 w 4419601"/>
                  <a:gd name="connsiteY7" fmla="*/ 1080448 h 3246474"/>
                  <a:gd name="connsiteX8" fmla="*/ 1 w 4419601"/>
                  <a:gd name="connsiteY8" fmla="*/ 1080448 h 3246474"/>
                  <a:gd name="connsiteX9" fmla="*/ 1 w 4419601"/>
                  <a:gd name="connsiteY9" fmla="*/ 534924 h 3246474"/>
                  <a:gd name="connsiteX10" fmla="*/ 534925 w 4419601"/>
                  <a:gd name="connsiteY10" fmla="*/ 0 h 324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9601" h="3246474">
                    <a:moveTo>
                      <a:pt x="534925" y="0"/>
                    </a:moveTo>
                    <a:lnTo>
                      <a:pt x="3884677" y="0"/>
                    </a:lnTo>
                    <a:cubicBezTo>
                      <a:pt x="4180107" y="0"/>
                      <a:pt x="4419601" y="239494"/>
                      <a:pt x="4419601" y="534924"/>
                    </a:cubicBezTo>
                    <a:lnTo>
                      <a:pt x="4419601" y="1446276"/>
                    </a:lnTo>
                    <a:cubicBezTo>
                      <a:pt x="4419601" y="1741706"/>
                      <a:pt x="4180107" y="1981200"/>
                      <a:pt x="3884677" y="1981200"/>
                    </a:cubicBezTo>
                    <a:lnTo>
                      <a:pt x="2236471" y="1981200"/>
                    </a:lnTo>
                    <a:cubicBezTo>
                      <a:pt x="1001303" y="1981200"/>
                      <a:pt x="299722" y="2361264"/>
                      <a:pt x="2" y="3246474"/>
                    </a:cubicBezTo>
                    <a:cubicBezTo>
                      <a:pt x="2" y="2387423"/>
                      <a:pt x="0" y="1939499"/>
                      <a:pt x="0" y="1080448"/>
                    </a:cubicBezTo>
                    <a:lnTo>
                      <a:pt x="1" y="1080448"/>
                    </a:lnTo>
                    <a:lnTo>
                      <a:pt x="1" y="534924"/>
                    </a:lnTo>
                    <a:cubicBezTo>
                      <a:pt x="1" y="239494"/>
                      <a:pt x="239495" y="0"/>
                      <a:pt x="534925" y="0"/>
                    </a:cubicBezTo>
                    <a:close/>
                  </a:path>
                </a:pathLst>
              </a:custGeom>
              <a:gradFill flip="none" rotWithShape="1">
                <a:gsLst>
                  <a:gs pos="81000">
                    <a:srgbClr val="910808"/>
                  </a:gs>
                  <a:gs pos="0">
                    <a:srgbClr val="ED1111"/>
                  </a:gs>
                  <a:gs pos="100000">
                    <a:srgbClr val="3E0000"/>
                  </a:gs>
                </a:gsLst>
                <a:lin ang="10800000" scaled="1"/>
                <a:tileRect/>
              </a:gradFill>
              <a:ln>
                <a:noFill/>
              </a:ln>
              <a:effectLst>
                <a:outerShdw blurRad="127000" dist="38100" dir="54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4214811" y="1000084"/>
                <a:ext cx="1484044" cy="1200329"/>
              </a:xfrm>
              <a:prstGeom prst="rect">
                <a:avLst/>
              </a:prstGeom>
              <a:noFill/>
            </p:spPr>
            <p:txBody>
              <a:bodyPr wrap="square" rtlCol="0">
                <a:spAutoFit/>
              </a:bodyPr>
              <a:lstStyle/>
              <a:p>
                <a:pPr algn="ctr"/>
                <a:r>
                  <a:rPr lang="en-US" b="1" dirty="0" smtClean="0">
                    <a:solidFill>
                      <a:schemeClr val="bg1"/>
                    </a:solidFill>
                    <a:effectLst>
                      <a:outerShdw blurRad="50800" dist="38100" dir="5400000" algn="t" rotWithShape="0">
                        <a:prstClr val="black">
                          <a:alpha val="40000"/>
                        </a:prstClr>
                      </a:outerShdw>
                    </a:effectLst>
                    <a:latin typeface="Arial Narrow" pitchFamily="34" charset="0"/>
                  </a:rPr>
                  <a:t>LAPORAN PENILAIAN  </a:t>
                </a:r>
              </a:p>
              <a:p>
                <a:pPr algn="ctr"/>
                <a:r>
                  <a:rPr lang="en-US" b="1" dirty="0" smtClean="0">
                    <a:solidFill>
                      <a:schemeClr val="bg1"/>
                    </a:solidFill>
                    <a:effectLst>
                      <a:outerShdw blurRad="50800" dist="38100" dir="5400000" algn="t" rotWithShape="0">
                        <a:prstClr val="black">
                          <a:alpha val="40000"/>
                        </a:prstClr>
                      </a:outerShdw>
                    </a:effectLst>
                    <a:latin typeface="Arial Narrow" pitchFamily="34" charset="0"/>
                  </a:rPr>
                  <a:t>PRESTASI </a:t>
                </a:r>
              </a:p>
              <a:p>
                <a:pPr algn="ctr"/>
                <a:r>
                  <a:rPr lang="en-US" b="1" dirty="0" smtClean="0">
                    <a:solidFill>
                      <a:schemeClr val="bg1"/>
                    </a:solidFill>
                    <a:effectLst>
                      <a:outerShdw blurRad="50800" dist="38100" dir="5400000" algn="t" rotWithShape="0">
                        <a:prstClr val="black">
                          <a:alpha val="40000"/>
                        </a:prstClr>
                      </a:outerShdw>
                    </a:effectLst>
                    <a:latin typeface="Arial Narrow" pitchFamily="34" charset="0"/>
                  </a:rPr>
                  <a:t>(LNPT)</a:t>
                </a:r>
                <a:endParaRPr lang="en-US" b="1" dirty="0">
                  <a:solidFill>
                    <a:schemeClr val="bg1"/>
                  </a:solidFill>
                  <a:effectLst>
                    <a:outerShdw blurRad="50800" dist="38100" dir="5400000" algn="t" rotWithShape="0">
                      <a:prstClr val="black">
                        <a:alpha val="40000"/>
                      </a:prstClr>
                    </a:outerShdw>
                  </a:effectLst>
                  <a:latin typeface="Arial Narrow" pitchFamily="34" charset="0"/>
                </a:endParaRPr>
              </a:p>
            </p:txBody>
          </p:sp>
          <p:sp>
            <p:nvSpPr>
              <p:cNvPr id="26" name="TextBox 25"/>
              <p:cNvSpPr txBox="1"/>
              <p:nvPr/>
            </p:nvSpPr>
            <p:spPr>
              <a:xfrm>
                <a:off x="3499498" y="1076250"/>
                <a:ext cx="723275" cy="1107996"/>
              </a:xfrm>
              <a:prstGeom prst="rect">
                <a:avLst/>
              </a:prstGeom>
              <a:noFill/>
            </p:spPr>
            <p:txBody>
              <a:bodyPr wrap="none" rtlCol="0" anchor="ctr">
                <a:spAutoFit/>
              </a:bodyPr>
              <a:lstStyle/>
              <a:p>
                <a:pPr algn="ctr"/>
                <a:r>
                  <a:rPr lang="en-US" sz="6600" dirty="0" smtClean="0">
                    <a:solidFill>
                      <a:schemeClr val="bg1"/>
                    </a:solidFill>
                    <a:effectLst>
                      <a:outerShdw blurRad="38100" dist="38100" dir="2700000" algn="tl">
                        <a:srgbClr val="000000">
                          <a:alpha val="43137"/>
                        </a:srgbClr>
                      </a:outerShdw>
                    </a:effectLst>
                    <a:latin typeface="Agency FB" pitchFamily="34" charset="0"/>
                  </a:rPr>
                  <a:t>01</a:t>
                </a:r>
                <a:endParaRPr lang="en-US" sz="6600" dirty="0">
                  <a:solidFill>
                    <a:schemeClr val="bg1"/>
                  </a:solidFill>
                  <a:effectLst>
                    <a:outerShdw blurRad="38100" dist="38100" dir="2700000" algn="tl">
                      <a:srgbClr val="000000">
                        <a:alpha val="43137"/>
                      </a:srgbClr>
                    </a:outerShdw>
                  </a:effectLst>
                  <a:latin typeface="Agency FB" pitchFamily="34" charset="0"/>
                </a:endParaRPr>
              </a:p>
            </p:txBody>
          </p:sp>
          <p:sp>
            <p:nvSpPr>
              <p:cNvPr id="27" name="TextBox 26"/>
              <p:cNvSpPr txBox="1"/>
              <p:nvPr/>
            </p:nvSpPr>
            <p:spPr>
              <a:xfrm>
                <a:off x="3425627" y="2590476"/>
                <a:ext cx="909223" cy="1107996"/>
              </a:xfrm>
              <a:prstGeom prst="rect">
                <a:avLst/>
              </a:prstGeom>
              <a:noFill/>
            </p:spPr>
            <p:txBody>
              <a:bodyPr wrap="none" rtlCol="0" anchor="ctr">
                <a:spAutoFit/>
              </a:bodyPr>
              <a:lstStyle/>
              <a:p>
                <a:pPr algn="ctr"/>
                <a:r>
                  <a:rPr lang="en-US" sz="6600" dirty="0" smtClean="0">
                    <a:solidFill>
                      <a:schemeClr val="bg1"/>
                    </a:solidFill>
                    <a:effectLst>
                      <a:outerShdw blurRad="38100" dist="38100" dir="2700000" algn="tl">
                        <a:srgbClr val="000000">
                          <a:alpha val="43137"/>
                        </a:srgbClr>
                      </a:outerShdw>
                    </a:effectLst>
                    <a:latin typeface="Agency FB" pitchFamily="34" charset="0"/>
                  </a:rPr>
                  <a:t>03</a:t>
                </a:r>
                <a:endParaRPr lang="en-US" sz="6600" dirty="0">
                  <a:solidFill>
                    <a:schemeClr val="bg1"/>
                  </a:solidFill>
                  <a:effectLst>
                    <a:outerShdw blurRad="38100" dist="38100" dir="2700000" algn="tl">
                      <a:srgbClr val="000000">
                        <a:alpha val="43137"/>
                      </a:srgbClr>
                    </a:outerShdw>
                  </a:effectLst>
                  <a:latin typeface="Agency FB" pitchFamily="34" charset="0"/>
                </a:endParaRPr>
              </a:p>
            </p:txBody>
          </p:sp>
          <p:sp>
            <p:nvSpPr>
              <p:cNvPr id="28" name="TextBox 27"/>
              <p:cNvSpPr txBox="1"/>
              <p:nvPr/>
            </p:nvSpPr>
            <p:spPr>
              <a:xfrm>
                <a:off x="3411335" y="4091266"/>
                <a:ext cx="899605" cy="1107996"/>
              </a:xfrm>
              <a:prstGeom prst="rect">
                <a:avLst/>
              </a:prstGeom>
              <a:noFill/>
            </p:spPr>
            <p:txBody>
              <a:bodyPr wrap="none" rtlCol="0" anchor="ctr">
                <a:spAutoFit/>
              </a:bodyPr>
              <a:lstStyle/>
              <a:p>
                <a:pPr algn="ctr"/>
                <a:r>
                  <a:rPr lang="en-US" sz="6600" dirty="0" smtClean="0">
                    <a:solidFill>
                      <a:schemeClr val="bg1"/>
                    </a:solidFill>
                    <a:effectLst>
                      <a:outerShdw blurRad="38100" dist="38100" dir="2700000" algn="tl">
                        <a:srgbClr val="000000">
                          <a:alpha val="43137"/>
                        </a:srgbClr>
                      </a:outerShdw>
                    </a:effectLst>
                    <a:latin typeface="Agency FB" pitchFamily="34" charset="0"/>
                  </a:rPr>
                  <a:t>05</a:t>
                </a:r>
                <a:endParaRPr lang="en-US" sz="6600" dirty="0">
                  <a:solidFill>
                    <a:schemeClr val="bg1"/>
                  </a:solidFill>
                  <a:effectLst>
                    <a:outerShdw blurRad="38100" dist="38100" dir="2700000" algn="tl">
                      <a:srgbClr val="000000">
                        <a:alpha val="43137"/>
                      </a:srgbClr>
                    </a:outerShdw>
                  </a:effectLst>
                  <a:latin typeface="Agency FB" pitchFamily="34" charset="0"/>
                </a:endParaRPr>
              </a:p>
            </p:txBody>
          </p:sp>
          <p:sp>
            <p:nvSpPr>
              <p:cNvPr id="29" name="TextBox 28"/>
              <p:cNvSpPr txBox="1"/>
              <p:nvPr/>
            </p:nvSpPr>
            <p:spPr>
              <a:xfrm>
                <a:off x="522925" y="1989174"/>
                <a:ext cx="881972" cy="1107996"/>
              </a:xfrm>
              <a:prstGeom prst="rect">
                <a:avLst/>
              </a:prstGeom>
              <a:noFill/>
            </p:spPr>
            <p:txBody>
              <a:bodyPr wrap="none" rtlCol="0" anchor="ctr">
                <a:spAutoFit/>
              </a:bodyPr>
              <a:lstStyle/>
              <a:p>
                <a:pPr algn="ctr"/>
                <a:r>
                  <a:rPr lang="en-US" sz="6600" dirty="0" smtClean="0">
                    <a:solidFill>
                      <a:schemeClr val="bg1"/>
                    </a:solidFill>
                    <a:effectLst>
                      <a:outerShdw blurRad="38100" dist="38100" dir="2700000" algn="tl">
                        <a:srgbClr val="000000">
                          <a:alpha val="43137"/>
                        </a:srgbClr>
                      </a:outerShdw>
                    </a:effectLst>
                    <a:latin typeface="Agency FB" pitchFamily="34" charset="0"/>
                  </a:rPr>
                  <a:t>02</a:t>
                </a:r>
                <a:endParaRPr lang="en-US" sz="6600" dirty="0">
                  <a:solidFill>
                    <a:schemeClr val="bg1"/>
                  </a:solidFill>
                  <a:effectLst>
                    <a:outerShdw blurRad="38100" dist="38100" dir="2700000" algn="tl">
                      <a:srgbClr val="000000">
                        <a:alpha val="43137"/>
                      </a:srgbClr>
                    </a:outerShdw>
                  </a:effectLst>
                  <a:latin typeface="Agency FB" pitchFamily="34" charset="0"/>
                </a:endParaRPr>
              </a:p>
            </p:txBody>
          </p:sp>
          <p:sp>
            <p:nvSpPr>
              <p:cNvPr id="30" name="TextBox 29"/>
              <p:cNvSpPr txBox="1"/>
              <p:nvPr/>
            </p:nvSpPr>
            <p:spPr>
              <a:xfrm>
                <a:off x="1428728" y="3643314"/>
                <a:ext cx="1938351" cy="646331"/>
              </a:xfrm>
              <a:prstGeom prst="rect">
                <a:avLst/>
              </a:prstGeom>
              <a:noFill/>
            </p:spPr>
            <p:txBody>
              <a:bodyPr wrap="none" rtlCol="0">
                <a:spAutoFit/>
              </a:bodyPr>
              <a:lstStyle/>
              <a:p>
                <a:r>
                  <a:rPr lang="en-US" b="1" dirty="0" smtClean="0">
                    <a:solidFill>
                      <a:schemeClr val="bg1"/>
                    </a:solidFill>
                    <a:effectLst>
                      <a:outerShdw blurRad="50800" dist="38100" dir="5400000" algn="t" rotWithShape="0">
                        <a:prstClr val="black">
                          <a:alpha val="40000"/>
                        </a:prstClr>
                      </a:outerShdw>
                    </a:effectLst>
                    <a:latin typeface="Arial Narrow" pitchFamily="34" charset="0"/>
                  </a:rPr>
                  <a:t>KRITERIA </a:t>
                </a:r>
              </a:p>
              <a:p>
                <a:r>
                  <a:rPr lang="en-US" b="1" dirty="0" smtClean="0">
                    <a:solidFill>
                      <a:schemeClr val="bg1"/>
                    </a:solidFill>
                    <a:effectLst>
                      <a:outerShdw blurRad="50800" dist="38100" dir="5400000" algn="t" rotWithShape="0">
                        <a:prstClr val="black">
                          <a:alpha val="40000"/>
                        </a:prstClr>
                      </a:outerShdw>
                    </a:effectLst>
                    <a:latin typeface="Arial Narrow" pitchFamily="34" charset="0"/>
                  </a:rPr>
                  <a:t>KECEMERLANGAN</a:t>
                </a:r>
                <a:endParaRPr lang="en-US" b="1" dirty="0">
                  <a:solidFill>
                    <a:schemeClr val="bg1"/>
                  </a:solidFill>
                  <a:effectLst>
                    <a:outerShdw blurRad="50800" dist="38100" dir="5400000" algn="t" rotWithShape="0">
                      <a:prstClr val="black">
                        <a:alpha val="40000"/>
                      </a:prstClr>
                    </a:outerShdw>
                  </a:effectLst>
                  <a:latin typeface="Arial Narrow" pitchFamily="34" charset="0"/>
                </a:endParaRPr>
              </a:p>
            </p:txBody>
          </p:sp>
          <p:sp>
            <p:nvSpPr>
              <p:cNvPr id="31" name="TextBox 30"/>
              <p:cNvSpPr txBox="1"/>
              <p:nvPr/>
            </p:nvSpPr>
            <p:spPr>
              <a:xfrm>
                <a:off x="603956" y="3449613"/>
                <a:ext cx="875561" cy="1107996"/>
              </a:xfrm>
              <a:prstGeom prst="rect">
                <a:avLst/>
              </a:prstGeom>
              <a:noFill/>
            </p:spPr>
            <p:txBody>
              <a:bodyPr wrap="none" rtlCol="0" anchor="ctr">
                <a:spAutoFit/>
              </a:bodyPr>
              <a:lstStyle/>
              <a:p>
                <a:pPr algn="ctr"/>
                <a:r>
                  <a:rPr lang="en-US" sz="6600" dirty="0" smtClean="0">
                    <a:solidFill>
                      <a:schemeClr val="bg1"/>
                    </a:solidFill>
                    <a:effectLst>
                      <a:outerShdw blurRad="38100" dist="38100" dir="2700000" algn="tl">
                        <a:srgbClr val="000000">
                          <a:alpha val="43137"/>
                        </a:srgbClr>
                      </a:outerShdw>
                    </a:effectLst>
                    <a:latin typeface="Agency FB" pitchFamily="34" charset="0"/>
                  </a:rPr>
                  <a:t>04</a:t>
                </a:r>
                <a:endParaRPr lang="en-US" sz="6600" dirty="0">
                  <a:solidFill>
                    <a:schemeClr val="bg1"/>
                  </a:solidFill>
                  <a:effectLst>
                    <a:outerShdw blurRad="38100" dist="38100" dir="2700000" algn="tl">
                      <a:srgbClr val="000000">
                        <a:alpha val="43137"/>
                      </a:srgbClr>
                    </a:outerShdw>
                  </a:effectLst>
                  <a:latin typeface="Agency FB" pitchFamily="34" charset="0"/>
                </a:endParaRPr>
              </a:p>
            </p:txBody>
          </p:sp>
        </p:grpSp>
        <p:sp>
          <p:nvSpPr>
            <p:cNvPr id="16" name="TextBox 15"/>
            <p:cNvSpPr txBox="1"/>
            <p:nvPr/>
          </p:nvSpPr>
          <p:spPr>
            <a:xfrm>
              <a:off x="857224" y="2071678"/>
              <a:ext cx="1928827" cy="954107"/>
            </a:xfrm>
            <a:prstGeom prst="rect">
              <a:avLst/>
            </a:prstGeom>
            <a:noFill/>
          </p:spPr>
          <p:txBody>
            <a:bodyPr wrap="square" rtlCol="0">
              <a:spAutoFit/>
            </a:bodyPr>
            <a:lstStyle/>
            <a:p>
              <a:pPr algn="ctr"/>
              <a:r>
                <a:rPr lang="en-US" sz="1400" b="1" smtClean="0">
                  <a:solidFill>
                    <a:schemeClr val="bg1"/>
                  </a:solidFill>
                  <a:effectLst>
                    <a:outerShdw blurRad="50800" dist="38100" dir="5400000" algn="t" rotWithShape="0">
                      <a:prstClr val="black">
                        <a:alpha val="40000"/>
                      </a:prstClr>
                    </a:outerShdw>
                  </a:effectLst>
                  <a:latin typeface="Arial Narrow" pitchFamily="34" charset="0"/>
                </a:rPr>
                <a:t>PROGRAM BERSEPADU POTENSI DAN KOMPETENSI (PROSPEK)</a:t>
              </a:r>
              <a:endParaRPr lang="en-US" sz="1400" b="1" dirty="0">
                <a:solidFill>
                  <a:schemeClr val="bg1"/>
                </a:solidFill>
                <a:effectLst>
                  <a:outerShdw blurRad="50800" dist="38100" dir="5400000" algn="t" rotWithShape="0">
                    <a:prstClr val="black">
                      <a:alpha val="40000"/>
                    </a:prstClr>
                  </a:outerShdw>
                </a:effectLst>
                <a:latin typeface="Arial Narrow" pitchFamily="34" charset="0"/>
              </a:endParaRPr>
            </a:p>
          </p:txBody>
        </p:sp>
        <p:sp>
          <p:nvSpPr>
            <p:cNvPr id="17" name="TextBox 16"/>
            <p:cNvSpPr txBox="1"/>
            <p:nvPr/>
          </p:nvSpPr>
          <p:spPr>
            <a:xfrm>
              <a:off x="3786182" y="2571744"/>
              <a:ext cx="1857388" cy="1077218"/>
            </a:xfrm>
            <a:prstGeom prst="rect">
              <a:avLst/>
            </a:prstGeom>
            <a:noFill/>
          </p:spPr>
          <p:txBody>
            <a:bodyPr wrap="square" rtlCol="0">
              <a:spAutoFit/>
            </a:bodyPr>
            <a:lstStyle/>
            <a:p>
              <a:pPr algn="ctr"/>
              <a:r>
                <a:rPr lang="en-US" sz="1600" b="1" dirty="0" smtClean="0">
                  <a:solidFill>
                    <a:schemeClr val="bg1"/>
                  </a:solidFill>
                  <a:effectLst>
                    <a:outerShdw blurRad="50800" dist="38100" dir="5400000" algn="t" rotWithShape="0">
                      <a:prstClr val="black">
                        <a:alpha val="40000"/>
                      </a:prstClr>
                    </a:outerShdw>
                  </a:effectLst>
                  <a:latin typeface="Arial Narrow" pitchFamily="34" charset="0"/>
                </a:rPr>
                <a:t>STANDARD KUALITI PENDIDIKAN MALAYSIA</a:t>
              </a:r>
            </a:p>
            <a:p>
              <a:pPr algn="ctr"/>
              <a:r>
                <a:rPr lang="en-US" sz="1600" b="1" dirty="0" smtClean="0">
                  <a:solidFill>
                    <a:schemeClr val="bg1"/>
                  </a:solidFill>
                  <a:effectLst>
                    <a:outerShdw blurRad="50800" dist="38100" dir="5400000" algn="t" rotWithShape="0">
                      <a:prstClr val="black">
                        <a:alpha val="40000"/>
                      </a:prstClr>
                    </a:outerShdw>
                  </a:effectLst>
                  <a:latin typeface="Arial Narrow" pitchFamily="34" charset="0"/>
                </a:rPr>
                <a:t>(STANDARD 4)</a:t>
              </a:r>
              <a:endParaRPr lang="en-US" sz="1600" b="1" dirty="0">
                <a:solidFill>
                  <a:schemeClr val="bg1"/>
                </a:solidFill>
                <a:effectLst>
                  <a:outerShdw blurRad="50800" dist="38100" dir="5400000" algn="t" rotWithShape="0">
                    <a:prstClr val="black">
                      <a:alpha val="40000"/>
                    </a:prstClr>
                  </a:outerShdw>
                </a:effectLst>
                <a:latin typeface="Arial Narrow" pitchFamily="34" charset="0"/>
              </a:endParaRPr>
            </a:p>
          </p:txBody>
        </p:sp>
        <p:sp>
          <p:nvSpPr>
            <p:cNvPr id="18" name="TextBox 17"/>
            <p:cNvSpPr txBox="1"/>
            <p:nvPr/>
          </p:nvSpPr>
          <p:spPr>
            <a:xfrm>
              <a:off x="3786182" y="4365104"/>
              <a:ext cx="1774319" cy="584775"/>
            </a:xfrm>
            <a:prstGeom prst="rect">
              <a:avLst/>
            </a:prstGeom>
            <a:noFill/>
          </p:spPr>
          <p:txBody>
            <a:bodyPr wrap="square" rtlCol="0">
              <a:spAutoFit/>
            </a:bodyPr>
            <a:lstStyle/>
            <a:p>
              <a:pPr algn="ctr"/>
              <a:r>
                <a:rPr lang="en-US" sz="1600" b="1" dirty="0" smtClean="0">
                  <a:solidFill>
                    <a:schemeClr val="bg1"/>
                  </a:solidFill>
                  <a:effectLst>
                    <a:outerShdw blurRad="50800" dist="38100" dir="5400000" algn="t" rotWithShape="0">
                      <a:prstClr val="black">
                        <a:alpha val="40000"/>
                      </a:prstClr>
                    </a:outerShdw>
                  </a:effectLst>
                  <a:latin typeface="Arial Narrow" pitchFamily="34" charset="0"/>
                </a:rPr>
                <a:t>PENILAIAN GURU CEMERLANG</a:t>
              </a:r>
              <a:endParaRPr lang="en-US" sz="1600" b="1" dirty="0">
                <a:solidFill>
                  <a:schemeClr val="bg1"/>
                </a:solidFill>
                <a:effectLst>
                  <a:outerShdw blurRad="50800" dist="38100" dir="5400000" algn="t" rotWithShape="0">
                    <a:prstClr val="black">
                      <a:alpha val="40000"/>
                    </a:prstClr>
                  </a:outerShdw>
                </a:effectLst>
                <a:latin typeface="Arial Narrow"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1"/>
          <p:cNvGrpSpPr>
            <a:grpSpLocks/>
          </p:cNvGrpSpPr>
          <p:nvPr/>
        </p:nvGrpSpPr>
        <p:grpSpPr bwMode="auto">
          <a:xfrm>
            <a:off x="1835696" y="849496"/>
            <a:ext cx="6143668" cy="5929353"/>
            <a:chOff x="357156" y="571482"/>
            <a:chExt cx="4599948" cy="5214991"/>
          </a:xfrm>
        </p:grpSpPr>
        <p:sp>
          <p:nvSpPr>
            <p:cNvPr id="7" name="Rounded Rectangle 4"/>
            <p:cNvSpPr/>
            <p:nvPr/>
          </p:nvSpPr>
          <p:spPr>
            <a:xfrm>
              <a:off x="2697808" y="3200390"/>
              <a:ext cx="2213950" cy="1730381"/>
            </a:xfrm>
            <a:custGeom>
              <a:avLst/>
              <a:gdLst>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41347 w 4426023"/>
                <a:gd name="connsiteY0" fmla="*/ 0 h 3240050"/>
                <a:gd name="connsiteX1" fmla="*/ 3891099 w 4426023"/>
                <a:gd name="connsiteY1" fmla="*/ 0 h 3240050"/>
                <a:gd name="connsiteX2" fmla="*/ 4426023 w 4426023"/>
                <a:gd name="connsiteY2" fmla="*/ 534924 h 3240050"/>
                <a:gd name="connsiteX3" fmla="*/ 4426023 w 4426023"/>
                <a:gd name="connsiteY3" fmla="*/ 1446276 h 3240050"/>
                <a:gd name="connsiteX4" fmla="*/ 3891099 w 4426023"/>
                <a:gd name="connsiteY4" fmla="*/ 1981200 h 3240050"/>
                <a:gd name="connsiteX5" fmla="*/ 2242893 w 4426023"/>
                <a:gd name="connsiteY5" fmla="*/ 1981200 h 3240050"/>
                <a:gd name="connsiteX6" fmla="*/ 0 w 4426023"/>
                <a:gd name="connsiteY6" fmla="*/ 3240050 h 3240050"/>
                <a:gd name="connsiteX7" fmla="*/ 6422 w 4426023"/>
                <a:gd name="connsiteY7" fmla="*/ 1080448 h 3240050"/>
                <a:gd name="connsiteX8" fmla="*/ 6423 w 4426023"/>
                <a:gd name="connsiteY8" fmla="*/ 1080448 h 3240050"/>
                <a:gd name="connsiteX9" fmla="*/ 6423 w 4426023"/>
                <a:gd name="connsiteY9" fmla="*/ 534924 h 3240050"/>
                <a:gd name="connsiteX10" fmla="*/ 541347 w 4426023"/>
                <a:gd name="connsiteY10" fmla="*/ 0 h 3240050"/>
                <a:gd name="connsiteX0" fmla="*/ 534925 w 4419601"/>
                <a:gd name="connsiteY0" fmla="*/ 0 h 3246474"/>
                <a:gd name="connsiteX1" fmla="*/ 3884677 w 4419601"/>
                <a:gd name="connsiteY1" fmla="*/ 0 h 3246474"/>
                <a:gd name="connsiteX2" fmla="*/ 4419601 w 4419601"/>
                <a:gd name="connsiteY2" fmla="*/ 534924 h 3246474"/>
                <a:gd name="connsiteX3" fmla="*/ 4419601 w 4419601"/>
                <a:gd name="connsiteY3" fmla="*/ 1446276 h 3246474"/>
                <a:gd name="connsiteX4" fmla="*/ 3884677 w 4419601"/>
                <a:gd name="connsiteY4" fmla="*/ 1981200 h 3246474"/>
                <a:gd name="connsiteX5" fmla="*/ 2236471 w 4419601"/>
                <a:gd name="connsiteY5" fmla="*/ 1981200 h 3246474"/>
                <a:gd name="connsiteX6" fmla="*/ 2 w 4419601"/>
                <a:gd name="connsiteY6" fmla="*/ 3246474 h 3246474"/>
                <a:gd name="connsiteX7" fmla="*/ 0 w 4419601"/>
                <a:gd name="connsiteY7" fmla="*/ 1080448 h 3246474"/>
                <a:gd name="connsiteX8" fmla="*/ 1 w 4419601"/>
                <a:gd name="connsiteY8" fmla="*/ 1080448 h 3246474"/>
                <a:gd name="connsiteX9" fmla="*/ 1 w 4419601"/>
                <a:gd name="connsiteY9" fmla="*/ 534924 h 3246474"/>
                <a:gd name="connsiteX10" fmla="*/ 534925 w 4419601"/>
                <a:gd name="connsiteY10" fmla="*/ 0 h 324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9601" h="3246474">
                  <a:moveTo>
                    <a:pt x="534925" y="0"/>
                  </a:moveTo>
                  <a:lnTo>
                    <a:pt x="3884677" y="0"/>
                  </a:lnTo>
                  <a:cubicBezTo>
                    <a:pt x="4180107" y="0"/>
                    <a:pt x="4419601" y="239494"/>
                    <a:pt x="4419601" y="534924"/>
                  </a:cubicBezTo>
                  <a:lnTo>
                    <a:pt x="4419601" y="1446276"/>
                  </a:lnTo>
                  <a:cubicBezTo>
                    <a:pt x="4419601" y="1741706"/>
                    <a:pt x="4180107" y="1981200"/>
                    <a:pt x="3884677" y="1981200"/>
                  </a:cubicBezTo>
                  <a:lnTo>
                    <a:pt x="2236471" y="1981200"/>
                  </a:lnTo>
                  <a:cubicBezTo>
                    <a:pt x="1001303" y="1981200"/>
                    <a:pt x="299722" y="2361264"/>
                    <a:pt x="2" y="3246474"/>
                  </a:cubicBezTo>
                  <a:cubicBezTo>
                    <a:pt x="2" y="2387423"/>
                    <a:pt x="0" y="1939499"/>
                    <a:pt x="0" y="1080448"/>
                  </a:cubicBezTo>
                  <a:lnTo>
                    <a:pt x="1" y="1080448"/>
                  </a:lnTo>
                  <a:lnTo>
                    <a:pt x="1" y="534924"/>
                  </a:lnTo>
                  <a:cubicBezTo>
                    <a:pt x="1" y="239494"/>
                    <a:pt x="239495" y="0"/>
                    <a:pt x="534925" y="0"/>
                  </a:cubicBezTo>
                  <a:close/>
                </a:path>
              </a:pathLst>
            </a:custGeom>
            <a:gradFill flip="none" rotWithShape="1">
              <a:gsLst>
                <a:gs pos="81000">
                  <a:srgbClr val="009900"/>
                </a:gs>
                <a:gs pos="0">
                  <a:srgbClr val="009900"/>
                </a:gs>
                <a:gs pos="100000">
                  <a:schemeClr val="bg1">
                    <a:lumMod val="85000"/>
                  </a:schemeClr>
                </a:gs>
              </a:gsLst>
              <a:lin ang="10800000" scaled="1"/>
              <a:tileRect/>
            </a:gradFill>
            <a:ln>
              <a:noFill/>
            </a:ln>
            <a:effectLst>
              <a:outerShdw blurRad="127000" dist="38100" dir="54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a:p>
          </p:txBody>
        </p:sp>
        <p:sp>
          <p:nvSpPr>
            <p:cNvPr id="8" name="Rounded Rectangle 4"/>
            <p:cNvSpPr/>
            <p:nvPr/>
          </p:nvSpPr>
          <p:spPr>
            <a:xfrm>
              <a:off x="2637791" y="1912924"/>
              <a:ext cx="2173939" cy="1765306"/>
            </a:xfrm>
            <a:custGeom>
              <a:avLst/>
              <a:gdLst>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41347 w 4426023"/>
                <a:gd name="connsiteY0" fmla="*/ 0 h 3240050"/>
                <a:gd name="connsiteX1" fmla="*/ 3891099 w 4426023"/>
                <a:gd name="connsiteY1" fmla="*/ 0 h 3240050"/>
                <a:gd name="connsiteX2" fmla="*/ 4426023 w 4426023"/>
                <a:gd name="connsiteY2" fmla="*/ 534924 h 3240050"/>
                <a:gd name="connsiteX3" fmla="*/ 4426023 w 4426023"/>
                <a:gd name="connsiteY3" fmla="*/ 1446276 h 3240050"/>
                <a:gd name="connsiteX4" fmla="*/ 3891099 w 4426023"/>
                <a:gd name="connsiteY4" fmla="*/ 1981200 h 3240050"/>
                <a:gd name="connsiteX5" fmla="*/ 2242893 w 4426023"/>
                <a:gd name="connsiteY5" fmla="*/ 1981200 h 3240050"/>
                <a:gd name="connsiteX6" fmla="*/ 0 w 4426023"/>
                <a:gd name="connsiteY6" fmla="*/ 3240050 h 3240050"/>
                <a:gd name="connsiteX7" fmla="*/ 6422 w 4426023"/>
                <a:gd name="connsiteY7" fmla="*/ 1080448 h 3240050"/>
                <a:gd name="connsiteX8" fmla="*/ 6423 w 4426023"/>
                <a:gd name="connsiteY8" fmla="*/ 1080448 h 3240050"/>
                <a:gd name="connsiteX9" fmla="*/ 6423 w 4426023"/>
                <a:gd name="connsiteY9" fmla="*/ 534924 h 3240050"/>
                <a:gd name="connsiteX10" fmla="*/ 541347 w 4426023"/>
                <a:gd name="connsiteY10" fmla="*/ 0 h 3240050"/>
                <a:gd name="connsiteX0" fmla="*/ 534925 w 4419601"/>
                <a:gd name="connsiteY0" fmla="*/ 0 h 3246474"/>
                <a:gd name="connsiteX1" fmla="*/ 3884677 w 4419601"/>
                <a:gd name="connsiteY1" fmla="*/ 0 h 3246474"/>
                <a:gd name="connsiteX2" fmla="*/ 4419601 w 4419601"/>
                <a:gd name="connsiteY2" fmla="*/ 534924 h 3246474"/>
                <a:gd name="connsiteX3" fmla="*/ 4419601 w 4419601"/>
                <a:gd name="connsiteY3" fmla="*/ 1446276 h 3246474"/>
                <a:gd name="connsiteX4" fmla="*/ 3884677 w 4419601"/>
                <a:gd name="connsiteY4" fmla="*/ 1981200 h 3246474"/>
                <a:gd name="connsiteX5" fmla="*/ 2236471 w 4419601"/>
                <a:gd name="connsiteY5" fmla="*/ 1981200 h 3246474"/>
                <a:gd name="connsiteX6" fmla="*/ 2 w 4419601"/>
                <a:gd name="connsiteY6" fmla="*/ 3246474 h 3246474"/>
                <a:gd name="connsiteX7" fmla="*/ 0 w 4419601"/>
                <a:gd name="connsiteY7" fmla="*/ 1080448 h 3246474"/>
                <a:gd name="connsiteX8" fmla="*/ 1 w 4419601"/>
                <a:gd name="connsiteY8" fmla="*/ 1080448 h 3246474"/>
                <a:gd name="connsiteX9" fmla="*/ 1 w 4419601"/>
                <a:gd name="connsiteY9" fmla="*/ 534924 h 3246474"/>
                <a:gd name="connsiteX10" fmla="*/ 534925 w 4419601"/>
                <a:gd name="connsiteY10" fmla="*/ 0 h 324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9601" h="3246474">
                  <a:moveTo>
                    <a:pt x="534925" y="0"/>
                  </a:moveTo>
                  <a:lnTo>
                    <a:pt x="3884677" y="0"/>
                  </a:lnTo>
                  <a:cubicBezTo>
                    <a:pt x="4180107" y="0"/>
                    <a:pt x="4419601" y="239494"/>
                    <a:pt x="4419601" y="534924"/>
                  </a:cubicBezTo>
                  <a:lnTo>
                    <a:pt x="4419601" y="1446276"/>
                  </a:lnTo>
                  <a:cubicBezTo>
                    <a:pt x="4419601" y="1741706"/>
                    <a:pt x="4180107" y="1981200"/>
                    <a:pt x="3884677" y="1981200"/>
                  </a:cubicBezTo>
                  <a:lnTo>
                    <a:pt x="2236471" y="1981200"/>
                  </a:lnTo>
                  <a:cubicBezTo>
                    <a:pt x="1001303" y="1981200"/>
                    <a:pt x="299722" y="2361264"/>
                    <a:pt x="2" y="3246474"/>
                  </a:cubicBezTo>
                  <a:cubicBezTo>
                    <a:pt x="2" y="2387423"/>
                    <a:pt x="0" y="1939499"/>
                    <a:pt x="0" y="1080448"/>
                  </a:cubicBezTo>
                  <a:lnTo>
                    <a:pt x="1" y="1080448"/>
                  </a:lnTo>
                  <a:lnTo>
                    <a:pt x="1" y="534924"/>
                  </a:lnTo>
                  <a:cubicBezTo>
                    <a:pt x="1" y="239494"/>
                    <a:pt x="239495" y="0"/>
                    <a:pt x="534925" y="0"/>
                  </a:cubicBezTo>
                  <a:close/>
                </a:path>
              </a:pathLst>
            </a:custGeom>
            <a:gradFill flip="none" rotWithShape="1">
              <a:gsLst>
                <a:gs pos="81000">
                  <a:srgbClr val="F121A7"/>
                </a:gs>
                <a:gs pos="0">
                  <a:srgbClr val="FF5050"/>
                </a:gs>
                <a:gs pos="100000">
                  <a:srgbClr val="F561C0"/>
                </a:gs>
              </a:gsLst>
              <a:lin ang="10800000" scaled="1"/>
              <a:tileRect/>
            </a:gradFill>
            <a:ln>
              <a:noFill/>
            </a:ln>
            <a:effectLst>
              <a:outerShdw blurRad="127000" dist="38100" dir="54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a:p>
          </p:txBody>
        </p:sp>
        <p:sp>
          <p:nvSpPr>
            <p:cNvPr id="9" name="Pentagon 8"/>
            <p:cNvSpPr/>
            <p:nvPr/>
          </p:nvSpPr>
          <p:spPr>
            <a:xfrm rot="16200000">
              <a:off x="-29714" y="3118953"/>
              <a:ext cx="5214991" cy="120049"/>
            </a:xfrm>
            <a:prstGeom prst="homePlate">
              <a:avLst/>
            </a:prstGeom>
            <a:gradFill flip="none" rotWithShape="1">
              <a:gsLst>
                <a:gs pos="50000">
                  <a:schemeClr val="tx1">
                    <a:lumMod val="75000"/>
                    <a:lumOff val="25000"/>
                  </a:schemeClr>
                </a:gs>
                <a:gs pos="0">
                  <a:schemeClr val="tx1">
                    <a:lumMod val="95000"/>
                    <a:lumOff val="5000"/>
                  </a:schemeClr>
                </a:gs>
                <a:gs pos="100000">
                  <a:schemeClr val="tx1">
                    <a:lumMod val="95000"/>
                    <a:lumOff val="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a:p>
          </p:txBody>
        </p:sp>
        <p:sp>
          <p:nvSpPr>
            <p:cNvPr id="10" name="Rounded Rectangle 4"/>
            <p:cNvSpPr/>
            <p:nvPr/>
          </p:nvSpPr>
          <p:spPr>
            <a:xfrm flipH="1">
              <a:off x="357156" y="3006715"/>
              <a:ext cx="2173939" cy="2098682"/>
            </a:xfrm>
            <a:custGeom>
              <a:avLst/>
              <a:gdLst>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41347 w 4426023"/>
                <a:gd name="connsiteY0" fmla="*/ 0 h 3240050"/>
                <a:gd name="connsiteX1" fmla="*/ 3891099 w 4426023"/>
                <a:gd name="connsiteY1" fmla="*/ 0 h 3240050"/>
                <a:gd name="connsiteX2" fmla="*/ 4426023 w 4426023"/>
                <a:gd name="connsiteY2" fmla="*/ 534924 h 3240050"/>
                <a:gd name="connsiteX3" fmla="*/ 4426023 w 4426023"/>
                <a:gd name="connsiteY3" fmla="*/ 1446276 h 3240050"/>
                <a:gd name="connsiteX4" fmla="*/ 3891099 w 4426023"/>
                <a:gd name="connsiteY4" fmla="*/ 1981200 h 3240050"/>
                <a:gd name="connsiteX5" fmla="*/ 2242893 w 4426023"/>
                <a:gd name="connsiteY5" fmla="*/ 1981200 h 3240050"/>
                <a:gd name="connsiteX6" fmla="*/ 0 w 4426023"/>
                <a:gd name="connsiteY6" fmla="*/ 3240050 h 3240050"/>
                <a:gd name="connsiteX7" fmla="*/ 6422 w 4426023"/>
                <a:gd name="connsiteY7" fmla="*/ 1080448 h 3240050"/>
                <a:gd name="connsiteX8" fmla="*/ 6423 w 4426023"/>
                <a:gd name="connsiteY8" fmla="*/ 1080448 h 3240050"/>
                <a:gd name="connsiteX9" fmla="*/ 6423 w 4426023"/>
                <a:gd name="connsiteY9" fmla="*/ 534924 h 3240050"/>
                <a:gd name="connsiteX10" fmla="*/ 541347 w 4426023"/>
                <a:gd name="connsiteY10" fmla="*/ 0 h 3240050"/>
                <a:gd name="connsiteX0" fmla="*/ 534925 w 4419601"/>
                <a:gd name="connsiteY0" fmla="*/ 0 h 3246474"/>
                <a:gd name="connsiteX1" fmla="*/ 3884677 w 4419601"/>
                <a:gd name="connsiteY1" fmla="*/ 0 h 3246474"/>
                <a:gd name="connsiteX2" fmla="*/ 4419601 w 4419601"/>
                <a:gd name="connsiteY2" fmla="*/ 534924 h 3246474"/>
                <a:gd name="connsiteX3" fmla="*/ 4419601 w 4419601"/>
                <a:gd name="connsiteY3" fmla="*/ 1446276 h 3246474"/>
                <a:gd name="connsiteX4" fmla="*/ 3884677 w 4419601"/>
                <a:gd name="connsiteY4" fmla="*/ 1981200 h 3246474"/>
                <a:gd name="connsiteX5" fmla="*/ 2236471 w 4419601"/>
                <a:gd name="connsiteY5" fmla="*/ 1981200 h 3246474"/>
                <a:gd name="connsiteX6" fmla="*/ 2 w 4419601"/>
                <a:gd name="connsiteY6" fmla="*/ 3246474 h 3246474"/>
                <a:gd name="connsiteX7" fmla="*/ 0 w 4419601"/>
                <a:gd name="connsiteY7" fmla="*/ 1080448 h 3246474"/>
                <a:gd name="connsiteX8" fmla="*/ 1 w 4419601"/>
                <a:gd name="connsiteY8" fmla="*/ 1080448 h 3246474"/>
                <a:gd name="connsiteX9" fmla="*/ 1 w 4419601"/>
                <a:gd name="connsiteY9" fmla="*/ 534924 h 3246474"/>
                <a:gd name="connsiteX10" fmla="*/ 534925 w 4419601"/>
                <a:gd name="connsiteY10" fmla="*/ 0 h 324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9601" h="3246474">
                  <a:moveTo>
                    <a:pt x="534925" y="0"/>
                  </a:moveTo>
                  <a:lnTo>
                    <a:pt x="3884677" y="0"/>
                  </a:lnTo>
                  <a:cubicBezTo>
                    <a:pt x="4180107" y="0"/>
                    <a:pt x="4419601" y="239494"/>
                    <a:pt x="4419601" y="534924"/>
                  </a:cubicBezTo>
                  <a:lnTo>
                    <a:pt x="4419601" y="1446276"/>
                  </a:lnTo>
                  <a:cubicBezTo>
                    <a:pt x="4419601" y="1741706"/>
                    <a:pt x="4180107" y="1981200"/>
                    <a:pt x="3884677" y="1981200"/>
                  </a:cubicBezTo>
                  <a:lnTo>
                    <a:pt x="2236471" y="1981200"/>
                  </a:lnTo>
                  <a:cubicBezTo>
                    <a:pt x="1001303" y="1981200"/>
                    <a:pt x="299722" y="2361264"/>
                    <a:pt x="2" y="3246474"/>
                  </a:cubicBezTo>
                  <a:cubicBezTo>
                    <a:pt x="2" y="2387423"/>
                    <a:pt x="0" y="1939499"/>
                    <a:pt x="0" y="1080448"/>
                  </a:cubicBezTo>
                  <a:lnTo>
                    <a:pt x="1" y="1080448"/>
                  </a:lnTo>
                  <a:lnTo>
                    <a:pt x="1" y="534924"/>
                  </a:lnTo>
                  <a:cubicBezTo>
                    <a:pt x="1" y="239494"/>
                    <a:pt x="239495" y="0"/>
                    <a:pt x="534925" y="0"/>
                  </a:cubicBezTo>
                  <a:close/>
                </a:path>
              </a:pathLst>
            </a:custGeom>
            <a:gradFill flip="none" rotWithShape="1">
              <a:gsLst>
                <a:gs pos="78000">
                  <a:srgbClr val="002060"/>
                </a:gs>
                <a:gs pos="0">
                  <a:schemeClr val="accent5">
                    <a:lumMod val="75000"/>
                  </a:schemeClr>
                </a:gs>
                <a:gs pos="100000">
                  <a:schemeClr val="tx1"/>
                </a:gs>
              </a:gsLst>
              <a:lin ang="10800000" scaled="1"/>
              <a:tileRect/>
            </a:gradFill>
            <a:ln>
              <a:noFill/>
            </a:ln>
            <a:effectLst>
              <a:outerShdw blurRad="127000" dist="38100" dir="54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a:p>
          </p:txBody>
        </p:sp>
        <p:sp>
          <p:nvSpPr>
            <p:cNvPr id="11" name="TextBox 10"/>
            <p:cNvSpPr txBox="1"/>
            <p:nvPr/>
          </p:nvSpPr>
          <p:spPr>
            <a:xfrm>
              <a:off x="3146243" y="1857906"/>
              <a:ext cx="1596910" cy="1163993"/>
            </a:xfrm>
            <a:prstGeom prst="rect">
              <a:avLst/>
            </a:prstGeom>
            <a:noFill/>
          </p:spPr>
          <p:txBody>
            <a:bodyPr wrap="square">
              <a:spAutoFit/>
            </a:bodyPr>
            <a:lstStyle/>
            <a:p>
              <a:pPr algn="ctr" fontAlgn="auto">
                <a:spcBef>
                  <a:spcPts val="0"/>
                </a:spcBef>
                <a:spcAft>
                  <a:spcPts val="0"/>
                </a:spcAft>
                <a:defRPr/>
              </a:pPr>
              <a:r>
                <a:rPr lang="en-US" sz="1600" b="1" dirty="0">
                  <a:solidFill>
                    <a:schemeClr val="bg1"/>
                  </a:solidFill>
                  <a:effectLst>
                    <a:outerShdw blurRad="50800" dist="38100" dir="5400000" algn="t" rotWithShape="0">
                      <a:prstClr val="black">
                        <a:alpha val="40000"/>
                      </a:prstClr>
                    </a:outerShdw>
                  </a:effectLst>
                  <a:latin typeface="Arial Narrow" pitchFamily="34" charset="0"/>
                  <a:cs typeface="+mn-cs"/>
                </a:rPr>
                <a:t>STANDARD KOMPETENSI KEPENGETUAAN SEKOLAH MALAYSIA (SKKSM)</a:t>
              </a:r>
            </a:p>
          </p:txBody>
        </p:sp>
        <p:sp>
          <p:nvSpPr>
            <p:cNvPr id="12" name="TextBox 11"/>
            <p:cNvSpPr txBox="1"/>
            <p:nvPr/>
          </p:nvSpPr>
          <p:spPr>
            <a:xfrm>
              <a:off x="2657131" y="2016599"/>
              <a:ext cx="612351" cy="893297"/>
            </a:xfrm>
            <a:prstGeom prst="rect">
              <a:avLst/>
            </a:prstGeom>
            <a:noFill/>
          </p:spPr>
          <p:txBody>
            <a:bodyPr wrap="none" anchor="ctr">
              <a:spAutoFit/>
            </a:bodyPr>
            <a:lstStyle/>
            <a:p>
              <a:pPr algn="ctr" fontAlgn="auto">
                <a:spcBef>
                  <a:spcPts val="0"/>
                </a:spcBef>
                <a:spcAft>
                  <a:spcPts val="0"/>
                </a:spcAft>
                <a:defRPr/>
              </a:pPr>
              <a:r>
                <a:rPr lang="en-US" sz="6000" dirty="0">
                  <a:solidFill>
                    <a:schemeClr val="bg1"/>
                  </a:solidFill>
                  <a:effectLst>
                    <a:outerShdw blurRad="38100" dist="38100" dir="2700000" algn="tl">
                      <a:srgbClr val="000000">
                        <a:alpha val="43137"/>
                      </a:srgbClr>
                    </a:outerShdw>
                  </a:effectLst>
                  <a:latin typeface="Agency FB" pitchFamily="34" charset="0"/>
                  <a:cs typeface="+mn-cs"/>
                </a:rPr>
                <a:t>02</a:t>
              </a:r>
            </a:p>
          </p:txBody>
        </p:sp>
        <p:sp>
          <p:nvSpPr>
            <p:cNvPr id="13" name="TextBox 12"/>
            <p:cNvSpPr txBox="1"/>
            <p:nvPr/>
          </p:nvSpPr>
          <p:spPr>
            <a:xfrm>
              <a:off x="2997891" y="3287704"/>
              <a:ext cx="1959213" cy="812088"/>
            </a:xfrm>
            <a:prstGeom prst="rect">
              <a:avLst/>
            </a:prstGeom>
            <a:noFill/>
          </p:spPr>
          <p:txBody>
            <a:bodyPr>
              <a:spAutoFit/>
            </a:bodyPr>
            <a:lstStyle/>
            <a:p>
              <a:pPr algn="ctr" fontAlgn="auto">
                <a:spcBef>
                  <a:spcPts val="0"/>
                </a:spcBef>
                <a:spcAft>
                  <a:spcPts val="0"/>
                </a:spcAft>
                <a:defRPr/>
              </a:pPr>
              <a:r>
                <a:rPr lang="en-US" b="1" dirty="0">
                  <a:solidFill>
                    <a:schemeClr val="bg1"/>
                  </a:solidFill>
                  <a:effectLst>
                    <a:outerShdw blurRad="50800" dist="38100" dir="5400000" algn="t" rotWithShape="0">
                      <a:prstClr val="black">
                        <a:alpha val="40000"/>
                      </a:prstClr>
                    </a:outerShdw>
                  </a:effectLst>
                  <a:latin typeface="Arial Narrow" pitchFamily="34" charset="0"/>
                  <a:cs typeface="+mn-cs"/>
                </a:rPr>
                <a:t>INSTRUMEN PENILAIAN KEPIMPINAN INSTRUKSIONAL</a:t>
              </a:r>
            </a:p>
          </p:txBody>
        </p:sp>
        <p:sp>
          <p:nvSpPr>
            <p:cNvPr id="14" name="TextBox 13"/>
            <p:cNvSpPr txBox="1"/>
            <p:nvPr/>
          </p:nvSpPr>
          <p:spPr>
            <a:xfrm>
              <a:off x="2657131" y="3398886"/>
              <a:ext cx="608750" cy="893297"/>
            </a:xfrm>
            <a:prstGeom prst="rect">
              <a:avLst/>
            </a:prstGeom>
            <a:noFill/>
          </p:spPr>
          <p:txBody>
            <a:bodyPr wrap="none" anchor="ctr">
              <a:spAutoFit/>
            </a:bodyPr>
            <a:lstStyle/>
            <a:p>
              <a:pPr algn="ctr" fontAlgn="auto">
                <a:spcBef>
                  <a:spcPts val="0"/>
                </a:spcBef>
                <a:spcAft>
                  <a:spcPts val="0"/>
                </a:spcAft>
                <a:defRPr/>
              </a:pPr>
              <a:r>
                <a:rPr lang="en-US" sz="6000" dirty="0">
                  <a:solidFill>
                    <a:schemeClr val="bg1"/>
                  </a:solidFill>
                  <a:effectLst>
                    <a:outerShdw blurRad="38100" dist="38100" dir="2700000" algn="tl">
                      <a:srgbClr val="000000">
                        <a:alpha val="43137"/>
                      </a:srgbClr>
                    </a:outerShdw>
                  </a:effectLst>
                  <a:latin typeface="Agency FB" pitchFamily="34" charset="0"/>
                  <a:cs typeface="+mn-cs"/>
                </a:rPr>
                <a:t>04</a:t>
              </a:r>
            </a:p>
          </p:txBody>
        </p:sp>
        <p:sp>
          <p:nvSpPr>
            <p:cNvPr id="15" name="TextBox 14"/>
            <p:cNvSpPr txBox="1"/>
            <p:nvPr/>
          </p:nvSpPr>
          <p:spPr>
            <a:xfrm>
              <a:off x="955990" y="3187690"/>
              <a:ext cx="1445736" cy="947436"/>
            </a:xfrm>
            <a:prstGeom prst="rect">
              <a:avLst/>
            </a:prstGeom>
            <a:noFill/>
          </p:spPr>
          <p:txBody>
            <a:bodyPr>
              <a:spAutoFit/>
            </a:bodyPr>
            <a:lstStyle/>
            <a:p>
              <a:pPr algn="ctr" fontAlgn="auto">
                <a:spcBef>
                  <a:spcPts val="0"/>
                </a:spcBef>
                <a:spcAft>
                  <a:spcPts val="0"/>
                </a:spcAft>
                <a:defRPr/>
              </a:pPr>
              <a:r>
                <a:rPr lang="en-US" sz="1600" b="1" dirty="0">
                  <a:solidFill>
                    <a:schemeClr val="bg1"/>
                  </a:solidFill>
                  <a:effectLst>
                    <a:outerShdw blurRad="50800" dist="38100" dir="5400000" algn="t" rotWithShape="0">
                      <a:prstClr val="black">
                        <a:alpha val="40000"/>
                      </a:prstClr>
                    </a:outerShdw>
                  </a:effectLst>
                  <a:latin typeface="Arial Narrow" pitchFamily="34" charset="0"/>
                  <a:cs typeface="+mn-cs"/>
                </a:rPr>
                <a:t>INSTRUMEN KOMPETENSI PEMIMPIN SEKOLAH (KOMPAS)</a:t>
              </a:r>
            </a:p>
          </p:txBody>
        </p:sp>
        <p:sp>
          <p:nvSpPr>
            <p:cNvPr id="16" name="TextBox 15"/>
            <p:cNvSpPr txBox="1"/>
            <p:nvPr/>
          </p:nvSpPr>
          <p:spPr>
            <a:xfrm>
              <a:off x="406503" y="3146415"/>
              <a:ext cx="631554" cy="893297"/>
            </a:xfrm>
            <a:prstGeom prst="rect">
              <a:avLst/>
            </a:prstGeom>
            <a:noFill/>
          </p:spPr>
          <p:txBody>
            <a:bodyPr wrap="none" anchor="ctr">
              <a:spAutoFit/>
            </a:bodyPr>
            <a:lstStyle/>
            <a:p>
              <a:pPr algn="ctr" fontAlgn="auto">
                <a:spcBef>
                  <a:spcPts val="0"/>
                </a:spcBef>
                <a:spcAft>
                  <a:spcPts val="0"/>
                </a:spcAft>
                <a:defRPr/>
              </a:pPr>
              <a:r>
                <a:rPr lang="en-US" sz="6000" dirty="0">
                  <a:solidFill>
                    <a:schemeClr val="bg1"/>
                  </a:solidFill>
                  <a:effectLst>
                    <a:outerShdw blurRad="38100" dist="38100" dir="2700000" algn="tl">
                      <a:srgbClr val="000000">
                        <a:alpha val="43137"/>
                      </a:srgbClr>
                    </a:outerShdw>
                  </a:effectLst>
                  <a:latin typeface="Agency FB" pitchFamily="34" charset="0"/>
                  <a:cs typeface="+mn-cs"/>
                </a:rPr>
                <a:t>03</a:t>
              </a:r>
            </a:p>
          </p:txBody>
        </p:sp>
        <p:sp>
          <p:nvSpPr>
            <p:cNvPr id="17" name="Rounded Rectangle 4"/>
            <p:cNvSpPr/>
            <p:nvPr/>
          </p:nvSpPr>
          <p:spPr>
            <a:xfrm flipH="1">
              <a:off x="357156" y="1714485"/>
              <a:ext cx="2173939" cy="1714506"/>
            </a:xfrm>
            <a:custGeom>
              <a:avLst/>
              <a:gdLst>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34925 w 4419601"/>
                <a:gd name="connsiteY0" fmla="*/ 0 h 3657600"/>
                <a:gd name="connsiteX1" fmla="*/ 3884677 w 4419601"/>
                <a:gd name="connsiteY1" fmla="*/ 0 h 3657600"/>
                <a:gd name="connsiteX2" fmla="*/ 4419601 w 4419601"/>
                <a:gd name="connsiteY2" fmla="*/ 534924 h 3657600"/>
                <a:gd name="connsiteX3" fmla="*/ 4419601 w 4419601"/>
                <a:gd name="connsiteY3" fmla="*/ 1446276 h 3657600"/>
                <a:gd name="connsiteX4" fmla="*/ 3884677 w 4419601"/>
                <a:gd name="connsiteY4" fmla="*/ 1981200 h 3657600"/>
                <a:gd name="connsiteX5" fmla="*/ 2236471 w 4419601"/>
                <a:gd name="connsiteY5" fmla="*/ 1981200 h 3657600"/>
                <a:gd name="connsiteX6" fmla="*/ 1 w 4419601"/>
                <a:gd name="connsiteY6" fmla="*/ 3657600 h 3657600"/>
                <a:gd name="connsiteX7" fmla="*/ 0 w 4419601"/>
                <a:gd name="connsiteY7" fmla="*/ 1080448 h 3657600"/>
                <a:gd name="connsiteX8" fmla="*/ 1 w 4419601"/>
                <a:gd name="connsiteY8" fmla="*/ 1080448 h 3657600"/>
                <a:gd name="connsiteX9" fmla="*/ 1 w 4419601"/>
                <a:gd name="connsiteY9" fmla="*/ 534924 h 3657600"/>
                <a:gd name="connsiteX10" fmla="*/ 534925 w 4419601"/>
                <a:gd name="connsiteY10" fmla="*/ 0 h 3657600"/>
                <a:gd name="connsiteX0" fmla="*/ 541347 w 4426023"/>
                <a:gd name="connsiteY0" fmla="*/ 0 h 3240050"/>
                <a:gd name="connsiteX1" fmla="*/ 3891099 w 4426023"/>
                <a:gd name="connsiteY1" fmla="*/ 0 h 3240050"/>
                <a:gd name="connsiteX2" fmla="*/ 4426023 w 4426023"/>
                <a:gd name="connsiteY2" fmla="*/ 534924 h 3240050"/>
                <a:gd name="connsiteX3" fmla="*/ 4426023 w 4426023"/>
                <a:gd name="connsiteY3" fmla="*/ 1446276 h 3240050"/>
                <a:gd name="connsiteX4" fmla="*/ 3891099 w 4426023"/>
                <a:gd name="connsiteY4" fmla="*/ 1981200 h 3240050"/>
                <a:gd name="connsiteX5" fmla="*/ 2242893 w 4426023"/>
                <a:gd name="connsiteY5" fmla="*/ 1981200 h 3240050"/>
                <a:gd name="connsiteX6" fmla="*/ 0 w 4426023"/>
                <a:gd name="connsiteY6" fmla="*/ 3240050 h 3240050"/>
                <a:gd name="connsiteX7" fmla="*/ 6422 w 4426023"/>
                <a:gd name="connsiteY7" fmla="*/ 1080448 h 3240050"/>
                <a:gd name="connsiteX8" fmla="*/ 6423 w 4426023"/>
                <a:gd name="connsiteY8" fmla="*/ 1080448 h 3240050"/>
                <a:gd name="connsiteX9" fmla="*/ 6423 w 4426023"/>
                <a:gd name="connsiteY9" fmla="*/ 534924 h 3240050"/>
                <a:gd name="connsiteX10" fmla="*/ 541347 w 4426023"/>
                <a:gd name="connsiteY10" fmla="*/ 0 h 3240050"/>
                <a:gd name="connsiteX0" fmla="*/ 534925 w 4419601"/>
                <a:gd name="connsiteY0" fmla="*/ 0 h 3246474"/>
                <a:gd name="connsiteX1" fmla="*/ 3884677 w 4419601"/>
                <a:gd name="connsiteY1" fmla="*/ 0 h 3246474"/>
                <a:gd name="connsiteX2" fmla="*/ 4419601 w 4419601"/>
                <a:gd name="connsiteY2" fmla="*/ 534924 h 3246474"/>
                <a:gd name="connsiteX3" fmla="*/ 4419601 w 4419601"/>
                <a:gd name="connsiteY3" fmla="*/ 1446276 h 3246474"/>
                <a:gd name="connsiteX4" fmla="*/ 3884677 w 4419601"/>
                <a:gd name="connsiteY4" fmla="*/ 1981200 h 3246474"/>
                <a:gd name="connsiteX5" fmla="*/ 2236471 w 4419601"/>
                <a:gd name="connsiteY5" fmla="*/ 1981200 h 3246474"/>
                <a:gd name="connsiteX6" fmla="*/ 2 w 4419601"/>
                <a:gd name="connsiteY6" fmla="*/ 3246474 h 3246474"/>
                <a:gd name="connsiteX7" fmla="*/ 0 w 4419601"/>
                <a:gd name="connsiteY7" fmla="*/ 1080448 h 3246474"/>
                <a:gd name="connsiteX8" fmla="*/ 1 w 4419601"/>
                <a:gd name="connsiteY8" fmla="*/ 1080448 h 3246474"/>
                <a:gd name="connsiteX9" fmla="*/ 1 w 4419601"/>
                <a:gd name="connsiteY9" fmla="*/ 534924 h 3246474"/>
                <a:gd name="connsiteX10" fmla="*/ 534925 w 4419601"/>
                <a:gd name="connsiteY10" fmla="*/ 0 h 324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9601" h="3246474">
                  <a:moveTo>
                    <a:pt x="534925" y="0"/>
                  </a:moveTo>
                  <a:lnTo>
                    <a:pt x="3884677" y="0"/>
                  </a:lnTo>
                  <a:cubicBezTo>
                    <a:pt x="4180107" y="0"/>
                    <a:pt x="4419601" y="239494"/>
                    <a:pt x="4419601" y="534924"/>
                  </a:cubicBezTo>
                  <a:lnTo>
                    <a:pt x="4419601" y="1446276"/>
                  </a:lnTo>
                  <a:cubicBezTo>
                    <a:pt x="4419601" y="1741706"/>
                    <a:pt x="4180107" y="1981200"/>
                    <a:pt x="3884677" y="1981200"/>
                  </a:cubicBezTo>
                  <a:lnTo>
                    <a:pt x="2236471" y="1981200"/>
                  </a:lnTo>
                  <a:cubicBezTo>
                    <a:pt x="1001303" y="1981200"/>
                    <a:pt x="299722" y="2361264"/>
                    <a:pt x="2" y="3246474"/>
                  </a:cubicBezTo>
                  <a:cubicBezTo>
                    <a:pt x="2" y="2387423"/>
                    <a:pt x="0" y="1939499"/>
                    <a:pt x="0" y="1080448"/>
                  </a:cubicBezTo>
                  <a:lnTo>
                    <a:pt x="1" y="1080448"/>
                  </a:lnTo>
                  <a:lnTo>
                    <a:pt x="1" y="534924"/>
                  </a:lnTo>
                  <a:cubicBezTo>
                    <a:pt x="1" y="239494"/>
                    <a:pt x="239495" y="0"/>
                    <a:pt x="534925" y="0"/>
                  </a:cubicBezTo>
                  <a:close/>
                </a:path>
              </a:pathLst>
            </a:custGeom>
            <a:gradFill flip="none" rotWithShape="1">
              <a:gsLst>
                <a:gs pos="78000">
                  <a:srgbClr val="532476"/>
                </a:gs>
                <a:gs pos="0">
                  <a:srgbClr val="7030A0"/>
                </a:gs>
                <a:gs pos="100000">
                  <a:schemeClr val="accent4">
                    <a:lumMod val="50000"/>
                  </a:schemeClr>
                </a:gs>
              </a:gsLst>
              <a:lin ang="10800000" scaled="1"/>
              <a:tileRect/>
            </a:gradFill>
            <a:ln>
              <a:noFill/>
            </a:ln>
            <a:effectLst>
              <a:outerShdw blurRad="127000" dist="38100" dir="54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a:p>
          </p:txBody>
        </p:sp>
        <p:sp>
          <p:nvSpPr>
            <p:cNvPr id="18" name="TextBox 17"/>
            <p:cNvSpPr txBox="1"/>
            <p:nvPr/>
          </p:nvSpPr>
          <p:spPr>
            <a:xfrm>
              <a:off x="464133" y="1765274"/>
              <a:ext cx="505531" cy="893297"/>
            </a:xfrm>
            <a:prstGeom prst="rect">
              <a:avLst/>
            </a:prstGeom>
            <a:noFill/>
          </p:spPr>
          <p:txBody>
            <a:bodyPr wrap="none" anchor="ctr">
              <a:spAutoFit/>
            </a:bodyPr>
            <a:lstStyle/>
            <a:p>
              <a:pPr algn="ctr" fontAlgn="auto">
                <a:spcBef>
                  <a:spcPts val="0"/>
                </a:spcBef>
                <a:spcAft>
                  <a:spcPts val="0"/>
                </a:spcAft>
                <a:defRPr/>
              </a:pPr>
              <a:r>
                <a:rPr lang="en-US" sz="6000" dirty="0">
                  <a:solidFill>
                    <a:schemeClr val="bg1"/>
                  </a:solidFill>
                  <a:effectLst>
                    <a:outerShdw blurRad="38100" dist="38100" dir="2700000" algn="tl">
                      <a:srgbClr val="000000">
                        <a:alpha val="43137"/>
                      </a:srgbClr>
                    </a:outerShdw>
                  </a:effectLst>
                  <a:latin typeface="Agency FB" pitchFamily="34" charset="0"/>
                  <a:cs typeface="+mn-cs"/>
                </a:rPr>
                <a:t>01</a:t>
              </a:r>
            </a:p>
          </p:txBody>
        </p:sp>
        <p:sp>
          <p:nvSpPr>
            <p:cNvPr id="19" name="TextBox 18"/>
            <p:cNvSpPr txBox="1"/>
            <p:nvPr/>
          </p:nvSpPr>
          <p:spPr>
            <a:xfrm>
              <a:off x="945521" y="1828106"/>
              <a:ext cx="1469743" cy="812088"/>
            </a:xfrm>
            <a:prstGeom prst="rect">
              <a:avLst/>
            </a:prstGeom>
            <a:noFill/>
          </p:spPr>
          <p:txBody>
            <a:bodyPr>
              <a:spAutoFit/>
            </a:bodyPr>
            <a:lstStyle/>
            <a:p>
              <a:pPr algn="ctr" fontAlgn="auto">
                <a:spcBef>
                  <a:spcPts val="0"/>
                </a:spcBef>
                <a:spcAft>
                  <a:spcPts val="0"/>
                </a:spcAft>
                <a:defRPr/>
              </a:pPr>
              <a:r>
                <a:rPr lang="en-US" b="1" dirty="0">
                  <a:solidFill>
                    <a:schemeClr val="bg1"/>
                  </a:solidFill>
                  <a:effectLst>
                    <a:outerShdw blurRad="50800" dist="38100" dir="5400000" algn="t" rotWithShape="0">
                      <a:prstClr val="black">
                        <a:alpha val="40000"/>
                      </a:prstClr>
                    </a:outerShdw>
                  </a:effectLst>
                  <a:latin typeface="Arial Narrow" pitchFamily="34" charset="0"/>
                  <a:cs typeface="+mn-cs"/>
                </a:rPr>
                <a:t>STANDARD GURU MALAYSIA</a:t>
              </a:r>
            </a:p>
            <a:p>
              <a:pPr algn="ctr" fontAlgn="auto">
                <a:spcBef>
                  <a:spcPts val="0"/>
                </a:spcBef>
                <a:spcAft>
                  <a:spcPts val="0"/>
                </a:spcAft>
                <a:defRPr/>
              </a:pPr>
              <a:r>
                <a:rPr lang="en-US" b="1" dirty="0">
                  <a:solidFill>
                    <a:schemeClr val="bg1"/>
                  </a:solidFill>
                  <a:effectLst>
                    <a:outerShdw blurRad="50800" dist="38100" dir="5400000" algn="t" rotWithShape="0">
                      <a:prstClr val="black">
                        <a:alpha val="40000"/>
                      </a:prstClr>
                    </a:outerShdw>
                  </a:effectLst>
                  <a:latin typeface="Arial Narrow" pitchFamily="34" charset="0"/>
                  <a:cs typeface="+mn-cs"/>
                </a:rPr>
                <a:t>(SGM)</a:t>
              </a:r>
            </a:p>
          </p:txBody>
        </p:sp>
      </p:grpSp>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11</a:t>
            </a:fld>
            <a:endParaRPr lang="en-US"/>
          </a:p>
        </p:txBody>
      </p:sp>
      <p:sp>
        <p:nvSpPr>
          <p:cNvPr id="21" name="Rectangle 20"/>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smtClean="0">
                <a:solidFill>
                  <a:schemeClr val="bg1"/>
                </a:solidFill>
                <a:latin typeface="Segoe UI" pitchFamily="34" charset="0"/>
                <a:ea typeface="Segoe UI" pitchFamily="34" charset="0"/>
                <a:cs typeface="Segoe UI" pitchFamily="34" charset="0"/>
              </a:rPr>
              <a:t>RUJUKAN LAIN</a:t>
            </a:r>
            <a:endParaRPr lang="en-US" sz="36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0" presetClass="entr" presetSubtype="0" decel="10000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3"/>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3290958" y="6383074"/>
            <a:ext cx="4958521" cy="365125"/>
          </a:xfrm>
        </p:spPr>
        <p:txBody>
          <a:bodyPr/>
          <a:lstStyle/>
          <a:p>
            <a:r>
              <a:rPr lang="en-US" smtClean="0"/>
              <a:t>GURU (SEKOLAH)</a:t>
            </a:r>
            <a:endParaRPr lang="en-US" dirty="0"/>
          </a:p>
        </p:txBody>
      </p:sp>
      <p:sp>
        <p:nvSpPr>
          <p:cNvPr id="5" name="Slide Number Placeholder 4"/>
          <p:cNvSpPr>
            <a:spLocks noGrp="1"/>
          </p:cNvSpPr>
          <p:nvPr>
            <p:ph type="sldNum" sz="quarter" idx="12"/>
          </p:nvPr>
        </p:nvSpPr>
        <p:spPr>
          <a:xfrm>
            <a:off x="6553200" y="6372031"/>
            <a:ext cx="2133600" cy="365125"/>
          </a:xfrm>
        </p:spPr>
        <p:txBody>
          <a:bodyPr/>
          <a:lstStyle/>
          <a:p>
            <a:fld id="{4D86EDED-B1AF-7E4B-94C9-3F0EAA36C7D5}" type="slidenum">
              <a:rPr lang="en-US" smtClean="0"/>
              <a:pPr/>
              <a:t>12</a:t>
            </a:fld>
            <a:endParaRPr lang="en-US"/>
          </a:p>
        </p:txBody>
      </p:sp>
      <p:sp>
        <p:nvSpPr>
          <p:cNvPr id="33" name="Title 1"/>
          <p:cNvSpPr txBox="1">
            <a:spLocks noChangeArrowheads="1"/>
          </p:cNvSpPr>
          <p:nvPr/>
        </p:nvSpPr>
        <p:spPr bwMode="auto">
          <a:xfrm>
            <a:off x="398135" y="3916473"/>
            <a:ext cx="563031" cy="712029"/>
          </a:xfrm>
          <a:prstGeom prst="rect">
            <a:avLst/>
          </a:prstGeom>
          <a:noFill/>
          <a:ln w="9525">
            <a:noFill/>
            <a:miter lim="800000"/>
            <a:headEnd/>
            <a:tailEnd/>
          </a:ln>
        </p:spPr>
        <p:txBody>
          <a:bodyPr anchor="ctr"/>
          <a:lstStyle/>
          <a:p>
            <a:r>
              <a:rPr lang="en-US" sz="4800" b="1" dirty="0" smtClean="0">
                <a:solidFill>
                  <a:srgbClr val="FF0000"/>
                </a:solidFill>
                <a:effectLst>
                  <a:outerShdw blurRad="38100" dist="38100" dir="2700000" algn="tl">
                    <a:srgbClr val="000000">
                      <a:alpha val="43137"/>
                    </a:srgbClr>
                  </a:outerShdw>
                </a:effectLst>
                <a:latin typeface="Georgia" pitchFamily="18" charset="0"/>
                <a:ea typeface="PMingLiU" pitchFamily="18" charset="-120"/>
              </a:rPr>
              <a:t>1</a:t>
            </a:r>
            <a:endParaRPr lang="en-US" sz="1050" dirty="0">
              <a:solidFill>
                <a:srgbClr val="FF0000"/>
              </a:solidFill>
              <a:effectLst>
                <a:outerShdw blurRad="38100" dist="38100" dir="2700000" algn="tl">
                  <a:srgbClr val="000000">
                    <a:alpha val="43137"/>
                  </a:srgbClr>
                </a:outerShdw>
              </a:effectLst>
              <a:latin typeface="Calibri" pitchFamily="34" charset="0"/>
              <a:ea typeface="PMingLiU" pitchFamily="18" charset="-120"/>
            </a:endParaRPr>
          </a:p>
        </p:txBody>
      </p:sp>
      <p:sp>
        <p:nvSpPr>
          <p:cNvPr id="34" name="Title 1"/>
          <p:cNvSpPr txBox="1">
            <a:spLocks noChangeArrowheads="1"/>
          </p:cNvSpPr>
          <p:nvPr/>
        </p:nvSpPr>
        <p:spPr bwMode="auto">
          <a:xfrm>
            <a:off x="351370" y="4769209"/>
            <a:ext cx="563031" cy="658054"/>
          </a:xfrm>
          <a:prstGeom prst="rect">
            <a:avLst/>
          </a:prstGeom>
          <a:noFill/>
          <a:ln w="9525">
            <a:noFill/>
            <a:miter lim="800000"/>
            <a:headEnd/>
            <a:tailEnd/>
          </a:ln>
        </p:spPr>
        <p:txBody>
          <a:bodyPr anchor="ctr"/>
          <a:lstStyle/>
          <a:p>
            <a:r>
              <a:rPr lang="en-US" sz="4800" b="1" dirty="0" smtClean="0">
                <a:solidFill>
                  <a:srgbClr val="FF0000"/>
                </a:solidFill>
                <a:effectLst>
                  <a:outerShdw blurRad="38100" dist="38100" dir="2700000" algn="tl">
                    <a:srgbClr val="000000">
                      <a:alpha val="43137"/>
                    </a:srgbClr>
                  </a:outerShdw>
                </a:effectLst>
                <a:latin typeface="Georgia" pitchFamily="18" charset="0"/>
                <a:ea typeface="PMingLiU" pitchFamily="18" charset="-120"/>
              </a:rPr>
              <a:t>2</a:t>
            </a:r>
            <a:endParaRPr lang="en-US" sz="1050" dirty="0">
              <a:solidFill>
                <a:srgbClr val="FF0000"/>
              </a:solidFill>
              <a:effectLst>
                <a:outerShdw blurRad="38100" dist="38100" dir="2700000" algn="tl">
                  <a:srgbClr val="000000">
                    <a:alpha val="43137"/>
                  </a:srgbClr>
                </a:outerShdw>
              </a:effectLst>
              <a:latin typeface="Calibri" pitchFamily="34" charset="0"/>
              <a:ea typeface="PMingLiU" pitchFamily="18" charset="-120"/>
            </a:endParaRPr>
          </a:p>
        </p:txBody>
      </p:sp>
      <p:sp>
        <p:nvSpPr>
          <p:cNvPr id="35" name="Title 1"/>
          <p:cNvSpPr txBox="1">
            <a:spLocks noChangeArrowheads="1"/>
          </p:cNvSpPr>
          <p:nvPr/>
        </p:nvSpPr>
        <p:spPr bwMode="auto">
          <a:xfrm>
            <a:off x="364506" y="5546698"/>
            <a:ext cx="563031" cy="658054"/>
          </a:xfrm>
          <a:prstGeom prst="rect">
            <a:avLst/>
          </a:prstGeom>
          <a:noFill/>
          <a:ln w="9525">
            <a:noFill/>
            <a:miter lim="800000"/>
            <a:headEnd/>
            <a:tailEnd/>
          </a:ln>
        </p:spPr>
        <p:txBody>
          <a:bodyPr anchor="ctr"/>
          <a:lstStyle/>
          <a:p>
            <a:r>
              <a:rPr lang="en-US" sz="4800" b="1" dirty="0" smtClean="0">
                <a:solidFill>
                  <a:srgbClr val="FF0000"/>
                </a:solidFill>
                <a:effectLst>
                  <a:outerShdw blurRad="38100" dist="38100" dir="2700000" algn="tl">
                    <a:srgbClr val="000000">
                      <a:alpha val="43137"/>
                    </a:srgbClr>
                  </a:outerShdw>
                </a:effectLst>
                <a:latin typeface="Georgia" pitchFamily="18" charset="0"/>
                <a:ea typeface="PMingLiU" pitchFamily="18" charset="-120"/>
              </a:rPr>
              <a:t>3</a:t>
            </a:r>
            <a:endParaRPr lang="en-US" sz="1050" dirty="0">
              <a:solidFill>
                <a:srgbClr val="FF0000"/>
              </a:solidFill>
              <a:effectLst>
                <a:outerShdw blurRad="38100" dist="38100" dir="2700000" algn="tl">
                  <a:srgbClr val="000000">
                    <a:alpha val="43137"/>
                  </a:srgbClr>
                </a:outerShdw>
              </a:effectLst>
              <a:latin typeface="Calibri" pitchFamily="34" charset="0"/>
              <a:ea typeface="PMingLiU" pitchFamily="18" charset="-120"/>
            </a:endParaRPr>
          </a:p>
        </p:txBody>
      </p:sp>
      <p:grpSp>
        <p:nvGrpSpPr>
          <p:cNvPr id="2" name="Group 1"/>
          <p:cNvGrpSpPr/>
          <p:nvPr/>
        </p:nvGrpSpPr>
        <p:grpSpPr>
          <a:xfrm>
            <a:off x="1066892" y="1520748"/>
            <a:ext cx="7096752" cy="1957409"/>
            <a:chOff x="1066892" y="1520748"/>
            <a:chExt cx="7096752" cy="1957409"/>
          </a:xfrm>
        </p:grpSpPr>
        <p:pic>
          <p:nvPicPr>
            <p:cNvPr id="22" name="Picture 10" descr="W:\temp\ling\ppt\new_layout\image04.png"/>
            <p:cNvPicPr>
              <a:picLocks noChangeAspect="1" noChangeArrowheads="1"/>
            </p:cNvPicPr>
            <p:nvPr/>
          </p:nvPicPr>
          <p:blipFill>
            <a:blip r:embed="rId2"/>
            <a:srcRect/>
            <a:stretch>
              <a:fillRect/>
            </a:stretch>
          </p:blipFill>
          <p:spPr bwMode="auto">
            <a:xfrm>
              <a:off x="1066892" y="1541624"/>
              <a:ext cx="2376488" cy="1905000"/>
            </a:xfrm>
            <a:prstGeom prst="rect">
              <a:avLst/>
            </a:prstGeom>
            <a:noFill/>
            <a:ln w="9525">
              <a:noFill/>
              <a:miter lim="800000"/>
              <a:headEnd/>
              <a:tailEnd/>
            </a:ln>
          </p:spPr>
        </p:pic>
        <p:pic>
          <p:nvPicPr>
            <p:cNvPr id="7169" name="Picture 1" descr="C:\Users\Administrator\Desktop\Kerja Keras terengganu\KEBERHASILAN PPP.png"/>
            <p:cNvPicPr>
              <a:picLocks noChangeAspect="1" noChangeArrowheads="1"/>
            </p:cNvPicPr>
            <p:nvPr/>
          </p:nvPicPr>
          <p:blipFill>
            <a:blip r:embed="rId3"/>
            <a:srcRect/>
            <a:stretch>
              <a:fillRect/>
            </a:stretch>
          </p:blipFill>
          <p:spPr bwMode="auto">
            <a:xfrm>
              <a:off x="5720089" y="1520748"/>
              <a:ext cx="2443555" cy="1957409"/>
            </a:xfrm>
            <a:prstGeom prst="rect">
              <a:avLst/>
            </a:prstGeom>
            <a:noFill/>
          </p:spPr>
        </p:pic>
        <p:pic>
          <p:nvPicPr>
            <p:cNvPr id="7170" name="Picture 2" descr="C:\Users\Administrator\Desktop\Kerja Keras terengganu\PENILAIAN PPP.png"/>
            <p:cNvPicPr>
              <a:picLocks noChangeAspect="1" noChangeArrowheads="1"/>
            </p:cNvPicPr>
            <p:nvPr/>
          </p:nvPicPr>
          <p:blipFill>
            <a:blip r:embed="rId4"/>
            <a:srcRect/>
            <a:stretch>
              <a:fillRect/>
            </a:stretch>
          </p:blipFill>
          <p:spPr bwMode="auto">
            <a:xfrm>
              <a:off x="3443380" y="1572005"/>
              <a:ext cx="2300840" cy="1843088"/>
            </a:xfrm>
            <a:prstGeom prst="rect">
              <a:avLst/>
            </a:prstGeom>
            <a:noFill/>
          </p:spPr>
        </p:pic>
      </p:grpSp>
      <p:sp>
        <p:nvSpPr>
          <p:cNvPr id="18" name="Rectangle 17"/>
          <p:cNvSpPr/>
          <p:nvPr/>
        </p:nvSpPr>
        <p:spPr>
          <a:xfrm>
            <a:off x="927536" y="4813973"/>
            <a:ext cx="6986755" cy="707886"/>
          </a:xfrm>
          <a:prstGeom prst="rect">
            <a:avLst/>
          </a:prstGeom>
        </p:spPr>
        <p:txBody>
          <a:bodyPr wrap="square">
            <a:spAutoFit/>
          </a:bodyPr>
          <a:lstStyle/>
          <a:p>
            <a:r>
              <a:rPr lang="ms-MY" altLang="en-US" sz="2000" dirty="0" smtClean="0"/>
              <a:t>Penilaian menyeluruh yang menggabungjalinkan kompetensi dan potensi serta keberhasilan PPP</a:t>
            </a:r>
          </a:p>
        </p:txBody>
      </p:sp>
      <p:sp>
        <p:nvSpPr>
          <p:cNvPr id="28" name="Rectangle 27"/>
          <p:cNvSpPr/>
          <p:nvPr/>
        </p:nvSpPr>
        <p:spPr>
          <a:xfrm>
            <a:off x="914400" y="4015212"/>
            <a:ext cx="6999891" cy="707886"/>
          </a:xfrm>
          <a:prstGeom prst="rect">
            <a:avLst/>
          </a:prstGeom>
        </p:spPr>
        <p:txBody>
          <a:bodyPr wrap="square">
            <a:spAutoFit/>
          </a:bodyPr>
          <a:lstStyle/>
          <a:p>
            <a:r>
              <a:rPr lang="ms-MY" altLang="en-US" sz="2000" dirty="0" smtClean="0"/>
              <a:t>Meningkatkan kecekapan dan komitmen bagi melahirkan PPP yang berprestasi tinggi</a:t>
            </a:r>
            <a:r>
              <a:rPr lang="ms-MY" altLang="en-US" sz="2000" dirty="0" smtClean="0">
                <a:solidFill>
                  <a:schemeClr val="bg1"/>
                </a:solidFill>
              </a:rPr>
              <a:t>.</a:t>
            </a:r>
            <a:endParaRPr lang="en-US" altLang="en-US" sz="2000" dirty="0">
              <a:solidFill>
                <a:schemeClr val="bg1"/>
              </a:solidFill>
            </a:endParaRPr>
          </a:p>
        </p:txBody>
      </p:sp>
      <p:sp>
        <p:nvSpPr>
          <p:cNvPr id="29" name="Rectangle 28"/>
          <p:cNvSpPr/>
          <p:nvPr/>
        </p:nvSpPr>
        <p:spPr>
          <a:xfrm>
            <a:off x="914400" y="5749026"/>
            <a:ext cx="6999891" cy="400110"/>
          </a:xfrm>
          <a:prstGeom prst="rect">
            <a:avLst/>
          </a:prstGeom>
        </p:spPr>
        <p:txBody>
          <a:bodyPr wrap="square">
            <a:spAutoFit/>
          </a:bodyPr>
          <a:lstStyle/>
          <a:p>
            <a:r>
              <a:rPr lang="en-US" altLang="en-US" sz="2000" dirty="0" err="1" smtClean="0"/>
              <a:t>Bagi</a:t>
            </a:r>
            <a:r>
              <a:rPr lang="en-US" altLang="en-US" sz="2000" dirty="0" smtClean="0"/>
              <a:t> </a:t>
            </a:r>
            <a:r>
              <a:rPr lang="en-US" altLang="en-US" sz="2000" dirty="0" err="1" smtClean="0"/>
              <a:t>mendokong</a:t>
            </a:r>
            <a:r>
              <a:rPr lang="en-US" altLang="en-US" sz="2000" dirty="0" smtClean="0"/>
              <a:t> </a:t>
            </a:r>
            <a:r>
              <a:rPr lang="en-US" altLang="en-US" sz="2000" dirty="0" err="1" smtClean="0"/>
              <a:t>aspirasi</a:t>
            </a:r>
            <a:r>
              <a:rPr lang="en-US" altLang="en-US" sz="2000" dirty="0" smtClean="0"/>
              <a:t> </a:t>
            </a:r>
            <a:r>
              <a:rPr lang="en-US" altLang="en-US" sz="2000" dirty="0" err="1" smtClean="0"/>
              <a:t>ke</a:t>
            </a:r>
            <a:r>
              <a:rPr lang="en-US" altLang="en-US" sz="2000" dirty="0" smtClean="0"/>
              <a:t> </a:t>
            </a:r>
            <a:r>
              <a:rPr lang="en-US" altLang="en-US" sz="2000" dirty="0" err="1" smtClean="0"/>
              <a:t>arah</a:t>
            </a:r>
            <a:r>
              <a:rPr lang="en-US" altLang="en-US" sz="2000" dirty="0" smtClean="0"/>
              <a:t> </a:t>
            </a:r>
            <a:r>
              <a:rPr lang="en-US" altLang="en-US" sz="2000" dirty="0" err="1" smtClean="0"/>
              <a:t>pendidikan</a:t>
            </a:r>
            <a:r>
              <a:rPr lang="en-US" altLang="en-US" sz="2000" dirty="0" smtClean="0"/>
              <a:t> yang </a:t>
            </a:r>
            <a:r>
              <a:rPr lang="en-US" altLang="en-US" sz="2000" dirty="0" err="1" smtClean="0"/>
              <a:t>berkualiti</a:t>
            </a:r>
            <a:r>
              <a:rPr lang="en-US" altLang="en-US" sz="2000" dirty="0" smtClean="0"/>
              <a:t> </a:t>
            </a:r>
            <a:r>
              <a:rPr lang="en-US" altLang="en-US" sz="2000" dirty="0" err="1" smtClean="0"/>
              <a:t>tinggi</a:t>
            </a:r>
            <a:endParaRPr lang="ms-MY" altLang="en-US" sz="2000" dirty="0" smtClean="0"/>
          </a:p>
        </p:txBody>
      </p:sp>
      <p:sp>
        <p:nvSpPr>
          <p:cNvPr id="17" name="Rectangle 16"/>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smtClean="0">
                <a:solidFill>
                  <a:schemeClr val="bg1"/>
                </a:solidFill>
                <a:latin typeface="Segoe UI" pitchFamily="34" charset="0"/>
                <a:ea typeface="Segoe UI" pitchFamily="34" charset="0"/>
                <a:cs typeface="Segoe UI" pitchFamily="34" charset="0"/>
              </a:rPr>
              <a:t>MATLAMAT</a:t>
            </a:r>
            <a:endParaRPr lang="en-US" sz="3600" b="1" dirty="0">
              <a:solidFill>
                <a:schemeClr val="bg1"/>
              </a:solidFill>
              <a:latin typeface="Segoe UI" pitchFamily="34" charset="0"/>
              <a:ea typeface="Segoe UI" pitchFamily="34" charset="0"/>
              <a:cs typeface="Segoe UI" pitchFamily="34" charset="0"/>
            </a:endParaRPr>
          </a:p>
        </p:txBody>
      </p:sp>
      <p:sp>
        <p:nvSpPr>
          <p:cNvPr id="3" name="Pentagon 2"/>
          <p:cNvSpPr/>
          <p:nvPr/>
        </p:nvSpPr>
        <p:spPr>
          <a:xfrm>
            <a:off x="1066892" y="3478157"/>
            <a:ext cx="6975752" cy="441820"/>
          </a:xfrm>
          <a:prstGeom prst="homePlate">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ox(in)">
                                      <p:cBhvr>
                                        <p:cTn id="7" dur="500"/>
                                        <p:tgtEl>
                                          <p:spTgt spid="28"/>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box(in)">
                                      <p:cBhvr>
                                        <p:cTn id="10" dur="5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55" presetClass="entr" presetSubtype="0" fill="hold" grpId="0" nodeType="clickEffect">
                                  <p:stCondLst>
                                    <p:cond delay="0"/>
                                  </p:stCondLst>
                                  <p:childTnLst>
                                    <p:set>
                                      <p:cBhvr>
                                        <p:cTn id="14" dur="1" fill="hold">
                                          <p:stCondLst>
                                            <p:cond delay="0"/>
                                          </p:stCondLst>
                                        </p:cTn>
                                        <p:tgtEl>
                                          <p:spTgt spid="34"/>
                                        </p:tgtEl>
                                        <p:attrNameLst>
                                          <p:attrName>style.visibility</p:attrName>
                                        </p:attrNameLst>
                                      </p:cBhvr>
                                      <p:to>
                                        <p:strVal val="visible"/>
                                      </p:to>
                                    </p:set>
                                    <p:anim calcmode="lin" valueType="num">
                                      <p:cBhvr>
                                        <p:cTn id="15" dur="500" fill="hold"/>
                                        <p:tgtEl>
                                          <p:spTgt spid="34"/>
                                        </p:tgtEl>
                                        <p:attrNameLst>
                                          <p:attrName>ppt_w</p:attrName>
                                        </p:attrNameLst>
                                      </p:cBhvr>
                                      <p:tavLst>
                                        <p:tav tm="0">
                                          <p:val>
                                            <p:strVal val="#ppt_w*0.70"/>
                                          </p:val>
                                        </p:tav>
                                        <p:tav tm="100000">
                                          <p:val>
                                            <p:strVal val="#ppt_w"/>
                                          </p:val>
                                        </p:tav>
                                      </p:tavLst>
                                    </p:anim>
                                    <p:anim calcmode="lin" valueType="num">
                                      <p:cBhvr>
                                        <p:cTn id="16" dur="500" fill="hold"/>
                                        <p:tgtEl>
                                          <p:spTgt spid="34"/>
                                        </p:tgtEl>
                                        <p:attrNameLst>
                                          <p:attrName>ppt_h</p:attrName>
                                        </p:attrNameLst>
                                      </p:cBhvr>
                                      <p:tavLst>
                                        <p:tav tm="0">
                                          <p:val>
                                            <p:strVal val="#ppt_h"/>
                                          </p:val>
                                        </p:tav>
                                        <p:tav tm="100000">
                                          <p:val>
                                            <p:strVal val="#ppt_h"/>
                                          </p:val>
                                        </p:tav>
                                      </p:tavLst>
                                    </p:anim>
                                    <p:animEffect transition="in" filter="fade">
                                      <p:cBhvr>
                                        <p:cTn id="17" dur="500"/>
                                        <p:tgtEl>
                                          <p:spTgt spid="34"/>
                                        </p:tgtEl>
                                      </p:cBhvr>
                                    </p:animEffect>
                                  </p:childTnLst>
                                </p:cTn>
                              </p:par>
                              <p:par>
                                <p:cTn id="18" presetID="55"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 calcmode="lin" valueType="num">
                                      <p:cBhvr>
                                        <p:cTn id="20" dur="500" fill="hold"/>
                                        <p:tgtEl>
                                          <p:spTgt spid="18"/>
                                        </p:tgtEl>
                                        <p:attrNameLst>
                                          <p:attrName>ppt_w</p:attrName>
                                        </p:attrNameLst>
                                      </p:cBhvr>
                                      <p:tavLst>
                                        <p:tav tm="0">
                                          <p:val>
                                            <p:strVal val="#ppt_w*0.70"/>
                                          </p:val>
                                        </p:tav>
                                        <p:tav tm="100000">
                                          <p:val>
                                            <p:strVal val="#ppt_w"/>
                                          </p:val>
                                        </p:tav>
                                      </p:tavLst>
                                    </p:anim>
                                    <p:anim calcmode="lin" valueType="num">
                                      <p:cBhvr>
                                        <p:cTn id="21" dur="500" fill="hold"/>
                                        <p:tgtEl>
                                          <p:spTgt spid="18"/>
                                        </p:tgtEl>
                                        <p:attrNameLst>
                                          <p:attrName>ppt_h</p:attrName>
                                        </p:attrNameLst>
                                      </p:cBhvr>
                                      <p:tavLst>
                                        <p:tav tm="0">
                                          <p:val>
                                            <p:strVal val="#ppt_h"/>
                                          </p:val>
                                        </p:tav>
                                        <p:tav tm="100000">
                                          <p:val>
                                            <p:strVal val="#ppt_h"/>
                                          </p:val>
                                        </p:tav>
                                      </p:tavLst>
                                    </p:anim>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box(in)">
                                      <p:cBhvr>
                                        <p:cTn id="27" dur="500"/>
                                        <p:tgtEl>
                                          <p:spTgt spid="35"/>
                                        </p:tgtEl>
                                      </p:cBhvr>
                                    </p:animEffect>
                                  </p:childTnLst>
                                </p:cTn>
                              </p:par>
                              <p:par>
                                <p:cTn id="28" presetID="4" presetClass="entr" presetSubtype="16" fill="hold" grpId="0"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box(in)">
                                      <p:cBhvr>
                                        <p:cTn id="3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35" grpId="0"/>
      <p:bldP spid="18" grpId="0"/>
      <p:bldP spid="28" grpId="0"/>
      <p:bldP spid="2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smtClean="0">
                <a:solidFill>
                  <a:schemeClr val="bg1"/>
                </a:solidFill>
                <a:latin typeface="Segoe UI" pitchFamily="34" charset="0"/>
                <a:ea typeface="Segoe UI" pitchFamily="34" charset="0"/>
                <a:cs typeface="Segoe UI" pitchFamily="34" charset="0"/>
              </a:rPr>
              <a:t>OBJEKTIF</a:t>
            </a:r>
            <a:endParaRPr lang="en-US" sz="3600" b="1" dirty="0">
              <a:solidFill>
                <a:schemeClr val="bg1"/>
              </a:solidFill>
              <a:latin typeface="Segoe UI" pitchFamily="34" charset="0"/>
              <a:ea typeface="Segoe UI" pitchFamily="34" charset="0"/>
              <a:cs typeface="Segoe UI" pitchFamily="34" charset="0"/>
            </a:endParaRPr>
          </a:p>
        </p:txBody>
      </p:sp>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13</a:t>
            </a:fld>
            <a:endParaRPr lang="en-US"/>
          </a:p>
        </p:txBody>
      </p:sp>
      <p:grpSp>
        <p:nvGrpSpPr>
          <p:cNvPr id="2" name="Group 24"/>
          <p:cNvGrpSpPr/>
          <p:nvPr/>
        </p:nvGrpSpPr>
        <p:grpSpPr>
          <a:xfrm>
            <a:off x="4517841" y="954165"/>
            <a:ext cx="3059082" cy="2671100"/>
            <a:chOff x="4517841" y="954165"/>
            <a:chExt cx="3059082" cy="2671100"/>
          </a:xfrm>
        </p:grpSpPr>
        <p:sp>
          <p:nvSpPr>
            <p:cNvPr id="53" name="Left Arrow Callout 52"/>
            <p:cNvSpPr/>
            <p:nvPr/>
          </p:nvSpPr>
          <p:spPr>
            <a:xfrm rot="16160696" flipH="1">
              <a:off x="4711832" y="760174"/>
              <a:ext cx="2671100" cy="3059082"/>
            </a:xfrm>
            <a:prstGeom prst="leftArrowCallout">
              <a:avLst/>
            </a:prstGeom>
            <a:gradFill flip="none" rotWithShape="1">
              <a:gsLst>
                <a:gs pos="0">
                  <a:srgbClr val="DC0E0E">
                    <a:shade val="30000"/>
                    <a:satMod val="115000"/>
                  </a:srgbClr>
                </a:gs>
                <a:gs pos="50000">
                  <a:srgbClr val="DC0E0E">
                    <a:shade val="67500"/>
                    <a:satMod val="115000"/>
                  </a:srgbClr>
                </a:gs>
                <a:gs pos="100000">
                  <a:srgbClr val="DC0E0E">
                    <a:shade val="100000"/>
                    <a:satMod val="115000"/>
                  </a:srgbClr>
                </a:gs>
              </a:gsLst>
              <a:lin ang="13500000" scaled="1"/>
              <a:tileRect/>
            </a:gradFill>
            <a:ln w="31750" cap="rnd" cmpd="sng">
              <a:solidFill>
                <a:srgbClr val="B60242"/>
              </a:soli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rot="21599952">
              <a:off x="4732098" y="2163969"/>
              <a:ext cx="2647301" cy="1199485"/>
            </a:xfrm>
            <a:prstGeom prst="rect">
              <a:avLst/>
            </a:prstGeom>
            <a:solidFill>
              <a:srgbClr val="FFFFFF"/>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TextBox 69"/>
            <p:cNvSpPr txBox="1"/>
            <p:nvPr/>
          </p:nvSpPr>
          <p:spPr>
            <a:xfrm rot="2201278">
              <a:off x="5773374" y="997564"/>
              <a:ext cx="788871" cy="745565"/>
            </a:xfrm>
            <a:prstGeom prst="ellipse">
              <a:avLst/>
            </a:prstGeom>
            <a:noFill/>
          </p:spPr>
          <p:txBody>
            <a:bodyPr wrap="none" lIns="0" tIns="0" rIns="0" bIns="0" rtlCol="0">
              <a:noAutofit/>
            </a:bodyPr>
            <a:lstStyle/>
            <a:p>
              <a:pPr algn="ctr"/>
              <a:r>
                <a:rPr lang="en-US" sz="4400" b="1" dirty="0">
                  <a:ln w="1270" cmpd="sng">
                    <a:solidFill>
                      <a:srgbClr val="DC0E0E"/>
                    </a:solidFill>
                    <a:prstDash val="solid"/>
                  </a:ln>
                  <a:solidFill>
                    <a:srgbClr val="FFFFFF"/>
                  </a:solidFill>
                  <a:effectLst>
                    <a:innerShdw blurRad="114300">
                      <a:srgbClr val="C00000"/>
                    </a:innerShdw>
                  </a:effectLst>
                  <a:latin typeface="Impact" pitchFamily="34" charset="0"/>
                </a:rPr>
                <a:t>1</a:t>
              </a:r>
            </a:p>
          </p:txBody>
        </p:sp>
        <p:sp>
          <p:nvSpPr>
            <p:cNvPr id="76" name="Rectangle 75"/>
            <p:cNvSpPr/>
            <p:nvPr/>
          </p:nvSpPr>
          <p:spPr>
            <a:xfrm>
              <a:off x="4725723" y="2383166"/>
              <a:ext cx="2716748" cy="646331"/>
            </a:xfrm>
            <a:prstGeom prst="rect">
              <a:avLst/>
            </a:prstGeom>
          </p:spPr>
          <p:txBody>
            <a:bodyPr wrap="square">
              <a:spAutoFit/>
            </a:bodyPr>
            <a:lstStyle/>
            <a:p>
              <a:pPr algn="ctr"/>
              <a:r>
                <a:rPr lang="ms-MY" altLang="en-US" dirty="0" smtClean="0">
                  <a:latin typeface="Segoe UI" pitchFamily="34" charset="0"/>
                  <a:ea typeface="Segoe UI" pitchFamily="34" charset="0"/>
                  <a:cs typeface="Segoe UI" pitchFamily="34" charset="0"/>
                </a:rPr>
                <a:t>Menilai kompetensi dan potensi PPP</a:t>
              </a:r>
              <a:endParaRPr lang="en-MY" dirty="0" smtClean="0">
                <a:latin typeface="Segoe UI" pitchFamily="34" charset="0"/>
                <a:ea typeface="Segoe UI" pitchFamily="34" charset="0"/>
                <a:cs typeface="Segoe UI" pitchFamily="34" charset="0"/>
              </a:endParaRPr>
            </a:p>
          </p:txBody>
        </p:sp>
      </p:grpSp>
      <p:grpSp>
        <p:nvGrpSpPr>
          <p:cNvPr id="3" name="Group 27"/>
          <p:cNvGrpSpPr/>
          <p:nvPr/>
        </p:nvGrpSpPr>
        <p:grpSpPr>
          <a:xfrm>
            <a:off x="106567" y="1966433"/>
            <a:ext cx="4277759" cy="2232979"/>
            <a:chOff x="106567" y="1966433"/>
            <a:chExt cx="4277759" cy="2232979"/>
          </a:xfrm>
        </p:grpSpPr>
        <p:sp>
          <p:nvSpPr>
            <p:cNvPr id="50" name="Left Arrow Callout 49"/>
            <p:cNvSpPr/>
            <p:nvPr/>
          </p:nvSpPr>
          <p:spPr>
            <a:xfrm rot="21560696">
              <a:off x="106567" y="1966433"/>
              <a:ext cx="4277759" cy="2232979"/>
            </a:xfrm>
            <a:prstGeom prst="leftArrowCallout">
              <a:avLst>
                <a:gd name="adj1" fmla="val 33956"/>
                <a:gd name="adj2" fmla="val 25000"/>
                <a:gd name="adj3" fmla="val 25000"/>
                <a:gd name="adj4" fmla="val 77422"/>
              </a:avLst>
            </a:prstGeom>
            <a:gradFill flip="none" rotWithShape="1">
              <a:gsLst>
                <a:gs pos="0">
                  <a:srgbClr val="00B0F0"/>
                </a:gs>
                <a:gs pos="100000">
                  <a:srgbClr val="0070C0"/>
                </a:gs>
              </a:gsLst>
              <a:lin ang="13500000" scaled="1"/>
              <a:tileRect/>
            </a:gradFill>
            <a:ln w="31750" cap="rnd" cmpd="sng">
              <a:solidFill>
                <a:srgbClr val="00B0F0"/>
              </a:soli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p:cNvSpPr/>
            <p:nvPr/>
          </p:nvSpPr>
          <p:spPr>
            <a:xfrm rot="21560572">
              <a:off x="1343980" y="2217719"/>
              <a:ext cx="2858795" cy="1757536"/>
            </a:xfrm>
            <a:prstGeom prst="rect">
              <a:avLst/>
            </a:prstGeom>
            <a:solidFill>
              <a:srgbClr val="FFFFFF"/>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TextBox 70"/>
            <p:cNvSpPr txBox="1"/>
            <p:nvPr/>
          </p:nvSpPr>
          <p:spPr>
            <a:xfrm rot="2418842">
              <a:off x="461710" y="2677983"/>
              <a:ext cx="851894" cy="745565"/>
            </a:xfrm>
            <a:prstGeom prst="ellipse">
              <a:avLst/>
            </a:prstGeom>
            <a:noFill/>
          </p:spPr>
          <p:txBody>
            <a:bodyPr wrap="none" lIns="0" tIns="0" rIns="0" bIns="0" rtlCol="0">
              <a:noAutofit/>
            </a:bodyPr>
            <a:lstStyle/>
            <a:p>
              <a:pPr algn="ctr"/>
              <a:r>
                <a:rPr lang="en-US" sz="4400" b="1" dirty="0">
                  <a:ln w="1270" cmpd="sng">
                    <a:solidFill>
                      <a:srgbClr val="00B0F0"/>
                    </a:solidFill>
                    <a:prstDash val="solid"/>
                  </a:ln>
                  <a:solidFill>
                    <a:srgbClr val="FFFFFF"/>
                  </a:solidFill>
                  <a:effectLst>
                    <a:innerShdw blurRad="114300">
                      <a:srgbClr val="0070C0"/>
                    </a:innerShdw>
                  </a:effectLst>
                  <a:latin typeface="Impact" pitchFamily="34" charset="0"/>
                </a:rPr>
                <a:t>3</a:t>
              </a:r>
            </a:p>
          </p:txBody>
        </p:sp>
        <p:sp>
          <p:nvSpPr>
            <p:cNvPr id="77" name="Rectangle 76"/>
            <p:cNvSpPr/>
            <p:nvPr/>
          </p:nvSpPr>
          <p:spPr>
            <a:xfrm>
              <a:off x="1359033" y="2279647"/>
              <a:ext cx="2848787" cy="1754326"/>
            </a:xfrm>
            <a:prstGeom prst="rect">
              <a:avLst/>
            </a:prstGeom>
          </p:spPr>
          <p:txBody>
            <a:bodyPr wrap="square">
              <a:spAutoFit/>
            </a:bodyPr>
            <a:lstStyle/>
            <a:p>
              <a:pPr algn="ctr"/>
              <a:r>
                <a:rPr lang="ms-MY" altLang="en-US" dirty="0" smtClean="0">
                  <a:latin typeface="Segoe UI" pitchFamily="34" charset="0"/>
                  <a:ea typeface="Segoe UI" pitchFamily="34" charset="0"/>
                  <a:cs typeface="Segoe UI" pitchFamily="34" charset="0"/>
                </a:rPr>
                <a:t>Mengenal pasti kompetensi dan potensi PPP untuk membolehkan Program Pembangunan Profesional Berterusan dilaksanakan</a:t>
              </a:r>
              <a:endParaRPr lang="en-MY" dirty="0">
                <a:latin typeface="Segoe UI" pitchFamily="34" charset="0"/>
                <a:ea typeface="Segoe UI" pitchFamily="34" charset="0"/>
                <a:cs typeface="Segoe UI" pitchFamily="34" charset="0"/>
              </a:endParaRPr>
            </a:p>
          </p:txBody>
        </p:sp>
      </p:grpSp>
      <p:grpSp>
        <p:nvGrpSpPr>
          <p:cNvPr id="6" name="Group 26"/>
          <p:cNvGrpSpPr/>
          <p:nvPr/>
        </p:nvGrpSpPr>
        <p:grpSpPr>
          <a:xfrm>
            <a:off x="4517134" y="3696795"/>
            <a:ext cx="4059303" cy="2052823"/>
            <a:chOff x="4517134" y="3696795"/>
            <a:chExt cx="4059303" cy="2052823"/>
          </a:xfrm>
        </p:grpSpPr>
        <p:sp>
          <p:nvSpPr>
            <p:cNvPr id="51" name="Left Arrow Callout 50"/>
            <p:cNvSpPr/>
            <p:nvPr/>
          </p:nvSpPr>
          <p:spPr>
            <a:xfrm rot="21560696" flipH="1">
              <a:off x="4517134" y="3696795"/>
              <a:ext cx="4059303" cy="2052823"/>
            </a:xfrm>
            <a:prstGeom prst="leftArrowCallout">
              <a:avLst>
                <a:gd name="adj1" fmla="val 38294"/>
                <a:gd name="adj2" fmla="val 29127"/>
                <a:gd name="adj3" fmla="val 36399"/>
                <a:gd name="adj4" fmla="val 75515"/>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13500000" scaled="1"/>
              <a:tileRect/>
            </a:gradFill>
            <a:ln w="31750" cap="rnd" cmpd="sng">
              <a:solidFill>
                <a:srgbClr val="A27B00"/>
              </a:soli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p:cNvSpPr/>
            <p:nvPr/>
          </p:nvSpPr>
          <p:spPr>
            <a:xfrm rot="21567945">
              <a:off x="4773851" y="3974649"/>
              <a:ext cx="2532987" cy="1536941"/>
            </a:xfrm>
            <a:prstGeom prst="rect">
              <a:avLst/>
            </a:prstGeom>
            <a:solidFill>
              <a:srgbClr val="FFFFFF"/>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p:cNvSpPr txBox="1"/>
            <p:nvPr/>
          </p:nvSpPr>
          <p:spPr>
            <a:xfrm rot="2351431">
              <a:off x="7589305" y="4220042"/>
              <a:ext cx="788871" cy="745565"/>
            </a:xfrm>
            <a:prstGeom prst="ellipse">
              <a:avLst/>
            </a:prstGeom>
            <a:noFill/>
          </p:spPr>
          <p:txBody>
            <a:bodyPr wrap="none" lIns="0" tIns="0" rIns="0" bIns="0" rtlCol="0">
              <a:noAutofit/>
            </a:bodyPr>
            <a:lstStyle/>
            <a:p>
              <a:pPr algn="ctr"/>
              <a:r>
                <a:rPr lang="en-US" sz="4400" b="1" dirty="0">
                  <a:ln w="1270" cmpd="sng">
                    <a:solidFill>
                      <a:srgbClr val="FFC000"/>
                    </a:solidFill>
                    <a:prstDash val="solid"/>
                  </a:ln>
                  <a:solidFill>
                    <a:srgbClr val="FFFFFF"/>
                  </a:solidFill>
                  <a:effectLst>
                    <a:innerShdw blurRad="114300">
                      <a:schemeClr val="tx1">
                        <a:lumMod val="50000"/>
                        <a:lumOff val="50000"/>
                      </a:schemeClr>
                    </a:innerShdw>
                  </a:effectLst>
                  <a:latin typeface="Impact" pitchFamily="34" charset="0"/>
                </a:rPr>
                <a:t>2</a:t>
              </a:r>
            </a:p>
          </p:txBody>
        </p:sp>
        <p:sp>
          <p:nvSpPr>
            <p:cNvPr id="78" name="Rectangle 77"/>
            <p:cNvSpPr/>
            <p:nvPr/>
          </p:nvSpPr>
          <p:spPr>
            <a:xfrm>
              <a:off x="4807757" y="3991591"/>
              <a:ext cx="2506192" cy="1477328"/>
            </a:xfrm>
            <a:prstGeom prst="rect">
              <a:avLst/>
            </a:prstGeom>
          </p:spPr>
          <p:txBody>
            <a:bodyPr wrap="square">
              <a:spAutoFit/>
            </a:bodyPr>
            <a:lstStyle/>
            <a:p>
              <a:pPr algn="ctr"/>
              <a:r>
                <a:rPr lang="ms-MY" altLang="en-US" dirty="0" smtClean="0">
                  <a:latin typeface="Segoe UI" pitchFamily="34" charset="0"/>
                  <a:ea typeface="Segoe UI" pitchFamily="34" charset="0"/>
                  <a:cs typeface="Segoe UI" pitchFamily="34" charset="0"/>
                </a:rPr>
                <a:t>Menilai keberhasilan (aspek peningkatan) yang merupakan hasil kerja PPP (Kumpulan PdP dan PTA)</a:t>
              </a:r>
              <a:endParaRPr lang="en-MY" dirty="0">
                <a:latin typeface="Segoe UI" pitchFamily="34" charset="0"/>
                <a:ea typeface="Segoe UI" pitchFamily="34" charset="0"/>
                <a:cs typeface="Segoe UI" pitchFamily="34" charset="0"/>
              </a:endParaRPr>
            </a:p>
          </p:txBody>
        </p:sp>
      </p:grpSp>
      <p:grpSp>
        <p:nvGrpSpPr>
          <p:cNvPr id="7" name="Group 28"/>
          <p:cNvGrpSpPr/>
          <p:nvPr/>
        </p:nvGrpSpPr>
        <p:grpSpPr>
          <a:xfrm>
            <a:off x="1323802" y="4271675"/>
            <a:ext cx="3059082" cy="2488580"/>
            <a:chOff x="1323802" y="4271675"/>
            <a:chExt cx="3059082" cy="2488580"/>
          </a:xfrm>
        </p:grpSpPr>
        <p:sp>
          <p:nvSpPr>
            <p:cNvPr id="52" name="Left Arrow Callout 51"/>
            <p:cNvSpPr/>
            <p:nvPr/>
          </p:nvSpPr>
          <p:spPr>
            <a:xfrm rot="5360696" flipH="1">
              <a:off x="1609053" y="3986424"/>
              <a:ext cx="2488580" cy="3059082"/>
            </a:xfrm>
            <a:prstGeom prst="leftArrowCallout">
              <a:avLst>
                <a:gd name="adj1" fmla="val 29500"/>
                <a:gd name="adj2" fmla="val 25000"/>
                <a:gd name="adj3" fmla="val 25000"/>
                <a:gd name="adj4" fmla="val 63646"/>
              </a:avLst>
            </a:prstGeom>
            <a:gradFill flip="none" rotWithShape="1">
              <a:gsLst>
                <a:gs pos="0">
                  <a:srgbClr val="F6003B"/>
                </a:gs>
                <a:gs pos="100000">
                  <a:srgbClr val="FE3C9D"/>
                </a:gs>
              </a:gsLst>
              <a:lin ang="8100000" scaled="1"/>
              <a:tileRect/>
            </a:gradFill>
            <a:ln w="31750" cap="rnd" cmpd="sng">
              <a:solidFill>
                <a:srgbClr val="F6003B"/>
              </a:soli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p:cNvSpPr/>
            <p:nvPr/>
          </p:nvSpPr>
          <p:spPr>
            <a:xfrm rot="21567581">
              <a:off x="1553550" y="4462868"/>
              <a:ext cx="2604183" cy="1141863"/>
            </a:xfrm>
            <a:prstGeom prst="rect">
              <a:avLst/>
            </a:prstGeom>
            <a:solidFill>
              <a:srgbClr val="FFFFFF"/>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lumOff val="50000"/>
                  </a:schemeClr>
                </a:solidFill>
              </a:endParaRPr>
            </a:p>
          </p:txBody>
        </p:sp>
        <p:sp>
          <p:nvSpPr>
            <p:cNvPr id="69" name="TextBox 68"/>
            <p:cNvSpPr txBox="1"/>
            <p:nvPr/>
          </p:nvSpPr>
          <p:spPr>
            <a:xfrm rot="2201278">
              <a:off x="2569667" y="5636917"/>
              <a:ext cx="788871" cy="745565"/>
            </a:xfrm>
            <a:prstGeom prst="ellipse">
              <a:avLst/>
            </a:prstGeom>
            <a:noFill/>
          </p:spPr>
          <p:txBody>
            <a:bodyPr wrap="none" lIns="0" tIns="0" rIns="0" bIns="0" rtlCol="0">
              <a:noAutofit/>
            </a:bodyPr>
            <a:lstStyle/>
            <a:p>
              <a:pPr algn="ctr"/>
              <a:r>
                <a:rPr lang="en-US" sz="4400" b="1" dirty="0">
                  <a:ln w="1270" cmpd="sng">
                    <a:solidFill>
                      <a:srgbClr val="FE3C9D"/>
                    </a:solidFill>
                    <a:prstDash val="solid"/>
                  </a:ln>
                  <a:solidFill>
                    <a:srgbClr val="FFFFFF"/>
                  </a:solidFill>
                  <a:effectLst>
                    <a:innerShdw blurRad="114300">
                      <a:srgbClr val="FE3C9D"/>
                    </a:innerShdw>
                  </a:effectLst>
                  <a:latin typeface="Impact" pitchFamily="34" charset="0"/>
                </a:rPr>
                <a:t>4</a:t>
              </a:r>
            </a:p>
          </p:txBody>
        </p:sp>
        <p:sp>
          <p:nvSpPr>
            <p:cNvPr id="79" name="Rectangle 78"/>
            <p:cNvSpPr/>
            <p:nvPr/>
          </p:nvSpPr>
          <p:spPr>
            <a:xfrm>
              <a:off x="1548223" y="4450616"/>
              <a:ext cx="2722660" cy="1200329"/>
            </a:xfrm>
            <a:prstGeom prst="rect">
              <a:avLst/>
            </a:prstGeom>
          </p:spPr>
          <p:txBody>
            <a:bodyPr wrap="square">
              <a:spAutoFit/>
            </a:bodyPr>
            <a:lstStyle/>
            <a:p>
              <a:pPr algn="ctr"/>
              <a:r>
                <a:rPr lang="ms-MY" altLang="en-US" dirty="0" smtClean="0">
                  <a:latin typeface="Segoe UI" pitchFamily="34" charset="0"/>
                  <a:ea typeface="Segoe UI" pitchFamily="34" charset="0"/>
                  <a:cs typeface="Segoe UI" pitchFamily="34" charset="0"/>
                </a:rPr>
                <a:t>Mengenal pasti keperluan latihan untuk pembangunan laluan kerjaya PPP</a:t>
              </a:r>
              <a:endParaRPr lang="en-MY" dirty="0">
                <a:latin typeface="Segoe UI" pitchFamily="34" charset="0"/>
                <a:ea typeface="Segoe UI" pitchFamily="34" charset="0"/>
                <a:cs typeface="Segoe UI"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ox(in)">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47"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1000"/>
                                        <p:tgtEl>
                                          <p:spTgt spid="3"/>
                                        </p:tgtEl>
                                      </p:cBhvr>
                                    </p:animEffect>
                                    <p:anim calcmode="lin" valueType="num">
                                      <p:cBhvr>
                                        <p:cTn id="18" dur="1000" fill="hold"/>
                                        <p:tgtEl>
                                          <p:spTgt spid="3"/>
                                        </p:tgtEl>
                                        <p:attrNameLst>
                                          <p:attrName>ppt_x</p:attrName>
                                        </p:attrNameLst>
                                      </p:cBhvr>
                                      <p:tavLst>
                                        <p:tav tm="0">
                                          <p:val>
                                            <p:strVal val="#ppt_x"/>
                                          </p:val>
                                        </p:tav>
                                        <p:tav tm="100000">
                                          <p:val>
                                            <p:strVal val="#ppt_x"/>
                                          </p:val>
                                        </p:tav>
                                      </p:tavLst>
                                    </p:anim>
                                    <p:anim calcmode="lin" valueType="num">
                                      <p:cBhvr>
                                        <p:cTn id="1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0" presetClass="entr" presetSubtype="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edge">
                                      <p:cBhvr>
                                        <p:cTn id="2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3290958" y="6450954"/>
            <a:ext cx="4958521" cy="365125"/>
          </a:xfrm>
        </p:spPr>
        <p:txBody>
          <a:bodyPr/>
          <a:lstStyle/>
          <a:p>
            <a:r>
              <a:rPr lang="en-US" smtClean="0"/>
              <a:t>GURU (SEKOLAH)</a:t>
            </a:r>
            <a:endParaRPr lang="en-US" dirty="0"/>
          </a:p>
        </p:txBody>
      </p:sp>
      <p:sp>
        <p:nvSpPr>
          <p:cNvPr id="5" name="Slide Number Placeholder 4"/>
          <p:cNvSpPr>
            <a:spLocks noGrp="1"/>
          </p:cNvSpPr>
          <p:nvPr>
            <p:ph type="sldNum" sz="quarter" idx="12"/>
          </p:nvPr>
        </p:nvSpPr>
        <p:spPr>
          <a:xfrm>
            <a:off x="6553200" y="6456623"/>
            <a:ext cx="2133600" cy="365125"/>
          </a:xfrm>
        </p:spPr>
        <p:txBody>
          <a:bodyPr/>
          <a:lstStyle/>
          <a:p>
            <a:fld id="{4D86EDED-B1AF-7E4B-94C9-3F0EAA36C7D5}" type="slidenum">
              <a:rPr lang="en-US" smtClean="0"/>
              <a:pPr/>
              <a:t>14</a:t>
            </a:fld>
            <a:endParaRPr lang="en-US" dirty="0"/>
          </a:p>
        </p:txBody>
      </p:sp>
      <p:grpSp>
        <p:nvGrpSpPr>
          <p:cNvPr id="2" name="Group 5"/>
          <p:cNvGrpSpPr/>
          <p:nvPr/>
        </p:nvGrpSpPr>
        <p:grpSpPr>
          <a:xfrm>
            <a:off x="945367" y="942752"/>
            <a:ext cx="6653468" cy="5645226"/>
            <a:chOff x="1953896" y="456264"/>
            <a:chExt cx="5701405" cy="4837435"/>
          </a:xfrm>
        </p:grpSpPr>
        <p:sp>
          <p:nvSpPr>
            <p:cNvPr id="10" name="Freeform 8"/>
            <p:cNvSpPr>
              <a:spLocks/>
            </p:cNvSpPr>
            <p:nvPr/>
          </p:nvSpPr>
          <p:spPr bwMode="auto">
            <a:xfrm>
              <a:off x="1953896" y="456264"/>
              <a:ext cx="5701405" cy="4837435"/>
            </a:xfrm>
            <a:custGeom>
              <a:avLst/>
              <a:gdLst>
                <a:gd name="T0" fmla="*/ 29066 w 30070"/>
                <a:gd name="T1" fmla="*/ 3476 h 25517"/>
                <a:gd name="T2" fmla="*/ 28066 w 30070"/>
                <a:gd name="T3" fmla="*/ 5139 h 25517"/>
                <a:gd name="T4" fmla="*/ 26800 w 30070"/>
                <a:gd name="T5" fmla="*/ 6470 h 25517"/>
                <a:gd name="T6" fmla="*/ 25268 w 30070"/>
                <a:gd name="T7" fmla="*/ 7464 h 25517"/>
                <a:gd name="T8" fmla="*/ 22959 w 30070"/>
                <a:gd name="T9" fmla="*/ 8253 h 25517"/>
                <a:gd name="T10" fmla="*/ 18974 w 30070"/>
                <a:gd name="T11" fmla="*/ 8616 h 25517"/>
                <a:gd name="T12" fmla="*/ 13442 w 30070"/>
                <a:gd name="T13" fmla="*/ 8476 h 25517"/>
                <a:gd name="T14" fmla="*/ 10755 w 30070"/>
                <a:gd name="T15" fmla="*/ 8794 h 25517"/>
                <a:gd name="T16" fmla="*/ 9204 w 30070"/>
                <a:gd name="T17" fmla="*/ 9363 h 25517"/>
                <a:gd name="T18" fmla="*/ 8000 w 30070"/>
                <a:gd name="T19" fmla="*/ 10363 h 25517"/>
                <a:gd name="T20" fmla="*/ 7718 w 30070"/>
                <a:gd name="T21" fmla="*/ 11592 h 25517"/>
                <a:gd name="T22" fmla="*/ 8210 w 30070"/>
                <a:gd name="T23" fmla="*/ 12550 h 25517"/>
                <a:gd name="T24" fmla="*/ 9282 w 30070"/>
                <a:gd name="T25" fmla="*/ 13168 h 25517"/>
                <a:gd name="T26" fmla="*/ 10909 w 30070"/>
                <a:gd name="T27" fmla="*/ 13386 h 25517"/>
                <a:gd name="T28" fmla="*/ 13641 w 30070"/>
                <a:gd name="T29" fmla="*/ 12976 h 25517"/>
                <a:gd name="T30" fmla="*/ 17987 w 30070"/>
                <a:gd name="T31" fmla="*/ 11670 h 25517"/>
                <a:gd name="T32" fmla="*/ 20239 w 30070"/>
                <a:gd name="T33" fmla="*/ 11407 h 25517"/>
                <a:gd name="T34" fmla="*/ 22752 w 30070"/>
                <a:gd name="T35" fmla="*/ 12048 h 25517"/>
                <a:gd name="T36" fmla="*/ 24667 w 30070"/>
                <a:gd name="T37" fmla="*/ 13615 h 25517"/>
                <a:gd name="T38" fmla="*/ 25582 w 30070"/>
                <a:gd name="T39" fmla="*/ 15314 h 25517"/>
                <a:gd name="T40" fmla="*/ 25771 w 30070"/>
                <a:gd name="T41" fmla="*/ 16655 h 25517"/>
                <a:gd name="T42" fmla="*/ 25547 w 30070"/>
                <a:gd name="T43" fmla="*/ 18062 h 25517"/>
                <a:gd name="T44" fmla="*/ 24345 w 30070"/>
                <a:gd name="T45" fmla="*/ 20267 h 25517"/>
                <a:gd name="T46" fmla="*/ 22545 w 30070"/>
                <a:gd name="T47" fmla="*/ 21826 h 25517"/>
                <a:gd name="T48" fmla="*/ 20527 w 30070"/>
                <a:gd name="T49" fmla="*/ 22663 h 25517"/>
                <a:gd name="T50" fmla="*/ 18121 w 30070"/>
                <a:gd name="T51" fmla="*/ 22954 h 25517"/>
                <a:gd name="T52" fmla="*/ 14451 w 30070"/>
                <a:gd name="T53" fmla="*/ 22560 h 25517"/>
                <a:gd name="T54" fmla="*/ 8798 w 30070"/>
                <a:gd name="T55" fmla="*/ 21275 h 25517"/>
                <a:gd name="T56" fmla="*/ 6225 w 30070"/>
                <a:gd name="T57" fmla="*/ 21083 h 25517"/>
                <a:gd name="T58" fmla="*/ 4324 w 30070"/>
                <a:gd name="T59" fmla="*/ 21545 h 25517"/>
                <a:gd name="T60" fmla="*/ 3165 w 30070"/>
                <a:gd name="T61" fmla="*/ 22669 h 25517"/>
                <a:gd name="T62" fmla="*/ 2575 w 30070"/>
                <a:gd name="T63" fmla="*/ 24340 h 25517"/>
                <a:gd name="T64" fmla="*/ 18 w 30070"/>
                <a:gd name="T65" fmla="*/ 24993 h 25517"/>
                <a:gd name="T66" fmla="*/ 546 w 30070"/>
                <a:gd name="T67" fmla="*/ 22604 h 25517"/>
                <a:gd name="T68" fmla="*/ 2082 w 30070"/>
                <a:gd name="T69" fmla="*/ 20445 h 25517"/>
                <a:gd name="T70" fmla="*/ 4559 w 30070"/>
                <a:gd name="T71" fmla="*/ 19278 h 25517"/>
                <a:gd name="T72" fmla="*/ 7765 w 30070"/>
                <a:gd name="T73" fmla="*/ 19097 h 25517"/>
                <a:gd name="T74" fmla="*/ 12609 w 30070"/>
                <a:gd name="T75" fmla="*/ 20050 h 25517"/>
                <a:gd name="T76" fmla="*/ 17389 w 30070"/>
                <a:gd name="T77" fmla="*/ 20918 h 25517"/>
                <a:gd name="T78" fmla="*/ 19470 w 30070"/>
                <a:gd name="T79" fmla="*/ 20799 h 25517"/>
                <a:gd name="T80" fmla="*/ 20879 w 30070"/>
                <a:gd name="T81" fmla="*/ 20309 h 25517"/>
                <a:gd name="T82" fmla="*/ 22060 w 30070"/>
                <a:gd name="T83" fmla="*/ 19407 h 25517"/>
                <a:gd name="T84" fmla="*/ 23078 w 30070"/>
                <a:gd name="T85" fmla="*/ 17790 h 25517"/>
                <a:gd name="T86" fmla="*/ 23233 w 30070"/>
                <a:gd name="T87" fmla="*/ 15966 h 25517"/>
                <a:gd name="T88" fmla="*/ 22584 w 30070"/>
                <a:gd name="T89" fmla="*/ 14708 h 25517"/>
                <a:gd name="T90" fmla="*/ 21438 w 30070"/>
                <a:gd name="T91" fmla="*/ 13761 h 25517"/>
                <a:gd name="T92" fmla="*/ 19886 w 30070"/>
                <a:gd name="T93" fmla="*/ 13424 h 25517"/>
                <a:gd name="T94" fmla="*/ 17425 w 30070"/>
                <a:gd name="T95" fmla="*/ 13964 h 25517"/>
                <a:gd name="T96" fmla="*/ 12814 w 30070"/>
                <a:gd name="T97" fmla="*/ 15242 h 25517"/>
                <a:gd name="T98" fmla="*/ 10450 w 30070"/>
                <a:gd name="T99" fmla="*/ 15396 h 25517"/>
                <a:gd name="T100" fmla="*/ 7847 w 30070"/>
                <a:gd name="T101" fmla="*/ 14851 h 25517"/>
                <a:gd name="T102" fmla="*/ 5965 w 30070"/>
                <a:gd name="T103" fmla="*/ 13451 h 25517"/>
                <a:gd name="T104" fmla="*/ 5231 w 30070"/>
                <a:gd name="T105" fmla="*/ 11431 h 25517"/>
                <a:gd name="T106" fmla="*/ 5424 w 30070"/>
                <a:gd name="T107" fmla="*/ 10189 h 25517"/>
                <a:gd name="T108" fmla="*/ 6070 w 30070"/>
                <a:gd name="T109" fmla="*/ 9077 h 25517"/>
                <a:gd name="T110" fmla="*/ 7318 w 30070"/>
                <a:gd name="T111" fmla="*/ 7986 h 25517"/>
                <a:gd name="T112" fmla="*/ 9827 w 30070"/>
                <a:gd name="T113" fmla="*/ 6914 h 25517"/>
                <a:gd name="T114" fmla="*/ 12889 w 30070"/>
                <a:gd name="T115" fmla="*/ 6476 h 25517"/>
                <a:gd name="T116" fmla="*/ 18534 w 30070"/>
                <a:gd name="T117" fmla="*/ 6591 h 25517"/>
                <a:gd name="T118" fmla="*/ 21917 w 30070"/>
                <a:gd name="T119" fmla="*/ 6384 h 25517"/>
                <a:gd name="T120" fmla="*/ 24474 w 30070"/>
                <a:gd name="T121" fmla="*/ 5468 h 25517"/>
                <a:gd name="T122" fmla="*/ 26398 w 30070"/>
                <a:gd name="T123" fmla="*/ 3461 h 25517"/>
                <a:gd name="T124" fmla="*/ 27570 w 30070"/>
                <a:gd name="T125" fmla="*/ 304 h 25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070" h="25517">
                  <a:moveTo>
                    <a:pt x="27633" y="0"/>
                  </a:moveTo>
                  <a:lnTo>
                    <a:pt x="30070" y="316"/>
                  </a:lnTo>
                  <a:lnTo>
                    <a:pt x="30070" y="316"/>
                  </a:lnTo>
                  <a:lnTo>
                    <a:pt x="30032" y="501"/>
                  </a:lnTo>
                  <a:lnTo>
                    <a:pt x="29994" y="684"/>
                  </a:lnTo>
                  <a:lnTo>
                    <a:pt x="29953" y="865"/>
                  </a:lnTo>
                  <a:lnTo>
                    <a:pt x="29911" y="1044"/>
                  </a:lnTo>
                  <a:lnTo>
                    <a:pt x="29866" y="1220"/>
                  </a:lnTo>
                  <a:lnTo>
                    <a:pt x="29820" y="1395"/>
                  </a:lnTo>
                  <a:lnTo>
                    <a:pt x="29773" y="1568"/>
                  </a:lnTo>
                  <a:lnTo>
                    <a:pt x="29724" y="1738"/>
                  </a:lnTo>
                  <a:lnTo>
                    <a:pt x="29672" y="1907"/>
                  </a:lnTo>
                  <a:lnTo>
                    <a:pt x="29620" y="2073"/>
                  </a:lnTo>
                  <a:lnTo>
                    <a:pt x="29565" y="2237"/>
                  </a:lnTo>
                  <a:lnTo>
                    <a:pt x="29508" y="2400"/>
                  </a:lnTo>
                  <a:lnTo>
                    <a:pt x="29451" y="2560"/>
                  </a:lnTo>
                  <a:lnTo>
                    <a:pt x="29391" y="2718"/>
                  </a:lnTo>
                  <a:lnTo>
                    <a:pt x="29329" y="2874"/>
                  </a:lnTo>
                  <a:lnTo>
                    <a:pt x="29266" y="3027"/>
                  </a:lnTo>
                  <a:lnTo>
                    <a:pt x="29234" y="3103"/>
                  </a:lnTo>
                  <a:lnTo>
                    <a:pt x="29202" y="3179"/>
                  </a:lnTo>
                  <a:lnTo>
                    <a:pt x="29168" y="3254"/>
                  </a:lnTo>
                  <a:lnTo>
                    <a:pt x="29134" y="3329"/>
                  </a:lnTo>
                  <a:lnTo>
                    <a:pt x="29101" y="3402"/>
                  </a:lnTo>
                  <a:lnTo>
                    <a:pt x="29066" y="3476"/>
                  </a:lnTo>
                  <a:lnTo>
                    <a:pt x="29032" y="3549"/>
                  </a:lnTo>
                  <a:lnTo>
                    <a:pt x="28996" y="3621"/>
                  </a:lnTo>
                  <a:lnTo>
                    <a:pt x="28960" y="3693"/>
                  </a:lnTo>
                  <a:lnTo>
                    <a:pt x="28924" y="3764"/>
                  </a:lnTo>
                  <a:lnTo>
                    <a:pt x="28888" y="3835"/>
                  </a:lnTo>
                  <a:lnTo>
                    <a:pt x="28851" y="3905"/>
                  </a:lnTo>
                  <a:lnTo>
                    <a:pt x="28813" y="3976"/>
                  </a:lnTo>
                  <a:lnTo>
                    <a:pt x="28775" y="4044"/>
                  </a:lnTo>
                  <a:lnTo>
                    <a:pt x="28737" y="4113"/>
                  </a:lnTo>
                  <a:lnTo>
                    <a:pt x="28699" y="4181"/>
                  </a:lnTo>
                  <a:lnTo>
                    <a:pt x="28660" y="4249"/>
                  </a:lnTo>
                  <a:lnTo>
                    <a:pt x="28619" y="4316"/>
                  </a:lnTo>
                  <a:lnTo>
                    <a:pt x="28580" y="4382"/>
                  </a:lnTo>
                  <a:lnTo>
                    <a:pt x="28539" y="4448"/>
                  </a:lnTo>
                  <a:lnTo>
                    <a:pt x="28499" y="4514"/>
                  </a:lnTo>
                  <a:lnTo>
                    <a:pt x="28457" y="4579"/>
                  </a:lnTo>
                  <a:lnTo>
                    <a:pt x="28415" y="4643"/>
                  </a:lnTo>
                  <a:lnTo>
                    <a:pt x="28373" y="4707"/>
                  </a:lnTo>
                  <a:lnTo>
                    <a:pt x="28331" y="4770"/>
                  </a:lnTo>
                  <a:lnTo>
                    <a:pt x="28287" y="4834"/>
                  </a:lnTo>
                  <a:lnTo>
                    <a:pt x="28244" y="4896"/>
                  </a:lnTo>
                  <a:lnTo>
                    <a:pt x="28200" y="4957"/>
                  </a:lnTo>
                  <a:lnTo>
                    <a:pt x="28156" y="5019"/>
                  </a:lnTo>
                  <a:lnTo>
                    <a:pt x="28111" y="5079"/>
                  </a:lnTo>
                  <a:lnTo>
                    <a:pt x="28066" y="5139"/>
                  </a:lnTo>
                  <a:lnTo>
                    <a:pt x="28021" y="5199"/>
                  </a:lnTo>
                  <a:lnTo>
                    <a:pt x="27975" y="5258"/>
                  </a:lnTo>
                  <a:lnTo>
                    <a:pt x="27928" y="5316"/>
                  </a:lnTo>
                  <a:lnTo>
                    <a:pt x="27881" y="5375"/>
                  </a:lnTo>
                  <a:lnTo>
                    <a:pt x="27834" y="5432"/>
                  </a:lnTo>
                  <a:lnTo>
                    <a:pt x="27787" y="5489"/>
                  </a:lnTo>
                  <a:lnTo>
                    <a:pt x="27738" y="5546"/>
                  </a:lnTo>
                  <a:lnTo>
                    <a:pt x="27690" y="5602"/>
                  </a:lnTo>
                  <a:lnTo>
                    <a:pt x="27641" y="5657"/>
                  </a:lnTo>
                  <a:lnTo>
                    <a:pt x="27591" y="5712"/>
                  </a:lnTo>
                  <a:lnTo>
                    <a:pt x="27541" y="5766"/>
                  </a:lnTo>
                  <a:lnTo>
                    <a:pt x="27491" y="5820"/>
                  </a:lnTo>
                  <a:lnTo>
                    <a:pt x="27441" y="5873"/>
                  </a:lnTo>
                  <a:lnTo>
                    <a:pt x="27389" y="5926"/>
                  </a:lnTo>
                  <a:lnTo>
                    <a:pt x="27338" y="5978"/>
                  </a:lnTo>
                  <a:lnTo>
                    <a:pt x="27286" y="6030"/>
                  </a:lnTo>
                  <a:lnTo>
                    <a:pt x="27233" y="6081"/>
                  </a:lnTo>
                  <a:lnTo>
                    <a:pt x="27181" y="6131"/>
                  </a:lnTo>
                  <a:lnTo>
                    <a:pt x="27128" y="6182"/>
                  </a:lnTo>
                  <a:lnTo>
                    <a:pt x="27075" y="6231"/>
                  </a:lnTo>
                  <a:lnTo>
                    <a:pt x="27020" y="6280"/>
                  </a:lnTo>
                  <a:lnTo>
                    <a:pt x="26966" y="6328"/>
                  </a:lnTo>
                  <a:lnTo>
                    <a:pt x="26911" y="6376"/>
                  </a:lnTo>
                  <a:lnTo>
                    <a:pt x="26855" y="6423"/>
                  </a:lnTo>
                  <a:lnTo>
                    <a:pt x="26800" y="6470"/>
                  </a:lnTo>
                  <a:lnTo>
                    <a:pt x="26744" y="6517"/>
                  </a:lnTo>
                  <a:lnTo>
                    <a:pt x="26686" y="6562"/>
                  </a:lnTo>
                  <a:lnTo>
                    <a:pt x="26630" y="6607"/>
                  </a:lnTo>
                  <a:lnTo>
                    <a:pt x="26573" y="6651"/>
                  </a:lnTo>
                  <a:lnTo>
                    <a:pt x="26514" y="6696"/>
                  </a:lnTo>
                  <a:lnTo>
                    <a:pt x="26456" y="6740"/>
                  </a:lnTo>
                  <a:lnTo>
                    <a:pt x="26398" y="6782"/>
                  </a:lnTo>
                  <a:lnTo>
                    <a:pt x="26338" y="6824"/>
                  </a:lnTo>
                  <a:lnTo>
                    <a:pt x="26279" y="6867"/>
                  </a:lnTo>
                  <a:lnTo>
                    <a:pt x="26219" y="6908"/>
                  </a:lnTo>
                  <a:lnTo>
                    <a:pt x="26158" y="6949"/>
                  </a:lnTo>
                  <a:lnTo>
                    <a:pt x="26097" y="6989"/>
                  </a:lnTo>
                  <a:lnTo>
                    <a:pt x="26037" y="7030"/>
                  </a:lnTo>
                  <a:lnTo>
                    <a:pt x="25974" y="7069"/>
                  </a:lnTo>
                  <a:lnTo>
                    <a:pt x="25913" y="7107"/>
                  </a:lnTo>
                  <a:lnTo>
                    <a:pt x="25850" y="7145"/>
                  </a:lnTo>
                  <a:lnTo>
                    <a:pt x="25787" y="7183"/>
                  </a:lnTo>
                  <a:lnTo>
                    <a:pt x="25724" y="7220"/>
                  </a:lnTo>
                  <a:lnTo>
                    <a:pt x="25659" y="7256"/>
                  </a:lnTo>
                  <a:lnTo>
                    <a:pt x="25596" y="7292"/>
                  </a:lnTo>
                  <a:lnTo>
                    <a:pt x="25531" y="7327"/>
                  </a:lnTo>
                  <a:lnTo>
                    <a:pt x="25466" y="7363"/>
                  </a:lnTo>
                  <a:lnTo>
                    <a:pt x="25401" y="7397"/>
                  </a:lnTo>
                  <a:lnTo>
                    <a:pt x="25335" y="7431"/>
                  </a:lnTo>
                  <a:lnTo>
                    <a:pt x="25268" y="7464"/>
                  </a:lnTo>
                  <a:lnTo>
                    <a:pt x="25202" y="7496"/>
                  </a:lnTo>
                  <a:lnTo>
                    <a:pt x="25134" y="7529"/>
                  </a:lnTo>
                  <a:lnTo>
                    <a:pt x="25067" y="7561"/>
                  </a:lnTo>
                  <a:lnTo>
                    <a:pt x="24999" y="7592"/>
                  </a:lnTo>
                  <a:lnTo>
                    <a:pt x="24930" y="7622"/>
                  </a:lnTo>
                  <a:lnTo>
                    <a:pt x="24862" y="7652"/>
                  </a:lnTo>
                  <a:lnTo>
                    <a:pt x="24793" y="7681"/>
                  </a:lnTo>
                  <a:lnTo>
                    <a:pt x="24723" y="7711"/>
                  </a:lnTo>
                  <a:lnTo>
                    <a:pt x="24653" y="7739"/>
                  </a:lnTo>
                  <a:lnTo>
                    <a:pt x="24582" y="7767"/>
                  </a:lnTo>
                  <a:lnTo>
                    <a:pt x="24512" y="7794"/>
                  </a:lnTo>
                  <a:lnTo>
                    <a:pt x="24441" y="7821"/>
                  </a:lnTo>
                  <a:lnTo>
                    <a:pt x="24368" y="7847"/>
                  </a:lnTo>
                  <a:lnTo>
                    <a:pt x="24297" y="7873"/>
                  </a:lnTo>
                  <a:lnTo>
                    <a:pt x="24223" y="7898"/>
                  </a:lnTo>
                  <a:lnTo>
                    <a:pt x="24223" y="7898"/>
                  </a:lnTo>
                  <a:lnTo>
                    <a:pt x="24087" y="7944"/>
                  </a:lnTo>
                  <a:lnTo>
                    <a:pt x="23949" y="7987"/>
                  </a:lnTo>
                  <a:lnTo>
                    <a:pt x="23811" y="8031"/>
                  </a:lnTo>
                  <a:lnTo>
                    <a:pt x="23671" y="8072"/>
                  </a:lnTo>
                  <a:lnTo>
                    <a:pt x="23531" y="8111"/>
                  </a:lnTo>
                  <a:lnTo>
                    <a:pt x="23390" y="8148"/>
                  </a:lnTo>
                  <a:lnTo>
                    <a:pt x="23248" y="8184"/>
                  </a:lnTo>
                  <a:lnTo>
                    <a:pt x="23104" y="8220"/>
                  </a:lnTo>
                  <a:lnTo>
                    <a:pt x="22959" y="8253"/>
                  </a:lnTo>
                  <a:lnTo>
                    <a:pt x="22813" y="8284"/>
                  </a:lnTo>
                  <a:lnTo>
                    <a:pt x="22666" y="8314"/>
                  </a:lnTo>
                  <a:lnTo>
                    <a:pt x="22518" y="8343"/>
                  </a:lnTo>
                  <a:lnTo>
                    <a:pt x="22368" y="8371"/>
                  </a:lnTo>
                  <a:lnTo>
                    <a:pt x="22216" y="8397"/>
                  </a:lnTo>
                  <a:lnTo>
                    <a:pt x="22062" y="8421"/>
                  </a:lnTo>
                  <a:lnTo>
                    <a:pt x="21907" y="8443"/>
                  </a:lnTo>
                  <a:lnTo>
                    <a:pt x="21750" y="8464"/>
                  </a:lnTo>
                  <a:lnTo>
                    <a:pt x="21591" y="8484"/>
                  </a:lnTo>
                  <a:lnTo>
                    <a:pt x="21431" y="8502"/>
                  </a:lnTo>
                  <a:lnTo>
                    <a:pt x="21268" y="8519"/>
                  </a:lnTo>
                  <a:lnTo>
                    <a:pt x="21104" y="8536"/>
                  </a:lnTo>
                  <a:lnTo>
                    <a:pt x="20937" y="8550"/>
                  </a:lnTo>
                  <a:lnTo>
                    <a:pt x="20768" y="8563"/>
                  </a:lnTo>
                  <a:lnTo>
                    <a:pt x="20597" y="8574"/>
                  </a:lnTo>
                  <a:lnTo>
                    <a:pt x="20424" y="8584"/>
                  </a:lnTo>
                  <a:lnTo>
                    <a:pt x="20248" y="8593"/>
                  </a:lnTo>
                  <a:lnTo>
                    <a:pt x="20069" y="8600"/>
                  </a:lnTo>
                  <a:lnTo>
                    <a:pt x="19888" y="8606"/>
                  </a:lnTo>
                  <a:lnTo>
                    <a:pt x="19705" y="8610"/>
                  </a:lnTo>
                  <a:lnTo>
                    <a:pt x="19519" y="8614"/>
                  </a:lnTo>
                  <a:lnTo>
                    <a:pt x="19329" y="8615"/>
                  </a:lnTo>
                  <a:lnTo>
                    <a:pt x="19137" y="8616"/>
                  </a:lnTo>
                  <a:lnTo>
                    <a:pt x="19137" y="8616"/>
                  </a:lnTo>
                  <a:lnTo>
                    <a:pt x="18974" y="8616"/>
                  </a:lnTo>
                  <a:lnTo>
                    <a:pt x="18811" y="8614"/>
                  </a:lnTo>
                  <a:lnTo>
                    <a:pt x="18648" y="8612"/>
                  </a:lnTo>
                  <a:lnTo>
                    <a:pt x="18485" y="8610"/>
                  </a:lnTo>
                  <a:lnTo>
                    <a:pt x="18322" y="8606"/>
                  </a:lnTo>
                  <a:lnTo>
                    <a:pt x="18159" y="8602"/>
                  </a:lnTo>
                  <a:lnTo>
                    <a:pt x="17834" y="8592"/>
                  </a:lnTo>
                  <a:lnTo>
                    <a:pt x="17509" y="8581"/>
                  </a:lnTo>
                  <a:lnTo>
                    <a:pt x="17186" y="8568"/>
                  </a:lnTo>
                  <a:lnTo>
                    <a:pt x="16548" y="8541"/>
                  </a:lnTo>
                  <a:lnTo>
                    <a:pt x="16548" y="8541"/>
                  </a:lnTo>
                  <a:lnTo>
                    <a:pt x="15914" y="8513"/>
                  </a:lnTo>
                  <a:lnTo>
                    <a:pt x="15603" y="8500"/>
                  </a:lnTo>
                  <a:lnTo>
                    <a:pt x="15295" y="8489"/>
                  </a:lnTo>
                  <a:lnTo>
                    <a:pt x="14990" y="8480"/>
                  </a:lnTo>
                  <a:lnTo>
                    <a:pt x="14686" y="8473"/>
                  </a:lnTo>
                  <a:lnTo>
                    <a:pt x="14534" y="8471"/>
                  </a:lnTo>
                  <a:lnTo>
                    <a:pt x="14383" y="8469"/>
                  </a:lnTo>
                  <a:lnTo>
                    <a:pt x="14232" y="8468"/>
                  </a:lnTo>
                  <a:lnTo>
                    <a:pt x="14082" y="8467"/>
                  </a:lnTo>
                  <a:lnTo>
                    <a:pt x="14082" y="8467"/>
                  </a:lnTo>
                  <a:lnTo>
                    <a:pt x="13951" y="8467"/>
                  </a:lnTo>
                  <a:lnTo>
                    <a:pt x="13821" y="8468"/>
                  </a:lnTo>
                  <a:lnTo>
                    <a:pt x="13692" y="8470"/>
                  </a:lnTo>
                  <a:lnTo>
                    <a:pt x="13567" y="8473"/>
                  </a:lnTo>
                  <a:lnTo>
                    <a:pt x="13442" y="8476"/>
                  </a:lnTo>
                  <a:lnTo>
                    <a:pt x="13318" y="8480"/>
                  </a:lnTo>
                  <a:lnTo>
                    <a:pt x="13196" y="8484"/>
                  </a:lnTo>
                  <a:lnTo>
                    <a:pt x="13077" y="8489"/>
                  </a:lnTo>
                  <a:lnTo>
                    <a:pt x="12958" y="8495"/>
                  </a:lnTo>
                  <a:lnTo>
                    <a:pt x="12840" y="8502"/>
                  </a:lnTo>
                  <a:lnTo>
                    <a:pt x="12725" y="8510"/>
                  </a:lnTo>
                  <a:lnTo>
                    <a:pt x="12610" y="8518"/>
                  </a:lnTo>
                  <a:lnTo>
                    <a:pt x="12498" y="8527"/>
                  </a:lnTo>
                  <a:lnTo>
                    <a:pt x="12386" y="8537"/>
                  </a:lnTo>
                  <a:lnTo>
                    <a:pt x="12275" y="8547"/>
                  </a:lnTo>
                  <a:lnTo>
                    <a:pt x="12167" y="8559"/>
                  </a:lnTo>
                  <a:lnTo>
                    <a:pt x="12058" y="8570"/>
                  </a:lnTo>
                  <a:lnTo>
                    <a:pt x="11951" y="8583"/>
                  </a:lnTo>
                  <a:lnTo>
                    <a:pt x="11846" y="8596"/>
                  </a:lnTo>
                  <a:lnTo>
                    <a:pt x="11741" y="8610"/>
                  </a:lnTo>
                  <a:lnTo>
                    <a:pt x="11639" y="8625"/>
                  </a:lnTo>
                  <a:lnTo>
                    <a:pt x="11536" y="8641"/>
                  </a:lnTo>
                  <a:lnTo>
                    <a:pt x="11435" y="8657"/>
                  </a:lnTo>
                  <a:lnTo>
                    <a:pt x="11335" y="8674"/>
                  </a:lnTo>
                  <a:lnTo>
                    <a:pt x="11236" y="8692"/>
                  </a:lnTo>
                  <a:lnTo>
                    <a:pt x="11138" y="8712"/>
                  </a:lnTo>
                  <a:lnTo>
                    <a:pt x="11040" y="8731"/>
                  </a:lnTo>
                  <a:lnTo>
                    <a:pt x="10945" y="8751"/>
                  </a:lnTo>
                  <a:lnTo>
                    <a:pt x="10849" y="8772"/>
                  </a:lnTo>
                  <a:lnTo>
                    <a:pt x="10755" y="8794"/>
                  </a:lnTo>
                  <a:lnTo>
                    <a:pt x="10661" y="8816"/>
                  </a:lnTo>
                  <a:lnTo>
                    <a:pt x="10568" y="8840"/>
                  </a:lnTo>
                  <a:lnTo>
                    <a:pt x="10568" y="8840"/>
                  </a:lnTo>
                  <a:lnTo>
                    <a:pt x="10506" y="8856"/>
                  </a:lnTo>
                  <a:lnTo>
                    <a:pt x="10444" y="8874"/>
                  </a:lnTo>
                  <a:lnTo>
                    <a:pt x="10381" y="8891"/>
                  </a:lnTo>
                  <a:lnTo>
                    <a:pt x="10319" y="8910"/>
                  </a:lnTo>
                  <a:lnTo>
                    <a:pt x="10257" y="8929"/>
                  </a:lnTo>
                  <a:lnTo>
                    <a:pt x="10194" y="8948"/>
                  </a:lnTo>
                  <a:lnTo>
                    <a:pt x="10131" y="8969"/>
                  </a:lnTo>
                  <a:lnTo>
                    <a:pt x="10068" y="8990"/>
                  </a:lnTo>
                  <a:lnTo>
                    <a:pt x="10005" y="9012"/>
                  </a:lnTo>
                  <a:lnTo>
                    <a:pt x="9942" y="9035"/>
                  </a:lnTo>
                  <a:lnTo>
                    <a:pt x="9880" y="9059"/>
                  </a:lnTo>
                  <a:lnTo>
                    <a:pt x="9816" y="9083"/>
                  </a:lnTo>
                  <a:lnTo>
                    <a:pt x="9754" y="9108"/>
                  </a:lnTo>
                  <a:lnTo>
                    <a:pt x="9692" y="9133"/>
                  </a:lnTo>
                  <a:lnTo>
                    <a:pt x="9629" y="9159"/>
                  </a:lnTo>
                  <a:lnTo>
                    <a:pt x="9568" y="9186"/>
                  </a:lnTo>
                  <a:lnTo>
                    <a:pt x="9506" y="9215"/>
                  </a:lnTo>
                  <a:lnTo>
                    <a:pt x="9445" y="9243"/>
                  </a:lnTo>
                  <a:lnTo>
                    <a:pt x="9384" y="9272"/>
                  </a:lnTo>
                  <a:lnTo>
                    <a:pt x="9323" y="9302"/>
                  </a:lnTo>
                  <a:lnTo>
                    <a:pt x="9263" y="9332"/>
                  </a:lnTo>
                  <a:lnTo>
                    <a:pt x="9204" y="9363"/>
                  </a:lnTo>
                  <a:lnTo>
                    <a:pt x="9145" y="9396"/>
                  </a:lnTo>
                  <a:lnTo>
                    <a:pt x="9087" y="9428"/>
                  </a:lnTo>
                  <a:lnTo>
                    <a:pt x="9029" y="9461"/>
                  </a:lnTo>
                  <a:lnTo>
                    <a:pt x="8972" y="9495"/>
                  </a:lnTo>
                  <a:lnTo>
                    <a:pt x="8916" y="9530"/>
                  </a:lnTo>
                  <a:lnTo>
                    <a:pt x="8861" y="9566"/>
                  </a:lnTo>
                  <a:lnTo>
                    <a:pt x="8805" y="9601"/>
                  </a:lnTo>
                  <a:lnTo>
                    <a:pt x="8751" y="9638"/>
                  </a:lnTo>
                  <a:lnTo>
                    <a:pt x="8699" y="9675"/>
                  </a:lnTo>
                  <a:lnTo>
                    <a:pt x="8647" y="9713"/>
                  </a:lnTo>
                  <a:lnTo>
                    <a:pt x="8595" y="9752"/>
                  </a:lnTo>
                  <a:lnTo>
                    <a:pt x="8545" y="9792"/>
                  </a:lnTo>
                  <a:lnTo>
                    <a:pt x="8496" y="9831"/>
                  </a:lnTo>
                  <a:lnTo>
                    <a:pt x="8447" y="9872"/>
                  </a:lnTo>
                  <a:lnTo>
                    <a:pt x="8400" y="9914"/>
                  </a:lnTo>
                  <a:lnTo>
                    <a:pt x="8355" y="9956"/>
                  </a:lnTo>
                  <a:lnTo>
                    <a:pt x="8310" y="9998"/>
                  </a:lnTo>
                  <a:lnTo>
                    <a:pt x="8266" y="10041"/>
                  </a:lnTo>
                  <a:lnTo>
                    <a:pt x="8224" y="10086"/>
                  </a:lnTo>
                  <a:lnTo>
                    <a:pt x="8184" y="10130"/>
                  </a:lnTo>
                  <a:lnTo>
                    <a:pt x="8144" y="10175"/>
                  </a:lnTo>
                  <a:lnTo>
                    <a:pt x="8106" y="10222"/>
                  </a:lnTo>
                  <a:lnTo>
                    <a:pt x="8069" y="10269"/>
                  </a:lnTo>
                  <a:lnTo>
                    <a:pt x="8034" y="10315"/>
                  </a:lnTo>
                  <a:lnTo>
                    <a:pt x="8000" y="10363"/>
                  </a:lnTo>
                  <a:lnTo>
                    <a:pt x="7968" y="10412"/>
                  </a:lnTo>
                  <a:lnTo>
                    <a:pt x="7938" y="10461"/>
                  </a:lnTo>
                  <a:lnTo>
                    <a:pt x="7908" y="10511"/>
                  </a:lnTo>
                  <a:lnTo>
                    <a:pt x="7881" y="10562"/>
                  </a:lnTo>
                  <a:lnTo>
                    <a:pt x="7855" y="10613"/>
                  </a:lnTo>
                  <a:lnTo>
                    <a:pt x="7832" y="10664"/>
                  </a:lnTo>
                  <a:lnTo>
                    <a:pt x="7810" y="10716"/>
                  </a:lnTo>
                  <a:lnTo>
                    <a:pt x="7790" y="10770"/>
                  </a:lnTo>
                  <a:lnTo>
                    <a:pt x="7771" y="10823"/>
                  </a:lnTo>
                  <a:lnTo>
                    <a:pt x="7755" y="10877"/>
                  </a:lnTo>
                  <a:lnTo>
                    <a:pt x="7740" y="10932"/>
                  </a:lnTo>
                  <a:lnTo>
                    <a:pt x="7727" y="10988"/>
                  </a:lnTo>
                  <a:lnTo>
                    <a:pt x="7717" y="11043"/>
                  </a:lnTo>
                  <a:lnTo>
                    <a:pt x="7708" y="11101"/>
                  </a:lnTo>
                  <a:lnTo>
                    <a:pt x="7702" y="11158"/>
                  </a:lnTo>
                  <a:lnTo>
                    <a:pt x="7698" y="11215"/>
                  </a:lnTo>
                  <a:lnTo>
                    <a:pt x="7696" y="11274"/>
                  </a:lnTo>
                  <a:lnTo>
                    <a:pt x="7696" y="11274"/>
                  </a:lnTo>
                  <a:lnTo>
                    <a:pt x="7696" y="11321"/>
                  </a:lnTo>
                  <a:lnTo>
                    <a:pt x="7697" y="11367"/>
                  </a:lnTo>
                  <a:lnTo>
                    <a:pt x="7699" y="11413"/>
                  </a:lnTo>
                  <a:lnTo>
                    <a:pt x="7702" y="11458"/>
                  </a:lnTo>
                  <a:lnTo>
                    <a:pt x="7706" y="11503"/>
                  </a:lnTo>
                  <a:lnTo>
                    <a:pt x="7712" y="11547"/>
                  </a:lnTo>
                  <a:lnTo>
                    <a:pt x="7718" y="11592"/>
                  </a:lnTo>
                  <a:lnTo>
                    <a:pt x="7725" y="11636"/>
                  </a:lnTo>
                  <a:lnTo>
                    <a:pt x="7734" y="11679"/>
                  </a:lnTo>
                  <a:lnTo>
                    <a:pt x="7743" y="11722"/>
                  </a:lnTo>
                  <a:lnTo>
                    <a:pt x="7755" y="11765"/>
                  </a:lnTo>
                  <a:lnTo>
                    <a:pt x="7767" y="11807"/>
                  </a:lnTo>
                  <a:lnTo>
                    <a:pt x="7779" y="11848"/>
                  </a:lnTo>
                  <a:lnTo>
                    <a:pt x="7793" y="11889"/>
                  </a:lnTo>
                  <a:lnTo>
                    <a:pt x="7808" y="11931"/>
                  </a:lnTo>
                  <a:lnTo>
                    <a:pt x="7823" y="11971"/>
                  </a:lnTo>
                  <a:lnTo>
                    <a:pt x="7840" y="12010"/>
                  </a:lnTo>
                  <a:lnTo>
                    <a:pt x="7858" y="12050"/>
                  </a:lnTo>
                  <a:lnTo>
                    <a:pt x="7876" y="12089"/>
                  </a:lnTo>
                  <a:lnTo>
                    <a:pt x="7896" y="12128"/>
                  </a:lnTo>
                  <a:lnTo>
                    <a:pt x="7917" y="12165"/>
                  </a:lnTo>
                  <a:lnTo>
                    <a:pt x="7940" y="12203"/>
                  </a:lnTo>
                  <a:lnTo>
                    <a:pt x="7962" y="12239"/>
                  </a:lnTo>
                  <a:lnTo>
                    <a:pt x="7986" y="12277"/>
                  </a:lnTo>
                  <a:lnTo>
                    <a:pt x="8010" y="12313"/>
                  </a:lnTo>
                  <a:lnTo>
                    <a:pt x="8036" y="12348"/>
                  </a:lnTo>
                  <a:lnTo>
                    <a:pt x="8062" y="12383"/>
                  </a:lnTo>
                  <a:lnTo>
                    <a:pt x="8090" y="12418"/>
                  </a:lnTo>
                  <a:lnTo>
                    <a:pt x="8119" y="12452"/>
                  </a:lnTo>
                  <a:lnTo>
                    <a:pt x="8149" y="12485"/>
                  </a:lnTo>
                  <a:lnTo>
                    <a:pt x="8179" y="12518"/>
                  </a:lnTo>
                  <a:lnTo>
                    <a:pt x="8210" y="12550"/>
                  </a:lnTo>
                  <a:lnTo>
                    <a:pt x="8242" y="12582"/>
                  </a:lnTo>
                  <a:lnTo>
                    <a:pt x="8275" y="12614"/>
                  </a:lnTo>
                  <a:lnTo>
                    <a:pt x="8310" y="12644"/>
                  </a:lnTo>
                  <a:lnTo>
                    <a:pt x="8345" y="12674"/>
                  </a:lnTo>
                  <a:lnTo>
                    <a:pt x="8381" y="12704"/>
                  </a:lnTo>
                  <a:lnTo>
                    <a:pt x="8418" y="12733"/>
                  </a:lnTo>
                  <a:lnTo>
                    <a:pt x="8455" y="12762"/>
                  </a:lnTo>
                  <a:lnTo>
                    <a:pt x="8495" y="12790"/>
                  </a:lnTo>
                  <a:lnTo>
                    <a:pt x="8534" y="12817"/>
                  </a:lnTo>
                  <a:lnTo>
                    <a:pt x="8574" y="12843"/>
                  </a:lnTo>
                  <a:lnTo>
                    <a:pt x="8615" y="12869"/>
                  </a:lnTo>
                  <a:lnTo>
                    <a:pt x="8658" y="12895"/>
                  </a:lnTo>
                  <a:lnTo>
                    <a:pt x="8701" y="12919"/>
                  </a:lnTo>
                  <a:lnTo>
                    <a:pt x="8744" y="12944"/>
                  </a:lnTo>
                  <a:lnTo>
                    <a:pt x="8789" y="12968"/>
                  </a:lnTo>
                  <a:lnTo>
                    <a:pt x="8835" y="12991"/>
                  </a:lnTo>
                  <a:lnTo>
                    <a:pt x="8881" y="13013"/>
                  </a:lnTo>
                  <a:lnTo>
                    <a:pt x="8928" y="13035"/>
                  </a:lnTo>
                  <a:lnTo>
                    <a:pt x="8976" y="13055"/>
                  </a:lnTo>
                  <a:lnTo>
                    <a:pt x="9026" y="13076"/>
                  </a:lnTo>
                  <a:lnTo>
                    <a:pt x="9075" y="13096"/>
                  </a:lnTo>
                  <a:lnTo>
                    <a:pt x="9126" y="13115"/>
                  </a:lnTo>
                  <a:lnTo>
                    <a:pt x="9178" y="13134"/>
                  </a:lnTo>
                  <a:lnTo>
                    <a:pt x="9229" y="13151"/>
                  </a:lnTo>
                  <a:lnTo>
                    <a:pt x="9282" y="13168"/>
                  </a:lnTo>
                  <a:lnTo>
                    <a:pt x="9336" y="13185"/>
                  </a:lnTo>
                  <a:lnTo>
                    <a:pt x="9391" y="13200"/>
                  </a:lnTo>
                  <a:lnTo>
                    <a:pt x="9446" y="13215"/>
                  </a:lnTo>
                  <a:lnTo>
                    <a:pt x="9501" y="13229"/>
                  </a:lnTo>
                  <a:lnTo>
                    <a:pt x="9559" y="13243"/>
                  </a:lnTo>
                  <a:lnTo>
                    <a:pt x="9616" y="13256"/>
                  </a:lnTo>
                  <a:lnTo>
                    <a:pt x="9674" y="13269"/>
                  </a:lnTo>
                  <a:lnTo>
                    <a:pt x="9674" y="13269"/>
                  </a:lnTo>
                  <a:lnTo>
                    <a:pt x="9748" y="13283"/>
                  </a:lnTo>
                  <a:lnTo>
                    <a:pt x="9822" y="13296"/>
                  </a:lnTo>
                  <a:lnTo>
                    <a:pt x="9897" y="13309"/>
                  </a:lnTo>
                  <a:lnTo>
                    <a:pt x="9971" y="13320"/>
                  </a:lnTo>
                  <a:lnTo>
                    <a:pt x="10048" y="13331"/>
                  </a:lnTo>
                  <a:lnTo>
                    <a:pt x="10123" y="13340"/>
                  </a:lnTo>
                  <a:lnTo>
                    <a:pt x="10199" y="13349"/>
                  </a:lnTo>
                  <a:lnTo>
                    <a:pt x="10277" y="13357"/>
                  </a:lnTo>
                  <a:lnTo>
                    <a:pt x="10354" y="13364"/>
                  </a:lnTo>
                  <a:lnTo>
                    <a:pt x="10433" y="13370"/>
                  </a:lnTo>
                  <a:lnTo>
                    <a:pt x="10511" y="13375"/>
                  </a:lnTo>
                  <a:lnTo>
                    <a:pt x="10590" y="13379"/>
                  </a:lnTo>
                  <a:lnTo>
                    <a:pt x="10669" y="13382"/>
                  </a:lnTo>
                  <a:lnTo>
                    <a:pt x="10749" y="13384"/>
                  </a:lnTo>
                  <a:lnTo>
                    <a:pt x="10829" y="13386"/>
                  </a:lnTo>
                  <a:lnTo>
                    <a:pt x="10909" y="13386"/>
                  </a:lnTo>
                  <a:lnTo>
                    <a:pt x="10909" y="13386"/>
                  </a:lnTo>
                  <a:lnTo>
                    <a:pt x="10985" y="13386"/>
                  </a:lnTo>
                  <a:lnTo>
                    <a:pt x="11059" y="13384"/>
                  </a:lnTo>
                  <a:lnTo>
                    <a:pt x="11135" y="13383"/>
                  </a:lnTo>
                  <a:lnTo>
                    <a:pt x="11210" y="13380"/>
                  </a:lnTo>
                  <a:lnTo>
                    <a:pt x="11286" y="13377"/>
                  </a:lnTo>
                  <a:lnTo>
                    <a:pt x="11361" y="13372"/>
                  </a:lnTo>
                  <a:lnTo>
                    <a:pt x="11436" y="13368"/>
                  </a:lnTo>
                  <a:lnTo>
                    <a:pt x="11512" y="13362"/>
                  </a:lnTo>
                  <a:lnTo>
                    <a:pt x="11587" y="13356"/>
                  </a:lnTo>
                  <a:lnTo>
                    <a:pt x="11663" y="13349"/>
                  </a:lnTo>
                  <a:lnTo>
                    <a:pt x="11738" y="13342"/>
                  </a:lnTo>
                  <a:lnTo>
                    <a:pt x="11815" y="13333"/>
                  </a:lnTo>
                  <a:lnTo>
                    <a:pt x="11890" y="13325"/>
                  </a:lnTo>
                  <a:lnTo>
                    <a:pt x="11965" y="13315"/>
                  </a:lnTo>
                  <a:lnTo>
                    <a:pt x="12117" y="13295"/>
                  </a:lnTo>
                  <a:lnTo>
                    <a:pt x="12269" y="13272"/>
                  </a:lnTo>
                  <a:lnTo>
                    <a:pt x="12421" y="13246"/>
                  </a:lnTo>
                  <a:lnTo>
                    <a:pt x="12574" y="13218"/>
                  </a:lnTo>
                  <a:lnTo>
                    <a:pt x="12726" y="13189"/>
                  </a:lnTo>
                  <a:lnTo>
                    <a:pt x="12879" y="13158"/>
                  </a:lnTo>
                  <a:lnTo>
                    <a:pt x="13031" y="13125"/>
                  </a:lnTo>
                  <a:lnTo>
                    <a:pt x="13183" y="13089"/>
                  </a:lnTo>
                  <a:lnTo>
                    <a:pt x="13335" y="13053"/>
                  </a:lnTo>
                  <a:lnTo>
                    <a:pt x="13488" y="13015"/>
                  </a:lnTo>
                  <a:lnTo>
                    <a:pt x="13641" y="12976"/>
                  </a:lnTo>
                  <a:lnTo>
                    <a:pt x="13793" y="12935"/>
                  </a:lnTo>
                  <a:lnTo>
                    <a:pt x="13946" y="12892"/>
                  </a:lnTo>
                  <a:lnTo>
                    <a:pt x="14098" y="12849"/>
                  </a:lnTo>
                  <a:lnTo>
                    <a:pt x="14249" y="12806"/>
                  </a:lnTo>
                  <a:lnTo>
                    <a:pt x="14402" y="12761"/>
                  </a:lnTo>
                  <a:lnTo>
                    <a:pt x="14554" y="12714"/>
                  </a:lnTo>
                  <a:lnTo>
                    <a:pt x="14705" y="12668"/>
                  </a:lnTo>
                  <a:lnTo>
                    <a:pt x="14857" y="12621"/>
                  </a:lnTo>
                  <a:lnTo>
                    <a:pt x="15160" y="12525"/>
                  </a:lnTo>
                  <a:lnTo>
                    <a:pt x="15461" y="12428"/>
                  </a:lnTo>
                  <a:lnTo>
                    <a:pt x="15762" y="12330"/>
                  </a:lnTo>
                  <a:lnTo>
                    <a:pt x="15960" y="12266"/>
                  </a:lnTo>
                  <a:lnTo>
                    <a:pt x="15960" y="12266"/>
                  </a:lnTo>
                  <a:lnTo>
                    <a:pt x="16376" y="12131"/>
                  </a:lnTo>
                  <a:lnTo>
                    <a:pt x="16585" y="12064"/>
                  </a:lnTo>
                  <a:lnTo>
                    <a:pt x="16796" y="11998"/>
                  </a:lnTo>
                  <a:lnTo>
                    <a:pt x="17008" y="11934"/>
                  </a:lnTo>
                  <a:lnTo>
                    <a:pt x="17222" y="11871"/>
                  </a:lnTo>
                  <a:lnTo>
                    <a:pt x="17330" y="11840"/>
                  </a:lnTo>
                  <a:lnTo>
                    <a:pt x="17439" y="11810"/>
                  </a:lnTo>
                  <a:lnTo>
                    <a:pt x="17547" y="11781"/>
                  </a:lnTo>
                  <a:lnTo>
                    <a:pt x="17656" y="11753"/>
                  </a:lnTo>
                  <a:lnTo>
                    <a:pt x="17766" y="11724"/>
                  </a:lnTo>
                  <a:lnTo>
                    <a:pt x="17876" y="11697"/>
                  </a:lnTo>
                  <a:lnTo>
                    <a:pt x="17987" y="11670"/>
                  </a:lnTo>
                  <a:lnTo>
                    <a:pt x="18098" y="11645"/>
                  </a:lnTo>
                  <a:lnTo>
                    <a:pt x="18210" y="11621"/>
                  </a:lnTo>
                  <a:lnTo>
                    <a:pt x="18323" y="11597"/>
                  </a:lnTo>
                  <a:lnTo>
                    <a:pt x="18436" y="11575"/>
                  </a:lnTo>
                  <a:lnTo>
                    <a:pt x="18550" y="11552"/>
                  </a:lnTo>
                  <a:lnTo>
                    <a:pt x="18665" y="11532"/>
                  </a:lnTo>
                  <a:lnTo>
                    <a:pt x="18780" y="11513"/>
                  </a:lnTo>
                  <a:lnTo>
                    <a:pt x="18896" y="11495"/>
                  </a:lnTo>
                  <a:lnTo>
                    <a:pt x="19013" y="11479"/>
                  </a:lnTo>
                  <a:lnTo>
                    <a:pt x="19130" y="11464"/>
                  </a:lnTo>
                  <a:lnTo>
                    <a:pt x="19249" y="11450"/>
                  </a:lnTo>
                  <a:lnTo>
                    <a:pt x="19368" y="11437"/>
                  </a:lnTo>
                  <a:lnTo>
                    <a:pt x="19487" y="11427"/>
                  </a:lnTo>
                  <a:lnTo>
                    <a:pt x="19487" y="11427"/>
                  </a:lnTo>
                  <a:lnTo>
                    <a:pt x="19555" y="11421"/>
                  </a:lnTo>
                  <a:lnTo>
                    <a:pt x="19622" y="11417"/>
                  </a:lnTo>
                  <a:lnTo>
                    <a:pt x="19689" y="11413"/>
                  </a:lnTo>
                  <a:lnTo>
                    <a:pt x="19757" y="11409"/>
                  </a:lnTo>
                  <a:lnTo>
                    <a:pt x="19824" y="11407"/>
                  </a:lnTo>
                  <a:lnTo>
                    <a:pt x="19892" y="11405"/>
                  </a:lnTo>
                  <a:lnTo>
                    <a:pt x="19959" y="11404"/>
                  </a:lnTo>
                  <a:lnTo>
                    <a:pt x="20025" y="11404"/>
                  </a:lnTo>
                  <a:lnTo>
                    <a:pt x="20025" y="11404"/>
                  </a:lnTo>
                  <a:lnTo>
                    <a:pt x="20132" y="11405"/>
                  </a:lnTo>
                  <a:lnTo>
                    <a:pt x="20239" y="11407"/>
                  </a:lnTo>
                  <a:lnTo>
                    <a:pt x="20344" y="11412"/>
                  </a:lnTo>
                  <a:lnTo>
                    <a:pt x="20451" y="11418"/>
                  </a:lnTo>
                  <a:lnTo>
                    <a:pt x="20555" y="11426"/>
                  </a:lnTo>
                  <a:lnTo>
                    <a:pt x="20661" y="11436"/>
                  </a:lnTo>
                  <a:lnTo>
                    <a:pt x="20766" y="11448"/>
                  </a:lnTo>
                  <a:lnTo>
                    <a:pt x="20870" y="11461"/>
                  </a:lnTo>
                  <a:lnTo>
                    <a:pt x="20974" y="11476"/>
                  </a:lnTo>
                  <a:lnTo>
                    <a:pt x="21077" y="11493"/>
                  </a:lnTo>
                  <a:lnTo>
                    <a:pt x="21181" y="11512"/>
                  </a:lnTo>
                  <a:lnTo>
                    <a:pt x="21284" y="11532"/>
                  </a:lnTo>
                  <a:lnTo>
                    <a:pt x="21386" y="11554"/>
                  </a:lnTo>
                  <a:lnTo>
                    <a:pt x="21488" y="11579"/>
                  </a:lnTo>
                  <a:lnTo>
                    <a:pt x="21588" y="11605"/>
                  </a:lnTo>
                  <a:lnTo>
                    <a:pt x="21689" y="11632"/>
                  </a:lnTo>
                  <a:lnTo>
                    <a:pt x="21789" y="11661"/>
                  </a:lnTo>
                  <a:lnTo>
                    <a:pt x="21888" y="11692"/>
                  </a:lnTo>
                  <a:lnTo>
                    <a:pt x="21988" y="11725"/>
                  </a:lnTo>
                  <a:lnTo>
                    <a:pt x="22085" y="11760"/>
                  </a:lnTo>
                  <a:lnTo>
                    <a:pt x="22183" y="11796"/>
                  </a:lnTo>
                  <a:lnTo>
                    <a:pt x="22279" y="11833"/>
                  </a:lnTo>
                  <a:lnTo>
                    <a:pt x="22376" y="11873"/>
                  </a:lnTo>
                  <a:lnTo>
                    <a:pt x="22470" y="11915"/>
                  </a:lnTo>
                  <a:lnTo>
                    <a:pt x="22565" y="11957"/>
                  </a:lnTo>
                  <a:lnTo>
                    <a:pt x="22658" y="12002"/>
                  </a:lnTo>
                  <a:lnTo>
                    <a:pt x="22752" y="12048"/>
                  </a:lnTo>
                  <a:lnTo>
                    <a:pt x="22843" y="12096"/>
                  </a:lnTo>
                  <a:lnTo>
                    <a:pt x="22935" y="12146"/>
                  </a:lnTo>
                  <a:lnTo>
                    <a:pt x="23025" y="12196"/>
                  </a:lnTo>
                  <a:lnTo>
                    <a:pt x="23115" y="12250"/>
                  </a:lnTo>
                  <a:lnTo>
                    <a:pt x="23203" y="12304"/>
                  </a:lnTo>
                  <a:lnTo>
                    <a:pt x="23203" y="12304"/>
                  </a:lnTo>
                  <a:lnTo>
                    <a:pt x="23292" y="12361"/>
                  </a:lnTo>
                  <a:lnTo>
                    <a:pt x="23379" y="12420"/>
                  </a:lnTo>
                  <a:lnTo>
                    <a:pt x="23465" y="12479"/>
                  </a:lnTo>
                  <a:lnTo>
                    <a:pt x="23550" y="12540"/>
                  </a:lnTo>
                  <a:lnTo>
                    <a:pt x="23634" y="12603"/>
                  </a:lnTo>
                  <a:lnTo>
                    <a:pt x="23716" y="12666"/>
                  </a:lnTo>
                  <a:lnTo>
                    <a:pt x="23798" y="12731"/>
                  </a:lnTo>
                  <a:lnTo>
                    <a:pt x="23877" y="12798"/>
                  </a:lnTo>
                  <a:lnTo>
                    <a:pt x="23956" y="12866"/>
                  </a:lnTo>
                  <a:lnTo>
                    <a:pt x="24033" y="12935"/>
                  </a:lnTo>
                  <a:lnTo>
                    <a:pt x="24109" y="13006"/>
                  </a:lnTo>
                  <a:lnTo>
                    <a:pt x="24183" y="13077"/>
                  </a:lnTo>
                  <a:lnTo>
                    <a:pt x="24256" y="13150"/>
                  </a:lnTo>
                  <a:lnTo>
                    <a:pt x="24329" y="13224"/>
                  </a:lnTo>
                  <a:lnTo>
                    <a:pt x="24399" y="13300"/>
                  </a:lnTo>
                  <a:lnTo>
                    <a:pt x="24468" y="13377"/>
                  </a:lnTo>
                  <a:lnTo>
                    <a:pt x="24535" y="13455"/>
                  </a:lnTo>
                  <a:lnTo>
                    <a:pt x="24601" y="13534"/>
                  </a:lnTo>
                  <a:lnTo>
                    <a:pt x="24667" y="13615"/>
                  </a:lnTo>
                  <a:lnTo>
                    <a:pt x="24729" y="13695"/>
                  </a:lnTo>
                  <a:lnTo>
                    <a:pt x="24792" y="13779"/>
                  </a:lnTo>
                  <a:lnTo>
                    <a:pt x="24852" y="13862"/>
                  </a:lnTo>
                  <a:lnTo>
                    <a:pt x="24910" y="13947"/>
                  </a:lnTo>
                  <a:lnTo>
                    <a:pt x="24968" y="14032"/>
                  </a:lnTo>
                  <a:lnTo>
                    <a:pt x="25024" y="14120"/>
                  </a:lnTo>
                  <a:lnTo>
                    <a:pt x="25077" y="14207"/>
                  </a:lnTo>
                  <a:lnTo>
                    <a:pt x="25130" y="14296"/>
                  </a:lnTo>
                  <a:lnTo>
                    <a:pt x="25182" y="14386"/>
                  </a:lnTo>
                  <a:lnTo>
                    <a:pt x="25231" y="14477"/>
                  </a:lnTo>
                  <a:lnTo>
                    <a:pt x="25278" y="14569"/>
                  </a:lnTo>
                  <a:lnTo>
                    <a:pt x="25325" y="14662"/>
                  </a:lnTo>
                  <a:lnTo>
                    <a:pt x="25369" y="14755"/>
                  </a:lnTo>
                  <a:lnTo>
                    <a:pt x="25369" y="14755"/>
                  </a:lnTo>
                  <a:lnTo>
                    <a:pt x="25392" y="14806"/>
                  </a:lnTo>
                  <a:lnTo>
                    <a:pt x="25414" y="14855"/>
                  </a:lnTo>
                  <a:lnTo>
                    <a:pt x="25435" y="14905"/>
                  </a:lnTo>
                  <a:lnTo>
                    <a:pt x="25456" y="14956"/>
                  </a:lnTo>
                  <a:lnTo>
                    <a:pt x="25476" y="15006"/>
                  </a:lnTo>
                  <a:lnTo>
                    <a:pt x="25496" y="15057"/>
                  </a:lnTo>
                  <a:lnTo>
                    <a:pt x="25514" y="15107"/>
                  </a:lnTo>
                  <a:lnTo>
                    <a:pt x="25532" y="15159"/>
                  </a:lnTo>
                  <a:lnTo>
                    <a:pt x="25550" y="15210"/>
                  </a:lnTo>
                  <a:lnTo>
                    <a:pt x="25566" y="15261"/>
                  </a:lnTo>
                  <a:lnTo>
                    <a:pt x="25582" y="15314"/>
                  </a:lnTo>
                  <a:lnTo>
                    <a:pt x="25598" y="15365"/>
                  </a:lnTo>
                  <a:lnTo>
                    <a:pt x="25612" y="15417"/>
                  </a:lnTo>
                  <a:lnTo>
                    <a:pt x="25626" y="15470"/>
                  </a:lnTo>
                  <a:lnTo>
                    <a:pt x="25640" y="15522"/>
                  </a:lnTo>
                  <a:lnTo>
                    <a:pt x="25652" y="15574"/>
                  </a:lnTo>
                  <a:lnTo>
                    <a:pt x="25666" y="15626"/>
                  </a:lnTo>
                  <a:lnTo>
                    <a:pt x="25677" y="15680"/>
                  </a:lnTo>
                  <a:lnTo>
                    <a:pt x="25688" y="15732"/>
                  </a:lnTo>
                  <a:lnTo>
                    <a:pt x="25698" y="15785"/>
                  </a:lnTo>
                  <a:lnTo>
                    <a:pt x="25707" y="15839"/>
                  </a:lnTo>
                  <a:lnTo>
                    <a:pt x="25716" y="15892"/>
                  </a:lnTo>
                  <a:lnTo>
                    <a:pt x="25724" y="15946"/>
                  </a:lnTo>
                  <a:lnTo>
                    <a:pt x="25732" y="16000"/>
                  </a:lnTo>
                  <a:lnTo>
                    <a:pt x="25739" y="16054"/>
                  </a:lnTo>
                  <a:lnTo>
                    <a:pt x="25745" y="16107"/>
                  </a:lnTo>
                  <a:lnTo>
                    <a:pt x="25750" y="16162"/>
                  </a:lnTo>
                  <a:lnTo>
                    <a:pt x="25755" y="16216"/>
                  </a:lnTo>
                  <a:lnTo>
                    <a:pt x="25759" y="16270"/>
                  </a:lnTo>
                  <a:lnTo>
                    <a:pt x="25763" y="16325"/>
                  </a:lnTo>
                  <a:lnTo>
                    <a:pt x="25766" y="16380"/>
                  </a:lnTo>
                  <a:lnTo>
                    <a:pt x="25768" y="16434"/>
                  </a:lnTo>
                  <a:lnTo>
                    <a:pt x="25770" y="16490"/>
                  </a:lnTo>
                  <a:lnTo>
                    <a:pt x="25771" y="16545"/>
                  </a:lnTo>
                  <a:lnTo>
                    <a:pt x="25771" y="16599"/>
                  </a:lnTo>
                  <a:lnTo>
                    <a:pt x="25771" y="16655"/>
                  </a:lnTo>
                  <a:lnTo>
                    <a:pt x="25770" y="16710"/>
                  </a:lnTo>
                  <a:lnTo>
                    <a:pt x="25768" y="16765"/>
                  </a:lnTo>
                  <a:lnTo>
                    <a:pt x="25766" y="16822"/>
                  </a:lnTo>
                  <a:lnTo>
                    <a:pt x="25763" y="16877"/>
                  </a:lnTo>
                  <a:lnTo>
                    <a:pt x="25759" y="16932"/>
                  </a:lnTo>
                  <a:lnTo>
                    <a:pt x="25755" y="16989"/>
                  </a:lnTo>
                  <a:lnTo>
                    <a:pt x="25750" y="17044"/>
                  </a:lnTo>
                  <a:lnTo>
                    <a:pt x="25744" y="17100"/>
                  </a:lnTo>
                  <a:lnTo>
                    <a:pt x="25738" y="17157"/>
                  </a:lnTo>
                  <a:lnTo>
                    <a:pt x="25731" y="17212"/>
                  </a:lnTo>
                  <a:lnTo>
                    <a:pt x="25723" y="17268"/>
                  </a:lnTo>
                  <a:lnTo>
                    <a:pt x="25715" y="17325"/>
                  </a:lnTo>
                  <a:lnTo>
                    <a:pt x="25706" y="17381"/>
                  </a:lnTo>
                  <a:lnTo>
                    <a:pt x="25697" y="17437"/>
                  </a:lnTo>
                  <a:lnTo>
                    <a:pt x="25686" y="17495"/>
                  </a:lnTo>
                  <a:lnTo>
                    <a:pt x="25676" y="17551"/>
                  </a:lnTo>
                  <a:lnTo>
                    <a:pt x="25664" y="17607"/>
                  </a:lnTo>
                  <a:lnTo>
                    <a:pt x="25651" y="17664"/>
                  </a:lnTo>
                  <a:lnTo>
                    <a:pt x="25638" y="17721"/>
                  </a:lnTo>
                  <a:lnTo>
                    <a:pt x="25624" y="17777"/>
                  </a:lnTo>
                  <a:lnTo>
                    <a:pt x="25610" y="17835"/>
                  </a:lnTo>
                  <a:lnTo>
                    <a:pt x="25595" y="17891"/>
                  </a:lnTo>
                  <a:lnTo>
                    <a:pt x="25580" y="17948"/>
                  </a:lnTo>
                  <a:lnTo>
                    <a:pt x="25564" y="18005"/>
                  </a:lnTo>
                  <a:lnTo>
                    <a:pt x="25547" y="18062"/>
                  </a:lnTo>
                  <a:lnTo>
                    <a:pt x="25530" y="18118"/>
                  </a:lnTo>
                  <a:lnTo>
                    <a:pt x="25511" y="18176"/>
                  </a:lnTo>
                  <a:lnTo>
                    <a:pt x="25493" y="18233"/>
                  </a:lnTo>
                  <a:lnTo>
                    <a:pt x="25493" y="18233"/>
                  </a:lnTo>
                  <a:lnTo>
                    <a:pt x="25456" y="18336"/>
                  </a:lnTo>
                  <a:lnTo>
                    <a:pt x="25419" y="18437"/>
                  </a:lnTo>
                  <a:lnTo>
                    <a:pt x="25379" y="18539"/>
                  </a:lnTo>
                  <a:lnTo>
                    <a:pt x="25338" y="18640"/>
                  </a:lnTo>
                  <a:lnTo>
                    <a:pt x="25294" y="18741"/>
                  </a:lnTo>
                  <a:lnTo>
                    <a:pt x="25248" y="18842"/>
                  </a:lnTo>
                  <a:lnTo>
                    <a:pt x="25201" y="18941"/>
                  </a:lnTo>
                  <a:lnTo>
                    <a:pt x="25152" y="19041"/>
                  </a:lnTo>
                  <a:lnTo>
                    <a:pt x="25100" y="19139"/>
                  </a:lnTo>
                  <a:lnTo>
                    <a:pt x="25047" y="19238"/>
                  </a:lnTo>
                  <a:lnTo>
                    <a:pt x="24992" y="19335"/>
                  </a:lnTo>
                  <a:lnTo>
                    <a:pt x="24934" y="19432"/>
                  </a:lnTo>
                  <a:lnTo>
                    <a:pt x="24876" y="19528"/>
                  </a:lnTo>
                  <a:lnTo>
                    <a:pt x="24816" y="19623"/>
                  </a:lnTo>
                  <a:lnTo>
                    <a:pt x="24753" y="19718"/>
                  </a:lnTo>
                  <a:lnTo>
                    <a:pt x="24690" y="19811"/>
                  </a:lnTo>
                  <a:lnTo>
                    <a:pt x="24624" y="19905"/>
                  </a:lnTo>
                  <a:lnTo>
                    <a:pt x="24556" y="19996"/>
                  </a:lnTo>
                  <a:lnTo>
                    <a:pt x="24488" y="20088"/>
                  </a:lnTo>
                  <a:lnTo>
                    <a:pt x="24417" y="20177"/>
                  </a:lnTo>
                  <a:lnTo>
                    <a:pt x="24345" y="20267"/>
                  </a:lnTo>
                  <a:lnTo>
                    <a:pt x="24272" y="20354"/>
                  </a:lnTo>
                  <a:lnTo>
                    <a:pt x="24196" y="20442"/>
                  </a:lnTo>
                  <a:lnTo>
                    <a:pt x="24120" y="20528"/>
                  </a:lnTo>
                  <a:lnTo>
                    <a:pt x="24041" y="20613"/>
                  </a:lnTo>
                  <a:lnTo>
                    <a:pt x="23961" y="20697"/>
                  </a:lnTo>
                  <a:lnTo>
                    <a:pt x="23880" y="20779"/>
                  </a:lnTo>
                  <a:lnTo>
                    <a:pt x="23798" y="20859"/>
                  </a:lnTo>
                  <a:lnTo>
                    <a:pt x="23713" y="20940"/>
                  </a:lnTo>
                  <a:lnTo>
                    <a:pt x="23628" y="21018"/>
                  </a:lnTo>
                  <a:lnTo>
                    <a:pt x="23541" y="21096"/>
                  </a:lnTo>
                  <a:lnTo>
                    <a:pt x="23453" y="21171"/>
                  </a:lnTo>
                  <a:lnTo>
                    <a:pt x="23453" y="21171"/>
                  </a:lnTo>
                  <a:lnTo>
                    <a:pt x="23387" y="21227"/>
                  </a:lnTo>
                  <a:lnTo>
                    <a:pt x="23319" y="21282"/>
                  </a:lnTo>
                  <a:lnTo>
                    <a:pt x="23252" y="21336"/>
                  </a:lnTo>
                  <a:lnTo>
                    <a:pt x="23183" y="21389"/>
                  </a:lnTo>
                  <a:lnTo>
                    <a:pt x="23115" y="21441"/>
                  </a:lnTo>
                  <a:lnTo>
                    <a:pt x="23046" y="21492"/>
                  </a:lnTo>
                  <a:lnTo>
                    <a:pt x="22975" y="21543"/>
                  </a:lnTo>
                  <a:lnTo>
                    <a:pt x="22905" y="21592"/>
                  </a:lnTo>
                  <a:lnTo>
                    <a:pt x="22834" y="21641"/>
                  </a:lnTo>
                  <a:lnTo>
                    <a:pt x="22763" y="21688"/>
                  </a:lnTo>
                  <a:lnTo>
                    <a:pt x="22691" y="21735"/>
                  </a:lnTo>
                  <a:lnTo>
                    <a:pt x="22618" y="21781"/>
                  </a:lnTo>
                  <a:lnTo>
                    <a:pt x="22545" y="21826"/>
                  </a:lnTo>
                  <a:lnTo>
                    <a:pt x="22471" y="21870"/>
                  </a:lnTo>
                  <a:lnTo>
                    <a:pt x="22397" y="21914"/>
                  </a:lnTo>
                  <a:lnTo>
                    <a:pt x="22322" y="21956"/>
                  </a:lnTo>
                  <a:lnTo>
                    <a:pt x="22247" y="21997"/>
                  </a:lnTo>
                  <a:lnTo>
                    <a:pt x="22171" y="22037"/>
                  </a:lnTo>
                  <a:lnTo>
                    <a:pt x="22094" y="22078"/>
                  </a:lnTo>
                  <a:lnTo>
                    <a:pt x="22017" y="22116"/>
                  </a:lnTo>
                  <a:lnTo>
                    <a:pt x="21939" y="22154"/>
                  </a:lnTo>
                  <a:lnTo>
                    <a:pt x="21861" y="22190"/>
                  </a:lnTo>
                  <a:lnTo>
                    <a:pt x="21782" y="22227"/>
                  </a:lnTo>
                  <a:lnTo>
                    <a:pt x="21703" y="22262"/>
                  </a:lnTo>
                  <a:lnTo>
                    <a:pt x="21622" y="22297"/>
                  </a:lnTo>
                  <a:lnTo>
                    <a:pt x="21542" y="22330"/>
                  </a:lnTo>
                  <a:lnTo>
                    <a:pt x="21461" y="22362"/>
                  </a:lnTo>
                  <a:lnTo>
                    <a:pt x="21379" y="22395"/>
                  </a:lnTo>
                  <a:lnTo>
                    <a:pt x="21297" y="22425"/>
                  </a:lnTo>
                  <a:lnTo>
                    <a:pt x="21214" y="22455"/>
                  </a:lnTo>
                  <a:lnTo>
                    <a:pt x="21130" y="22484"/>
                  </a:lnTo>
                  <a:lnTo>
                    <a:pt x="21046" y="22512"/>
                  </a:lnTo>
                  <a:lnTo>
                    <a:pt x="20961" y="22539"/>
                  </a:lnTo>
                  <a:lnTo>
                    <a:pt x="20875" y="22566"/>
                  </a:lnTo>
                  <a:lnTo>
                    <a:pt x="20790" y="22592"/>
                  </a:lnTo>
                  <a:lnTo>
                    <a:pt x="20703" y="22616"/>
                  </a:lnTo>
                  <a:lnTo>
                    <a:pt x="20616" y="22640"/>
                  </a:lnTo>
                  <a:lnTo>
                    <a:pt x="20527" y="22663"/>
                  </a:lnTo>
                  <a:lnTo>
                    <a:pt x="20439" y="22685"/>
                  </a:lnTo>
                  <a:lnTo>
                    <a:pt x="20350" y="22706"/>
                  </a:lnTo>
                  <a:lnTo>
                    <a:pt x="20260" y="22727"/>
                  </a:lnTo>
                  <a:lnTo>
                    <a:pt x="20169" y="22746"/>
                  </a:lnTo>
                  <a:lnTo>
                    <a:pt x="20079" y="22764"/>
                  </a:lnTo>
                  <a:lnTo>
                    <a:pt x="19987" y="22782"/>
                  </a:lnTo>
                  <a:lnTo>
                    <a:pt x="19895" y="22799"/>
                  </a:lnTo>
                  <a:lnTo>
                    <a:pt x="19801" y="22815"/>
                  </a:lnTo>
                  <a:lnTo>
                    <a:pt x="19708" y="22830"/>
                  </a:lnTo>
                  <a:lnTo>
                    <a:pt x="19614" y="22844"/>
                  </a:lnTo>
                  <a:lnTo>
                    <a:pt x="19519" y="22857"/>
                  </a:lnTo>
                  <a:lnTo>
                    <a:pt x="19423" y="22869"/>
                  </a:lnTo>
                  <a:lnTo>
                    <a:pt x="19327" y="22881"/>
                  </a:lnTo>
                  <a:lnTo>
                    <a:pt x="19230" y="22893"/>
                  </a:lnTo>
                  <a:lnTo>
                    <a:pt x="19132" y="22902"/>
                  </a:lnTo>
                  <a:lnTo>
                    <a:pt x="19035" y="22911"/>
                  </a:lnTo>
                  <a:lnTo>
                    <a:pt x="18935" y="22920"/>
                  </a:lnTo>
                  <a:lnTo>
                    <a:pt x="18836" y="22927"/>
                  </a:lnTo>
                  <a:lnTo>
                    <a:pt x="18736" y="22933"/>
                  </a:lnTo>
                  <a:lnTo>
                    <a:pt x="18634" y="22939"/>
                  </a:lnTo>
                  <a:lnTo>
                    <a:pt x="18533" y="22943"/>
                  </a:lnTo>
                  <a:lnTo>
                    <a:pt x="18431" y="22947"/>
                  </a:lnTo>
                  <a:lnTo>
                    <a:pt x="18329" y="22950"/>
                  </a:lnTo>
                  <a:lnTo>
                    <a:pt x="18225" y="22952"/>
                  </a:lnTo>
                  <a:lnTo>
                    <a:pt x="18121" y="22954"/>
                  </a:lnTo>
                  <a:lnTo>
                    <a:pt x="18016" y="22954"/>
                  </a:lnTo>
                  <a:lnTo>
                    <a:pt x="18016" y="22954"/>
                  </a:lnTo>
                  <a:lnTo>
                    <a:pt x="17885" y="22953"/>
                  </a:lnTo>
                  <a:lnTo>
                    <a:pt x="17754" y="22951"/>
                  </a:lnTo>
                  <a:lnTo>
                    <a:pt x="17622" y="22948"/>
                  </a:lnTo>
                  <a:lnTo>
                    <a:pt x="17488" y="22944"/>
                  </a:lnTo>
                  <a:lnTo>
                    <a:pt x="17488" y="22944"/>
                  </a:lnTo>
                  <a:lnTo>
                    <a:pt x="17394" y="22940"/>
                  </a:lnTo>
                  <a:lnTo>
                    <a:pt x="17300" y="22935"/>
                  </a:lnTo>
                  <a:lnTo>
                    <a:pt x="17205" y="22930"/>
                  </a:lnTo>
                  <a:lnTo>
                    <a:pt x="17111" y="22924"/>
                  </a:lnTo>
                  <a:lnTo>
                    <a:pt x="16922" y="22911"/>
                  </a:lnTo>
                  <a:lnTo>
                    <a:pt x="16732" y="22895"/>
                  </a:lnTo>
                  <a:lnTo>
                    <a:pt x="16542" y="22876"/>
                  </a:lnTo>
                  <a:lnTo>
                    <a:pt x="16351" y="22857"/>
                  </a:lnTo>
                  <a:lnTo>
                    <a:pt x="16161" y="22835"/>
                  </a:lnTo>
                  <a:lnTo>
                    <a:pt x="15970" y="22811"/>
                  </a:lnTo>
                  <a:lnTo>
                    <a:pt x="15780" y="22785"/>
                  </a:lnTo>
                  <a:lnTo>
                    <a:pt x="15589" y="22758"/>
                  </a:lnTo>
                  <a:lnTo>
                    <a:pt x="15399" y="22729"/>
                  </a:lnTo>
                  <a:lnTo>
                    <a:pt x="15209" y="22697"/>
                  </a:lnTo>
                  <a:lnTo>
                    <a:pt x="15019" y="22665"/>
                  </a:lnTo>
                  <a:lnTo>
                    <a:pt x="14829" y="22631"/>
                  </a:lnTo>
                  <a:lnTo>
                    <a:pt x="14640" y="22596"/>
                  </a:lnTo>
                  <a:lnTo>
                    <a:pt x="14451" y="22560"/>
                  </a:lnTo>
                  <a:lnTo>
                    <a:pt x="14263" y="22522"/>
                  </a:lnTo>
                  <a:lnTo>
                    <a:pt x="14075" y="22484"/>
                  </a:lnTo>
                  <a:lnTo>
                    <a:pt x="13887" y="22445"/>
                  </a:lnTo>
                  <a:lnTo>
                    <a:pt x="13700" y="22405"/>
                  </a:lnTo>
                  <a:lnTo>
                    <a:pt x="13514" y="22364"/>
                  </a:lnTo>
                  <a:lnTo>
                    <a:pt x="13329" y="22323"/>
                  </a:lnTo>
                  <a:lnTo>
                    <a:pt x="13144" y="22281"/>
                  </a:lnTo>
                  <a:lnTo>
                    <a:pt x="12961" y="22239"/>
                  </a:lnTo>
                  <a:lnTo>
                    <a:pt x="12597" y="22152"/>
                  </a:lnTo>
                  <a:lnTo>
                    <a:pt x="12237" y="22066"/>
                  </a:lnTo>
                  <a:lnTo>
                    <a:pt x="11882" y="21978"/>
                  </a:lnTo>
                  <a:lnTo>
                    <a:pt x="11532" y="21893"/>
                  </a:lnTo>
                  <a:lnTo>
                    <a:pt x="11532" y="21893"/>
                  </a:lnTo>
                  <a:lnTo>
                    <a:pt x="11118" y="21790"/>
                  </a:lnTo>
                  <a:lnTo>
                    <a:pt x="10710" y="21691"/>
                  </a:lnTo>
                  <a:lnTo>
                    <a:pt x="10509" y="21643"/>
                  </a:lnTo>
                  <a:lnTo>
                    <a:pt x="10310" y="21596"/>
                  </a:lnTo>
                  <a:lnTo>
                    <a:pt x="10113" y="21550"/>
                  </a:lnTo>
                  <a:lnTo>
                    <a:pt x="9918" y="21505"/>
                  </a:lnTo>
                  <a:lnTo>
                    <a:pt x="9725" y="21462"/>
                  </a:lnTo>
                  <a:lnTo>
                    <a:pt x="9535" y="21421"/>
                  </a:lnTo>
                  <a:lnTo>
                    <a:pt x="9347" y="21382"/>
                  </a:lnTo>
                  <a:lnTo>
                    <a:pt x="9162" y="21343"/>
                  </a:lnTo>
                  <a:lnTo>
                    <a:pt x="8978" y="21308"/>
                  </a:lnTo>
                  <a:lnTo>
                    <a:pt x="8798" y="21275"/>
                  </a:lnTo>
                  <a:lnTo>
                    <a:pt x="8620" y="21245"/>
                  </a:lnTo>
                  <a:lnTo>
                    <a:pt x="8446" y="21217"/>
                  </a:lnTo>
                  <a:lnTo>
                    <a:pt x="8446" y="21217"/>
                  </a:lnTo>
                  <a:lnTo>
                    <a:pt x="8328" y="21199"/>
                  </a:lnTo>
                  <a:lnTo>
                    <a:pt x="8211" y="21182"/>
                  </a:lnTo>
                  <a:lnTo>
                    <a:pt x="8094" y="21167"/>
                  </a:lnTo>
                  <a:lnTo>
                    <a:pt x="7980" y="21153"/>
                  </a:lnTo>
                  <a:lnTo>
                    <a:pt x="7866" y="21140"/>
                  </a:lnTo>
                  <a:lnTo>
                    <a:pt x="7752" y="21128"/>
                  </a:lnTo>
                  <a:lnTo>
                    <a:pt x="7641" y="21117"/>
                  </a:lnTo>
                  <a:lnTo>
                    <a:pt x="7530" y="21107"/>
                  </a:lnTo>
                  <a:lnTo>
                    <a:pt x="7421" y="21098"/>
                  </a:lnTo>
                  <a:lnTo>
                    <a:pt x="7313" y="21091"/>
                  </a:lnTo>
                  <a:lnTo>
                    <a:pt x="7206" y="21085"/>
                  </a:lnTo>
                  <a:lnTo>
                    <a:pt x="7100" y="21079"/>
                  </a:lnTo>
                  <a:lnTo>
                    <a:pt x="6996" y="21075"/>
                  </a:lnTo>
                  <a:lnTo>
                    <a:pt x="6893" y="21072"/>
                  </a:lnTo>
                  <a:lnTo>
                    <a:pt x="6791" y="21071"/>
                  </a:lnTo>
                  <a:lnTo>
                    <a:pt x="6690" y="21070"/>
                  </a:lnTo>
                  <a:lnTo>
                    <a:pt x="6690" y="21070"/>
                  </a:lnTo>
                  <a:lnTo>
                    <a:pt x="6595" y="21071"/>
                  </a:lnTo>
                  <a:lnTo>
                    <a:pt x="6501" y="21072"/>
                  </a:lnTo>
                  <a:lnTo>
                    <a:pt x="6408" y="21075"/>
                  </a:lnTo>
                  <a:lnTo>
                    <a:pt x="6316" y="21079"/>
                  </a:lnTo>
                  <a:lnTo>
                    <a:pt x="6225" y="21083"/>
                  </a:lnTo>
                  <a:lnTo>
                    <a:pt x="6135" y="21089"/>
                  </a:lnTo>
                  <a:lnTo>
                    <a:pt x="6047" y="21096"/>
                  </a:lnTo>
                  <a:lnTo>
                    <a:pt x="5959" y="21104"/>
                  </a:lnTo>
                  <a:lnTo>
                    <a:pt x="5873" y="21113"/>
                  </a:lnTo>
                  <a:lnTo>
                    <a:pt x="5787" y="21123"/>
                  </a:lnTo>
                  <a:lnTo>
                    <a:pt x="5703" y="21134"/>
                  </a:lnTo>
                  <a:lnTo>
                    <a:pt x="5620" y="21146"/>
                  </a:lnTo>
                  <a:lnTo>
                    <a:pt x="5538" y="21159"/>
                  </a:lnTo>
                  <a:lnTo>
                    <a:pt x="5457" y="21173"/>
                  </a:lnTo>
                  <a:lnTo>
                    <a:pt x="5378" y="21188"/>
                  </a:lnTo>
                  <a:lnTo>
                    <a:pt x="5300" y="21206"/>
                  </a:lnTo>
                  <a:lnTo>
                    <a:pt x="5222" y="21223"/>
                  </a:lnTo>
                  <a:lnTo>
                    <a:pt x="5146" y="21241"/>
                  </a:lnTo>
                  <a:lnTo>
                    <a:pt x="5071" y="21261"/>
                  </a:lnTo>
                  <a:lnTo>
                    <a:pt x="4997" y="21281"/>
                  </a:lnTo>
                  <a:lnTo>
                    <a:pt x="4924" y="21303"/>
                  </a:lnTo>
                  <a:lnTo>
                    <a:pt x="4853" y="21325"/>
                  </a:lnTo>
                  <a:lnTo>
                    <a:pt x="4783" y="21349"/>
                  </a:lnTo>
                  <a:lnTo>
                    <a:pt x="4713" y="21374"/>
                  </a:lnTo>
                  <a:lnTo>
                    <a:pt x="4646" y="21400"/>
                  </a:lnTo>
                  <a:lnTo>
                    <a:pt x="4579" y="21427"/>
                  </a:lnTo>
                  <a:lnTo>
                    <a:pt x="4513" y="21454"/>
                  </a:lnTo>
                  <a:lnTo>
                    <a:pt x="4449" y="21483"/>
                  </a:lnTo>
                  <a:lnTo>
                    <a:pt x="4386" y="21513"/>
                  </a:lnTo>
                  <a:lnTo>
                    <a:pt x="4324" y="21545"/>
                  </a:lnTo>
                  <a:lnTo>
                    <a:pt x="4264" y="21576"/>
                  </a:lnTo>
                  <a:lnTo>
                    <a:pt x="4204" y="21609"/>
                  </a:lnTo>
                  <a:lnTo>
                    <a:pt x="4204" y="21609"/>
                  </a:lnTo>
                  <a:lnTo>
                    <a:pt x="4145" y="21644"/>
                  </a:lnTo>
                  <a:lnTo>
                    <a:pt x="4087" y="21680"/>
                  </a:lnTo>
                  <a:lnTo>
                    <a:pt x="4030" y="21718"/>
                  </a:lnTo>
                  <a:lnTo>
                    <a:pt x="3975" y="21757"/>
                  </a:lnTo>
                  <a:lnTo>
                    <a:pt x="3921" y="21798"/>
                  </a:lnTo>
                  <a:lnTo>
                    <a:pt x="3867" y="21839"/>
                  </a:lnTo>
                  <a:lnTo>
                    <a:pt x="3815" y="21883"/>
                  </a:lnTo>
                  <a:lnTo>
                    <a:pt x="3764" y="21927"/>
                  </a:lnTo>
                  <a:lnTo>
                    <a:pt x="3714" y="21973"/>
                  </a:lnTo>
                  <a:lnTo>
                    <a:pt x="3665" y="22020"/>
                  </a:lnTo>
                  <a:lnTo>
                    <a:pt x="3618" y="22069"/>
                  </a:lnTo>
                  <a:lnTo>
                    <a:pt x="3572" y="22118"/>
                  </a:lnTo>
                  <a:lnTo>
                    <a:pt x="3526" y="22168"/>
                  </a:lnTo>
                  <a:lnTo>
                    <a:pt x="3482" y="22220"/>
                  </a:lnTo>
                  <a:lnTo>
                    <a:pt x="3439" y="22273"/>
                  </a:lnTo>
                  <a:lnTo>
                    <a:pt x="3397" y="22326"/>
                  </a:lnTo>
                  <a:lnTo>
                    <a:pt x="3355" y="22381"/>
                  </a:lnTo>
                  <a:lnTo>
                    <a:pt x="3315" y="22437"/>
                  </a:lnTo>
                  <a:lnTo>
                    <a:pt x="3276" y="22494"/>
                  </a:lnTo>
                  <a:lnTo>
                    <a:pt x="3239" y="22551"/>
                  </a:lnTo>
                  <a:lnTo>
                    <a:pt x="3202" y="22610"/>
                  </a:lnTo>
                  <a:lnTo>
                    <a:pt x="3165" y="22669"/>
                  </a:lnTo>
                  <a:lnTo>
                    <a:pt x="3130" y="22730"/>
                  </a:lnTo>
                  <a:lnTo>
                    <a:pt x="3097" y="22791"/>
                  </a:lnTo>
                  <a:lnTo>
                    <a:pt x="3064" y="22852"/>
                  </a:lnTo>
                  <a:lnTo>
                    <a:pt x="3032" y="22915"/>
                  </a:lnTo>
                  <a:lnTo>
                    <a:pt x="3001" y="22978"/>
                  </a:lnTo>
                  <a:lnTo>
                    <a:pt x="2971" y="23042"/>
                  </a:lnTo>
                  <a:lnTo>
                    <a:pt x="2942" y="23107"/>
                  </a:lnTo>
                  <a:lnTo>
                    <a:pt x="2914" y="23171"/>
                  </a:lnTo>
                  <a:lnTo>
                    <a:pt x="2887" y="23238"/>
                  </a:lnTo>
                  <a:lnTo>
                    <a:pt x="2861" y="23304"/>
                  </a:lnTo>
                  <a:lnTo>
                    <a:pt x="2835" y="23370"/>
                  </a:lnTo>
                  <a:lnTo>
                    <a:pt x="2811" y="23438"/>
                  </a:lnTo>
                  <a:lnTo>
                    <a:pt x="2787" y="23505"/>
                  </a:lnTo>
                  <a:lnTo>
                    <a:pt x="2765" y="23574"/>
                  </a:lnTo>
                  <a:lnTo>
                    <a:pt x="2744" y="23642"/>
                  </a:lnTo>
                  <a:lnTo>
                    <a:pt x="2723" y="23710"/>
                  </a:lnTo>
                  <a:lnTo>
                    <a:pt x="2703" y="23780"/>
                  </a:lnTo>
                  <a:lnTo>
                    <a:pt x="2684" y="23849"/>
                  </a:lnTo>
                  <a:lnTo>
                    <a:pt x="2666" y="23919"/>
                  </a:lnTo>
                  <a:lnTo>
                    <a:pt x="2648" y="23988"/>
                  </a:lnTo>
                  <a:lnTo>
                    <a:pt x="2632" y="24058"/>
                  </a:lnTo>
                  <a:lnTo>
                    <a:pt x="2616" y="24129"/>
                  </a:lnTo>
                  <a:lnTo>
                    <a:pt x="2602" y="24199"/>
                  </a:lnTo>
                  <a:lnTo>
                    <a:pt x="2588" y="24270"/>
                  </a:lnTo>
                  <a:lnTo>
                    <a:pt x="2575" y="24340"/>
                  </a:lnTo>
                  <a:lnTo>
                    <a:pt x="2563" y="24410"/>
                  </a:lnTo>
                  <a:lnTo>
                    <a:pt x="2551" y="24481"/>
                  </a:lnTo>
                  <a:lnTo>
                    <a:pt x="2540" y="24551"/>
                  </a:lnTo>
                  <a:lnTo>
                    <a:pt x="2531" y="24622"/>
                  </a:lnTo>
                  <a:lnTo>
                    <a:pt x="2521" y="24692"/>
                  </a:lnTo>
                  <a:lnTo>
                    <a:pt x="2513" y="24763"/>
                  </a:lnTo>
                  <a:lnTo>
                    <a:pt x="2505" y="24832"/>
                  </a:lnTo>
                  <a:lnTo>
                    <a:pt x="2499" y="24902"/>
                  </a:lnTo>
                  <a:lnTo>
                    <a:pt x="2492" y="24972"/>
                  </a:lnTo>
                  <a:lnTo>
                    <a:pt x="2486" y="25041"/>
                  </a:lnTo>
                  <a:lnTo>
                    <a:pt x="2481" y="25111"/>
                  </a:lnTo>
                  <a:lnTo>
                    <a:pt x="2477" y="25179"/>
                  </a:lnTo>
                  <a:lnTo>
                    <a:pt x="2474" y="25247"/>
                  </a:lnTo>
                  <a:lnTo>
                    <a:pt x="2471" y="25316"/>
                  </a:lnTo>
                  <a:lnTo>
                    <a:pt x="2470" y="25383"/>
                  </a:lnTo>
                  <a:lnTo>
                    <a:pt x="2468" y="25451"/>
                  </a:lnTo>
                  <a:lnTo>
                    <a:pt x="2468" y="25517"/>
                  </a:lnTo>
                  <a:lnTo>
                    <a:pt x="0" y="25517"/>
                  </a:lnTo>
                  <a:lnTo>
                    <a:pt x="0" y="25517"/>
                  </a:lnTo>
                  <a:lnTo>
                    <a:pt x="2" y="25377"/>
                  </a:lnTo>
                  <a:lnTo>
                    <a:pt x="4" y="25304"/>
                  </a:lnTo>
                  <a:lnTo>
                    <a:pt x="6" y="25228"/>
                  </a:lnTo>
                  <a:lnTo>
                    <a:pt x="9" y="25152"/>
                  </a:lnTo>
                  <a:lnTo>
                    <a:pt x="13" y="25073"/>
                  </a:lnTo>
                  <a:lnTo>
                    <a:pt x="18" y="24993"/>
                  </a:lnTo>
                  <a:lnTo>
                    <a:pt x="24" y="24910"/>
                  </a:lnTo>
                  <a:lnTo>
                    <a:pt x="31" y="24827"/>
                  </a:lnTo>
                  <a:lnTo>
                    <a:pt x="39" y="24741"/>
                  </a:lnTo>
                  <a:lnTo>
                    <a:pt x="47" y="24655"/>
                  </a:lnTo>
                  <a:lnTo>
                    <a:pt x="57" y="24566"/>
                  </a:lnTo>
                  <a:lnTo>
                    <a:pt x="68" y="24477"/>
                  </a:lnTo>
                  <a:lnTo>
                    <a:pt x="80" y="24386"/>
                  </a:lnTo>
                  <a:lnTo>
                    <a:pt x="93" y="24294"/>
                  </a:lnTo>
                  <a:lnTo>
                    <a:pt x="107" y="24201"/>
                  </a:lnTo>
                  <a:lnTo>
                    <a:pt x="123" y="24107"/>
                  </a:lnTo>
                  <a:lnTo>
                    <a:pt x="140" y="24011"/>
                  </a:lnTo>
                  <a:lnTo>
                    <a:pt x="158" y="23916"/>
                  </a:lnTo>
                  <a:lnTo>
                    <a:pt x="178" y="23818"/>
                  </a:lnTo>
                  <a:lnTo>
                    <a:pt x="199" y="23720"/>
                  </a:lnTo>
                  <a:lnTo>
                    <a:pt x="223" y="23621"/>
                  </a:lnTo>
                  <a:lnTo>
                    <a:pt x="247" y="23521"/>
                  </a:lnTo>
                  <a:lnTo>
                    <a:pt x="273" y="23422"/>
                  </a:lnTo>
                  <a:lnTo>
                    <a:pt x="301" y="23321"/>
                  </a:lnTo>
                  <a:lnTo>
                    <a:pt x="330" y="23219"/>
                  </a:lnTo>
                  <a:lnTo>
                    <a:pt x="361" y="23118"/>
                  </a:lnTo>
                  <a:lnTo>
                    <a:pt x="395" y="23015"/>
                  </a:lnTo>
                  <a:lnTo>
                    <a:pt x="430" y="22913"/>
                  </a:lnTo>
                  <a:lnTo>
                    <a:pt x="466" y="22810"/>
                  </a:lnTo>
                  <a:lnTo>
                    <a:pt x="505" y="22707"/>
                  </a:lnTo>
                  <a:lnTo>
                    <a:pt x="546" y="22604"/>
                  </a:lnTo>
                  <a:lnTo>
                    <a:pt x="546" y="22604"/>
                  </a:lnTo>
                  <a:lnTo>
                    <a:pt x="592" y="22494"/>
                  </a:lnTo>
                  <a:lnTo>
                    <a:pt x="639" y="22386"/>
                  </a:lnTo>
                  <a:lnTo>
                    <a:pt x="688" y="22279"/>
                  </a:lnTo>
                  <a:lnTo>
                    <a:pt x="739" y="22174"/>
                  </a:lnTo>
                  <a:lnTo>
                    <a:pt x="791" y="22072"/>
                  </a:lnTo>
                  <a:lnTo>
                    <a:pt x="844" y="21970"/>
                  </a:lnTo>
                  <a:lnTo>
                    <a:pt x="899" y="21870"/>
                  </a:lnTo>
                  <a:lnTo>
                    <a:pt x="957" y="21773"/>
                  </a:lnTo>
                  <a:lnTo>
                    <a:pt x="1015" y="21676"/>
                  </a:lnTo>
                  <a:lnTo>
                    <a:pt x="1075" y="21582"/>
                  </a:lnTo>
                  <a:lnTo>
                    <a:pt x="1137" y="21489"/>
                  </a:lnTo>
                  <a:lnTo>
                    <a:pt x="1200" y="21398"/>
                  </a:lnTo>
                  <a:lnTo>
                    <a:pt x="1266" y="21309"/>
                  </a:lnTo>
                  <a:lnTo>
                    <a:pt x="1332" y="21222"/>
                  </a:lnTo>
                  <a:lnTo>
                    <a:pt x="1400" y="21136"/>
                  </a:lnTo>
                  <a:lnTo>
                    <a:pt x="1470" y="21052"/>
                  </a:lnTo>
                  <a:lnTo>
                    <a:pt x="1541" y="20970"/>
                  </a:lnTo>
                  <a:lnTo>
                    <a:pt x="1614" y="20890"/>
                  </a:lnTo>
                  <a:lnTo>
                    <a:pt x="1688" y="20811"/>
                  </a:lnTo>
                  <a:lnTo>
                    <a:pt x="1763" y="20734"/>
                  </a:lnTo>
                  <a:lnTo>
                    <a:pt x="1841" y="20659"/>
                  </a:lnTo>
                  <a:lnTo>
                    <a:pt x="1920" y="20586"/>
                  </a:lnTo>
                  <a:lnTo>
                    <a:pt x="2001" y="20514"/>
                  </a:lnTo>
                  <a:lnTo>
                    <a:pt x="2082" y="20445"/>
                  </a:lnTo>
                  <a:lnTo>
                    <a:pt x="2166" y="20377"/>
                  </a:lnTo>
                  <a:lnTo>
                    <a:pt x="2251" y="20311"/>
                  </a:lnTo>
                  <a:lnTo>
                    <a:pt x="2338" y="20247"/>
                  </a:lnTo>
                  <a:lnTo>
                    <a:pt x="2426" y="20184"/>
                  </a:lnTo>
                  <a:lnTo>
                    <a:pt x="2516" y="20124"/>
                  </a:lnTo>
                  <a:lnTo>
                    <a:pt x="2607" y="20065"/>
                  </a:lnTo>
                  <a:lnTo>
                    <a:pt x="2700" y="20008"/>
                  </a:lnTo>
                  <a:lnTo>
                    <a:pt x="2793" y="19953"/>
                  </a:lnTo>
                  <a:lnTo>
                    <a:pt x="2793" y="19953"/>
                  </a:lnTo>
                  <a:lnTo>
                    <a:pt x="2893" y="19898"/>
                  </a:lnTo>
                  <a:lnTo>
                    <a:pt x="2993" y="19844"/>
                  </a:lnTo>
                  <a:lnTo>
                    <a:pt x="3095" y="19793"/>
                  </a:lnTo>
                  <a:lnTo>
                    <a:pt x="3199" y="19743"/>
                  </a:lnTo>
                  <a:lnTo>
                    <a:pt x="3304" y="19695"/>
                  </a:lnTo>
                  <a:lnTo>
                    <a:pt x="3411" y="19648"/>
                  </a:lnTo>
                  <a:lnTo>
                    <a:pt x="3519" y="19603"/>
                  </a:lnTo>
                  <a:lnTo>
                    <a:pt x="3629" y="19560"/>
                  </a:lnTo>
                  <a:lnTo>
                    <a:pt x="3740" y="19519"/>
                  </a:lnTo>
                  <a:lnTo>
                    <a:pt x="3852" y="19479"/>
                  </a:lnTo>
                  <a:lnTo>
                    <a:pt x="3967" y="19441"/>
                  </a:lnTo>
                  <a:lnTo>
                    <a:pt x="4083" y="19405"/>
                  </a:lnTo>
                  <a:lnTo>
                    <a:pt x="4199" y="19371"/>
                  </a:lnTo>
                  <a:lnTo>
                    <a:pt x="4318" y="19338"/>
                  </a:lnTo>
                  <a:lnTo>
                    <a:pt x="4438" y="19307"/>
                  </a:lnTo>
                  <a:lnTo>
                    <a:pt x="4559" y="19278"/>
                  </a:lnTo>
                  <a:lnTo>
                    <a:pt x="4682" y="19251"/>
                  </a:lnTo>
                  <a:lnTo>
                    <a:pt x="4807" y="19226"/>
                  </a:lnTo>
                  <a:lnTo>
                    <a:pt x="4932" y="19202"/>
                  </a:lnTo>
                  <a:lnTo>
                    <a:pt x="5059" y="19180"/>
                  </a:lnTo>
                  <a:lnTo>
                    <a:pt x="5188" y="19159"/>
                  </a:lnTo>
                  <a:lnTo>
                    <a:pt x="5319" y="19140"/>
                  </a:lnTo>
                  <a:lnTo>
                    <a:pt x="5449" y="19124"/>
                  </a:lnTo>
                  <a:lnTo>
                    <a:pt x="5582" y="19109"/>
                  </a:lnTo>
                  <a:lnTo>
                    <a:pt x="5717" y="19096"/>
                  </a:lnTo>
                  <a:lnTo>
                    <a:pt x="5852" y="19084"/>
                  </a:lnTo>
                  <a:lnTo>
                    <a:pt x="5989" y="19074"/>
                  </a:lnTo>
                  <a:lnTo>
                    <a:pt x="6127" y="19066"/>
                  </a:lnTo>
                  <a:lnTo>
                    <a:pt x="6267" y="19060"/>
                  </a:lnTo>
                  <a:lnTo>
                    <a:pt x="6408" y="19056"/>
                  </a:lnTo>
                  <a:lnTo>
                    <a:pt x="6551" y="19053"/>
                  </a:lnTo>
                  <a:lnTo>
                    <a:pt x="6694" y="19052"/>
                  </a:lnTo>
                  <a:lnTo>
                    <a:pt x="6694" y="19052"/>
                  </a:lnTo>
                  <a:lnTo>
                    <a:pt x="6824" y="19053"/>
                  </a:lnTo>
                  <a:lnTo>
                    <a:pt x="6955" y="19055"/>
                  </a:lnTo>
                  <a:lnTo>
                    <a:pt x="7087" y="19059"/>
                  </a:lnTo>
                  <a:lnTo>
                    <a:pt x="7220" y="19064"/>
                  </a:lnTo>
                  <a:lnTo>
                    <a:pt x="7354" y="19070"/>
                  </a:lnTo>
                  <a:lnTo>
                    <a:pt x="7490" y="19078"/>
                  </a:lnTo>
                  <a:lnTo>
                    <a:pt x="7627" y="19087"/>
                  </a:lnTo>
                  <a:lnTo>
                    <a:pt x="7765" y="19097"/>
                  </a:lnTo>
                  <a:lnTo>
                    <a:pt x="7903" y="19109"/>
                  </a:lnTo>
                  <a:lnTo>
                    <a:pt x="8044" y="19123"/>
                  </a:lnTo>
                  <a:lnTo>
                    <a:pt x="8185" y="19138"/>
                  </a:lnTo>
                  <a:lnTo>
                    <a:pt x="8327" y="19154"/>
                  </a:lnTo>
                  <a:lnTo>
                    <a:pt x="8470" y="19171"/>
                  </a:lnTo>
                  <a:lnTo>
                    <a:pt x="8613" y="19191"/>
                  </a:lnTo>
                  <a:lnTo>
                    <a:pt x="8757" y="19211"/>
                  </a:lnTo>
                  <a:lnTo>
                    <a:pt x="8903" y="19233"/>
                  </a:lnTo>
                  <a:lnTo>
                    <a:pt x="8903" y="19233"/>
                  </a:lnTo>
                  <a:lnTo>
                    <a:pt x="9101" y="19265"/>
                  </a:lnTo>
                  <a:lnTo>
                    <a:pt x="9300" y="19298"/>
                  </a:lnTo>
                  <a:lnTo>
                    <a:pt x="9501" y="19335"/>
                  </a:lnTo>
                  <a:lnTo>
                    <a:pt x="9704" y="19374"/>
                  </a:lnTo>
                  <a:lnTo>
                    <a:pt x="9907" y="19415"/>
                  </a:lnTo>
                  <a:lnTo>
                    <a:pt x="10112" y="19457"/>
                  </a:lnTo>
                  <a:lnTo>
                    <a:pt x="10318" y="19501"/>
                  </a:lnTo>
                  <a:lnTo>
                    <a:pt x="10526" y="19548"/>
                  </a:lnTo>
                  <a:lnTo>
                    <a:pt x="10735" y="19596"/>
                  </a:lnTo>
                  <a:lnTo>
                    <a:pt x="10947" y="19644"/>
                  </a:lnTo>
                  <a:lnTo>
                    <a:pt x="11159" y="19695"/>
                  </a:lnTo>
                  <a:lnTo>
                    <a:pt x="11373" y="19746"/>
                  </a:lnTo>
                  <a:lnTo>
                    <a:pt x="11806" y="19852"/>
                  </a:lnTo>
                  <a:lnTo>
                    <a:pt x="12244" y="19959"/>
                  </a:lnTo>
                  <a:lnTo>
                    <a:pt x="12244" y="19959"/>
                  </a:lnTo>
                  <a:lnTo>
                    <a:pt x="12609" y="20050"/>
                  </a:lnTo>
                  <a:lnTo>
                    <a:pt x="12976" y="20139"/>
                  </a:lnTo>
                  <a:lnTo>
                    <a:pt x="13343" y="20228"/>
                  </a:lnTo>
                  <a:lnTo>
                    <a:pt x="13710" y="20314"/>
                  </a:lnTo>
                  <a:lnTo>
                    <a:pt x="13894" y="20356"/>
                  </a:lnTo>
                  <a:lnTo>
                    <a:pt x="14078" y="20399"/>
                  </a:lnTo>
                  <a:lnTo>
                    <a:pt x="14262" y="20439"/>
                  </a:lnTo>
                  <a:lnTo>
                    <a:pt x="14445" y="20479"/>
                  </a:lnTo>
                  <a:lnTo>
                    <a:pt x="14628" y="20517"/>
                  </a:lnTo>
                  <a:lnTo>
                    <a:pt x="14810" y="20556"/>
                  </a:lnTo>
                  <a:lnTo>
                    <a:pt x="14993" y="20592"/>
                  </a:lnTo>
                  <a:lnTo>
                    <a:pt x="15174" y="20627"/>
                  </a:lnTo>
                  <a:lnTo>
                    <a:pt x="15356" y="20661"/>
                  </a:lnTo>
                  <a:lnTo>
                    <a:pt x="15537" y="20693"/>
                  </a:lnTo>
                  <a:lnTo>
                    <a:pt x="15717" y="20724"/>
                  </a:lnTo>
                  <a:lnTo>
                    <a:pt x="15896" y="20753"/>
                  </a:lnTo>
                  <a:lnTo>
                    <a:pt x="16075" y="20780"/>
                  </a:lnTo>
                  <a:lnTo>
                    <a:pt x="16253" y="20805"/>
                  </a:lnTo>
                  <a:lnTo>
                    <a:pt x="16431" y="20829"/>
                  </a:lnTo>
                  <a:lnTo>
                    <a:pt x="16607" y="20850"/>
                  </a:lnTo>
                  <a:lnTo>
                    <a:pt x="16783" y="20870"/>
                  </a:lnTo>
                  <a:lnTo>
                    <a:pt x="16958" y="20887"/>
                  </a:lnTo>
                  <a:lnTo>
                    <a:pt x="17131" y="20901"/>
                  </a:lnTo>
                  <a:lnTo>
                    <a:pt x="17217" y="20907"/>
                  </a:lnTo>
                  <a:lnTo>
                    <a:pt x="17304" y="20913"/>
                  </a:lnTo>
                  <a:lnTo>
                    <a:pt x="17389" y="20918"/>
                  </a:lnTo>
                  <a:lnTo>
                    <a:pt x="17475" y="20923"/>
                  </a:lnTo>
                  <a:lnTo>
                    <a:pt x="17560" y="20926"/>
                  </a:lnTo>
                  <a:lnTo>
                    <a:pt x="17646" y="20930"/>
                  </a:lnTo>
                  <a:lnTo>
                    <a:pt x="17730" y="20932"/>
                  </a:lnTo>
                  <a:lnTo>
                    <a:pt x="17815" y="20934"/>
                  </a:lnTo>
                  <a:lnTo>
                    <a:pt x="17898" y="20935"/>
                  </a:lnTo>
                  <a:lnTo>
                    <a:pt x="17983" y="20935"/>
                  </a:lnTo>
                  <a:lnTo>
                    <a:pt x="17983" y="20935"/>
                  </a:lnTo>
                  <a:lnTo>
                    <a:pt x="18128" y="20934"/>
                  </a:lnTo>
                  <a:lnTo>
                    <a:pt x="18270" y="20931"/>
                  </a:lnTo>
                  <a:lnTo>
                    <a:pt x="18412" y="20925"/>
                  </a:lnTo>
                  <a:lnTo>
                    <a:pt x="18551" y="20917"/>
                  </a:lnTo>
                  <a:lnTo>
                    <a:pt x="18689" y="20907"/>
                  </a:lnTo>
                  <a:lnTo>
                    <a:pt x="18756" y="20901"/>
                  </a:lnTo>
                  <a:lnTo>
                    <a:pt x="18824" y="20895"/>
                  </a:lnTo>
                  <a:lnTo>
                    <a:pt x="18890" y="20888"/>
                  </a:lnTo>
                  <a:lnTo>
                    <a:pt x="18956" y="20881"/>
                  </a:lnTo>
                  <a:lnTo>
                    <a:pt x="19023" y="20872"/>
                  </a:lnTo>
                  <a:lnTo>
                    <a:pt x="19088" y="20863"/>
                  </a:lnTo>
                  <a:lnTo>
                    <a:pt x="19152" y="20854"/>
                  </a:lnTo>
                  <a:lnTo>
                    <a:pt x="19217" y="20844"/>
                  </a:lnTo>
                  <a:lnTo>
                    <a:pt x="19281" y="20833"/>
                  </a:lnTo>
                  <a:lnTo>
                    <a:pt x="19345" y="20822"/>
                  </a:lnTo>
                  <a:lnTo>
                    <a:pt x="19407" y="20811"/>
                  </a:lnTo>
                  <a:lnTo>
                    <a:pt x="19470" y="20799"/>
                  </a:lnTo>
                  <a:lnTo>
                    <a:pt x="19532" y="20786"/>
                  </a:lnTo>
                  <a:lnTo>
                    <a:pt x="19593" y="20773"/>
                  </a:lnTo>
                  <a:lnTo>
                    <a:pt x="19654" y="20759"/>
                  </a:lnTo>
                  <a:lnTo>
                    <a:pt x="19715" y="20745"/>
                  </a:lnTo>
                  <a:lnTo>
                    <a:pt x="19775" y="20730"/>
                  </a:lnTo>
                  <a:lnTo>
                    <a:pt x="19834" y="20715"/>
                  </a:lnTo>
                  <a:lnTo>
                    <a:pt x="19894" y="20699"/>
                  </a:lnTo>
                  <a:lnTo>
                    <a:pt x="19952" y="20681"/>
                  </a:lnTo>
                  <a:lnTo>
                    <a:pt x="20010" y="20664"/>
                  </a:lnTo>
                  <a:lnTo>
                    <a:pt x="20069" y="20646"/>
                  </a:lnTo>
                  <a:lnTo>
                    <a:pt x="20125" y="20628"/>
                  </a:lnTo>
                  <a:lnTo>
                    <a:pt x="20182" y="20609"/>
                  </a:lnTo>
                  <a:lnTo>
                    <a:pt x="20239" y="20589"/>
                  </a:lnTo>
                  <a:lnTo>
                    <a:pt x="20295" y="20569"/>
                  </a:lnTo>
                  <a:lnTo>
                    <a:pt x="20350" y="20549"/>
                  </a:lnTo>
                  <a:lnTo>
                    <a:pt x="20405" y="20528"/>
                  </a:lnTo>
                  <a:lnTo>
                    <a:pt x="20459" y="20505"/>
                  </a:lnTo>
                  <a:lnTo>
                    <a:pt x="20513" y="20482"/>
                  </a:lnTo>
                  <a:lnTo>
                    <a:pt x="20567" y="20460"/>
                  </a:lnTo>
                  <a:lnTo>
                    <a:pt x="20620" y="20436"/>
                  </a:lnTo>
                  <a:lnTo>
                    <a:pt x="20673" y="20412"/>
                  </a:lnTo>
                  <a:lnTo>
                    <a:pt x="20725" y="20387"/>
                  </a:lnTo>
                  <a:lnTo>
                    <a:pt x="20777" y="20362"/>
                  </a:lnTo>
                  <a:lnTo>
                    <a:pt x="20828" y="20335"/>
                  </a:lnTo>
                  <a:lnTo>
                    <a:pt x="20879" y="20309"/>
                  </a:lnTo>
                  <a:lnTo>
                    <a:pt x="20930" y="20282"/>
                  </a:lnTo>
                  <a:lnTo>
                    <a:pt x="20980" y="20254"/>
                  </a:lnTo>
                  <a:lnTo>
                    <a:pt x="21029" y="20226"/>
                  </a:lnTo>
                  <a:lnTo>
                    <a:pt x="21078" y="20198"/>
                  </a:lnTo>
                  <a:lnTo>
                    <a:pt x="21128" y="20167"/>
                  </a:lnTo>
                  <a:lnTo>
                    <a:pt x="21176" y="20138"/>
                  </a:lnTo>
                  <a:lnTo>
                    <a:pt x="21223" y="20107"/>
                  </a:lnTo>
                  <a:lnTo>
                    <a:pt x="21270" y="20076"/>
                  </a:lnTo>
                  <a:lnTo>
                    <a:pt x="21318" y="20045"/>
                  </a:lnTo>
                  <a:lnTo>
                    <a:pt x="21364" y="20011"/>
                  </a:lnTo>
                  <a:lnTo>
                    <a:pt x="21410" y="19979"/>
                  </a:lnTo>
                  <a:lnTo>
                    <a:pt x="21457" y="19945"/>
                  </a:lnTo>
                  <a:lnTo>
                    <a:pt x="21502" y="19911"/>
                  </a:lnTo>
                  <a:lnTo>
                    <a:pt x="21547" y="19877"/>
                  </a:lnTo>
                  <a:lnTo>
                    <a:pt x="21591" y="19841"/>
                  </a:lnTo>
                  <a:lnTo>
                    <a:pt x="21636" y="19805"/>
                  </a:lnTo>
                  <a:lnTo>
                    <a:pt x="21679" y="19769"/>
                  </a:lnTo>
                  <a:lnTo>
                    <a:pt x="21679" y="19769"/>
                  </a:lnTo>
                  <a:lnTo>
                    <a:pt x="21735" y="19721"/>
                  </a:lnTo>
                  <a:lnTo>
                    <a:pt x="21790" y="19670"/>
                  </a:lnTo>
                  <a:lnTo>
                    <a:pt x="21846" y="19620"/>
                  </a:lnTo>
                  <a:lnTo>
                    <a:pt x="21900" y="19569"/>
                  </a:lnTo>
                  <a:lnTo>
                    <a:pt x="21954" y="19516"/>
                  </a:lnTo>
                  <a:lnTo>
                    <a:pt x="22008" y="19462"/>
                  </a:lnTo>
                  <a:lnTo>
                    <a:pt x="22060" y="19407"/>
                  </a:lnTo>
                  <a:lnTo>
                    <a:pt x="22112" y="19352"/>
                  </a:lnTo>
                  <a:lnTo>
                    <a:pt x="22164" y="19295"/>
                  </a:lnTo>
                  <a:lnTo>
                    <a:pt x="22214" y="19238"/>
                  </a:lnTo>
                  <a:lnTo>
                    <a:pt x="22263" y="19179"/>
                  </a:lnTo>
                  <a:lnTo>
                    <a:pt x="22312" y="19119"/>
                  </a:lnTo>
                  <a:lnTo>
                    <a:pt x="22361" y="19060"/>
                  </a:lnTo>
                  <a:lnTo>
                    <a:pt x="22407" y="18998"/>
                  </a:lnTo>
                  <a:lnTo>
                    <a:pt x="22454" y="18937"/>
                  </a:lnTo>
                  <a:lnTo>
                    <a:pt x="22499" y="18874"/>
                  </a:lnTo>
                  <a:lnTo>
                    <a:pt x="22544" y="18810"/>
                  </a:lnTo>
                  <a:lnTo>
                    <a:pt x="22587" y="18747"/>
                  </a:lnTo>
                  <a:lnTo>
                    <a:pt x="22629" y="18683"/>
                  </a:lnTo>
                  <a:lnTo>
                    <a:pt x="22670" y="18617"/>
                  </a:lnTo>
                  <a:lnTo>
                    <a:pt x="22712" y="18551"/>
                  </a:lnTo>
                  <a:lnTo>
                    <a:pt x="22751" y="18484"/>
                  </a:lnTo>
                  <a:lnTo>
                    <a:pt x="22789" y="18417"/>
                  </a:lnTo>
                  <a:lnTo>
                    <a:pt x="22826" y="18350"/>
                  </a:lnTo>
                  <a:lnTo>
                    <a:pt x="22862" y="18281"/>
                  </a:lnTo>
                  <a:lnTo>
                    <a:pt x="22897" y="18212"/>
                  </a:lnTo>
                  <a:lnTo>
                    <a:pt x="22930" y="18143"/>
                  </a:lnTo>
                  <a:lnTo>
                    <a:pt x="22962" y="18073"/>
                  </a:lnTo>
                  <a:lnTo>
                    <a:pt x="22993" y="18003"/>
                  </a:lnTo>
                  <a:lnTo>
                    <a:pt x="23022" y="17932"/>
                  </a:lnTo>
                  <a:lnTo>
                    <a:pt x="23052" y="17862"/>
                  </a:lnTo>
                  <a:lnTo>
                    <a:pt x="23078" y="17790"/>
                  </a:lnTo>
                  <a:lnTo>
                    <a:pt x="23104" y="17719"/>
                  </a:lnTo>
                  <a:lnTo>
                    <a:pt x="23128" y="17646"/>
                  </a:lnTo>
                  <a:lnTo>
                    <a:pt x="23151" y="17574"/>
                  </a:lnTo>
                  <a:lnTo>
                    <a:pt x="23172" y="17502"/>
                  </a:lnTo>
                  <a:lnTo>
                    <a:pt x="23191" y="17429"/>
                  </a:lnTo>
                  <a:lnTo>
                    <a:pt x="23211" y="17356"/>
                  </a:lnTo>
                  <a:lnTo>
                    <a:pt x="23227" y="17283"/>
                  </a:lnTo>
                  <a:lnTo>
                    <a:pt x="23242" y="17210"/>
                  </a:lnTo>
                  <a:lnTo>
                    <a:pt x="23256" y="17136"/>
                  </a:lnTo>
                  <a:lnTo>
                    <a:pt x="23268" y="17063"/>
                  </a:lnTo>
                  <a:lnTo>
                    <a:pt x="23278" y="16990"/>
                  </a:lnTo>
                  <a:lnTo>
                    <a:pt x="23286" y="16916"/>
                  </a:lnTo>
                  <a:lnTo>
                    <a:pt x="23293" y="16842"/>
                  </a:lnTo>
                  <a:lnTo>
                    <a:pt x="23298" y="16768"/>
                  </a:lnTo>
                  <a:lnTo>
                    <a:pt x="23302" y="16695"/>
                  </a:lnTo>
                  <a:lnTo>
                    <a:pt x="23303" y="16621"/>
                  </a:lnTo>
                  <a:lnTo>
                    <a:pt x="23303" y="16548"/>
                  </a:lnTo>
                  <a:lnTo>
                    <a:pt x="23301" y="16475"/>
                  </a:lnTo>
                  <a:lnTo>
                    <a:pt x="23297" y="16401"/>
                  </a:lnTo>
                  <a:lnTo>
                    <a:pt x="23291" y="16328"/>
                  </a:lnTo>
                  <a:lnTo>
                    <a:pt x="23283" y="16255"/>
                  </a:lnTo>
                  <a:lnTo>
                    <a:pt x="23274" y="16182"/>
                  </a:lnTo>
                  <a:lnTo>
                    <a:pt x="23262" y="16109"/>
                  </a:lnTo>
                  <a:lnTo>
                    <a:pt x="23248" y="16037"/>
                  </a:lnTo>
                  <a:lnTo>
                    <a:pt x="23233" y="15966"/>
                  </a:lnTo>
                  <a:lnTo>
                    <a:pt x="23215" y="15894"/>
                  </a:lnTo>
                  <a:lnTo>
                    <a:pt x="23194" y="15823"/>
                  </a:lnTo>
                  <a:lnTo>
                    <a:pt x="23172" y="15751"/>
                  </a:lnTo>
                  <a:lnTo>
                    <a:pt x="23148" y="15681"/>
                  </a:lnTo>
                  <a:lnTo>
                    <a:pt x="23122" y="15610"/>
                  </a:lnTo>
                  <a:lnTo>
                    <a:pt x="23093" y="15541"/>
                  </a:lnTo>
                  <a:lnTo>
                    <a:pt x="23062" y="15472"/>
                  </a:lnTo>
                  <a:lnTo>
                    <a:pt x="23062" y="15472"/>
                  </a:lnTo>
                  <a:lnTo>
                    <a:pt x="23042" y="15427"/>
                  </a:lnTo>
                  <a:lnTo>
                    <a:pt x="23019" y="15382"/>
                  </a:lnTo>
                  <a:lnTo>
                    <a:pt x="22996" y="15338"/>
                  </a:lnTo>
                  <a:lnTo>
                    <a:pt x="22973" y="15293"/>
                  </a:lnTo>
                  <a:lnTo>
                    <a:pt x="22948" y="15247"/>
                  </a:lnTo>
                  <a:lnTo>
                    <a:pt x="22923" y="15202"/>
                  </a:lnTo>
                  <a:lnTo>
                    <a:pt x="22896" y="15157"/>
                  </a:lnTo>
                  <a:lnTo>
                    <a:pt x="22869" y="15111"/>
                  </a:lnTo>
                  <a:lnTo>
                    <a:pt x="22840" y="15066"/>
                  </a:lnTo>
                  <a:lnTo>
                    <a:pt x="22812" y="15022"/>
                  </a:lnTo>
                  <a:lnTo>
                    <a:pt x="22782" y="14977"/>
                  </a:lnTo>
                  <a:lnTo>
                    <a:pt x="22751" y="14931"/>
                  </a:lnTo>
                  <a:lnTo>
                    <a:pt x="22720" y="14886"/>
                  </a:lnTo>
                  <a:lnTo>
                    <a:pt x="22687" y="14842"/>
                  </a:lnTo>
                  <a:lnTo>
                    <a:pt x="22653" y="14797"/>
                  </a:lnTo>
                  <a:lnTo>
                    <a:pt x="22619" y="14752"/>
                  </a:lnTo>
                  <a:lnTo>
                    <a:pt x="22584" y="14708"/>
                  </a:lnTo>
                  <a:lnTo>
                    <a:pt x="22549" y="14664"/>
                  </a:lnTo>
                  <a:lnTo>
                    <a:pt x="22512" y="14621"/>
                  </a:lnTo>
                  <a:lnTo>
                    <a:pt x="22474" y="14577"/>
                  </a:lnTo>
                  <a:lnTo>
                    <a:pt x="22435" y="14534"/>
                  </a:lnTo>
                  <a:lnTo>
                    <a:pt x="22396" y="14492"/>
                  </a:lnTo>
                  <a:lnTo>
                    <a:pt x="22356" y="14450"/>
                  </a:lnTo>
                  <a:lnTo>
                    <a:pt x="22315" y="14407"/>
                  </a:lnTo>
                  <a:lnTo>
                    <a:pt x="22273" y="14366"/>
                  </a:lnTo>
                  <a:lnTo>
                    <a:pt x="22231" y="14326"/>
                  </a:lnTo>
                  <a:lnTo>
                    <a:pt x="22187" y="14285"/>
                  </a:lnTo>
                  <a:lnTo>
                    <a:pt x="22142" y="14245"/>
                  </a:lnTo>
                  <a:lnTo>
                    <a:pt x="22097" y="14206"/>
                  </a:lnTo>
                  <a:lnTo>
                    <a:pt x="22052" y="14168"/>
                  </a:lnTo>
                  <a:lnTo>
                    <a:pt x="22005" y="14130"/>
                  </a:lnTo>
                  <a:lnTo>
                    <a:pt x="21957" y="14092"/>
                  </a:lnTo>
                  <a:lnTo>
                    <a:pt x="21909" y="14055"/>
                  </a:lnTo>
                  <a:lnTo>
                    <a:pt x="21860" y="14020"/>
                  </a:lnTo>
                  <a:lnTo>
                    <a:pt x="21810" y="13985"/>
                  </a:lnTo>
                  <a:lnTo>
                    <a:pt x="21759" y="13951"/>
                  </a:lnTo>
                  <a:lnTo>
                    <a:pt x="21708" y="13916"/>
                  </a:lnTo>
                  <a:lnTo>
                    <a:pt x="21656" y="13884"/>
                  </a:lnTo>
                  <a:lnTo>
                    <a:pt x="21602" y="13852"/>
                  </a:lnTo>
                  <a:lnTo>
                    <a:pt x="21548" y="13821"/>
                  </a:lnTo>
                  <a:lnTo>
                    <a:pt x="21494" y="13791"/>
                  </a:lnTo>
                  <a:lnTo>
                    <a:pt x="21438" y="13761"/>
                  </a:lnTo>
                  <a:lnTo>
                    <a:pt x="21382" y="13734"/>
                  </a:lnTo>
                  <a:lnTo>
                    <a:pt x="21325" y="13707"/>
                  </a:lnTo>
                  <a:lnTo>
                    <a:pt x="21266" y="13681"/>
                  </a:lnTo>
                  <a:lnTo>
                    <a:pt x="21208" y="13656"/>
                  </a:lnTo>
                  <a:lnTo>
                    <a:pt x="21149" y="13632"/>
                  </a:lnTo>
                  <a:lnTo>
                    <a:pt x="21088" y="13610"/>
                  </a:lnTo>
                  <a:lnTo>
                    <a:pt x="21028" y="13587"/>
                  </a:lnTo>
                  <a:lnTo>
                    <a:pt x="20967" y="13567"/>
                  </a:lnTo>
                  <a:lnTo>
                    <a:pt x="20904" y="13548"/>
                  </a:lnTo>
                  <a:lnTo>
                    <a:pt x="20841" y="13530"/>
                  </a:lnTo>
                  <a:lnTo>
                    <a:pt x="20778" y="13513"/>
                  </a:lnTo>
                  <a:lnTo>
                    <a:pt x="20712" y="13498"/>
                  </a:lnTo>
                  <a:lnTo>
                    <a:pt x="20647" y="13484"/>
                  </a:lnTo>
                  <a:lnTo>
                    <a:pt x="20582" y="13471"/>
                  </a:lnTo>
                  <a:lnTo>
                    <a:pt x="20514" y="13460"/>
                  </a:lnTo>
                  <a:lnTo>
                    <a:pt x="20447" y="13450"/>
                  </a:lnTo>
                  <a:lnTo>
                    <a:pt x="20378" y="13442"/>
                  </a:lnTo>
                  <a:lnTo>
                    <a:pt x="20310" y="13435"/>
                  </a:lnTo>
                  <a:lnTo>
                    <a:pt x="20241" y="13428"/>
                  </a:lnTo>
                  <a:lnTo>
                    <a:pt x="20170" y="13425"/>
                  </a:lnTo>
                  <a:lnTo>
                    <a:pt x="20099" y="13422"/>
                  </a:lnTo>
                  <a:lnTo>
                    <a:pt x="20026" y="13421"/>
                  </a:lnTo>
                  <a:lnTo>
                    <a:pt x="20026" y="13421"/>
                  </a:lnTo>
                  <a:lnTo>
                    <a:pt x="19956" y="13422"/>
                  </a:lnTo>
                  <a:lnTo>
                    <a:pt x="19886" y="13424"/>
                  </a:lnTo>
                  <a:lnTo>
                    <a:pt x="19814" y="13428"/>
                  </a:lnTo>
                  <a:lnTo>
                    <a:pt x="19743" y="13435"/>
                  </a:lnTo>
                  <a:lnTo>
                    <a:pt x="19743" y="13435"/>
                  </a:lnTo>
                  <a:lnTo>
                    <a:pt x="19654" y="13443"/>
                  </a:lnTo>
                  <a:lnTo>
                    <a:pt x="19566" y="13452"/>
                  </a:lnTo>
                  <a:lnTo>
                    <a:pt x="19477" y="13463"/>
                  </a:lnTo>
                  <a:lnTo>
                    <a:pt x="19390" y="13475"/>
                  </a:lnTo>
                  <a:lnTo>
                    <a:pt x="19301" y="13488"/>
                  </a:lnTo>
                  <a:lnTo>
                    <a:pt x="19213" y="13502"/>
                  </a:lnTo>
                  <a:lnTo>
                    <a:pt x="19124" y="13517"/>
                  </a:lnTo>
                  <a:lnTo>
                    <a:pt x="19036" y="13533"/>
                  </a:lnTo>
                  <a:lnTo>
                    <a:pt x="18947" y="13550"/>
                  </a:lnTo>
                  <a:lnTo>
                    <a:pt x="18859" y="13569"/>
                  </a:lnTo>
                  <a:lnTo>
                    <a:pt x="18770" y="13588"/>
                  </a:lnTo>
                  <a:lnTo>
                    <a:pt x="18681" y="13609"/>
                  </a:lnTo>
                  <a:lnTo>
                    <a:pt x="18592" y="13630"/>
                  </a:lnTo>
                  <a:lnTo>
                    <a:pt x="18504" y="13651"/>
                  </a:lnTo>
                  <a:lnTo>
                    <a:pt x="18414" y="13674"/>
                  </a:lnTo>
                  <a:lnTo>
                    <a:pt x="18326" y="13697"/>
                  </a:lnTo>
                  <a:lnTo>
                    <a:pt x="18236" y="13721"/>
                  </a:lnTo>
                  <a:lnTo>
                    <a:pt x="18147" y="13746"/>
                  </a:lnTo>
                  <a:lnTo>
                    <a:pt x="17967" y="13798"/>
                  </a:lnTo>
                  <a:lnTo>
                    <a:pt x="17787" y="13851"/>
                  </a:lnTo>
                  <a:lnTo>
                    <a:pt x="17606" y="13906"/>
                  </a:lnTo>
                  <a:lnTo>
                    <a:pt x="17425" y="13964"/>
                  </a:lnTo>
                  <a:lnTo>
                    <a:pt x="17242" y="14022"/>
                  </a:lnTo>
                  <a:lnTo>
                    <a:pt x="16872" y="14142"/>
                  </a:lnTo>
                  <a:lnTo>
                    <a:pt x="16671" y="14207"/>
                  </a:lnTo>
                  <a:lnTo>
                    <a:pt x="16671" y="14207"/>
                  </a:lnTo>
                  <a:lnTo>
                    <a:pt x="16344" y="14314"/>
                  </a:lnTo>
                  <a:lnTo>
                    <a:pt x="16012" y="14420"/>
                  </a:lnTo>
                  <a:lnTo>
                    <a:pt x="15843" y="14474"/>
                  </a:lnTo>
                  <a:lnTo>
                    <a:pt x="15674" y="14527"/>
                  </a:lnTo>
                  <a:lnTo>
                    <a:pt x="15503" y="14579"/>
                  </a:lnTo>
                  <a:lnTo>
                    <a:pt x="15331" y="14632"/>
                  </a:lnTo>
                  <a:lnTo>
                    <a:pt x="15158" y="14684"/>
                  </a:lnTo>
                  <a:lnTo>
                    <a:pt x="14984" y="14734"/>
                  </a:lnTo>
                  <a:lnTo>
                    <a:pt x="14808" y="14785"/>
                  </a:lnTo>
                  <a:lnTo>
                    <a:pt x="14632" y="14834"/>
                  </a:lnTo>
                  <a:lnTo>
                    <a:pt x="14455" y="14882"/>
                  </a:lnTo>
                  <a:lnTo>
                    <a:pt x="14276" y="14929"/>
                  </a:lnTo>
                  <a:lnTo>
                    <a:pt x="14097" y="14975"/>
                  </a:lnTo>
                  <a:lnTo>
                    <a:pt x="13916" y="15018"/>
                  </a:lnTo>
                  <a:lnTo>
                    <a:pt x="13735" y="15060"/>
                  </a:lnTo>
                  <a:lnTo>
                    <a:pt x="13553" y="15101"/>
                  </a:lnTo>
                  <a:lnTo>
                    <a:pt x="13369" y="15140"/>
                  </a:lnTo>
                  <a:lnTo>
                    <a:pt x="13185" y="15176"/>
                  </a:lnTo>
                  <a:lnTo>
                    <a:pt x="13000" y="15210"/>
                  </a:lnTo>
                  <a:lnTo>
                    <a:pt x="12908" y="15227"/>
                  </a:lnTo>
                  <a:lnTo>
                    <a:pt x="12814" y="15242"/>
                  </a:lnTo>
                  <a:lnTo>
                    <a:pt x="12722" y="15257"/>
                  </a:lnTo>
                  <a:lnTo>
                    <a:pt x="12628" y="15272"/>
                  </a:lnTo>
                  <a:lnTo>
                    <a:pt x="12535" y="15285"/>
                  </a:lnTo>
                  <a:lnTo>
                    <a:pt x="12441" y="15300"/>
                  </a:lnTo>
                  <a:lnTo>
                    <a:pt x="12347" y="15312"/>
                  </a:lnTo>
                  <a:lnTo>
                    <a:pt x="12253" y="15324"/>
                  </a:lnTo>
                  <a:lnTo>
                    <a:pt x="12159" y="15335"/>
                  </a:lnTo>
                  <a:lnTo>
                    <a:pt x="12064" y="15345"/>
                  </a:lnTo>
                  <a:lnTo>
                    <a:pt x="11970" y="15355"/>
                  </a:lnTo>
                  <a:lnTo>
                    <a:pt x="11875" y="15364"/>
                  </a:lnTo>
                  <a:lnTo>
                    <a:pt x="11779" y="15372"/>
                  </a:lnTo>
                  <a:lnTo>
                    <a:pt x="11685" y="15379"/>
                  </a:lnTo>
                  <a:lnTo>
                    <a:pt x="11589" y="15386"/>
                  </a:lnTo>
                  <a:lnTo>
                    <a:pt x="11494" y="15391"/>
                  </a:lnTo>
                  <a:lnTo>
                    <a:pt x="11398" y="15396"/>
                  </a:lnTo>
                  <a:lnTo>
                    <a:pt x="11303" y="15400"/>
                  </a:lnTo>
                  <a:lnTo>
                    <a:pt x="11207" y="15403"/>
                  </a:lnTo>
                  <a:lnTo>
                    <a:pt x="11111" y="15406"/>
                  </a:lnTo>
                  <a:lnTo>
                    <a:pt x="11014" y="15407"/>
                  </a:lnTo>
                  <a:lnTo>
                    <a:pt x="10919" y="15407"/>
                  </a:lnTo>
                  <a:lnTo>
                    <a:pt x="10919" y="15407"/>
                  </a:lnTo>
                  <a:lnTo>
                    <a:pt x="10801" y="15407"/>
                  </a:lnTo>
                  <a:lnTo>
                    <a:pt x="10683" y="15405"/>
                  </a:lnTo>
                  <a:lnTo>
                    <a:pt x="10567" y="15401"/>
                  </a:lnTo>
                  <a:lnTo>
                    <a:pt x="10450" y="15396"/>
                  </a:lnTo>
                  <a:lnTo>
                    <a:pt x="10334" y="15390"/>
                  </a:lnTo>
                  <a:lnTo>
                    <a:pt x="10218" y="15382"/>
                  </a:lnTo>
                  <a:lnTo>
                    <a:pt x="10103" y="15373"/>
                  </a:lnTo>
                  <a:lnTo>
                    <a:pt x="9987" y="15363"/>
                  </a:lnTo>
                  <a:lnTo>
                    <a:pt x="9873" y="15351"/>
                  </a:lnTo>
                  <a:lnTo>
                    <a:pt x="9759" y="15338"/>
                  </a:lnTo>
                  <a:lnTo>
                    <a:pt x="9645" y="15323"/>
                  </a:lnTo>
                  <a:lnTo>
                    <a:pt x="9532" y="15307"/>
                  </a:lnTo>
                  <a:lnTo>
                    <a:pt x="9419" y="15290"/>
                  </a:lnTo>
                  <a:lnTo>
                    <a:pt x="9307" y="15270"/>
                  </a:lnTo>
                  <a:lnTo>
                    <a:pt x="9196" y="15250"/>
                  </a:lnTo>
                  <a:lnTo>
                    <a:pt x="9085" y="15228"/>
                  </a:lnTo>
                  <a:lnTo>
                    <a:pt x="9085" y="15228"/>
                  </a:lnTo>
                  <a:lnTo>
                    <a:pt x="8975" y="15205"/>
                  </a:lnTo>
                  <a:lnTo>
                    <a:pt x="8866" y="15181"/>
                  </a:lnTo>
                  <a:lnTo>
                    <a:pt x="8758" y="15155"/>
                  </a:lnTo>
                  <a:lnTo>
                    <a:pt x="8652" y="15127"/>
                  </a:lnTo>
                  <a:lnTo>
                    <a:pt x="8546" y="15097"/>
                  </a:lnTo>
                  <a:lnTo>
                    <a:pt x="8441" y="15066"/>
                  </a:lnTo>
                  <a:lnTo>
                    <a:pt x="8339" y="15034"/>
                  </a:lnTo>
                  <a:lnTo>
                    <a:pt x="8238" y="15000"/>
                  </a:lnTo>
                  <a:lnTo>
                    <a:pt x="8138" y="14965"/>
                  </a:lnTo>
                  <a:lnTo>
                    <a:pt x="8040" y="14928"/>
                  </a:lnTo>
                  <a:lnTo>
                    <a:pt x="7943" y="14890"/>
                  </a:lnTo>
                  <a:lnTo>
                    <a:pt x="7847" y="14851"/>
                  </a:lnTo>
                  <a:lnTo>
                    <a:pt x="7752" y="14810"/>
                  </a:lnTo>
                  <a:lnTo>
                    <a:pt x="7660" y="14767"/>
                  </a:lnTo>
                  <a:lnTo>
                    <a:pt x="7568" y="14723"/>
                  </a:lnTo>
                  <a:lnTo>
                    <a:pt x="7479" y="14679"/>
                  </a:lnTo>
                  <a:lnTo>
                    <a:pt x="7390" y="14633"/>
                  </a:lnTo>
                  <a:lnTo>
                    <a:pt x="7304" y="14584"/>
                  </a:lnTo>
                  <a:lnTo>
                    <a:pt x="7218" y="14535"/>
                  </a:lnTo>
                  <a:lnTo>
                    <a:pt x="7135" y="14485"/>
                  </a:lnTo>
                  <a:lnTo>
                    <a:pt x="7053" y="14433"/>
                  </a:lnTo>
                  <a:lnTo>
                    <a:pt x="6972" y="14381"/>
                  </a:lnTo>
                  <a:lnTo>
                    <a:pt x="6894" y="14327"/>
                  </a:lnTo>
                  <a:lnTo>
                    <a:pt x="6816" y="14271"/>
                  </a:lnTo>
                  <a:lnTo>
                    <a:pt x="6741" y="14215"/>
                  </a:lnTo>
                  <a:lnTo>
                    <a:pt x="6666" y="14158"/>
                  </a:lnTo>
                  <a:lnTo>
                    <a:pt x="6594" y="14098"/>
                  </a:lnTo>
                  <a:lnTo>
                    <a:pt x="6523" y="14039"/>
                  </a:lnTo>
                  <a:lnTo>
                    <a:pt x="6454" y="13978"/>
                  </a:lnTo>
                  <a:lnTo>
                    <a:pt x="6387" y="13915"/>
                  </a:lnTo>
                  <a:lnTo>
                    <a:pt x="6321" y="13852"/>
                  </a:lnTo>
                  <a:lnTo>
                    <a:pt x="6258" y="13788"/>
                  </a:lnTo>
                  <a:lnTo>
                    <a:pt x="6196" y="13722"/>
                  </a:lnTo>
                  <a:lnTo>
                    <a:pt x="6135" y="13656"/>
                  </a:lnTo>
                  <a:lnTo>
                    <a:pt x="6077" y="13588"/>
                  </a:lnTo>
                  <a:lnTo>
                    <a:pt x="6021" y="13520"/>
                  </a:lnTo>
                  <a:lnTo>
                    <a:pt x="5965" y="13451"/>
                  </a:lnTo>
                  <a:lnTo>
                    <a:pt x="5912" y="13380"/>
                  </a:lnTo>
                  <a:lnTo>
                    <a:pt x="5862" y="13308"/>
                  </a:lnTo>
                  <a:lnTo>
                    <a:pt x="5812" y="13235"/>
                  </a:lnTo>
                  <a:lnTo>
                    <a:pt x="5764" y="13162"/>
                  </a:lnTo>
                  <a:lnTo>
                    <a:pt x="5719" y="13087"/>
                  </a:lnTo>
                  <a:lnTo>
                    <a:pt x="5676" y="13013"/>
                  </a:lnTo>
                  <a:lnTo>
                    <a:pt x="5633" y="12937"/>
                  </a:lnTo>
                  <a:lnTo>
                    <a:pt x="5594" y="12859"/>
                  </a:lnTo>
                  <a:lnTo>
                    <a:pt x="5556" y="12782"/>
                  </a:lnTo>
                  <a:lnTo>
                    <a:pt x="5521" y="12703"/>
                  </a:lnTo>
                  <a:lnTo>
                    <a:pt x="5487" y="12623"/>
                  </a:lnTo>
                  <a:lnTo>
                    <a:pt x="5454" y="12542"/>
                  </a:lnTo>
                  <a:lnTo>
                    <a:pt x="5425" y="12462"/>
                  </a:lnTo>
                  <a:lnTo>
                    <a:pt x="5397" y="12379"/>
                  </a:lnTo>
                  <a:lnTo>
                    <a:pt x="5372" y="12297"/>
                  </a:lnTo>
                  <a:lnTo>
                    <a:pt x="5348" y="12213"/>
                  </a:lnTo>
                  <a:lnTo>
                    <a:pt x="5327" y="12129"/>
                  </a:lnTo>
                  <a:lnTo>
                    <a:pt x="5307" y="12044"/>
                  </a:lnTo>
                  <a:lnTo>
                    <a:pt x="5289" y="11959"/>
                  </a:lnTo>
                  <a:lnTo>
                    <a:pt x="5274" y="11872"/>
                  </a:lnTo>
                  <a:lnTo>
                    <a:pt x="5261" y="11786"/>
                  </a:lnTo>
                  <a:lnTo>
                    <a:pt x="5250" y="11697"/>
                  </a:lnTo>
                  <a:lnTo>
                    <a:pt x="5242" y="11610"/>
                  </a:lnTo>
                  <a:lnTo>
                    <a:pt x="5235" y="11520"/>
                  </a:lnTo>
                  <a:lnTo>
                    <a:pt x="5231" y="11431"/>
                  </a:lnTo>
                  <a:lnTo>
                    <a:pt x="5229" y="11341"/>
                  </a:lnTo>
                  <a:lnTo>
                    <a:pt x="5229" y="11251"/>
                  </a:lnTo>
                  <a:lnTo>
                    <a:pt x="5229" y="11251"/>
                  </a:lnTo>
                  <a:lnTo>
                    <a:pt x="5230" y="11200"/>
                  </a:lnTo>
                  <a:lnTo>
                    <a:pt x="5232" y="11151"/>
                  </a:lnTo>
                  <a:lnTo>
                    <a:pt x="5235" y="11102"/>
                  </a:lnTo>
                  <a:lnTo>
                    <a:pt x="5238" y="11052"/>
                  </a:lnTo>
                  <a:lnTo>
                    <a:pt x="5242" y="11004"/>
                  </a:lnTo>
                  <a:lnTo>
                    <a:pt x="5247" y="10955"/>
                  </a:lnTo>
                  <a:lnTo>
                    <a:pt x="5252" y="10906"/>
                  </a:lnTo>
                  <a:lnTo>
                    <a:pt x="5259" y="10857"/>
                  </a:lnTo>
                  <a:lnTo>
                    <a:pt x="5266" y="10809"/>
                  </a:lnTo>
                  <a:lnTo>
                    <a:pt x="5273" y="10760"/>
                  </a:lnTo>
                  <a:lnTo>
                    <a:pt x="5282" y="10711"/>
                  </a:lnTo>
                  <a:lnTo>
                    <a:pt x="5291" y="10663"/>
                  </a:lnTo>
                  <a:lnTo>
                    <a:pt x="5302" y="10616"/>
                  </a:lnTo>
                  <a:lnTo>
                    <a:pt x="5313" y="10568"/>
                  </a:lnTo>
                  <a:lnTo>
                    <a:pt x="5324" y="10519"/>
                  </a:lnTo>
                  <a:lnTo>
                    <a:pt x="5336" y="10472"/>
                  </a:lnTo>
                  <a:lnTo>
                    <a:pt x="5349" y="10425"/>
                  </a:lnTo>
                  <a:lnTo>
                    <a:pt x="5363" y="10377"/>
                  </a:lnTo>
                  <a:lnTo>
                    <a:pt x="5377" y="10330"/>
                  </a:lnTo>
                  <a:lnTo>
                    <a:pt x="5392" y="10283"/>
                  </a:lnTo>
                  <a:lnTo>
                    <a:pt x="5408" y="10236"/>
                  </a:lnTo>
                  <a:lnTo>
                    <a:pt x="5424" y="10189"/>
                  </a:lnTo>
                  <a:lnTo>
                    <a:pt x="5441" y="10142"/>
                  </a:lnTo>
                  <a:lnTo>
                    <a:pt x="5459" y="10096"/>
                  </a:lnTo>
                  <a:lnTo>
                    <a:pt x="5479" y="10049"/>
                  </a:lnTo>
                  <a:lnTo>
                    <a:pt x="5498" y="10003"/>
                  </a:lnTo>
                  <a:lnTo>
                    <a:pt x="5518" y="9958"/>
                  </a:lnTo>
                  <a:lnTo>
                    <a:pt x="5539" y="9912"/>
                  </a:lnTo>
                  <a:lnTo>
                    <a:pt x="5560" y="9866"/>
                  </a:lnTo>
                  <a:lnTo>
                    <a:pt x="5583" y="9821"/>
                  </a:lnTo>
                  <a:lnTo>
                    <a:pt x="5606" y="9776"/>
                  </a:lnTo>
                  <a:lnTo>
                    <a:pt x="5629" y="9731"/>
                  </a:lnTo>
                  <a:lnTo>
                    <a:pt x="5654" y="9685"/>
                  </a:lnTo>
                  <a:lnTo>
                    <a:pt x="5679" y="9641"/>
                  </a:lnTo>
                  <a:lnTo>
                    <a:pt x="5705" y="9596"/>
                  </a:lnTo>
                  <a:lnTo>
                    <a:pt x="5732" y="9552"/>
                  </a:lnTo>
                  <a:lnTo>
                    <a:pt x="5759" y="9507"/>
                  </a:lnTo>
                  <a:lnTo>
                    <a:pt x="5786" y="9464"/>
                  </a:lnTo>
                  <a:lnTo>
                    <a:pt x="5815" y="9420"/>
                  </a:lnTo>
                  <a:lnTo>
                    <a:pt x="5845" y="9377"/>
                  </a:lnTo>
                  <a:lnTo>
                    <a:pt x="5875" y="9333"/>
                  </a:lnTo>
                  <a:lnTo>
                    <a:pt x="5906" y="9290"/>
                  </a:lnTo>
                  <a:lnTo>
                    <a:pt x="5937" y="9247"/>
                  </a:lnTo>
                  <a:lnTo>
                    <a:pt x="5969" y="9204"/>
                  </a:lnTo>
                  <a:lnTo>
                    <a:pt x="6002" y="9161"/>
                  </a:lnTo>
                  <a:lnTo>
                    <a:pt x="6036" y="9119"/>
                  </a:lnTo>
                  <a:lnTo>
                    <a:pt x="6070" y="9077"/>
                  </a:lnTo>
                  <a:lnTo>
                    <a:pt x="6105" y="9035"/>
                  </a:lnTo>
                  <a:lnTo>
                    <a:pt x="6140" y="8993"/>
                  </a:lnTo>
                  <a:lnTo>
                    <a:pt x="6177" y="8952"/>
                  </a:lnTo>
                  <a:lnTo>
                    <a:pt x="6214" y="8911"/>
                  </a:lnTo>
                  <a:lnTo>
                    <a:pt x="6251" y="8870"/>
                  </a:lnTo>
                  <a:lnTo>
                    <a:pt x="6289" y="8829"/>
                  </a:lnTo>
                  <a:lnTo>
                    <a:pt x="6328" y="8789"/>
                  </a:lnTo>
                  <a:lnTo>
                    <a:pt x="6369" y="8749"/>
                  </a:lnTo>
                  <a:lnTo>
                    <a:pt x="6409" y="8709"/>
                  </a:lnTo>
                  <a:lnTo>
                    <a:pt x="6450" y="8668"/>
                  </a:lnTo>
                  <a:lnTo>
                    <a:pt x="6491" y="8629"/>
                  </a:lnTo>
                  <a:lnTo>
                    <a:pt x="6534" y="8590"/>
                  </a:lnTo>
                  <a:lnTo>
                    <a:pt x="6577" y="8551"/>
                  </a:lnTo>
                  <a:lnTo>
                    <a:pt x="6621" y="8511"/>
                  </a:lnTo>
                  <a:lnTo>
                    <a:pt x="6665" y="8473"/>
                  </a:lnTo>
                  <a:lnTo>
                    <a:pt x="6711" y="8435"/>
                  </a:lnTo>
                  <a:lnTo>
                    <a:pt x="6756" y="8397"/>
                  </a:lnTo>
                  <a:lnTo>
                    <a:pt x="6756" y="8397"/>
                  </a:lnTo>
                  <a:lnTo>
                    <a:pt x="6832" y="8335"/>
                  </a:lnTo>
                  <a:lnTo>
                    <a:pt x="6910" y="8275"/>
                  </a:lnTo>
                  <a:lnTo>
                    <a:pt x="6988" y="8216"/>
                  </a:lnTo>
                  <a:lnTo>
                    <a:pt x="7069" y="8156"/>
                  </a:lnTo>
                  <a:lnTo>
                    <a:pt x="7150" y="8099"/>
                  </a:lnTo>
                  <a:lnTo>
                    <a:pt x="7234" y="8042"/>
                  </a:lnTo>
                  <a:lnTo>
                    <a:pt x="7318" y="7986"/>
                  </a:lnTo>
                  <a:lnTo>
                    <a:pt x="7404" y="7931"/>
                  </a:lnTo>
                  <a:lnTo>
                    <a:pt x="7491" y="7877"/>
                  </a:lnTo>
                  <a:lnTo>
                    <a:pt x="7580" y="7823"/>
                  </a:lnTo>
                  <a:lnTo>
                    <a:pt x="7670" y="7772"/>
                  </a:lnTo>
                  <a:lnTo>
                    <a:pt x="7762" y="7721"/>
                  </a:lnTo>
                  <a:lnTo>
                    <a:pt x="7854" y="7670"/>
                  </a:lnTo>
                  <a:lnTo>
                    <a:pt x="7948" y="7621"/>
                  </a:lnTo>
                  <a:lnTo>
                    <a:pt x="8043" y="7573"/>
                  </a:lnTo>
                  <a:lnTo>
                    <a:pt x="8139" y="7526"/>
                  </a:lnTo>
                  <a:lnTo>
                    <a:pt x="8236" y="7479"/>
                  </a:lnTo>
                  <a:lnTo>
                    <a:pt x="8335" y="7434"/>
                  </a:lnTo>
                  <a:lnTo>
                    <a:pt x="8434" y="7390"/>
                  </a:lnTo>
                  <a:lnTo>
                    <a:pt x="8536" y="7346"/>
                  </a:lnTo>
                  <a:lnTo>
                    <a:pt x="8638" y="7304"/>
                  </a:lnTo>
                  <a:lnTo>
                    <a:pt x="8741" y="7263"/>
                  </a:lnTo>
                  <a:lnTo>
                    <a:pt x="8845" y="7224"/>
                  </a:lnTo>
                  <a:lnTo>
                    <a:pt x="8950" y="7185"/>
                  </a:lnTo>
                  <a:lnTo>
                    <a:pt x="9057" y="7147"/>
                  </a:lnTo>
                  <a:lnTo>
                    <a:pt x="9164" y="7110"/>
                  </a:lnTo>
                  <a:lnTo>
                    <a:pt x="9272" y="7075"/>
                  </a:lnTo>
                  <a:lnTo>
                    <a:pt x="9381" y="7041"/>
                  </a:lnTo>
                  <a:lnTo>
                    <a:pt x="9491" y="7007"/>
                  </a:lnTo>
                  <a:lnTo>
                    <a:pt x="9602" y="6975"/>
                  </a:lnTo>
                  <a:lnTo>
                    <a:pt x="9714" y="6944"/>
                  </a:lnTo>
                  <a:lnTo>
                    <a:pt x="9827" y="6914"/>
                  </a:lnTo>
                  <a:lnTo>
                    <a:pt x="9827" y="6914"/>
                  </a:lnTo>
                  <a:lnTo>
                    <a:pt x="9943" y="6885"/>
                  </a:lnTo>
                  <a:lnTo>
                    <a:pt x="10060" y="6857"/>
                  </a:lnTo>
                  <a:lnTo>
                    <a:pt x="10177" y="6829"/>
                  </a:lnTo>
                  <a:lnTo>
                    <a:pt x="10295" y="6803"/>
                  </a:lnTo>
                  <a:lnTo>
                    <a:pt x="10415" y="6778"/>
                  </a:lnTo>
                  <a:lnTo>
                    <a:pt x="10534" y="6753"/>
                  </a:lnTo>
                  <a:lnTo>
                    <a:pt x="10656" y="6730"/>
                  </a:lnTo>
                  <a:lnTo>
                    <a:pt x="10778" y="6708"/>
                  </a:lnTo>
                  <a:lnTo>
                    <a:pt x="10900" y="6687"/>
                  </a:lnTo>
                  <a:lnTo>
                    <a:pt x="11024" y="6665"/>
                  </a:lnTo>
                  <a:lnTo>
                    <a:pt x="11150" y="6646"/>
                  </a:lnTo>
                  <a:lnTo>
                    <a:pt x="11276" y="6627"/>
                  </a:lnTo>
                  <a:lnTo>
                    <a:pt x="11403" y="6610"/>
                  </a:lnTo>
                  <a:lnTo>
                    <a:pt x="11531" y="6593"/>
                  </a:lnTo>
                  <a:lnTo>
                    <a:pt x="11661" y="6577"/>
                  </a:lnTo>
                  <a:lnTo>
                    <a:pt x="11791" y="6563"/>
                  </a:lnTo>
                  <a:lnTo>
                    <a:pt x="11924" y="6549"/>
                  </a:lnTo>
                  <a:lnTo>
                    <a:pt x="12058" y="6536"/>
                  </a:lnTo>
                  <a:lnTo>
                    <a:pt x="12193" y="6524"/>
                  </a:lnTo>
                  <a:lnTo>
                    <a:pt x="12329" y="6513"/>
                  </a:lnTo>
                  <a:lnTo>
                    <a:pt x="12466" y="6501"/>
                  </a:lnTo>
                  <a:lnTo>
                    <a:pt x="12606" y="6492"/>
                  </a:lnTo>
                  <a:lnTo>
                    <a:pt x="12746" y="6484"/>
                  </a:lnTo>
                  <a:lnTo>
                    <a:pt x="12889" y="6476"/>
                  </a:lnTo>
                  <a:lnTo>
                    <a:pt x="13033" y="6470"/>
                  </a:lnTo>
                  <a:lnTo>
                    <a:pt x="13178" y="6464"/>
                  </a:lnTo>
                  <a:lnTo>
                    <a:pt x="13325" y="6459"/>
                  </a:lnTo>
                  <a:lnTo>
                    <a:pt x="13474" y="6455"/>
                  </a:lnTo>
                  <a:lnTo>
                    <a:pt x="13624" y="6452"/>
                  </a:lnTo>
                  <a:lnTo>
                    <a:pt x="13777" y="6450"/>
                  </a:lnTo>
                  <a:lnTo>
                    <a:pt x="13931" y="6449"/>
                  </a:lnTo>
                  <a:lnTo>
                    <a:pt x="14087" y="6448"/>
                  </a:lnTo>
                  <a:lnTo>
                    <a:pt x="14087" y="6448"/>
                  </a:lnTo>
                  <a:lnTo>
                    <a:pt x="14251" y="6449"/>
                  </a:lnTo>
                  <a:lnTo>
                    <a:pt x="14413" y="6450"/>
                  </a:lnTo>
                  <a:lnTo>
                    <a:pt x="14577" y="6452"/>
                  </a:lnTo>
                  <a:lnTo>
                    <a:pt x="14740" y="6455"/>
                  </a:lnTo>
                  <a:lnTo>
                    <a:pt x="14903" y="6458"/>
                  </a:lnTo>
                  <a:lnTo>
                    <a:pt x="15067" y="6463"/>
                  </a:lnTo>
                  <a:lnTo>
                    <a:pt x="15392" y="6472"/>
                  </a:lnTo>
                  <a:lnTo>
                    <a:pt x="15717" y="6484"/>
                  </a:lnTo>
                  <a:lnTo>
                    <a:pt x="16040" y="6496"/>
                  </a:lnTo>
                  <a:lnTo>
                    <a:pt x="16679" y="6525"/>
                  </a:lnTo>
                  <a:lnTo>
                    <a:pt x="16679" y="6525"/>
                  </a:lnTo>
                  <a:lnTo>
                    <a:pt x="17310" y="6552"/>
                  </a:lnTo>
                  <a:lnTo>
                    <a:pt x="17620" y="6564"/>
                  </a:lnTo>
                  <a:lnTo>
                    <a:pt x="17926" y="6575"/>
                  </a:lnTo>
                  <a:lnTo>
                    <a:pt x="18231" y="6584"/>
                  </a:lnTo>
                  <a:lnTo>
                    <a:pt x="18534" y="6591"/>
                  </a:lnTo>
                  <a:lnTo>
                    <a:pt x="18685" y="6594"/>
                  </a:lnTo>
                  <a:lnTo>
                    <a:pt x="18836" y="6595"/>
                  </a:lnTo>
                  <a:lnTo>
                    <a:pt x="18985" y="6597"/>
                  </a:lnTo>
                  <a:lnTo>
                    <a:pt x="19136" y="6597"/>
                  </a:lnTo>
                  <a:lnTo>
                    <a:pt x="19136" y="6597"/>
                  </a:lnTo>
                  <a:lnTo>
                    <a:pt x="19296" y="6597"/>
                  </a:lnTo>
                  <a:lnTo>
                    <a:pt x="19453" y="6595"/>
                  </a:lnTo>
                  <a:lnTo>
                    <a:pt x="19608" y="6592"/>
                  </a:lnTo>
                  <a:lnTo>
                    <a:pt x="19761" y="6589"/>
                  </a:lnTo>
                  <a:lnTo>
                    <a:pt x="19911" y="6584"/>
                  </a:lnTo>
                  <a:lnTo>
                    <a:pt x="20059" y="6579"/>
                  </a:lnTo>
                  <a:lnTo>
                    <a:pt x="20204" y="6572"/>
                  </a:lnTo>
                  <a:lnTo>
                    <a:pt x="20347" y="6564"/>
                  </a:lnTo>
                  <a:lnTo>
                    <a:pt x="20489" y="6555"/>
                  </a:lnTo>
                  <a:lnTo>
                    <a:pt x="20628" y="6545"/>
                  </a:lnTo>
                  <a:lnTo>
                    <a:pt x="20766" y="6534"/>
                  </a:lnTo>
                  <a:lnTo>
                    <a:pt x="20900" y="6522"/>
                  </a:lnTo>
                  <a:lnTo>
                    <a:pt x="21033" y="6509"/>
                  </a:lnTo>
                  <a:lnTo>
                    <a:pt x="21165" y="6493"/>
                  </a:lnTo>
                  <a:lnTo>
                    <a:pt x="21295" y="6478"/>
                  </a:lnTo>
                  <a:lnTo>
                    <a:pt x="21422" y="6461"/>
                  </a:lnTo>
                  <a:lnTo>
                    <a:pt x="21548" y="6444"/>
                  </a:lnTo>
                  <a:lnTo>
                    <a:pt x="21673" y="6425"/>
                  </a:lnTo>
                  <a:lnTo>
                    <a:pt x="21795" y="6405"/>
                  </a:lnTo>
                  <a:lnTo>
                    <a:pt x="21917" y="6384"/>
                  </a:lnTo>
                  <a:lnTo>
                    <a:pt x="22037" y="6361"/>
                  </a:lnTo>
                  <a:lnTo>
                    <a:pt x="22156" y="6338"/>
                  </a:lnTo>
                  <a:lnTo>
                    <a:pt x="22272" y="6312"/>
                  </a:lnTo>
                  <a:lnTo>
                    <a:pt x="22388" y="6286"/>
                  </a:lnTo>
                  <a:lnTo>
                    <a:pt x="22503" y="6259"/>
                  </a:lnTo>
                  <a:lnTo>
                    <a:pt x="22616" y="6231"/>
                  </a:lnTo>
                  <a:lnTo>
                    <a:pt x="22729" y="6201"/>
                  </a:lnTo>
                  <a:lnTo>
                    <a:pt x="22839" y="6171"/>
                  </a:lnTo>
                  <a:lnTo>
                    <a:pt x="22950" y="6138"/>
                  </a:lnTo>
                  <a:lnTo>
                    <a:pt x="23059" y="6105"/>
                  </a:lnTo>
                  <a:lnTo>
                    <a:pt x="23167" y="6070"/>
                  </a:lnTo>
                  <a:lnTo>
                    <a:pt x="23275" y="6035"/>
                  </a:lnTo>
                  <a:lnTo>
                    <a:pt x="23275" y="6035"/>
                  </a:lnTo>
                  <a:lnTo>
                    <a:pt x="23382" y="5996"/>
                  </a:lnTo>
                  <a:lnTo>
                    <a:pt x="23487" y="5957"/>
                  </a:lnTo>
                  <a:lnTo>
                    <a:pt x="23592" y="5916"/>
                  </a:lnTo>
                  <a:lnTo>
                    <a:pt x="23694" y="5874"/>
                  </a:lnTo>
                  <a:lnTo>
                    <a:pt x="23797" y="5830"/>
                  </a:lnTo>
                  <a:lnTo>
                    <a:pt x="23897" y="5783"/>
                  </a:lnTo>
                  <a:lnTo>
                    <a:pt x="23996" y="5735"/>
                  </a:lnTo>
                  <a:lnTo>
                    <a:pt x="24095" y="5685"/>
                  </a:lnTo>
                  <a:lnTo>
                    <a:pt x="24191" y="5633"/>
                  </a:lnTo>
                  <a:lnTo>
                    <a:pt x="24287" y="5580"/>
                  </a:lnTo>
                  <a:lnTo>
                    <a:pt x="24381" y="5525"/>
                  </a:lnTo>
                  <a:lnTo>
                    <a:pt x="24474" y="5468"/>
                  </a:lnTo>
                  <a:lnTo>
                    <a:pt x="24565" y="5409"/>
                  </a:lnTo>
                  <a:lnTo>
                    <a:pt x="24656" y="5349"/>
                  </a:lnTo>
                  <a:lnTo>
                    <a:pt x="24745" y="5286"/>
                  </a:lnTo>
                  <a:lnTo>
                    <a:pt x="24834" y="5223"/>
                  </a:lnTo>
                  <a:lnTo>
                    <a:pt x="24920" y="5157"/>
                  </a:lnTo>
                  <a:lnTo>
                    <a:pt x="25006" y="5089"/>
                  </a:lnTo>
                  <a:lnTo>
                    <a:pt x="25090" y="5020"/>
                  </a:lnTo>
                  <a:lnTo>
                    <a:pt x="25173" y="4948"/>
                  </a:lnTo>
                  <a:lnTo>
                    <a:pt x="25255" y="4876"/>
                  </a:lnTo>
                  <a:lnTo>
                    <a:pt x="25336" y="4800"/>
                  </a:lnTo>
                  <a:lnTo>
                    <a:pt x="25415" y="4724"/>
                  </a:lnTo>
                  <a:lnTo>
                    <a:pt x="25493" y="4645"/>
                  </a:lnTo>
                  <a:lnTo>
                    <a:pt x="25570" y="4565"/>
                  </a:lnTo>
                  <a:lnTo>
                    <a:pt x="25645" y="4484"/>
                  </a:lnTo>
                  <a:lnTo>
                    <a:pt x="25720" y="4400"/>
                  </a:lnTo>
                  <a:lnTo>
                    <a:pt x="25793" y="4314"/>
                  </a:lnTo>
                  <a:lnTo>
                    <a:pt x="25866" y="4226"/>
                  </a:lnTo>
                  <a:lnTo>
                    <a:pt x="25936" y="4137"/>
                  </a:lnTo>
                  <a:lnTo>
                    <a:pt x="26005" y="4046"/>
                  </a:lnTo>
                  <a:lnTo>
                    <a:pt x="26074" y="3953"/>
                  </a:lnTo>
                  <a:lnTo>
                    <a:pt x="26141" y="3859"/>
                  </a:lnTo>
                  <a:lnTo>
                    <a:pt x="26208" y="3762"/>
                  </a:lnTo>
                  <a:lnTo>
                    <a:pt x="26272" y="3664"/>
                  </a:lnTo>
                  <a:lnTo>
                    <a:pt x="26335" y="3563"/>
                  </a:lnTo>
                  <a:lnTo>
                    <a:pt x="26398" y="3461"/>
                  </a:lnTo>
                  <a:lnTo>
                    <a:pt x="26459" y="3357"/>
                  </a:lnTo>
                  <a:lnTo>
                    <a:pt x="26518" y="3251"/>
                  </a:lnTo>
                  <a:lnTo>
                    <a:pt x="26578" y="3144"/>
                  </a:lnTo>
                  <a:lnTo>
                    <a:pt x="26635" y="3034"/>
                  </a:lnTo>
                  <a:lnTo>
                    <a:pt x="26691" y="2923"/>
                  </a:lnTo>
                  <a:lnTo>
                    <a:pt x="26747" y="2810"/>
                  </a:lnTo>
                  <a:lnTo>
                    <a:pt x="26801" y="2695"/>
                  </a:lnTo>
                  <a:lnTo>
                    <a:pt x="26853" y="2578"/>
                  </a:lnTo>
                  <a:lnTo>
                    <a:pt x="26905" y="2460"/>
                  </a:lnTo>
                  <a:lnTo>
                    <a:pt x="26955" y="2339"/>
                  </a:lnTo>
                  <a:lnTo>
                    <a:pt x="27004" y="2216"/>
                  </a:lnTo>
                  <a:lnTo>
                    <a:pt x="27052" y="2091"/>
                  </a:lnTo>
                  <a:lnTo>
                    <a:pt x="27100" y="1966"/>
                  </a:lnTo>
                  <a:lnTo>
                    <a:pt x="27145" y="1837"/>
                  </a:lnTo>
                  <a:lnTo>
                    <a:pt x="27189" y="1707"/>
                  </a:lnTo>
                  <a:lnTo>
                    <a:pt x="27233" y="1575"/>
                  </a:lnTo>
                  <a:lnTo>
                    <a:pt x="27275" y="1442"/>
                  </a:lnTo>
                  <a:lnTo>
                    <a:pt x="27316" y="1306"/>
                  </a:lnTo>
                  <a:lnTo>
                    <a:pt x="27356" y="1169"/>
                  </a:lnTo>
                  <a:lnTo>
                    <a:pt x="27394" y="1029"/>
                  </a:lnTo>
                  <a:lnTo>
                    <a:pt x="27433" y="888"/>
                  </a:lnTo>
                  <a:lnTo>
                    <a:pt x="27469" y="744"/>
                  </a:lnTo>
                  <a:lnTo>
                    <a:pt x="27504" y="600"/>
                  </a:lnTo>
                  <a:lnTo>
                    <a:pt x="27537" y="453"/>
                  </a:lnTo>
                  <a:lnTo>
                    <a:pt x="27570" y="304"/>
                  </a:lnTo>
                  <a:lnTo>
                    <a:pt x="27603" y="153"/>
                  </a:lnTo>
                  <a:lnTo>
                    <a:pt x="27633" y="0"/>
                  </a:lnTo>
                  <a:lnTo>
                    <a:pt x="27633"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Line 17"/>
            <p:cNvSpPr>
              <a:spLocks noChangeShapeType="1"/>
            </p:cNvSpPr>
            <p:nvPr/>
          </p:nvSpPr>
          <p:spPr bwMode="auto">
            <a:xfrm>
              <a:off x="6603855" y="3257463"/>
              <a:ext cx="0" cy="0"/>
            </a:xfrm>
            <a:prstGeom prst="line">
              <a:avLst/>
            </a:prstGeom>
            <a:noFill/>
            <a:ln w="1428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45"/>
          <p:cNvGrpSpPr/>
          <p:nvPr/>
        </p:nvGrpSpPr>
        <p:grpSpPr>
          <a:xfrm>
            <a:off x="199232" y="4375921"/>
            <a:ext cx="3074352" cy="2279742"/>
            <a:chOff x="143092" y="4178716"/>
            <a:chExt cx="3074352" cy="2279742"/>
          </a:xfrm>
        </p:grpSpPr>
        <p:grpSp>
          <p:nvGrpSpPr>
            <p:cNvPr id="6" name="Group 87"/>
            <p:cNvGrpSpPr/>
            <p:nvPr/>
          </p:nvGrpSpPr>
          <p:grpSpPr>
            <a:xfrm>
              <a:off x="1821700" y="4178716"/>
              <a:ext cx="1395744" cy="1070474"/>
              <a:chOff x="2798937" y="4372054"/>
              <a:chExt cx="1395743" cy="1070474"/>
            </a:xfrm>
          </p:grpSpPr>
          <p:sp>
            <p:nvSpPr>
              <p:cNvPr id="89" name="Freeform 15"/>
              <p:cNvSpPr>
                <a:spLocks/>
              </p:cNvSpPr>
              <p:nvPr/>
            </p:nvSpPr>
            <p:spPr bwMode="auto">
              <a:xfrm>
                <a:off x="2798937" y="4916391"/>
                <a:ext cx="347711" cy="75648"/>
              </a:xfrm>
              <a:custGeom>
                <a:avLst/>
                <a:gdLst>
                  <a:gd name="T0" fmla="*/ 1835 w 1835"/>
                  <a:gd name="T1" fmla="*/ 198 h 394"/>
                  <a:gd name="T2" fmla="*/ 1830 w 1835"/>
                  <a:gd name="T3" fmla="*/ 218 h 394"/>
                  <a:gd name="T4" fmla="*/ 1816 w 1835"/>
                  <a:gd name="T5" fmla="*/ 237 h 394"/>
                  <a:gd name="T6" fmla="*/ 1794 w 1835"/>
                  <a:gd name="T7" fmla="*/ 256 h 394"/>
                  <a:gd name="T8" fmla="*/ 1763 w 1835"/>
                  <a:gd name="T9" fmla="*/ 274 h 394"/>
                  <a:gd name="T10" fmla="*/ 1725 w 1835"/>
                  <a:gd name="T11" fmla="*/ 291 h 394"/>
                  <a:gd name="T12" fmla="*/ 1678 w 1835"/>
                  <a:gd name="T13" fmla="*/ 307 h 394"/>
                  <a:gd name="T14" fmla="*/ 1625 w 1835"/>
                  <a:gd name="T15" fmla="*/ 322 h 394"/>
                  <a:gd name="T16" fmla="*/ 1567 w 1835"/>
                  <a:gd name="T17" fmla="*/ 336 h 394"/>
                  <a:gd name="T18" fmla="*/ 1431 w 1835"/>
                  <a:gd name="T19" fmla="*/ 361 h 394"/>
                  <a:gd name="T20" fmla="*/ 1275 w 1835"/>
                  <a:gd name="T21" fmla="*/ 379 h 394"/>
                  <a:gd name="T22" fmla="*/ 1102 w 1835"/>
                  <a:gd name="T23" fmla="*/ 390 h 394"/>
                  <a:gd name="T24" fmla="*/ 917 w 1835"/>
                  <a:gd name="T25" fmla="*/ 394 h 394"/>
                  <a:gd name="T26" fmla="*/ 823 w 1835"/>
                  <a:gd name="T27" fmla="*/ 393 h 394"/>
                  <a:gd name="T28" fmla="*/ 644 w 1835"/>
                  <a:gd name="T29" fmla="*/ 386 h 394"/>
                  <a:gd name="T30" fmla="*/ 479 w 1835"/>
                  <a:gd name="T31" fmla="*/ 371 h 394"/>
                  <a:gd name="T32" fmla="*/ 334 w 1835"/>
                  <a:gd name="T33" fmla="*/ 349 h 394"/>
                  <a:gd name="T34" fmla="*/ 238 w 1835"/>
                  <a:gd name="T35" fmla="*/ 329 h 394"/>
                  <a:gd name="T36" fmla="*/ 182 w 1835"/>
                  <a:gd name="T37" fmla="*/ 315 h 394"/>
                  <a:gd name="T38" fmla="*/ 132 w 1835"/>
                  <a:gd name="T39" fmla="*/ 299 h 394"/>
                  <a:gd name="T40" fmla="*/ 90 w 1835"/>
                  <a:gd name="T41" fmla="*/ 283 h 394"/>
                  <a:gd name="T42" fmla="*/ 55 w 1835"/>
                  <a:gd name="T43" fmla="*/ 265 h 394"/>
                  <a:gd name="T44" fmla="*/ 29 w 1835"/>
                  <a:gd name="T45" fmla="*/ 247 h 394"/>
                  <a:gd name="T46" fmla="*/ 10 w 1835"/>
                  <a:gd name="T47" fmla="*/ 228 h 394"/>
                  <a:gd name="T48" fmla="*/ 1 w 1835"/>
                  <a:gd name="T49" fmla="*/ 208 h 394"/>
                  <a:gd name="T50" fmla="*/ 0 w 1835"/>
                  <a:gd name="T51" fmla="*/ 198 h 394"/>
                  <a:gd name="T52" fmla="*/ 5 w 1835"/>
                  <a:gd name="T53" fmla="*/ 177 h 394"/>
                  <a:gd name="T54" fmla="*/ 18 w 1835"/>
                  <a:gd name="T55" fmla="*/ 157 h 394"/>
                  <a:gd name="T56" fmla="*/ 41 w 1835"/>
                  <a:gd name="T57" fmla="*/ 139 h 394"/>
                  <a:gd name="T58" fmla="*/ 72 w 1835"/>
                  <a:gd name="T59" fmla="*/ 121 h 394"/>
                  <a:gd name="T60" fmla="*/ 110 w 1835"/>
                  <a:gd name="T61" fmla="*/ 104 h 394"/>
                  <a:gd name="T62" fmla="*/ 157 w 1835"/>
                  <a:gd name="T63" fmla="*/ 87 h 394"/>
                  <a:gd name="T64" fmla="*/ 209 w 1835"/>
                  <a:gd name="T65" fmla="*/ 72 h 394"/>
                  <a:gd name="T66" fmla="*/ 268 w 1835"/>
                  <a:gd name="T67" fmla="*/ 58 h 394"/>
                  <a:gd name="T68" fmla="*/ 404 w 1835"/>
                  <a:gd name="T69" fmla="*/ 35 h 394"/>
                  <a:gd name="T70" fmla="*/ 560 w 1835"/>
                  <a:gd name="T71" fmla="*/ 16 h 394"/>
                  <a:gd name="T72" fmla="*/ 732 w 1835"/>
                  <a:gd name="T73" fmla="*/ 4 h 394"/>
                  <a:gd name="T74" fmla="*/ 917 w 1835"/>
                  <a:gd name="T75" fmla="*/ 0 h 394"/>
                  <a:gd name="T76" fmla="*/ 1011 w 1835"/>
                  <a:gd name="T77" fmla="*/ 1 h 394"/>
                  <a:gd name="T78" fmla="*/ 1191 w 1835"/>
                  <a:gd name="T79" fmla="*/ 9 h 394"/>
                  <a:gd name="T80" fmla="*/ 1354 w 1835"/>
                  <a:gd name="T81" fmla="*/ 25 h 394"/>
                  <a:gd name="T82" fmla="*/ 1501 w 1835"/>
                  <a:gd name="T83" fmla="*/ 46 h 394"/>
                  <a:gd name="T84" fmla="*/ 1597 w 1835"/>
                  <a:gd name="T85" fmla="*/ 65 h 394"/>
                  <a:gd name="T86" fmla="*/ 1653 w 1835"/>
                  <a:gd name="T87" fmla="*/ 80 h 394"/>
                  <a:gd name="T88" fmla="*/ 1702 w 1835"/>
                  <a:gd name="T89" fmla="*/ 95 h 394"/>
                  <a:gd name="T90" fmla="*/ 1745 w 1835"/>
                  <a:gd name="T91" fmla="*/ 112 h 394"/>
                  <a:gd name="T92" fmla="*/ 1779 w 1835"/>
                  <a:gd name="T93" fmla="*/ 130 h 394"/>
                  <a:gd name="T94" fmla="*/ 1806 w 1835"/>
                  <a:gd name="T95" fmla="*/ 148 h 394"/>
                  <a:gd name="T96" fmla="*/ 1824 w 1835"/>
                  <a:gd name="T97" fmla="*/ 167 h 394"/>
                  <a:gd name="T98" fmla="*/ 1834 w 1835"/>
                  <a:gd name="T99" fmla="*/ 188 h 394"/>
                  <a:gd name="T100" fmla="*/ 1835 w 1835"/>
                  <a:gd name="T101" fmla="*/ 19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5" h="394">
                    <a:moveTo>
                      <a:pt x="1835" y="198"/>
                    </a:moveTo>
                    <a:lnTo>
                      <a:pt x="1835" y="198"/>
                    </a:lnTo>
                    <a:lnTo>
                      <a:pt x="1834" y="208"/>
                    </a:lnTo>
                    <a:lnTo>
                      <a:pt x="1830" y="218"/>
                    </a:lnTo>
                    <a:lnTo>
                      <a:pt x="1824" y="228"/>
                    </a:lnTo>
                    <a:lnTo>
                      <a:pt x="1816" y="237"/>
                    </a:lnTo>
                    <a:lnTo>
                      <a:pt x="1806" y="247"/>
                    </a:lnTo>
                    <a:lnTo>
                      <a:pt x="1794" y="256"/>
                    </a:lnTo>
                    <a:lnTo>
                      <a:pt x="1779" y="265"/>
                    </a:lnTo>
                    <a:lnTo>
                      <a:pt x="1763" y="274"/>
                    </a:lnTo>
                    <a:lnTo>
                      <a:pt x="1745" y="283"/>
                    </a:lnTo>
                    <a:lnTo>
                      <a:pt x="1725" y="291"/>
                    </a:lnTo>
                    <a:lnTo>
                      <a:pt x="1702" y="299"/>
                    </a:lnTo>
                    <a:lnTo>
                      <a:pt x="1678" y="307"/>
                    </a:lnTo>
                    <a:lnTo>
                      <a:pt x="1653" y="315"/>
                    </a:lnTo>
                    <a:lnTo>
                      <a:pt x="1625" y="322"/>
                    </a:lnTo>
                    <a:lnTo>
                      <a:pt x="1597" y="329"/>
                    </a:lnTo>
                    <a:lnTo>
                      <a:pt x="1567" y="336"/>
                    </a:lnTo>
                    <a:lnTo>
                      <a:pt x="1501" y="349"/>
                    </a:lnTo>
                    <a:lnTo>
                      <a:pt x="1431" y="361"/>
                    </a:lnTo>
                    <a:lnTo>
                      <a:pt x="1354" y="371"/>
                    </a:lnTo>
                    <a:lnTo>
                      <a:pt x="1275" y="379"/>
                    </a:lnTo>
                    <a:lnTo>
                      <a:pt x="1191" y="386"/>
                    </a:lnTo>
                    <a:lnTo>
                      <a:pt x="1102" y="390"/>
                    </a:lnTo>
                    <a:lnTo>
                      <a:pt x="1011" y="393"/>
                    </a:lnTo>
                    <a:lnTo>
                      <a:pt x="917" y="394"/>
                    </a:lnTo>
                    <a:lnTo>
                      <a:pt x="917" y="394"/>
                    </a:lnTo>
                    <a:lnTo>
                      <a:pt x="823" y="393"/>
                    </a:lnTo>
                    <a:lnTo>
                      <a:pt x="732" y="390"/>
                    </a:lnTo>
                    <a:lnTo>
                      <a:pt x="644" y="386"/>
                    </a:lnTo>
                    <a:lnTo>
                      <a:pt x="560" y="379"/>
                    </a:lnTo>
                    <a:lnTo>
                      <a:pt x="479" y="371"/>
                    </a:lnTo>
                    <a:lnTo>
                      <a:pt x="404" y="361"/>
                    </a:lnTo>
                    <a:lnTo>
                      <a:pt x="334" y="349"/>
                    </a:lnTo>
                    <a:lnTo>
                      <a:pt x="268" y="336"/>
                    </a:lnTo>
                    <a:lnTo>
                      <a:pt x="238" y="329"/>
                    </a:lnTo>
                    <a:lnTo>
                      <a:pt x="209" y="322"/>
                    </a:lnTo>
                    <a:lnTo>
                      <a:pt x="182" y="315"/>
                    </a:lnTo>
                    <a:lnTo>
                      <a:pt x="157" y="307"/>
                    </a:lnTo>
                    <a:lnTo>
                      <a:pt x="132" y="299"/>
                    </a:lnTo>
                    <a:lnTo>
                      <a:pt x="110" y="291"/>
                    </a:lnTo>
                    <a:lnTo>
                      <a:pt x="90" y="283"/>
                    </a:lnTo>
                    <a:lnTo>
                      <a:pt x="72" y="274"/>
                    </a:lnTo>
                    <a:lnTo>
                      <a:pt x="55" y="265"/>
                    </a:lnTo>
                    <a:lnTo>
                      <a:pt x="41" y="256"/>
                    </a:lnTo>
                    <a:lnTo>
                      <a:pt x="29" y="247"/>
                    </a:lnTo>
                    <a:lnTo>
                      <a:pt x="18" y="237"/>
                    </a:lnTo>
                    <a:lnTo>
                      <a:pt x="10" y="228"/>
                    </a:lnTo>
                    <a:lnTo>
                      <a:pt x="5" y="218"/>
                    </a:lnTo>
                    <a:lnTo>
                      <a:pt x="1" y="208"/>
                    </a:lnTo>
                    <a:lnTo>
                      <a:pt x="0" y="198"/>
                    </a:lnTo>
                    <a:lnTo>
                      <a:pt x="0" y="198"/>
                    </a:lnTo>
                    <a:lnTo>
                      <a:pt x="1" y="188"/>
                    </a:lnTo>
                    <a:lnTo>
                      <a:pt x="5" y="177"/>
                    </a:lnTo>
                    <a:lnTo>
                      <a:pt x="10" y="167"/>
                    </a:lnTo>
                    <a:lnTo>
                      <a:pt x="18" y="157"/>
                    </a:lnTo>
                    <a:lnTo>
                      <a:pt x="29" y="148"/>
                    </a:lnTo>
                    <a:lnTo>
                      <a:pt x="41" y="139"/>
                    </a:lnTo>
                    <a:lnTo>
                      <a:pt x="55" y="130"/>
                    </a:lnTo>
                    <a:lnTo>
                      <a:pt x="72" y="121"/>
                    </a:lnTo>
                    <a:lnTo>
                      <a:pt x="90" y="112"/>
                    </a:lnTo>
                    <a:lnTo>
                      <a:pt x="110" y="104"/>
                    </a:lnTo>
                    <a:lnTo>
                      <a:pt x="132" y="95"/>
                    </a:lnTo>
                    <a:lnTo>
                      <a:pt x="157" y="87"/>
                    </a:lnTo>
                    <a:lnTo>
                      <a:pt x="182" y="80"/>
                    </a:lnTo>
                    <a:lnTo>
                      <a:pt x="209" y="72"/>
                    </a:lnTo>
                    <a:lnTo>
                      <a:pt x="238" y="65"/>
                    </a:lnTo>
                    <a:lnTo>
                      <a:pt x="268" y="58"/>
                    </a:lnTo>
                    <a:lnTo>
                      <a:pt x="334" y="46"/>
                    </a:lnTo>
                    <a:lnTo>
                      <a:pt x="404" y="35"/>
                    </a:lnTo>
                    <a:lnTo>
                      <a:pt x="479" y="25"/>
                    </a:lnTo>
                    <a:lnTo>
                      <a:pt x="560" y="16"/>
                    </a:lnTo>
                    <a:lnTo>
                      <a:pt x="644" y="9"/>
                    </a:lnTo>
                    <a:lnTo>
                      <a:pt x="732" y="4"/>
                    </a:lnTo>
                    <a:lnTo>
                      <a:pt x="823" y="1"/>
                    </a:lnTo>
                    <a:lnTo>
                      <a:pt x="917" y="0"/>
                    </a:lnTo>
                    <a:lnTo>
                      <a:pt x="917" y="0"/>
                    </a:lnTo>
                    <a:lnTo>
                      <a:pt x="1011" y="1"/>
                    </a:lnTo>
                    <a:lnTo>
                      <a:pt x="1102" y="4"/>
                    </a:lnTo>
                    <a:lnTo>
                      <a:pt x="1191" y="9"/>
                    </a:lnTo>
                    <a:lnTo>
                      <a:pt x="1275" y="16"/>
                    </a:lnTo>
                    <a:lnTo>
                      <a:pt x="1354" y="25"/>
                    </a:lnTo>
                    <a:lnTo>
                      <a:pt x="1431" y="35"/>
                    </a:lnTo>
                    <a:lnTo>
                      <a:pt x="1501" y="46"/>
                    </a:lnTo>
                    <a:lnTo>
                      <a:pt x="1567" y="58"/>
                    </a:lnTo>
                    <a:lnTo>
                      <a:pt x="1597" y="65"/>
                    </a:lnTo>
                    <a:lnTo>
                      <a:pt x="1625" y="72"/>
                    </a:lnTo>
                    <a:lnTo>
                      <a:pt x="1653" y="80"/>
                    </a:lnTo>
                    <a:lnTo>
                      <a:pt x="1678" y="87"/>
                    </a:lnTo>
                    <a:lnTo>
                      <a:pt x="1702" y="95"/>
                    </a:lnTo>
                    <a:lnTo>
                      <a:pt x="1725" y="104"/>
                    </a:lnTo>
                    <a:lnTo>
                      <a:pt x="1745" y="112"/>
                    </a:lnTo>
                    <a:lnTo>
                      <a:pt x="1763" y="121"/>
                    </a:lnTo>
                    <a:lnTo>
                      <a:pt x="1779" y="130"/>
                    </a:lnTo>
                    <a:lnTo>
                      <a:pt x="1794" y="139"/>
                    </a:lnTo>
                    <a:lnTo>
                      <a:pt x="1806" y="148"/>
                    </a:lnTo>
                    <a:lnTo>
                      <a:pt x="1816" y="157"/>
                    </a:lnTo>
                    <a:lnTo>
                      <a:pt x="1824" y="167"/>
                    </a:lnTo>
                    <a:lnTo>
                      <a:pt x="1830" y="177"/>
                    </a:lnTo>
                    <a:lnTo>
                      <a:pt x="1834" y="188"/>
                    </a:lnTo>
                    <a:lnTo>
                      <a:pt x="1835" y="198"/>
                    </a:lnTo>
                    <a:lnTo>
                      <a:pt x="1835" y="198"/>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 name="Group 51"/>
              <p:cNvGrpSpPr/>
              <p:nvPr/>
            </p:nvGrpSpPr>
            <p:grpSpPr>
              <a:xfrm>
                <a:off x="3494006" y="4372054"/>
                <a:ext cx="700674" cy="1070474"/>
                <a:chOff x="2056492" y="3223586"/>
                <a:chExt cx="700674" cy="1070474"/>
              </a:xfrm>
              <a:solidFill>
                <a:srgbClr val="BF7400"/>
              </a:solidFill>
            </p:grpSpPr>
            <p:sp>
              <p:nvSpPr>
                <p:cNvPr id="91" name="Freeform 20"/>
                <p:cNvSpPr>
                  <a:spLocks noEditPoints="1"/>
                </p:cNvSpPr>
                <p:nvPr/>
              </p:nvSpPr>
              <p:spPr bwMode="auto">
                <a:xfrm>
                  <a:off x="2056492" y="3223586"/>
                  <a:ext cx="700674" cy="1070474"/>
                </a:xfrm>
                <a:custGeom>
                  <a:avLst/>
                  <a:gdLst>
                    <a:gd name="T0" fmla="*/ 3490 w 3526"/>
                    <a:gd name="T1" fmla="*/ 1408 h 5386"/>
                    <a:gd name="T2" fmla="*/ 3352 w 3526"/>
                    <a:gd name="T3" fmla="*/ 999 h 5386"/>
                    <a:gd name="T4" fmla="*/ 3123 w 3526"/>
                    <a:gd name="T5" fmla="*/ 642 h 5386"/>
                    <a:gd name="T6" fmla="*/ 2818 w 3526"/>
                    <a:gd name="T7" fmla="*/ 351 h 5386"/>
                    <a:gd name="T8" fmla="*/ 2449 w 3526"/>
                    <a:gd name="T9" fmla="*/ 139 h 5386"/>
                    <a:gd name="T10" fmla="*/ 2032 w 3526"/>
                    <a:gd name="T11" fmla="*/ 21 h 5386"/>
                    <a:gd name="T12" fmla="*/ 1627 w 3526"/>
                    <a:gd name="T13" fmla="*/ 6 h 5386"/>
                    <a:gd name="T14" fmla="*/ 1198 w 3526"/>
                    <a:gd name="T15" fmla="*/ 93 h 5386"/>
                    <a:gd name="T16" fmla="*/ 813 w 3526"/>
                    <a:gd name="T17" fmla="*/ 278 h 5386"/>
                    <a:gd name="T18" fmla="*/ 487 w 3526"/>
                    <a:gd name="T19" fmla="*/ 547 h 5386"/>
                    <a:gd name="T20" fmla="*/ 234 w 3526"/>
                    <a:gd name="T21" fmla="*/ 886 h 5386"/>
                    <a:gd name="T22" fmla="*/ 68 w 3526"/>
                    <a:gd name="T23" fmla="*/ 1280 h 5386"/>
                    <a:gd name="T24" fmla="*/ 1 w 3526"/>
                    <a:gd name="T25" fmla="*/ 1718 h 5386"/>
                    <a:gd name="T26" fmla="*/ 5 w 3526"/>
                    <a:gd name="T27" fmla="*/ 1997 h 5386"/>
                    <a:gd name="T28" fmla="*/ 163 w 3526"/>
                    <a:gd name="T29" fmla="*/ 2772 h 5386"/>
                    <a:gd name="T30" fmla="*/ 482 w 3526"/>
                    <a:gd name="T31" fmla="*/ 3531 h 5386"/>
                    <a:gd name="T32" fmla="*/ 882 w 3526"/>
                    <a:gd name="T33" fmla="*/ 4222 h 5386"/>
                    <a:gd name="T34" fmla="*/ 1547 w 3526"/>
                    <a:gd name="T35" fmla="*/ 5133 h 5386"/>
                    <a:gd name="T36" fmla="*/ 1926 w 3526"/>
                    <a:gd name="T37" fmla="*/ 5198 h 5386"/>
                    <a:gd name="T38" fmla="*/ 2603 w 3526"/>
                    <a:gd name="T39" fmla="*/ 4285 h 5386"/>
                    <a:gd name="T40" fmla="*/ 3006 w 3526"/>
                    <a:gd name="T41" fmla="*/ 3604 h 5386"/>
                    <a:gd name="T42" fmla="*/ 3337 w 3526"/>
                    <a:gd name="T43" fmla="*/ 2850 h 5386"/>
                    <a:gd name="T44" fmla="*/ 3514 w 3526"/>
                    <a:gd name="T45" fmla="*/ 2073 h 5386"/>
                    <a:gd name="T46" fmla="*/ 3526 w 3526"/>
                    <a:gd name="T47" fmla="*/ 1763 h 5386"/>
                    <a:gd name="T48" fmla="*/ 1327 w 3526"/>
                    <a:gd name="T49" fmla="*/ 3800 h 5386"/>
                    <a:gd name="T50" fmla="*/ 861 w 3526"/>
                    <a:gd name="T51" fmla="*/ 3547 h 5386"/>
                    <a:gd name="T52" fmla="*/ 522 w 3526"/>
                    <a:gd name="T53" fmla="*/ 3144 h 5386"/>
                    <a:gd name="T54" fmla="*/ 585 w 3526"/>
                    <a:gd name="T55" fmla="*/ 3133 h 5386"/>
                    <a:gd name="T56" fmla="*/ 962 w 3526"/>
                    <a:gd name="T57" fmla="*/ 3422 h 5386"/>
                    <a:gd name="T58" fmla="*/ 1414 w 3526"/>
                    <a:gd name="T59" fmla="*/ 3593 h 5386"/>
                    <a:gd name="T60" fmla="*/ 1865 w 3526"/>
                    <a:gd name="T61" fmla="*/ 3627 h 5386"/>
                    <a:gd name="T62" fmla="*/ 2347 w 3526"/>
                    <a:gd name="T63" fmla="*/ 3524 h 5386"/>
                    <a:gd name="T64" fmla="*/ 2764 w 3526"/>
                    <a:gd name="T65" fmla="*/ 3291 h 5386"/>
                    <a:gd name="T66" fmla="*/ 3096 w 3526"/>
                    <a:gd name="T67" fmla="*/ 2951 h 5386"/>
                    <a:gd name="T68" fmla="*/ 2853 w 3526"/>
                    <a:gd name="T69" fmla="*/ 3362 h 5386"/>
                    <a:gd name="T70" fmla="*/ 2445 w 3526"/>
                    <a:gd name="T71" fmla="*/ 3695 h 5386"/>
                    <a:gd name="T72" fmla="*/ 1932 w 3526"/>
                    <a:gd name="T73" fmla="*/ 3859 h 5386"/>
                    <a:gd name="T74" fmla="*/ 1617 w 3526"/>
                    <a:gd name="T75" fmla="*/ 3183 h 5386"/>
                    <a:gd name="T76" fmla="*/ 1272 w 3526"/>
                    <a:gd name="T77" fmla="*/ 3103 h 5386"/>
                    <a:gd name="T78" fmla="*/ 966 w 3526"/>
                    <a:gd name="T79" fmla="*/ 2946 h 5386"/>
                    <a:gd name="T80" fmla="*/ 707 w 3526"/>
                    <a:gd name="T81" fmla="*/ 2723 h 5386"/>
                    <a:gd name="T82" fmla="*/ 509 w 3526"/>
                    <a:gd name="T83" fmla="*/ 2443 h 5386"/>
                    <a:gd name="T84" fmla="*/ 382 w 3526"/>
                    <a:gd name="T85" fmla="*/ 2120 h 5386"/>
                    <a:gd name="T86" fmla="*/ 337 w 3526"/>
                    <a:gd name="T87" fmla="*/ 1763 h 5386"/>
                    <a:gd name="T88" fmla="*/ 373 w 3526"/>
                    <a:gd name="T89" fmla="*/ 1441 h 5386"/>
                    <a:gd name="T90" fmla="*/ 493 w 3526"/>
                    <a:gd name="T91" fmla="*/ 1114 h 5386"/>
                    <a:gd name="T92" fmla="*/ 685 w 3526"/>
                    <a:gd name="T93" fmla="*/ 830 h 5386"/>
                    <a:gd name="T94" fmla="*/ 938 w 3526"/>
                    <a:gd name="T95" fmla="*/ 600 h 5386"/>
                    <a:gd name="T96" fmla="*/ 1240 w 3526"/>
                    <a:gd name="T97" fmla="*/ 435 h 5386"/>
                    <a:gd name="T98" fmla="*/ 1581 w 3526"/>
                    <a:gd name="T99" fmla="*/ 348 h 5386"/>
                    <a:gd name="T100" fmla="*/ 1909 w 3526"/>
                    <a:gd name="T101" fmla="*/ 344 h 5386"/>
                    <a:gd name="T102" fmla="*/ 2254 w 3526"/>
                    <a:gd name="T103" fmla="*/ 423 h 5386"/>
                    <a:gd name="T104" fmla="*/ 2561 w 3526"/>
                    <a:gd name="T105" fmla="*/ 580 h 5386"/>
                    <a:gd name="T106" fmla="*/ 2819 w 3526"/>
                    <a:gd name="T107" fmla="*/ 805 h 5386"/>
                    <a:gd name="T108" fmla="*/ 3017 w 3526"/>
                    <a:gd name="T109" fmla="*/ 1083 h 5386"/>
                    <a:gd name="T110" fmla="*/ 3144 w 3526"/>
                    <a:gd name="T111" fmla="*/ 1407 h 5386"/>
                    <a:gd name="T112" fmla="*/ 3189 w 3526"/>
                    <a:gd name="T113" fmla="*/ 1763 h 5386"/>
                    <a:gd name="T114" fmla="*/ 3153 w 3526"/>
                    <a:gd name="T115" fmla="*/ 2085 h 5386"/>
                    <a:gd name="T116" fmla="*/ 3033 w 3526"/>
                    <a:gd name="T117" fmla="*/ 2413 h 5386"/>
                    <a:gd name="T118" fmla="*/ 2841 w 3526"/>
                    <a:gd name="T119" fmla="*/ 2697 h 5386"/>
                    <a:gd name="T120" fmla="*/ 2589 w 3526"/>
                    <a:gd name="T121" fmla="*/ 2927 h 5386"/>
                    <a:gd name="T122" fmla="*/ 2286 w 3526"/>
                    <a:gd name="T123" fmla="*/ 3091 h 5386"/>
                    <a:gd name="T124" fmla="*/ 1945 w 3526"/>
                    <a:gd name="T125" fmla="*/ 3179 h 5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6" h="5386">
                      <a:moveTo>
                        <a:pt x="3526" y="1763"/>
                      </a:moveTo>
                      <a:lnTo>
                        <a:pt x="3526" y="1763"/>
                      </a:lnTo>
                      <a:lnTo>
                        <a:pt x="3525" y="1718"/>
                      </a:lnTo>
                      <a:lnTo>
                        <a:pt x="3523" y="1673"/>
                      </a:lnTo>
                      <a:lnTo>
                        <a:pt x="3521" y="1627"/>
                      </a:lnTo>
                      <a:lnTo>
                        <a:pt x="3517" y="1583"/>
                      </a:lnTo>
                      <a:lnTo>
                        <a:pt x="3512" y="1539"/>
                      </a:lnTo>
                      <a:lnTo>
                        <a:pt x="3505" y="1495"/>
                      </a:lnTo>
                      <a:lnTo>
                        <a:pt x="3498" y="1451"/>
                      </a:lnTo>
                      <a:lnTo>
                        <a:pt x="3490" y="1408"/>
                      </a:lnTo>
                      <a:lnTo>
                        <a:pt x="3481" y="1365"/>
                      </a:lnTo>
                      <a:lnTo>
                        <a:pt x="3470" y="1323"/>
                      </a:lnTo>
                      <a:lnTo>
                        <a:pt x="3459" y="1280"/>
                      </a:lnTo>
                      <a:lnTo>
                        <a:pt x="3447" y="1239"/>
                      </a:lnTo>
                      <a:lnTo>
                        <a:pt x="3434" y="1198"/>
                      </a:lnTo>
                      <a:lnTo>
                        <a:pt x="3419" y="1158"/>
                      </a:lnTo>
                      <a:lnTo>
                        <a:pt x="3404" y="1116"/>
                      </a:lnTo>
                      <a:lnTo>
                        <a:pt x="3387" y="1077"/>
                      </a:lnTo>
                      <a:lnTo>
                        <a:pt x="3370" y="1038"/>
                      </a:lnTo>
                      <a:lnTo>
                        <a:pt x="3352" y="999"/>
                      </a:lnTo>
                      <a:lnTo>
                        <a:pt x="3333" y="960"/>
                      </a:lnTo>
                      <a:lnTo>
                        <a:pt x="3313" y="923"/>
                      </a:lnTo>
                      <a:lnTo>
                        <a:pt x="3292" y="886"/>
                      </a:lnTo>
                      <a:lnTo>
                        <a:pt x="3271" y="849"/>
                      </a:lnTo>
                      <a:lnTo>
                        <a:pt x="3249" y="813"/>
                      </a:lnTo>
                      <a:lnTo>
                        <a:pt x="3225" y="777"/>
                      </a:lnTo>
                      <a:lnTo>
                        <a:pt x="3200" y="743"/>
                      </a:lnTo>
                      <a:lnTo>
                        <a:pt x="3175" y="708"/>
                      </a:lnTo>
                      <a:lnTo>
                        <a:pt x="3150" y="675"/>
                      </a:lnTo>
                      <a:lnTo>
                        <a:pt x="3123" y="642"/>
                      </a:lnTo>
                      <a:lnTo>
                        <a:pt x="3096" y="609"/>
                      </a:lnTo>
                      <a:lnTo>
                        <a:pt x="3068" y="578"/>
                      </a:lnTo>
                      <a:lnTo>
                        <a:pt x="3040" y="547"/>
                      </a:lnTo>
                      <a:lnTo>
                        <a:pt x="3009" y="517"/>
                      </a:lnTo>
                      <a:lnTo>
                        <a:pt x="2979" y="487"/>
                      </a:lnTo>
                      <a:lnTo>
                        <a:pt x="2948" y="458"/>
                      </a:lnTo>
                      <a:lnTo>
                        <a:pt x="2917" y="430"/>
                      </a:lnTo>
                      <a:lnTo>
                        <a:pt x="2885" y="403"/>
                      </a:lnTo>
                      <a:lnTo>
                        <a:pt x="2851" y="376"/>
                      </a:lnTo>
                      <a:lnTo>
                        <a:pt x="2818" y="351"/>
                      </a:lnTo>
                      <a:lnTo>
                        <a:pt x="2784" y="326"/>
                      </a:lnTo>
                      <a:lnTo>
                        <a:pt x="2749" y="302"/>
                      </a:lnTo>
                      <a:lnTo>
                        <a:pt x="2714" y="278"/>
                      </a:lnTo>
                      <a:lnTo>
                        <a:pt x="2677" y="255"/>
                      </a:lnTo>
                      <a:lnTo>
                        <a:pt x="2640" y="234"/>
                      </a:lnTo>
                      <a:lnTo>
                        <a:pt x="2603" y="213"/>
                      </a:lnTo>
                      <a:lnTo>
                        <a:pt x="2566" y="193"/>
                      </a:lnTo>
                      <a:lnTo>
                        <a:pt x="2528" y="174"/>
                      </a:lnTo>
                      <a:lnTo>
                        <a:pt x="2488" y="156"/>
                      </a:lnTo>
                      <a:lnTo>
                        <a:pt x="2449" y="139"/>
                      </a:lnTo>
                      <a:lnTo>
                        <a:pt x="2410" y="122"/>
                      </a:lnTo>
                      <a:lnTo>
                        <a:pt x="2370" y="107"/>
                      </a:lnTo>
                      <a:lnTo>
                        <a:pt x="2328" y="93"/>
                      </a:lnTo>
                      <a:lnTo>
                        <a:pt x="2287" y="79"/>
                      </a:lnTo>
                      <a:lnTo>
                        <a:pt x="2246" y="67"/>
                      </a:lnTo>
                      <a:lnTo>
                        <a:pt x="2204" y="56"/>
                      </a:lnTo>
                      <a:lnTo>
                        <a:pt x="2162" y="45"/>
                      </a:lnTo>
                      <a:lnTo>
                        <a:pt x="2118" y="36"/>
                      </a:lnTo>
                      <a:lnTo>
                        <a:pt x="2075" y="28"/>
                      </a:lnTo>
                      <a:lnTo>
                        <a:pt x="2032" y="21"/>
                      </a:lnTo>
                      <a:lnTo>
                        <a:pt x="1988" y="15"/>
                      </a:lnTo>
                      <a:lnTo>
                        <a:pt x="1943" y="9"/>
                      </a:lnTo>
                      <a:lnTo>
                        <a:pt x="1899" y="6"/>
                      </a:lnTo>
                      <a:lnTo>
                        <a:pt x="1854" y="3"/>
                      </a:lnTo>
                      <a:lnTo>
                        <a:pt x="1809" y="1"/>
                      </a:lnTo>
                      <a:lnTo>
                        <a:pt x="1763" y="0"/>
                      </a:lnTo>
                      <a:lnTo>
                        <a:pt x="1763" y="0"/>
                      </a:lnTo>
                      <a:lnTo>
                        <a:pt x="1718" y="1"/>
                      </a:lnTo>
                      <a:lnTo>
                        <a:pt x="1673" y="3"/>
                      </a:lnTo>
                      <a:lnTo>
                        <a:pt x="1627" y="6"/>
                      </a:lnTo>
                      <a:lnTo>
                        <a:pt x="1583" y="9"/>
                      </a:lnTo>
                      <a:lnTo>
                        <a:pt x="1539" y="15"/>
                      </a:lnTo>
                      <a:lnTo>
                        <a:pt x="1495" y="21"/>
                      </a:lnTo>
                      <a:lnTo>
                        <a:pt x="1451" y="28"/>
                      </a:lnTo>
                      <a:lnTo>
                        <a:pt x="1408" y="36"/>
                      </a:lnTo>
                      <a:lnTo>
                        <a:pt x="1365" y="45"/>
                      </a:lnTo>
                      <a:lnTo>
                        <a:pt x="1323" y="56"/>
                      </a:lnTo>
                      <a:lnTo>
                        <a:pt x="1280" y="67"/>
                      </a:lnTo>
                      <a:lnTo>
                        <a:pt x="1239" y="79"/>
                      </a:lnTo>
                      <a:lnTo>
                        <a:pt x="1198" y="93"/>
                      </a:lnTo>
                      <a:lnTo>
                        <a:pt x="1157" y="107"/>
                      </a:lnTo>
                      <a:lnTo>
                        <a:pt x="1117" y="122"/>
                      </a:lnTo>
                      <a:lnTo>
                        <a:pt x="1077" y="139"/>
                      </a:lnTo>
                      <a:lnTo>
                        <a:pt x="1038" y="156"/>
                      </a:lnTo>
                      <a:lnTo>
                        <a:pt x="999" y="174"/>
                      </a:lnTo>
                      <a:lnTo>
                        <a:pt x="961" y="193"/>
                      </a:lnTo>
                      <a:lnTo>
                        <a:pt x="923" y="213"/>
                      </a:lnTo>
                      <a:lnTo>
                        <a:pt x="886" y="234"/>
                      </a:lnTo>
                      <a:lnTo>
                        <a:pt x="849" y="255"/>
                      </a:lnTo>
                      <a:lnTo>
                        <a:pt x="813" y="278"/>
                      </a:lnTo>
                      <a:lnTo>
                        <a:pt x="778" y="302"/>
                      </a:lnTo>
                      <a:lnTo>
                        <a:pt x="742" y="326"/>
                      </a:lnTo>
                      <a:lnTo>
                        <a:pt x="708" y="351"/>
                      </a:lnTo>
                      <a:lnTo>
                        <a:pt x="675" y="376"/>
                      </a:lnTo>
                      <a:lnTo>
                        <a:pt x="642" y="403"/>
                      </a:lnTo>
                      <a:lnTo>
                        <a:pt x="610" y="430"/>
                      </a:lnTo>
                      <a:lnTo>
                        <a:pt x="577" y="458"/>
                      </a:lnTo>
                      <a:lnTo>
                        <a:pt x="547" y="487"/>
                      </a:lnTo>
                      <a:lnTo>
                        <a:pt x="517" y="517"/>
                      </a:lnTo>
                      <a:lnTo>
                        <a:pt x="487" y="547"/>
                      </a:lnTo>
                      <a:lnTo>
                        <a:pt x="459" y="578"/>
                      </a:lnTo>
                      <a:lnTo>
                        <a:pt x="431" y="609"/>
                      </a:lnTo>
                      <a:lnTo>
                        <a:pt x="402" y="642"/>
                      </a:lnTo>
                      <a:lnTo>
                        <a:pt x="376" y="675"/>
                      </a:lnTo>
                      <a:lnTo>
                        <a:pt x="350" y="708"/>
                      </a:lnTo>
                      <a:lnTo>
                        <a:pt x="326" y="743"/>
                      </a:lnTo>
                      <a:lnTo>
                        <a:pt x="302" y="777"/>
                      </a:lnTo>
                      <a:lnTo>
                        <a:pt x="278" y="813"/>
                      </a:lnTo>
                      <a:lnTo>
                        <a:pt x="256" y="849"/>
                      </a:lnTo>
                      <a:lnTo>
                        <a:pt x="234" y="886"/>
                      </a:lnTo>
                      <a:lnTo>
                        <a:pt x="213" y="923"/>
                      </a:lnTo>
                      <a:lnTo>
                        <a:pt x="193" y="960"/>
                      </a:lnTo>
                      <a:lnTo>
                        <a:pt x="174" y="999"/>
                      </a:lnTo>
                      <a:lnTo>
                        <a:pt x="156" y="1038"/>
                      </a:lnTo>
                      <a:lnTo>
                        <a:pt x="139" y="1077"/>
                      </a:lnTo>
                      <a:lnTo>
                        <a:pt x="123" y="1116"/>
                      </a:lnTo>
                      <a:lnTo>
                        <a:pt x="108" y="1158"/>
                      </a:lnTo>
                      <a:lnTo>
                        <a:pt x="93" y="1198"/>
                      </a:lnTo>
                      <a:lnTo>
                        <a:pt x="80" y="1239"/>
                      </a:lnTo>
                      <a:lnTo>
                        <a:pt x="68" y="1280"/>
                      </a:lnTo>
                      <a:lnTo>
                        <a:pt x="56" y="1323"/>
                      </a:lnTo>
                      <a:lnTo>
                        <a:pt x="45" y="1365"/>
                      </a:lnTo>
                      <a:lnTo>
                        <a:pt x="36" y="1408"/>
                      </a:lnTo>
                      <a:lnTo>
                        <a:pt x="28" y="1451"/>
                      </a:lnTo>
                      <a:lnTo>
                        <a:pt x="20" y="1495"/>
                      </a:lnTo>
                      <a:lnTo>
                        <a:pt x="14" y="1539"/>
                      </a:lnTo>
                      <a:lnTo>
                        <a:pt x="9" y="1583"/>
                      </a:lnTo>
                      <a:lnTo>
                        <a:pt x="5" y="1627"/>
                      </a:lnTo>
                      <a:lnTo>
                        <a:pt x="3" y="1673"/>
                      </a:lnTo>
                      <a:lnTo>
                        <a:pt x="1" y="1718"/>
                      </a:lnTo>
                      <a:lnTo>
                        <a:pt x="0" y="1763"/>
                      </a:lnTo>
                      <a:lnTo>
                        <a:pt x="0" y="1763"/>
                      </a:lnTo>
                      <a:lnTo>
                        <a:pt x="1" y="1805"/>
                      </a:lnTo>
                      <a:lnTo>
                        <a:pt x="1" y="1805"/>
                      </a:lnTo>
                      <a:lnTo>
                        <a:pt x="0" y="1844"/>
                      </a:lnTo>
                      <a:lnTo>
                        <a:pt x="0" y="1844"/>
                      </a:lnTo>
                      <a:lnTo>
                        <a:pt x="1" y="1882"/>
                      </a:lnTo>
                      <a:lnTo>
                        <a:pt x="2" y="1920"/>
                      </a:lnTo>
                      <a:lnTo>
                        <a:pt x="3" y="1958"/>
                      </a:lnTo>
                      <a:lnTo>
                        <a:pt x="5" y="1997"/>
                      </a:lnTo>
                      <a:lnTo>
                        <a:pt x="11" y="2073"/>
                      </a:lnTo>
                      <a:lnTo>
                        <a:pt x="20" y="2150"/>
                      </a:lnTo>
                      <a:lnTo>
                        <a:pt x="31" y="2228"/>
                      </a:lnTo>
                      <a:lnTo>
                        <a:pt x="44" y="2305"/>
                      </a:lnTo>
                      <a:lnTo>
                        <a:pt x="60" y="2383"/>
                      </a:lnTo>
                      <a:lnTo>
                        <a:pt x="77" y="2460"/>
                      </a:lnTo>
                      <a:lnTo>
                        <a:pt x="96" y="2539"/>
                      </a:lnTo>
                      <a:lnTo>
                        <a:pt x="116" y="2616"/>
                      </a:lnTo>
                      <a:lnTo>
                        <a:pt x="139" y="2694"/>
                      </a:lnTo>
                      <a:lnTo>
                        <a:pt x="163" y="2772"/>
                      </a:lnTo>
                      <a:lnTo>
                        <a:pt x="189" y="2850"/>
                      </a:lnTo>
                      <a:lnTo>
                        <a:pt x="216" y="2926"/>
                      </a:lnTo>
                      <a:lnTo>
                        <a:pt x="246" y="3004"/>
                      </a:lnTo>
                      <a:lnTo>
                        <a:pt x="276" y="3080"/>
                      </a:lnTo>
                      <a:lnTo>
                        <a:pt x="308" y="3156"/>
                      </a:lnTo>
                      <a:lnTo>
                        <a:pt x="340" y="3233"/>
                      </a:lnTo>
                      <a:lnTo>
                        <a:pt x="374" y="3307"/>
                      </a:lnTo>
                      <a:lnTo>
                        <a:pt x="410" y="3383"/>
                      </a:lnTo>
                      <a:lnTo>
                        <a:pt x="446" y="3457"/>
                      </a:lnTo>
                      <a:lnTo>
                        <a:pt x="482" y="3531"/>
                      </a:lnTo>
                      <a:lnTo>
                        <a:pt x="520" y="3604"/>
                      </a:lnTo>
                      <a:lnTo>
                        <a:pt x="558" y="3675"/>
                      </a:lnTo>
                      <a:lnTo>
                        <a:pt x="598" y="3748"/>
                      </a:lnTo>
                      <a:lnTo>
                        <a:pt x="637" y="3818"/>
                      </a:lnTo>
                      <a:lnTo>
                        <a:pt x="677" y="3888"/>
                      </a:lnTo>
                      <a:lnTo>
                        <a:pt x="717" y="3957"/>
                      </a:lnTo>
                      <a:lnTo>
                        <a:pt x="759" y="4025"/>
                      </a:lnTo>
                      <a:lnTo>
                        <a:pt x="800" y="4092"/>
                      </a:lnTo>
                      <a:lnTo>
                        <a:pt x="841" y="4157"/>
                      </a:lnTo>
                      <a:lnTo>
                        <a:pt x="882" y="4222"/>
                      </a:lnTo>
                      <a:lnTo>
                        <a:pt x="923" y="4285"/>
                      </a:lnTo>
                      <a:lnTo>
                        <a:pt x="965" y="4347"/>
                      </a:lnTo>
                      <a:lnTo>
                        <a:pt x="1046" y="4468"/>
                      </a:lnTo>
                      <a:lnTo>
                        <a:pt x="1127" y="4583"/>
                      </a:lnTo>
                      <a:lnTo>
                        <a:pt x="1205" y="4693"/>
                      </a:lnTo>
                      <a:lnTo>
                        <a:pt x="1281" y="4795"/>
                      </a:lnTo>
                      <a:lnTo>
                        <a:pt x="1354" y="4891"/>
                      </a:lnTo>
                      <a:lnTo>
                        <a:pt x="1423" y="4979"/>
                      </a:lnTo>
                      <a:lnTo>
                        <a:pt x="1488" y="5061"/>
                      </a:lnTo>
                      <a:lnTo>
                        <a:pt x="1547" y="5133"/>
                      </a:lnTo>
                      <a:lnTo>
                        <a:pt x="1600" y="5198"/>
                      </a:lnTo>
                      <a:lnTo>
                        <a:pt x="1648" y="5254"/>
                      </a:lnTo>
                      <a:lnTo>
                        <a:pt x="1688" y="5300"/>
                      </a:lnTo>
                      <a:lnTo>
                        <a:pt x="1743" y="5364"/>
                      </a:lnTo>
                      <a:lnTo>
                        <a:pt x="1763" y="5386"/>
                      </a:lnTo>
                      <a:lnTo>
                        <a:pt x="1763" y="5386"/>
                      </a:lnTo>
                      <a:lnTo>
                        <a:pt x="1783" y="5364"/>
                      </a:lnTo>
                      <a:lnTo>
                        <a:pt x="1839" y="5300"/>
                      </a:lnTo>
                      <a:lnTo>
                        <a:pt x="1879" y="5254"/>
                      </a:lnTo>
                      <a:lnTo>
                        <a:pt x="1926" y="5198"/>
                      </a:lnTo>
                      <a:lnTo>
                        <a:pt x="1979" y="5133"/>
                      </a:lnTo>
                      <a:lnTo>
                        <a:pt x="2039" y="5061"/>
                      </a:lnTo>
                      <a:lnTo>
                        <a:pt x="2103" y="4979"/>
                      </a:lnTo>
                      <a:lnTo>
                        <a:pt x="2172" y="4891"/>
                      </a:lnTo>
                      <a:lnTo>
                        <a:pt x="2245" y="4795"/>
                      </a:lnTo>
                      <a:lnTo>
                        <a:pt x="2321" y="4693"/>
                      </a:lnTo>
                      <a:lnTo>
                        <a:pt x="2400" y="4583"/>
                      </a:lnTo>
                      <a:lnTo>
                        <a:pt x="2480" y="4468"/>
                      </a:lnTo>
                      <a:lnTo>
                        <a:pt x="2562" y="4347"/>
                      </a:lnTo>
                      <a:lnTo>
                        <a:pt x="2603" y="4285"/>
                      </a:lnTo>
                      <a:lnTo>
                        <a:pt x="2644" y="4222"/>
                      </a:lnTo>
                      <a:lnTo>
                        <a:pt x="2685" y="4157"/>
                      </a:lnTo>
                      <a:lnTo>
                        <a:pt x="2727" y="4092"/>
                      </a:lnTo>
                      <a:lnTo>
                        <a:pt x="2768" y="4025"/>
                      </a:lnTo>
                      <a:lnTo>
                        <a:pt x="2809" y="3957"/>
                      </a:lnTo>
                      <a:lnTo>
                        <a:pt x="2849" y="3888"/>
                      </a:lnTo>
                      <a:lnTo>
                        <a:pt x="2890" y="3818"/>
                      </a:lnTo>
                      <a:lnTo>
                        <a:pt x="2929" y="3748"/>
                      </a:lnTo>
                      <a:lnTo>
                        <a:pt x="2968" y="3675"/>
                      </a:lnTo>
                      <a:lnTo>
                        <a:pt x="3006" y="3604"/>
                      </a:lnTo>
                      <a:lnTo>
                        <a:pt x="3045" y="3531"/>
                      </a:lnTo>
                      <a:lnTo>
                        <a:pt x="3081" y="3457"/>
                      </a:lnTo>
                      <a:lnTo>
                        <a:pt x="3117" y="3383"/>
                      </a:lnTo>
                      <a:lnTo>
                        <a:pt x="3152" y="3307"/>
                      </a:lnTo>
                      <a:lnTo>
                        <a:pt x="3186" y="3233"/>
                      </a:lnTo>
                      <a:lnTo>
                        <a:pt x="3219" y="3156"/>
                      </a:lnTo>
                      <a:lnTo>
                        <a:pt x="3251" y="3080"/>
                      </a:lnTo>
                      <a:lnTo>
                        <a:pt x="3281" y="3004"/>
                      </a:lnTo>
                      <a:lnTo>
                        <a:pt x="3310" y="2926"/>
                      </a:lnTo>
                      <a:lnTo>
                        <a:pt x="3337" y="2850"/>
                      </a:lnTo>
                      <a:lnTo>
                        <a:pt x="3363" y="2772"/>
                      </a:lnTo>
                      <a:lnTo>
                        <a:pt x="3387" y="2694"/>
                      </a:lnTo>
                      <a:lnTo>
                        <a:pt x="3411" y="2616"/>
                      </a:lnTo>
                      <a:lnTo>
                        <a:pt x="3431" y="2539"/>
                      </a:lnTo>
                      <a:lnTo>
                        <a:pt x="3450" y="2460"/>
                      </a:lnTo>
                      <a:lnTo>
                        <a:pt x="3467" y="2383"/>
                      </a:lnTo>
                      <a:lnTo>
                        <a:pt x="3482" y="2305"/>
                      </a:lnTo>
                      <a:lnTo>
                        <a:pt x="3495" y="2228"/>
                      </a:lnTo>
                      <a:lnTo>
                        <a:pt x="3506" y="2150"/>
                      </a:lnTo>
                      <a:lnTo>
                        <a:pt x="3514" y="2073"/>
                      </a:lnTo>
                      <a:lnTo>
                        <a:pt x="3521" y="1997"/>
                      </a:lnTo>
                      <a:lnTo>
                        <a:pt x="3523" y="1958"/>
                      </a:lnTo>
                      <a:lnTo>
                        <a:pt x="3524" y="1920"/>
                      </a:lnTo>
                      <a:lnTo>
                        <a:pt x="3525" y="1882"/>
                      </a:lnTo>
                      <a:lnTo>
                        <a:pt x="3526" y="1844"/>
                      </a:lnTo>
                      <a:lnTo>
                        <a:pt x="3526" y="1844"/>
                      </a:lnTo>
                      <a:lnTo>
                        <a:pt x="3525" y="1805"/>
                      </a:lnTo>
                      <a:lnTo>
                        <a:pt x="3525" y="1805"/>
                      </a:lnTo>
                      <a:lnTo>
                        <a:pt x="3526" y="1763"/>
                      </a:lnTo>
                      <a:lnTo>
                        <a:pt x="3526" y="1763"/>
                      </a:lnTo>
                      <a:close/>
                      <a:moveTo>
                        <a:pt x="1763" y="3869"/>
                      </a:moveTo>
                      <a:lnTo>
                        <a:pt x="1763" y="3869"/>
                      </a:lnTo>
                      <a:lnTo>
                        <a:pt x="1707" y="3868"/>
                      </a:lnTo>
                      <a:lnTo>
                        <a:pt x="1651" y="3864"/>
                      </a:lnTo>
                      <a:lnTo>
                        <a:pt x="1594" y="3859"/>
                      </a:lnTo>
                      <a:lnTo>
                        <a:pt x="1540" y="3851"/>
                      </a:lnTo>
                      <a:lnTo>
                        <a:pt x="1486" y="3841"/>
                      </a:lnTo>
                      <a:lnTo>
                        <a:pt x="1432" y="3829"/>
                      </a:lnTo>
                      <a:lnTo>
                        <a:pt x="1379" y="3816"/>
                      </a:lnTo>
                      <a:lnTo>
                        <a:pt x="1327" y="3800"/>
                      </a:lnTo>
                      <a:lnTo>
                        <a:pt x="1276" y="3783"/>
                      </a:lnTo>
                      <a:lnTo>
                        <a:pt x="1226" y="3764"/>
                      </a:lnTo>
                      <a:lnTo>
                        <a:pt x="1177" y="3742"/>
                      </a:lnTo>
                      <a:lnTo>
                        <a:pt x="1129" y="3720"/>
                      </a:lnTo>
                      <a:lnTo>
                        <a:pt x="1081" y="3695"/>
                      </a:lnTo>
                      <a:lnTo>
                        <a:pt x="1035" y="3668"/>
                      </a:lnTo>
                      <a:lnTo>
                        <a:pt x="990" y="3640"/>
                      </a:lnTo>
                      <a:lnTo>
                        <a:pt x="946" y="3611"/>
                      </a:lnTo>
                      <a:lnTo>
                        <a:pt x="903" y="3580"/>
                      </a:lnTo>
                      <a:lnTo>
                        <a:pt x="861" y="3547"/>
                      </a:lnTo>
                      <a:lnTo>
                        <a:pt x="821" y="3513"/>
                      </a:lnTo>
                      <a:lnTo>
                        <a:pt x="782" y="3476"/>
                      </a:lnTo>
                      <a:lnTo>
                        <a:pt x="744" y="3440"/>
                      </a:lnTo>
                      <a:lnTo>
                        <a:pt x="708" y="3401"/>
                      </a:lnTo>
                      <a:lnTo>
                        <a:pt x="673" y="3362"/>
                      </a:lnTo>
                      <a:lnTo>
                        <a:pt x="640" y="3320"/>
                      </a:lnTo>
                      <a:lnTo>
                        <a:pt x="608" y="3278"/>
                      </a:lnTo>
                      <a:lnTo>
                        <a:pt x="577" y="3235"/>
                      </a:lnTo>
                      <a:lnTo>
                        <a:pt x="549" y="3190"/>
                      </a:lnTo>
                      <a:lnTo>
                        <a:pt x="522" y="3144"/>
                      </a:lnTo>
                      <a:lnTo>
                        <a:pt x="497" y="3097"/>
                      </a:lnTo>
                      <a:lnTo>
                        <a:pt x="473" y="3050"/>
                      </a:lnTo>
                      <a:lnTo>
                        <a:pt x="451" y="3001"/>
                      </a:lnTo>
                      <a:lnTo>
                        <a:pt x="431" y="2951"/>
                      </a:lnTo>
                      <a:lnTo>
                        <a:pt x="431" y="2951"/>
                      </a:lnTo>
                      <a:lnTo>
                        <a:pt x="460" y="2989"/>
                      </a:lnTo>
                      <a:lnTo>
                        <a:pt x="489" y="3027"/>
                      </a:lnTo>
                      <a:lnTo>
                        <a:pt x="520" y="3063"/>
                      </a:lnTo>
                      <a:lnTo>
                        <a:pt x="551" y="3098"/>
                      </a:lnTo>
                      <a:lnTo>
                        <a:pt x="585" y="3133"/>
                      </a:lnTo>
                      <a:lnTo>
                        <a:pt x="618" y="3166"/>
                      </a:lnTo>
                      <a:lnTo>
                        <a:pt x="653" y="3199"/>
                      </a:lnTo>
                      <a:lnTo>
                        <a:pt x="688" y="3231"/>
                      </a:lnTo>
                      <a:lnTo>
                        <a:pt x="724" y="3261"/>
                      </a:lnTo>
                      <a:lnTo>
                        <a:pt x="763" y="3291"/>
                      </a:lnTo>
                      <a:lnTo>
                        <a:pt x="801" y="3319"/>
                      </a:lnTo>
                      <a:lnTo>
                        <a:pt x="840" y="3347"/>
                      </a:lnTo>
                      <a:lnTo>
                        <a:pt x="879" y="3373"/>
                      </a:lnTo>
                      <a:lnTo>
                        <a:pt x="920" y="3398"/>
                      </a:lnTo>
                      <a:lnTo>
                        <a:pt x="962" y="3422"/>
                      </a:lnTo>
                      <a:lnTo>
                        <a:pt x="1004" y="3445"/>
                      </a:lnTo>
                      <a:lnTo>
                        <a:pt x="1047" y="3466"/>
                      </a:lnTo>
                      <a:lnTo>
                        <a:pt x="1090" y="3487"/>
                      </a:lnTo>
                      <a:lnTo>
                        <a:pt x="1135" y="3506"/>
                      </a:lnTo>
                      <a:lnTo>
                        <a:pt x="1180" y="3524"/>
                      </a:lnTo>
                      <a:lnTo>
                        <a:pt x="1225" y="3541"/>
                      </a:lnTo>
                      <a:lnTo>
                        <a:pt x="1271" y="3556"/>
                      </a:lnTo>
                      <a:lnTo>
                        <a:pt x="1319" y="3570"/>
                      </a:lnTo>
                      <a:lnTo>
                        <a:pt x="1366" y="3582"/>
                      </a:lnTo>
                      <a:lnTo>
                        <a:pt x="1414" y="3593"/>
                      </a:lnTo>
                      <a:lnTo>
                        <a:pt x="1463" y="3603"/>
                      </a:lnTo>
                      <a:lnTo>
                        <a:pt x="1512" y="3611"/>
                      </a:lnTo>
                      <a:lnTo>
                        <a:pt x="1561" y="3618"/>
                      </a:lnTo>
                      <a:lnTo>
                        <a:pt x="1610" y="3623"/>
                      </a:lnTo>
                      <a:lnTo>
                        <a:pt x="1662" y="3627"/>
                      </a:lnTo>
                      <a:lnTo>
                        <a:pt x="1712" y="3630"/>
                      </a:lnTo>
                      <a:lnTo>
                        <a:pt x="1763" y="3630"/>
                      </a:lnTo>
                      <a:lnTo>
                        <a:pt x="1763" y="3630"/>
                      </a:lnTo>
                      <a:lnTo>
                        <a:pt x="1815" y="3630"/>
                      </a:lnTo>
                      <a:lnTo>
                        <a:pt x="1865" y="3627"/>
                      </a:lnTo>
                      <a:lnTo>
                        <a:pt x="1915" y="3623"/>
                      </a:lnTo>
                      <a:lnTo>
                        <a:pt x="1965" y="3618"/>
                      </a:lnTo>
                      <a:lnTo>
                        <a:pt x="2015" y="3611"/>
                      </a:lnTo>
                      <a:lnTo>
                        <a:pt x="2064" y="3603"/>
                      </a:lnTo>
                      <a:lnTo>
                        <a:pt x="2112" y="3593"/>
                      </a:lnTo>
                      <a:lnTo>
                        <a:pt x="2161" y="3582"/>
                      </a:lnTo>
                      <a:lnTo>
                        <a:pt x="2208" y="3570"/>
                      </a:lnTo>
                      <a:lnTo>
                        <a:pt x="2255" y="3556"/>
                      </a:lnTo>
                      <a:lnTo>
                        <a:pt x="2301" y="3541"/>
                      </a:lnTo>
                      <a:lnTo>
                        <a:pt x="2347" y="3524"/>
                      </a:lnTo>
                      <a:lnTo>
                        <a:pt x="2392" y="3506"/>
                      </a:lnTo>
                      <a:lnTo>
                        <a:pt x="2436" y="3487"/>
                      </a:lnTo>
                      <a:lnTo>
                        <a:pt x="2479" y="3466"/>
                      </a:lnTo>
                      <a:lnTo>
                        <a:pt x="2523" y="3445"/>
                      </a:lnTo>
                      <a:lnTo>
                        <a:pt x="2565" y="3422"/>
                      </a:lnTo>
                      <a:lnTo>
                        <a:pt x="2606" y="3398"/>
                      </a:lnTo>
                      <a:lnTo>
                        <a:pt x="2647" y="3373"/>
                      </a:lnTo>
                      <a:lnTo>
                        <a:pt x="2687" y="3347"/>
                      </a:lnTo>
                      <a:lnTo>
                        <a:pt x="2726" y="3319"/>
                      </a:lnTo>
                      <a:lnTo>
                        <a:pt x="2764" y="3291"/>
                      </a:lnTo>
                      <a:lnTo>
                        <a:pt x="2801" y="3261"/>
                      </a:lnTo>
                      <a:lnTo>
                        <a:pt x="2838" y="3231"/>
                      </a:lnTo>
                      <a:lnTo>
                        <a:pt x="2874" y="3199"/>
                      </a:lnTo>
                      <a:lnTo>
                        <a:pt x="2909" y="3166"/>
                      </a:lnTo>
                      <a:lnTo>
                        <a:pt x="2942" y="3133"/>
                      </a:lnTo>
                      <a:lnTo>
                        <a:pt x="2975" y="3098"/>
                      </a:lnTo>
                      <a:lnTo>
                        <a:pt x="3006" y="3063"/>
                      </a:lnTo>
                      <a:lnTo>
                        <a:pt x="3038" y="3027"/>
                      </a:lnTo>
                      <a:lnTo>
                        <a:pt x="3067" y="2989"/>
                      </a:lnTo>
                      <a:lnTo>
                        <a:pt x="3096" y="2951"/>
                      </a:lnTo>
                      <a:lnTo>
                        <a:pt x="3096" y="2951"/>
                      </a:lnTo>
                      <a:lnTo>
                        <a:pt x="3076" y="3001"/>
                      </a:lnTo>
                      <a:lnTo>
                        <a:pt x="3054" y="3050"/>
                      </a:lnTo>
                      <a:lnTo>
                        <a:pt x="3029" y="3097"/>
                      </a:lnTo>
                      <a:lnTo>
                        <a:pt x="3004" y="3144"/>
                      </a:lnTo>
                      <a:lnTo>
                        <a:pt x="2977" y="3190"/>
                      </a:lnTo>
                      <a:lnTo>
                        <a:pt x="2949" y="3235"/>
                      </a:lnTo>
                      <a:lnTo>
                        <a:pt x="2918" y="3278"/>
                      </a:lnTo>
                      <a:lnTo>
                        <a:pt x="2887" y="3320"/>
                      </a:lnTo>
                      <a:lnTo>
                        <a:pt x="2853" y="3362"/>
                      </a:lnTo>
                      <a:lnTo>
                        <a:pt x="2818" y="3401"/>
                      </a:lnTo>
                      <a:lnTo>
                        <a:pt x="2782" y="3440"/>
                      </a:lnTo>
                      <a:lnTo>
                        <a:pt x="2744" y="3476"/>
                      </a:lnTo>
                      <a:lnTo>
                        <a:pt x="2706" y="3513"/>
                      </a:lnTo>
                      <a:lnTo>
                        <a:pt x="2665" y="3547"/>
                      </a:lnTo>
                      <a:lnTo>
                        <a:pt x="2623" y="3580"/>
                      </a:lnTo>
                      <a:lnTo>
                        <a:pt x="2581" y="3611"/>
                      </a:lnTo>
                      <a:lnTo>
                        <a:pt x="2537" y="3640"/>
                      </a:lnTo>
                      <a:lnTo>
                        <a:pt x="2491" y="3668"/>
                      </a:lnTo>
                      <a:lnTo>
                        <a:pt x="2445" y="3695"/>
                      </a:lnTo>
                      <a:lnTo>
                        <a:pt x="2398" y="3720"/>
                      </a:lnTo>
                      <a:lnTo>
                        <a:pt x="2350" y="3742"/>
                      </a:lnTo>
                      <a:lnTo>
                        <a:pt x="2300" y="3764"/>
                      </a:lnTo>
                      <a:lnTo>
                        <a:pt x="2250" y="3783"/>
                      </a:lnTo>
                      <a:lnTo>
                        <a:pt x="2199" y="3800"/>
                      </a:lnTo>
                      <a:lnTo>
                        <a:pt x="2147" y="3816"/>
                      </a:lnTo>
                      <a:lnTo>
                        <a:pt x="2094" y="3829"/>
                      </a:lnTo>
                      <a:lnTo>
                        <a:pt x="2041" y="3841"/>
                      </a:lnTo>
                      <a:lnTo>
                        <a:pt x="1987" y="3851"/>
                      </a:lnTo>
                      <a:lnTo>
                        <a:pt x="1932" y="3859"/>
                      </a:lnTo>
                      <a:lnTo>
                        <a:pt x="1876" y="3864"/>
                      </a:lnTo>
                      <a:lnTo>
                        <a:pt x="1820" y="3868"/>
                      </a:lnTo>
                      <a:lnTo>
                        <a:pt x="1763" y="3869"/>
                      </a:lnTo>
                      <a:lnTo>
                        <a:pt x="1763" y="3869"/>
                      </a:lnTo>
                      <a:close/>
                      <a:moveTo>
                        <a:pt x="1763" y="3190"/>
                      </a:moveTo>
                      <a:lnTo>
                        <a:pt x="1763" y="3190"/>
                      </a:lnTo>
                      <a:lnTo>
                        <a:pt x="1726" y="3190"/>
                      </a:lnTo>
                      <a:lnTo>
                        <a:pt x="1690" y="3188"/>
                      </a:lnTo>
                      <a:lnTo>
                        <a:pt x="1654" y="3186"/>
                      </a:lnTo>
                      <a:lnTo>
                        <a:pt x="1617" y="3183"/>
                      </a:lnTo>
                      <a:lnTo>
                        <a:pt x="1581" y="3179"/>
                      </a:lnTo>
                      <a:lnTo>
                        <a:pt x="1546" y="3174"/>
                      </a:lnTo>
                      <a:lnTo>
                        <a:pt x="1511" y="3167"/>
                      </a:lnTo>
                      <a:lnTo>
                        <a:pt x="1476" y="3160"/>
                      </a:lnTo>
                      <a:lnTo>
                        <a:pt x="1441" y="3153"/>
                      </a:lnTo>
                      <a:lnTo>
                        <a:pt x="1407" y="3145"/>
                      </a:lnTo>
                      <a:lnTo>
                        <a:pt x="1373" y="3135"/>
                      </a:lnTo>
                      <a:lnTo>
                        <a:pt x="1339" y="3126"/>
                      </a:lnTo>
                      <a:lnTo>
                        <a:pt x="1306" y="3115"/>
                      </a:lnTo>
                      <a:lnTo>
                        <a:pt x="1272" y="3103"/>
                      </a:lnTo>
                      <a:lnTo>
                        <a:pt x="1240" y="3091"/>
                      </a:lnTo>
                      <a:lnTo>
                        <a:pt x="1208" y="3078"/>
                      </a:lnTo>
                      <a:lnTo>
                        <a:pt x="1176" y="3064"/>
                      </a:lnTo>
                      <a:lnTo>
                        <a:pt x="1145" y="3049"/>
                      </a:lnTo>
                      <a:lnTo>
                        <a:pt x="1114" y="3034"/>
                      </a:lnTo>
                      <a:lnTo>
                        <a:pt x="1083" y="3018"/>
                      </a:lnTo>
                      <a:lnTo>
                        <a:pt x="1053" y="3001"/>
                      </a:lnTo>
                      <a:lnTo>
                        <a:pt x="1024" y="2983"/>
                      </a:lnTo>
                      <a:lnTo>
                        <a:pt x="995" y="2965"/>
                      </a:lnTo>
                      <a:lnTo>
                        <a:pt x="966" y="2946"/>
                      </a:lnTo>
                      <a:lnTo>
                        <a:pt x="938" y="2927"/>
                      </a:lnTo>
                      <a:lnTo>
                        <a:pt x="909" y="2907"/>
                      </a:lnTo>
                      <a:lnTo>
                        <a:pt x="882" y="2886"/>
                      </a:lnTo>
                      <a:lnTo>
                        <a:pt x="856" y="2864"/>
                      </a:lnTo>
                      <a:lnTo>
                        <a:pt x="830" y="2842"/>
                      </a:lnTo>
                      <a:lnTo>
                        <a:pt x="804" y="2819"/>
                      </a:lnTo>
                      <a:lnTo>
                        <a:pt x="780" y="2796"/>
                      </a:lnTo>
                      <a:lnTo>
                        <a:pt x="754" y="2772"/>
                      </a:lnTo>
                      <a:lnTo>
                        <a:pt x="730" y="2748"/>
                      </a:lnTo>
                      <a:lnTo>
                        <a:pt x="707" y="2723"/>
                      </a:lnTo>
                      <a:lnTo>
                        <a:pt x="685" y="2697"/>
                      </a:lnTo>
                      <a:lnTo>
                        <a:pt x="663" y="2671"/>
                      </a:lnTo>
                      <a:lnTo>
                        <a:pt x="641" y="2644"/>
                      </a:lnTo>
                      <a:lnTo>
                        <a:pt x="621" y="2617"/>
                      </a:lnTo>
                      <a:lnTo>
                        <a:pt x="601" y="2589"/>
                      </a:lnTo>
                      <a:lnTo>
                        <a:pt x="581" y="2561"/>
                      </a:lnTo>
                      <a:lnTo>
                        <a:pt x="561" y="2533"/>
                      </a:lnTo>
                      <a:lnTo>
                        <a:pt x="543" y="2504"/>
                      </a:lnTo>
                      <a:lnTo>
                        <a:pt x="526" y="2473"/>
                      </a:lnTo>
                      <a:lnTo>
                        <a:pt x="509" y="2443"/>
                      </a:lnTo>
                      <a:lnTo>
                        <a:pt x="493" y="2413"/>
                      </a:lnTo>
                      <a:lnTo>
                        <a:pt x="478" y="2382"/>
                      </a:lnTo>
                      <a:lnTo>
                        <a:pt x="463" y="2351"/>
                      </a:lnTo>
                      <a:lnTo>
                        <a:pt x="449" y="2318"/>
                      </a:lnTo>
                      <a:lnTo>
                        <a:pt x="436" y="2286"/>
                      </a:lnTo>
                      <a:lnTo>
                        <a:pt x="424" y="2254"/>
                      </a:lnTo>
                      <a:lnTo>
                        <a:pt x="412" y="2221"/>
                      </a:lnTo>
                      <a:lnTo>
                        <a:pt x="401" y="2188"/>
                      </a:lnTo>
                      <a:lnTo>
                        <a:pt x="391" y="2153"/>
                      </a:lnTo>
                      <a:lnTo>
                        <a:pt x="382" y="2120"/>
                      </a:lnTo>
                      <a:lnTo>
                        <a:pt x="373" y="2085"/>
                      </a:lnTo>
                      <a:lnTo>
                        <a:pt x="366" y="2051"/>
                      </a:lnTo>
                      <a:lnTo>
                        <a:pt x="359" y="2016"/>
                      </a:lnTo>
                      <a:lnTo>
                        <a:pt x="353" y="1980"/>
                      </a:lnTo>
                      <a:lnTo>
                        <a:pt x="348" y="1945"/>
                      </a:lnTo>
                      <a:lnTo>
                        <a:pt x="344" y="1909"/>
                      </a:lnTo>
                      <a:lnTo>
                        <a:pt x="341" y="1873"/>
                      </a:lnTo>
                      <a:lnTo>
                        <a:pt x="339" y="1837"/>
                      </a:lnTo>
                      <a:lnTo>
                        <a:pt x="337" y="1800"/>
                      </a:lnTo>
                      <a:lnTo>
                        <a:pt x="337" y="1763"/>
                      </a:lnTo>
                      <a:lnTo>
                        <a:pt x="337" y="1763"/>
                      </a:lnTo>
                      <a:lnTo>
                        <a:pt x="337" y="1727"/>
                      </a:lnTo>
                      <a:lnTo>
                        <a:pt x="339" y="1690"/>
                      </a:lnTo>
                      <a:lnTo>
                        <a:pt x="341" y="1654"/>
                      </a:lnTo>
                      <a:lnTo>
                        <a:pt x="344" y="1617"/>
                      </a:lnTo>
                      <a:lnTo>
                        <a:pt x="348" y="1582"/>
                      </a:lnTo>
                      <a:lnTo>
                        <a:pt x="353" y="1546"/>
                      </a:lnTo>
                      <a:lnTo>
                        <a:pt x="359" y="1511"/>
                      </a:lnTo>
                      <a:lnTo>
                        <a:pt x="366" y="1475"/>
                      </a:lnTo>
                      <a:lnTo>
                        <a:pt x="373" y="1441"/>
                      </a:lnTo>
                      <a:lnTo>
                        <a:pt x="382" y="1407"/>
                      </a:lnTo>
                      <a:lnTo>
                        <a:pt x="391" y="1373"/>
                      </a:lnTo>
                      <a:lnTo>
                        <a:pt x="401" y="1339"/>
                      </a:lnTo>
                      <a:lnTo>
                        <a:pt x="412" y="1305"/>
                      </a:lnTo>
                      <a:lnTo>
                        <a:pt x="424" y="1273"/>
                      </a:lnTo>
                      <a:lnTo>
                        <a:pt x="436" y="1240"/>
                      </a:lnTo>
                      <a:lnTo>
                        <a:pt x="449" y="1208"/>
                      </a:lnTo>
                      <a:lnTo>
                        <a:pt x="463" y="1177"/>
                      </a:lnTo>
                      <a:lnTo>
                        <a:pt x="478" y="1145"/>
                      </a:lnTo>
                      <a:lnTo>
                        <a:pt x="493" y="1114"/>
                      </a:lnTo>
                      <a:lnTo>
                        <a:pt x="509" y="1083"/>
                      </a:lnTo>
                      <a:lnTo>
                        <a:pt x="526" y="1053"/>
                      </a:lnTo>
                      <a:lnTo>
                        <a:pt x="543" y="1024"/>
                      </a:lnTo>
                      <a:lnTo>
                        <a:pt x="561" y="995"/>
                      </a:lnTo>
                      <a:lnTo>
                        <a:pt x="581" y="965"/>
                      </a:lnTo>
                      <a:lnTo>
                        <a:pt x="601" y="937"/>
                      </a:lnTo>
                      <a:lnTo>
                        <a:pt x="621" y="910"/>
                      </a:lnTo>
                      <a:lnTo>
                        <a:pt x="641" y="883"/>
                      </a:lnTo>
                      <a:lnTo>
                        <a:pt x="663" y="856"/>
                      </a:lnTo>
                      <a:lnTo>
                        <a:pt x="685" y="830"/>
                      </a:lnTo>
                      <a:lnTo>
                        <a:pt x="707" y="805"/>
                      </a:lnTo>
                      <a:lnTo>
                        <a:pt x="730" y="779"/>
                      </a:lnTo>
                      <a:lnTo>
                        <a:pt x="754" y="754"/>
                      </a:lnTo>
                      <a:lnTo>
                        <a:pt x="780" y="731"/>
                      </a:lnTo>
                      <a:lnTo>
                        <a:pt x="804" y="707"/>
                      </a:lnTo>
                      <a:lnTo>
                        <a:pt x="830" y="685"/>
                      </a:lnTo>
                      <a:lnTo>
                        <a:pt x="856" y="663"/>
                      </a:lnTo>
                      <a:lnTo>
                        <a:pt x="882" y="642"/>
                      </a:lnTo>
                      <a:lnTo>
                        <a:pt x="909" y="620"/>
                      </a:lnTo>
                      <a:lnTo>
                        <a:pt x="938" y="600"/>
                      </a:lnTo>
                      <a:lnTo>
                        <a:pt x="966" y="580"/>
                      </a:lnTo>
                      <a:lnTo>
                        <a:pt x="995" y="561"/>
                      </a:lnTo>
                      <a:lnTo>
                        <a:pt x="1024" y="543"/>
                      </a:lnTo>
                      <a:lnTo>
                        <a:pt x="1053" y="526"/>
                      </a:lnTo>
                      <a:lnTo>
                        <a:pt x="1083" y="509"/>
                      </a:lnTo>
                      <a:lnTo>
                        <a:pt x="1114" y="493"/>
                      </a:lnTo>
                      <a:lnTo>
                        <a:pt x="1145" y="478"/>
                      </a:lnTo>
                      <a:lnTo>
                        <a:pt x="1176" y="462"/>
                      </a:lnTo>
                      <a:lnTo>
                        <a:pt x="1208" y="449"/>
                      </a:lnTo>
                      <a:lnTo>
                        <a:pt x="1240" y="435"/>
                      </a:lnTo>
                      <a:lnTo>
                        <a:pt x="1272" y="423"/>
                      </a:lnTo>
                      <a:lnTo>
                        <a:pt x="1306" y="412"/>
                      </a:lnTo>
                      <a:lnTo>
                        <a:pt x="1339" y="401"/>
                      </a:lnTo>
                      <a:lnTo>
                        <a:pt x="1373" y="391"/>
                      </a:lnTo>
                      <a:lnTo>
                        <a:pt x="1407" y="382"/>
                      </a:lnTo>
                      <a:lnTo>
                        <a:pt x="1441" y="373"/>
                      </a:lnTo>
                      <a:lnTo>
                        <a:pt x="1476" y="366"/>
                      </a:lnTo>
                      <a:lnTo>
                        <a:pt x="1511" y="359"/>
                      </a:lnTo>
                      <a:lnTo>
                        <a:pt x="1546" y="353"/>
                      </a:lnTo>
                      <a:lnTo>
                        <a:pt x="1581" y="348"/>
                      </a:lnTo>
                      <a:lnTo>
                        <a:pt x="1617" y="344"/>
                      </a:lnTo>
                      <a:lnTo>
                        <a:pt x="1654" y="341"/>
                      </a:lnTo>
                      <a:lnTo>
                        <a:pt x="1690" y="339"/>
                      </a:lnTo>
                      <a:lnTo>
                        <a:pt x="1726" y="338"/>
                      </a:lnTo>
                      <a:lnTo>
                        <a:pt x="1763" y="337"/>
                      </a:lnTo>
                      <a:lnTo>
                        <a:pt x="1763" y="337"/>
                      </a:lnTo>
                      <a:lnTo>
                        <a:pt x="1800" y="338"/>
                      </a:lnTo>
                      <a:lnTo>
                        <a:pt x="1837" y="339"/>
                      </a:lnTo>
                      <a:lnTo>
                        <a:pt x="1873" y="341"/>
                      </a:lnTo>
                      <a:lnTo>
                        <a:pt x="1909" y="344"/>
                      </a:lnTo>
                      <a:lnTo>
                        <a:pt x="1945" y="348"/>
                      </a:lnTo>
                      <a:lnTo>
                        <a:pt x="1980" y="353"/>
                      </a:lnTo>
                      <a:lnTo>
                        <a:pt x="2016" y="359"/>
                      </a:lnTo>
                      <a:lnTo>
                        <a:pt x="2051" y="366"/>
                      </a:lnTo>
                      <a:lnTo>
                        <a:pt x="2085" y="373"/>
                      </a:lnTo>
                      <a:lnTo>
                        <a:pt x="2119" y="382"/>
                      </a:lnTo>
                      <a:lnTo>
                        <a:pt x="2153" y="391"/>
                      </a:lnTo>
                      <a:lnTo>
                        <a:pt x="2188" y="401"/>
                      </a:lnTo>
                      <a:lnTo>
                        <a:pt x="2221" y="412"/>
                      </a:lnTo>
                      <a:lnTo>
                        <a:pt x="2254" y="423"/>
                      </a:lnTo>
                      <a:lnTo>
                        <a:pt x="2286" y="435"/>
                      </a:lnTo>
                      <a:lnTo>
                        <a:pt x="2318" y="449"/>
                      </a:lnTo>
                      <a:lnTo>
                        <a:pt x="2351" y="462"/>
                      </a:lnTo>
                      <a:lnTo>
                        <a:pt x="2382" y="478"/>
                      </a:lnTo>
                      <a:lnTo>
                        <a:pt x="2413" y="493"/>
                      </a:lnTo>
                      <a:lnTo>
                        <a:pt x="2443" y="509"/>
                      </a:lnTo>
                      <a:lnTo>
                        <a:pt x="2473" y="526"/>
                      </a:lnTo>
                      <a:lnTo>
                        <a:pt x="2502" y="543"/>
                      </a:lnTo>
                      <a:lnTo>
                        <a:pt x="2532" y="561"/>
                      </a:lnTo>
                      <a:lnTo>
                        <a:pt x="2561" y="580"/>
                      </a:lnTo>
                      <a:lnTo>
                        <a:pt x="2589" y="600"/>
                      </a:lnTo>
                      <a:lnTo>
                        <a:pt x="2616" y="620"/>
                      </a:lnTo>
                      <a:lnTo>
                        <a:pt x="2643" y="642"/>
                      </a:lnTo>
                      <a:lnTo>
                        <a:pt x="2670" y="663"/>
                      </a:lnTo>
                      <a:lnTo>
                        <a:pt x="2697" y="685"/>
                      </a:lnTo>
                      <a:lnTo>
                        <a:pt x="2722" y="707"/>
                      </a:lnTo>
                      <a:lnTo>
                        <a:pt x="2747" y="731"/>
                      </a:lnTo>
                      <a:lnTo>
                        <a:pt x="2772" y="754"/>
                      </a:lnTo>
                      <a:lnTo>
                        <a:pt x="2795" y="779"/>
                      </a:lnTo>
                      <a:lnTo>
                        <a:pt x="2819" y="805"/>
                      </a:lnTo>
                      <a:lnTo>
                        <a:pt x="2841" y="830"/>
                      </a:lnTo>
                      <a:lnTo>
                        <a:pt x="2864" y="856"/>
                      </a:lnTo>
                      <a:lnTo>
                        <a:pt x="2886" y="883"/>
                      </a:lnTo>
                      <a:lnTo>
                        <a:pt x="2906" y="910"/>
                      </a:lnTo>
                      <a:lnTo>
                        <a:pt x="2926" y="937"/>
                      </a:lnTo>
                      <a:lnTo>
                        <a:pt x="2946" y="965"/>
                      </a:lnTo>
                      <a:lnTo>
                        <a:pt x="2965" y="995"/>
                      </a:lnTo>
                      <a:lnTo>
                        <a:pt x="2983" y="1024"/>
                      </a:lnTo>
                      <a:lnTo>
                        <a:pt x="3000" y="1053"/>
                      </a:lnTo>
                      <a:lnTo>
                        <a:pt x="3017" y="1083"/>
                      </a:lnTo>
                      <a:lnTo>
                        <a:pt x="3033" y="1114"/>
                      </a:lnTo>
                      <a:lnTo>
                        <a:pt x="3049" y="1145"/>
                      </a:lnTo>
                      <a:lnTo>
                        <a:pt x="3064" y="1177"/>
                      </a:lnTo>
                      <a:lnTo>
                        <a:pt x="3078" y="1208"/>
                      </a:lnTo>
                      <a:lnTo>
                        <a:pt x="3091" y="1240"/>
                      </a:lnTo>
                      <a:lnTo>
                        <a:pt x="3103" y="1273"/>
                      </a:lnTo>
                      <a:lnTo>
                        <a:pt x="3115" y="1305"/>
                      </a:lnTo>
                      <a:lnTo>
                        <a:pt x="3125" y="1339"/>
                      </a:lnTo>
                      <a:lnTo>
                        <a:pt x="3135" y="1373"/>
                      </a:lnTo>
                      <a:lnTo>
                        <a:pt x="3144" y="1407"/>
                      </a:lnTo>
                      <a:lnTo>
                        <a:pt x="3153" y="1441"/>
                      </a:lnTo>
                      <a:lnTo>
                        <a:pt x="3160" y="1475"/>
                      </a:lnTo>
                      <a:lnTo>
                        <a:pt x="3167" y="1511"/>
                      </a:lnTo>
                      <a:lnTo>
                        <a:pt x="3173" y="1546"/>
                      </a:lnTo>
                      <a:lnTo>
                        <a:pt x="3178" y="1582"/>
                      </a:lnTo>
                      <a:lnTo>
                        <a:pt x="3182" y="1617"/>
                      </a:lnTo>
                      <a:lnTo>
                        <a:pt x="3185" y="1654"/>
                      </a:lnTo>
                      <a:lnTo>
                        <a:pt x="3187" y="1690"/>
                      </a:lnTo>
                      <a:lnTo>
                        <a:pt x="3189" y="1727"/>
                      </a:lnTo>
                      <a:lnTo>
                        <a:pt x="3189" y="1763"/>
                      </a:lnTo>
                      <a:lnTo>
                        <a:pt x="3189" y="1763"/>
                      </a:lnTo>
                      <a:lnTo>
                        <a:pt x="3189" y="1800"/>
                      </a:lnTo>
                      <a:lnTo>
                        <a:pt x="3187" y="1837"/>
                      </a:lnTo>
                      <a:lnTo>
                        <a:pt x="3185" y="1873"/>
                      </a:lnTo>
                      <a:lnTo>
                        <a:pt x="3182" y="1909"/>
                      </a:lnTo>
                      <a:lnTo>
                        <a:pt x="3178" y="1945"/>
                      </a:lnTo>
                      <a:lnTo>
                        <a:pt x="3173" y="1980"/>
                      </a:lnTo>
                      <a:lnTo>
                        <a:pt x="3167" y="2016"/>
                      </a:lnTo>
                      <a:lnTo>
                        <a:pt x="3160" y="2051"/>
                      </a:lnTo>
                      <a:lnTo>
                        <a:pt x="3153" y="2085"/>
                      </a:lnTo>
                      <a:lnTo>
                        <a:pt x="3144" y="2120"/>
                      </a:lnTo>
                      <a:lnTo>
                        <a:pt x="3135" y="2153"/>
                      </a:lnTo>
                      <a:lnTo>
                        <a:pt x="3125" y="2188"/>
                      </a:lnTo>
                      <a:lnTo>
                        <a:pt x="3115" y="2221"/>
                      </a:lnTo>
                      <a:lnTo>
                        <a:pt x="3103" y="2254"/>
                      </a:lnTo>
                      <a:lnTo>
                        <a:pt x="3091" y="2286"/>
                      </a:lnTo>
                      <a:lnTo>
                        <a:pt x="3078" y="2318"/>
                      </a:lnTo>
                      <a:lnTo>
                        <a:pt x="3064" y="2351"/>
                      </a:lnTo>
                      <a:lnTo>
                        <a:pt x="3049" y="2382"/>
                      </a:lnTo>
                      <a:lnTo>
                        <a:pt x="3033" y="2413"/>
                      </a:lnTo>
                      <a:lnTo>
                        <a:pt x="3017" y="2443"/>
                      </a:lnTo>
                      <a:lnTo>
                        <a:pt x="3000" y="2473"/>
                      </a:lnTo>
                      <a:lnTo>
                        <a:pt x="2983" y="2504"/>
                      </a:lnTo>
                      <a:lnTo>
                        <a:pt x="2965" y="2533"/>
                      </a:lnTo>
                      <a:lnTo>
                        <a:pt x="2946" y="2561"/>
                      </a:lnTo>
                      <a:lnTo>
                        <a:pt x="2926" y="2589"/>
                      </a:lnTo>
                      <a:lnTo>
                        <a:pt x="2906" y="2617"/>
                      </a:lnTo>
                      <a:lnTo>
                        <a:pt x="2886" y="2644"/>
                      </a:lnTo>
                      <a:lnTo>
                        <a:pt x="2864" y="2671"/>
                      </a:lnTo>
                      <a:lnTo>
                        <a:pt x="2841" y="2697"/>
                      </a:lnTo>
                      <a:lnTo>
                        <a:pt x="2819" y="2723"/>
                      </a:lnTo>
                      <a:lnTo>
                        <a:pt x="2795" y="2748"/>
                      </a:lnTo>
                      <a:lnTo>
                        <a:pt x="2772" y="2772"/>
                      </a:lnTo>
                      <a:lnTo>
                        <a:pt x="2747" y="2796"/>
                      </a:lnTo>
                      <a:lnTo>
                        <a:pt x="2722" y="2819"/>
                      </a:lnTo>
                      <a:lnTo>
                        <a:pt x="2697" y="2842"/>
                      </a:lnTo>
                      <a:lnTo>
                        <a:pt x="2670" y="2864"/>
                      </a:lnTo>
                      <a:lnTo>
                        <a:pt x="2643" y="2886"/>
                      </a:lnTo>
                      <a:lnTo>
                        <a:pt x="2616" y="2907"/>
                      </a:lnTo>
                      <a:lnTo>
                        <a:pt x="2589" y="2927"/>
                      </a:lnTo>
                      <a:lnTo>
                        <a:pt x="2561" y="2946"/>
                      </a:lnTo>
                      <a:lnTo>
                        <a:pt x="2532" y="2965"/>
                      </a:lnTo>
                      <a:lnTo>
                        <a:pt x="2502" y="2983"/>
                      </a:lnTo>
                      <a:lnTo>
                        <a:pt x="2473" y="3001"/>
                      </a:lnTo>
                      <a:lnTo>
                        <a:pt x="2443" y="3018"/>
                      </a:lnTo>
                      <a:lnTo>
                        <a:pt x="2413" y="3034"/>
                      </a:lnTo>
                      <a:lnTo>
                        <a:pt x="2382" y="3049"/>
                      </a:lnTo>
                      <a:lnTo>
                        <a:pt x="2351" y="3064"/>
                      </a:lnTo>
                      <a:lnTo>
                        <a:pt x="2318" y="3078"/>
                      </a:lnTo>
                      <a:lnTo>
                        <a:pt x="2286" y="3091"/>
                      </a:lnTo>
                      <a:lnTo>
                        <a:pt x="2254" y="3103"/>
                      </a:lnTo>
                      <a:lnTo>
                        <a:pt x="2221" y="3115"/>
                      </a:lnTo>
                      <a:lnTo>
                        <a:pt x="2188" y="3126"/>
                      </a:lnTo>
                      <a:lnTo>
                        <a:pt x="2153" y="3135"/>
                      </a:lnTo>
                      <a:lnTo>
                        <a:pt x="2119" y="3145"/>
                      </a:lnTo>
                      <a:lnTo>
                        <a:pt x="2085" y="3153"/>
                      </a:lnTo>
                      <a:lnTo>
                        <a:pt x="2051" y="3160"/>
                      </a:lnTo>
                      <a:lnTo>
                        <a:pt x="2016" y="3167"/>
                      </a:lnTo>
                      <a:lnTo>
                        <a:pt x="1980" y="3174"/>
                      </a:lnTo>
                      <a:lnTo>
                        <a:pt x="1945" y="3179"/>
                      </a:lnTo>
                      <a:lnTo>
                        <a:pt x="1909" y="3183"/>
                      </a:lnTo>
                      <a:lnTo>
                        <a:pt x="1873" y="3186"/>
                      </a:lnTo>
                      <a:lnTo>
                        <a:pt x="1837" y="3188"/>
                      </a:lnTo>
                      <a:lnTo>
                        <a:pt x="1800" y="3190"/>
                      </a:lnTo>
                      <a:lnTo>
                        <a:pt x="1763" y="3190"/>
                      </a:lnTo>
                      <a:lnTo>
                        <a:pt x="1763" y="3190"/>
                      </a:ln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Oval 91"/>
                <p:cNvSpPr/>
                <p:nvPr/>
              </p:nvSpPr>
              <p:spPr>
                <a:xfrm>
                  <a:off x="2122306" y="3282288"/>
                  <a:ext cx="576064" cy="5760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smtClean="0">
                      <a:solidFill>
                        <a:srgbClr val="FF9900"/>
                      </a:solidFill>
                    </a:rPr>
                    <a:t>1</a:t>
                  </a:r>
                  <a:endParaRPr lang="en-US" sz="4400" b="1" dirty="0">
                    <a:solidFill>
                      <a:srgbClr val="FF9900"/>
                    </a:solidFill>
                  </a:endParaRPr>
                </a:p>
              </p:txBody>
            </p:sp>
          </p:grpSp>
        </p:grpSp>
        <p:pic>
          <p:nvPicPr>
            <p:cNvPr id="9223" name="Picture 7" descr="C:\Users\Administrator\Desktop\Kerja Keras terengganu\kategori kump. bidang tugas 3.png"/>
            <p:cNvPicPr>
              <a:picLocks noChangeAspect="1" noChangeArrowheads="1"/>
            </p:cNvPicPr>
            <p:nvPr/>
          </p:nvPicPr>
          <p:blipFill>
            <a:blip r:embed="rId3"/>
            <a:srcRect l="3219" t="12443" r="67634" b="73199"/>
            <a:stretch>
              <a:fillRect/>
            </a:stretch>
          </p:blipFill>
          <p:spPr bwMode="auto">
            <a:xfrm>
              <a:off x="253263" y="4549453"/>
              <a:ext cx="2214539" cy="771342"/>
            </a:xfrm>
            <a:prstGeom prst="rect">
              <a:avLst/>
            </a:prstGeom>
            <a:noFill/>
          </p:spPr>
        </p:pic>
        <p:sp>
          <p:nvSpPr>
            <p:cNvPr id="105" name="Rectangle 1"/>
            <p:cNvSpPr>
              <a:spLocks noChangeArrowheads="1"/>
            </p:cNvSpPr>
            <p:nvPr/>
          </p:nvSpPr>
          <p:spPr bwMode="auto">
            <a:xfrm>
              <a:off x="143092" y="5211566"/>
              <a:ext cx="2787541" cy="646331"/>
            </a:xfrm>
            <a:prstGeom prst="rect">
              <a:avLst/>
            </a:prstGeom>
            <a:noFill/>
            <a:ln w="9525">
              <a:noFill/>
              <a:miter lim="800000"/>
              <a:headEnd/>
              <a:tailEnd/>
            </a:ln>
          </p:spPr>
          <p:txBody>
            <a:bodyPr wrap="square" anchor="ctr">
              <a:spAutoFit/>
            </a:bodyPr>
            <a:lstStyle/>
            <a:p>
              <a:pPr algn="just"/>
              <a:r>
                <a:rPr lang="en-US" sz="1000" b="1" dirty="0">
                  <a:solidFill>
                    <a:srgbClr val="002060"/>
                  </a:solidFill>
                  <a:ea typeface="Calibri" pitchFamily="34" charset="0"/>
                  <a:cs typeface="Arial" pitchFamily="34" charset="0"/>
                </a:rPr>
                <a:t>*</a:t>
              </a:r>
              <a:r>
                <a:rPr lang="en-US" sz="1200" b="1" dirty="0" err="1">
                  <a:solidFill>
                    <a:srgbClr val="002060"/>
                  </a:solidFill>
                  <a:ea typeface="Calibri" pitchFamily="34" charset="0"/>
                  <a:cs typeface="Arial" pitchFamily="34" charset="0"/>
                </a:rPr>
                <a:t>Pengajaran</a:t>
              </a:r>
              <a:r>
                <a:rPr lang="en-US" sz="1200" b="1" dirty="0">
                  <a:solidFill>
                    <a:srgbClr val="002060"/>
                  </a:solidFill>
                  <a:ea typeface="Calibri" pitchFamily="34" charset="0"/>
                  <a:cs typeface="Arial" pitchFamily="34" charset="0"/>
                </a:rPr>
                <a:t> </a:t>
              </a:r>
              <a:r>
                <a:rPr lang="en-US" sz="1200" b="1" dirty="0" err="1">
                  <a:solidFill>
                    <a:srgbClr val="002060"/>
                  </a:solidFill>
                  <a:ea typeface="Calibri" pitchFamily="34" charset="0"/>
                  <a:cs typeface="Arial" pitchFamily="34" charset="0"/>
                </a:rPr>
                <a:t>dan</a:t>
              </a:r>
              <a:r>
                <a:rPr lang="en-US" sz="1200" b="1" dirty="0">
                  <a:solidFill>
                    <a:srgbClr val="002060"/>
                  </a:solidFill>
                  <a:ea typeface="Calibri" pitchFamily="34" charset="0"/>
                  <a:cs typeface="Arial" pitchFamily="34" charset="0"/>
                </a:rPr>
                <a:t> </a:t>
              </a:r>
              <a:r>
                <a:rPr lang="en-US" sz="1200" b="1" dirty="0" err="1">
                  <a:solidFill>
                    <a:srgbClr val="002060"/>
                  </a:solidFill>
                  <a:ea typeface="Calibri" pitchFamily="34" charset="0"/>
                  <a:cs typeface="Arial" pitchFamily="34" charset="0"/>
                </a:rPr>
                <a:t>Pembelajaran</a:t>
              </a:r>
              <a:r>
                <a:rPr lang="en-US" sz="1200" dirty="0">
                  <a:solidFill>
                    <a:srgbClr val="002060"/>
                  </a:solidFill>
                  <a:ea typeface="Calibri" pitchFamily="34" charset="0"/>
                  <a:cs typeface="Arial" pitchFamily="34" charset="0"/>
                </a:rPr>
                <a:t> </a:t>
              </a:r>
              <a:r>
                <a:rPr lang="en-US" sz="1200" dirty="0">
                  <a:solidFill>
                    <a:srgbClr val="002060"/>
                  </a:solidFill>
                  <a:latin typeface="Calibri" pitchFamily="34" charset="0"/>
                  <a:ea typeface="Calibri" pitchFamily="34" charset="0"/>
                  <a:cs typeface="Arial" pitchFamily="34" charset="0"/>
                </a:rPr>
                <a:t>–</a:t>
              </a:r>
              <a:r>
                <a:rPr lang="en-US" sz="1200" dirty="0">
                  <a:solidFill>
                    <a:srgbClr val="002060"/>
                  </a:solidFill>
                  <a:ea typeface="Calibri" pitchFamily="34" charset="0"/>
                  <a:cs typeface="Arial" pitchFamily="34" charset="0"/>
                </a:rPr>
                <a:t> PPP yang </a:t>
              </a:r>
              <a:r>
                <a:rPr lang="en-US" sz="1200" dirty="0" err="1">
                  <a:solidFill>
                    <a:srgbClr val="002060"/>
                  </a:solidFill>
                  <a:ea typeface="Calibri" pitchFamily="34" charset="0"/>
                  <a:cs typeface="Arial" pitchFamily="34" charset="0"/>
                </a:rPr>
                <a:t>mengajar</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di</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sekolah</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dan</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institusi</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pengajian</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di</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bawah</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kelolaan</a:t>
              </a:r>
              <a:r>
                <a:rPr lang="en-US" sz="1200" dirty="0">
                  <a:solidFill>
                    <a:srgbClr val="002060"/>
                  </a:solidFill>
                  <a:ea typeface="Calibri" pitchFamily="34" charset="0"/>
                  <a:cs typeface="Arial" pitchFamily="34" charset="0"/>
                </a:rPr>
                <a:t> KPM</a:t>
              </a:r>
            </a:p>
          </p:txBody>
        </p:sp>
        <p:grpSp>
          <p:nvGrpSpPr>
            <p:cNvPr id="8" name="Group 44"/>
            <p:cNvGrpSpPr/>
            <p:nvPr/>
          </p:nvGrpSpPr>
          <p:grpSpPr>
            <a:xfrm>
              <a:off x="216663" y="5806819"/>
              <a:ext cx="1886118" cy="651639"/>
              <a:chOff x="216663" y="5806819"/>
              <a:chExt cx="1886118" cy="651639"/>
            </a:xfrm>
          </p:grpSpPr>
          <p:grpSp>
            <p:nvGrpSpPr>
              <p:cNvPr id="9" name="Group 42"/>
              <p:cNvGrpSpPr/>
              <p:nvPr/>
            </p:nvGrpSpPr>
            <p:grpSpPr>
              <a:xfrm>
                <a:off x="221923" y="5806819"/>
                <a:ext cx="1134826" cy="375586"/>
                <a:chOff x="221923" y="5851642"/>
                <a:chExt cx="1134826" cy="375586"/>
              </a:xfrm>
            </p:grpSpPr>
            <p:sp>
              <p:nvSpPr>
                <p:cNvPr id="111" name="TextBox 110"/>
                <p:cNvSpPr txBox="1"/>
                <p:nvPr/>
              </p:nvSpPr>
              <p:spPr>
                <a:xfrm>
                  <a:off x="221923" y="5857896"/>
                  <a:ext cx="567357" cy="369332"/>
                </a:xfrm>
                <a:prstGeom prst="rect">
                  <a:avLst/>
                </a:prstGeom>
                <a:noFill/>
              </p:spPr>
              <p:txBody>
                <a:bodyPr wrap="square" rtlCol="0">
                  <a:spAutoFit/>
                </a:bodyPr>
                <a:lstStyle/>
                <a:p>
                  <a:r>
                    <a:rPr lang="en-US" b="1" dirty="0" smtClean="0">
                      <a:solidFill>
                        <a:srgbClr val="FF0000"/>
                      </a:solidFill>
                      <a:latin typeface="Comic Sans MS" pitchFamily="66" charset="0"/>
                    </a:rPr>
                    <a:t>1</a:t>
                  </a:r>
                  <a:endParaRPr lang="en-US" b="1" dirty="0">
                    <a:solidFill>
                      <a:srgbClr val="FF0000"/>
                    </a:solidFill>
                    <a:latin typeface="Comic Sans MS" pitchFamily="66" charset="0"/>
                  </a:endParaRPr>
                </a:p>
              </p:txBody>
            </p:sp>
            <p:sp>
              <p:nvSpPr>
                <p:cNvPr id="112" name="TextBox 111"/>
                <p:cNvSpPr txBox="1"/>
                <p:nvPr/>
              </p:nvSpPr>
              <p:spPr>
                <a:xfrm>
                  <a:off x="536942" y="5851642"/>
                  <a:ext cx="819807" cy="307777"/>
                </a:xfrm>
                <a:prstGeom prst="rect">
                  <a:avLst/>
                </a:prstGeom>
                <a:noFill/>
              </p:spPr>
              <p:txBody>
                <a:bodyPr wrap="square" rtlCol="0">
                  <a:spAutoFit/>
                </a:bodyPr>
                <a:lstStyle/>
                <a:p>
                  <a:r>
                    <a:rPr lang="en-US" sz="1400" dirty="0" smtClean="0">
                      <a:latin typeface="Comic Sans MS" pitchFamily="66" charset="0"/>
                    </a:rPr>
                    <a:t>Guru</a:t>
                  </a:r>
                  <a:endParaRPr lang="en-US" sz="1400" dirty="0">
                    <a:latin typeface="Comic Sans MS" pitchFamily="66" charset="0"/>
                  </a:endParaRPr>
                </a:p>
              </p:txBody>
            </p:sp>
          </p:grpSp>
          <p:grpSp>
            <p:nvGrpSpPr>
              <p:cNvPr id="11" name="Group 43"/>
              <p:cNvGrpSpPr/>
              <p:nvPr/>
            </p:nvGrpSpPr>
            <p:grpSpPr>
              <a:xfrm>
                <a:off x="216663" y="6082872"/>
                <a:ext cx="1886118" cy="375586"/>
                <a:chOff x="216663" y="6082872"/>
                <a:chExt cx="1886118" cy="375586"/>
              </a:xfrm>
            </p:grpSpPr>
            <p:sp>
              <p:nvSpPr>
                <p:cNvPr id="113" name="TextBox 112"/>
                <p:cNvSpPr txBox="1"/>
                <p:nvPr/>
              </p:nvSpPr>
              <p:spPr>
                <a:xfrm>
                  <a:off x="216663" y="6089126"/>
                  <a:ext cx="567357" cy="369332"/>
                </a:xfrm>
                <a:prstGeom prst="rect">
                  <a:avLst/>
                </a:prstGeom>
                <a:noFill/>
              </p:spPr>
              <p:txBody>
                <a:bodyPr wrap="square" rtlCol="0">
                  <a:spAutoFit/>
                </a:bodyPr>
                <a:lstStyle/>
                <a:p>
                  <a:r>
                    <a:rPr lang="en-US" b="1" dirty="0" smtClean="0">
                      <a:solidFill>
                        <a:srgbClr val="FF0000"/>
                      </a:solidFill>
                      <a:latin typeface="Comic Sans MS" pitchFamily="66" charset="0"/>
                    </a:rPr>
                    <a:t>2</a:t>
                  </a:r>
                  <a:endParaRPr lang="en-US" b="1" dirty="0">
                    <a:solidFill>
                      <a:srgbClr val="FF0000"/>
                    </a:solidFill>
                    <a:latin typeface="Comic Sans MS" pitchFamily="66" charset="0"/>
                  </a:endParaRPr>
                </a:p>
              </p:txBody>
            </p:sp>
            <p:sp>
              <p:nvSpPr>
                <p:cNvPr id="114" name="TextBox 113"/>
                <p:cNvSpPr txBox="1"/>
                <p:nvPr/>
              </p:nvSpPr>
              <p:spPr>
                <a:xfrm>
                  <a:off x="531680" y="6082872"/>
                  <a:ext cx="1571101" cy="307777"/>
                </a:xfrm>
                <a:prstGeom prst="rect">
                  <a:avLst/>
                </a:prstGeom>
                <a:noFill/>
              </p:spPr>
              <p:txBody>
                <a:bodyPr wrap="square" rtlCol="0">
                  <a:spAutoFit/>
                </a:bodyPr>
                <a:lstStyle/>
                <a:p>
                  <a:r>
                    <a:rPr lang="en-US" sz="1400" dirty="0" err="1" smtClean="0">
                      <a:latin typeface="Comic Sans MS" pitchFamily="66" charset="0"/>
                    </a:rPr>
                    <a:t>Pensyarah</a:t>
                  </a:r>
                  <a:endParaRPr lang="en-US" sz="1400" dirty="0">
                    <a:latin typeface="Comic Sans MS" pitchFamily="66" charset="0"/>
                  </a:endParaRPr>
                </a:p>
              </p:txBody>
            </p:sp>
          </p:grpSp>
        </p:grpSp>
      </p:grpSp>
      <p:grpSp>
        <p:nvGrpSpPr>
          <p:cNvPr id="12" name="Group 21"/>
          <p:cNvGrpSpPr/>
          <p:nvPr/>
        </p:nvGrpSpPr>
        <p:grpSpPr>
          <a:xfrm>
            <a:off x="3541879" y="4378708"/>
            <a:ext cx="5602121" cy="2185184"/>
            <a:chOff x="3360396" y="4128877"/>
            <a:chExt cx="5602121" cy="2185184"/>
          </a:xfrm>
        </p:grpSpPr>
        <p:grpSp>
          <p:nvGrpSpPr>
            <p:cNvPr id="13" name="Group 37"/>
            <p:cNvGrpSpPr/>
            <p:nvPr/>
          </p:nvGrpSpPr>
          <p:grpSpPr>
            <a:xfrm>
              <a:off x="5305920" y="4128877"/>
              <a:ext cx="700675" cy="1166215"/>
              <a:chOff x="3093575" y="4196877"/>
              <a:chExt cx="700674" cy="1166215"/>
            </a:xfrm>
          </p:grpSpPr>
          <p:sp>
            <p:nvSpPr>
              <p:cNvPr id="39" name="Freeform 15"/>
              <p:cNvSpPr>
                <a:spLocks/>
              </p:cNvSpPr>
              <p:nvPr/>
            </p:nvSpPr>
            <p:spPr bwMode="auto">
              <a:xfrm>
                <a:off x="3270359" y="5287444"/>
                <a:ext cx="347711" cy="75648"/>
              </a:xfrm>
              <a:custGeom>
                <a:avLst/>
                <a:gdLst>
                  <a:gd name="T0" fmla="*/ 1835 w 1835"/>
                  <a:gd name="T1" fmla="*/ 198 h 394"/>
                  <a:gd name="T2" fmla="*/ 1830 w 1835"/>
                  <a:gd name="T3" fmla="*/ 218 h 394"/>
                  <a:gd name="T4" fmla="*/ 1816 w 1835"/>
                  <a:gd name="T5" fmla="*/ 237 h 394"/>
                  <a:gd name="T6" fmla="*/ 1794 w 1835"/>
                  <a:gd name="T7" fmla="*/ 256 h 394"/>
                  <a:gd name="T8" fmla="*/ 1763 w 1835"/>
                  <a:gd name="T9" fmla="*/ 274 h 394"/>
                  <a:gd name="T10" fmla="*/ 1725 w 1835"/>
                  <a:gd name="T11" fmla="*/ 291 h 394"/>
                  <a:gd name="T12" fmla="*/ 1678 w 1835"/>
                  <a:gd name="T13" fmla="*/ 307 h 394"/>
                  <a:gd name="T14" fmla="*/ 1625 w 1835"/>
                  <a:gd name="T15" fmla="*/ 322 h 394"/>
                  <a:gd name="T16" fmla="*/ 1567 w 1835"/>
                  <a:gd name="T17" fmla="*/ 336 h 394"/>
                  <a:gd name="T18" fmla="*/ 1431 w 1835"/>
                  <a:gd name="T19" fmla="*/ 361 h 394"/>
                  <a:gd name="T20" fmla="*/ 1275 w 1835"/>
                  <a:gd name="T21" fmla="*/ 379 h 394"/>
                  <a:gd name="T22" fmla="*/ 1102 w 1835"/>
                  <a:gd name="T23" fmla="*/ 390 h 394"/>
                  <a:gd name="T24" fmla="*/ 917 w 1835"/>
                  <a:gd name="T25" fmla="*/ 394 h 394"/>
                  <a:gd name="T26" fmla="*/ 823 w 1835"/>
                  <a:gd name="T27" fmla="*/ 393 h 394"/>
                  <a:gd name="T28" fmla="*/ 644 w 1835"/>
                  <a:gd name="T29" fmla="*/ 386 h 394"/>
                  <a:gd name="T30" fmla="*/ 479 w 1835"/>
                  <a:gd name="T31" fmla="*/ 371 h 394"/>
                  <a:gd name="T32" fmla="*/ 334 w 1835"/>
                  <a:gd name="T33" fmla="*/ 349 h 394"/>
                  <a:gd name="T34" fmla="*/ 238 w 1835"/>
                  <a:gd name="T35" fmla="*/ 329 h 394"/>
                  <a:gd name="T36" fmla="*/ 182 w 1835"/>
                  <a:gd name="T37" fmla="*/ 315 h 394"/>
                  <a:gd name="T38" fmla="*/ 132 w 1835"/>
                  <a:gd name="T39" fmla="*/ 299 h 394"/>
                  <a:gd name="T40" fmla="*/ 90 w 1835"/>
                  <a:gd name="T41" fmla="*/ 283 h 394"/>
                  <a:gd name="T42" fmla="*/ 55 w 1835"/>
                  <a:gd name="T43" fmla="*/ 265 h 394"/>
                  <a:gd name="T44" fmla="*/ 29 w 1835"/>
                  <a:gd name="T45" fmla="*/ 247 h 394"/>
                  <a:gd name="T46" fmla="*/ 10 w 1835"/>
                  <a:gd name="T47" fmla="*/ 228 h 394"/>
                  <a:gd name="T48" fmla="*/ 1 w 1835"/>
                  <a:gd name="T49" fmla="*/ 208 h 394"/>
                  <a:gd name="T50" fmla="*/ 0 w 1835"/>
                  <a:gd name="T51" fmla="*/ 198 h 394"/>
                  <a:gd name="T52" fmla="*/ 5 w 1835"/>
                  <a:gd name="T53" fmla="*/ 177 h 394"/>
                  <a:gd name="T54" fmla="*/ 18 w 1835"/>
                  <a:gd name="T55" fmla="*/ 157 h 394"/>
                  <a:gd name="T56" fmla="*/ 41 w 1835"/>
                  <a:gd name="T57" fmla="*/ 139 h 394"/>
                  <a:gd name="T58" fmla="*/ 72 w 1835"/>
                  <a:gd name="T59" fmla="*/ 121 h 394"/>
                  <a:gd name="T60" fmla="*/ 110 w 1835"/>
                  <a:gd name="T61" fmla="*/ 104 h 394"/>
                  <a:gd name="T62" fmla="*/ 157 w 1835"/>
                  <a:gd name="T63" fmla="*/ 87 h 394"/>
                  <a:gd name="T64" fmla="*/ 209 w 1835"/>
                  <a:gd name="T65" fmla="*/ 72 h 394"/>
                  <a:gd name="T66" fmla="*/ 268 w 1835"/>
                  <a:gd name="T67" fmla="*/ 58 h 394"/>
                  <a:gd name="T68" fmla="*/ 404 w 1835"/>
                  <a:gd name="T69" fmla="*/ 35 h 394"/>
                  <a:gd name="T70" fmla="*/ 560 w 1835"/>
                  <a:gd name="T71" fmla="*/ 16 h 394"/>
                  <a:gd name="T72" fmla="*/ 732 w 1835"/>
                  <a:gd name="T73" fmla="*/ 4 h 394"/>
                  <a:gd name="T74" fmla="*/ 917 w 1835"/>
                  <a:gd name="T75" fmla="*/ 0 h 394"/>
                  <a:gd name="T76" fmla="*/ 1011 w 1835"/>
                  <a:gd name="T77" fmla="*/ 1 h 394"/>
                  <a:gd name="T78" fmla="*/ 1191 w 1835"/>
                  <a:gd name="T79" fmla="*/ 9 h 394"/>
                  <a:gd name="T80" fmla="*/ 1354 w 1835"/>
                  <a:gd name="T81" fmla="*/ 25 h 394"/>
                  <a:gd name="T82" fmla="*/ 1501 w 1835"/>
                  <a:gd name="T83" fmla="*/ 46 h 394"/>
                  <a:gd name="T84" fmla="*/ 1597 w 1835"/>
                  <a:gd name="T85" fmla="*/ 65 h 394"/>
                  <a:gd name="T86" fmla="*/ 1653 w 1835"/>
                  <a:gd name="T87" fmla="*/ 80 h 394"/>
                  <a:gd name="T88" fmla="*/ 1702 w 1835"/>
                  <a:gd name="T89" fmla="*/ 95 h 394"/>
                  <a:gd name="T90" fmla="*/ 1745 w 1835"/>
                  <a:gd name="T91" fmla="*/ 112 h 394"/>
                  <a:gd name="T92" fmla="*/ 1779 w 1835"/>
                  <a:gd name="T93" fmla="*/ 130 h 394"/>
                  <a:gd name="T94" fmla="*/ 1806 w 1835"/>
                  <a:gd name="T95" fmla="*/ 148 h 394"/>
                  <a:gd name="T96" fmla="*/ 1824 w 1835"/>
                  <a:gd name="T97" fmla="*/ 167 h 394"/>
                  <a:gd name="T98" fmla="*/ 1834 w 1835"/>
                  <a:gd name="T99" fmla="*/ 188 h 394"/>
                  <a:gd name="T100" fmla="*/ 1835 w 1835"/>
                  <a:gd name="T101" fmla="*/ 19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5" h="394">
                    <a:moveTo>
                      <a:pt x="1835" y="198"/>
                    </a:moveTo>
                    <a:lnTo>
                      <a:pt x="1835" y="198"/>
                    </a:lnTo>
                    <a:lnTo>
                      <a:pt x="1834" y="208"/>
                    </a:lnTo>
                    <a:lnTo>
                      <a:pt x="1830" y="218"/>
                    </a:lnTo>
                    <a:lnTo>
                      <a:pt x="1824" y="228"/>
                    </a:lnTo>
                    <a:lnTo>
                      <a:pt x="1816" y="237"/>
                    </a:lnTo>
                    <a:lnTo>
                      <a:pt x="1806" y="247"/>
                    </a:lnTo>
                    <a:lnTo>
                      <a:pt x="1794" y="256"/>
                    </a:lnTo>
                    <a:lnTo>
                      <a:pt x="1779" y="265"/>
                    </a:lnTo>
                    <a:lnTo>
                      <a:pt x="1763" y="274"/>
                    </a:lnTo>
                    <a:lnTo>
                      <a:pt x="1745" y="283"/>
                    </a:lnTo>
                    <a:lnTo>
                      <a:pt x="1725" y="291"/>
                    </a:lnTo>
                    <a:lnTo>
                      <a:pt x="1702" y="299"/>
                    </a:lnTo>
                    <a:lnTo>
                      <a:pt x="1678" y="307"/>
                    </a:lnTo>
                    <a:lnTo>
                      <a:pt x="1653" y="315"/>
                    </a:lnTo>
                    <a:lnTo>
                      <a:pt x="1625" y="322"/>
                    </a:lnTo>
                    <a:lnTo>
                      <a:pt x="1597" y="329"/>
                    </a:lnTo>
                    <a:lnTo>
                      <a:pt x="1567" y="336"/>
                    </a:lnTo>
                    <a:lnTo>
                      <a:pt x="1501" y="349"/>
                    </a:lnTo>
                    <a:lnTo>
                      <a:pt x="1431" y="361"/>
                    </a:lnTo>
                    <a:lnTo>
                      <a:pt x="1354" y="371"/>
                    </a:lnTo>
                    <a:lnTo>
                      <a:pt x="1275" y="379"/>
                    </a:lnTo>
                    <a:lnTo>
                      <a:pt x="1191" y="386"/>
                    </a:lnTo>
                    <a:lnTo>
                      <a:pt x="1102" y="390"/>
                    </a:lnTo>
                    <a:lnTo>
                      <a:pt x="1011" y="393"/>
                    </a:lnTo>
                    <a:lnTo>
                      <a:pt x="917" y="394"/>
                    </a:lnTo>
                    <a:lnTo>
                      <a:pt x="917" y="394"/>
                    </a:lnTo>
                    <a:lnTo>
                      <a:pt x="823" y="393"/>
                    </a:lnTo>
                    <a:lnTo>
                      <a:pt x="732" y="390"/>
                    </a:lnTo>
                    <a:lnTo>
                      <a:pt x="644" y="386"/>
                    </a:lnTo>
                    <a:lnTo>
                      <a:pt x="560" y="379"/>
                    </a:lnTo>
                    <a:lnTo>
                      <a:pt x="479" y="371"/>
                    </a:lnTo>
                    <a:lnTo>
                      <a:pt x="404" y="361"/>
                    </a:lnTo>
                    <a:lnTo>
                      <a:pt x="334" y="349"/>
                    </a:lnTo>
                    <a:lnTo>
                      <a:pt x="268" y="336"/>
                    </a:lnTo>
                    <a:lnTo>
                      <a:pt x="238" y="329"/>
                    </a:lnTo>
                    <a:lnTo>
                      <a:pt x="209" y="322"/>
                    </a:lnTo>
                    <a:lnTo>
                      <a:pt x="182" y="315"/>
                    </a:lnTo>
                    <a:lnTo>
                      <a:pt x="157" y="307"/>
                    </a:lnTo>
                    <a:lnTo>
                      <a:pt x="132" y="299"/>
                    </a:lnTo>
                    <a:lnTo>
                      <a:pt x="110" y="291"/>
                    </a:lnTo>
                    <a:lnTo>
                      <a:pt x="90" y="283"/>
                    </a:lnTo>
                    <a:lnTo>
                      <a:pt x="72" y="274"/>
                    </a:lnTo>
                    <a:lnTo>
                      <a:pt x="55" y="265"/>
                    </a:lnTo>
                    <a:lnTo>
                      <a:pt x="41" y="256"/>
                    </a:lnTo>
                    <a:lnTo>
                      <a:pt x="29" y="247"/>
                    </a:lnTo>
                    <a:lnTo>
                      <a:pt x="18" y="237"/>
                    </a:lnTo>
                    <a:lnTo>
                      <a:pt x="10" y="228"/>
                    </a:lnTo>
                    <a:lnTo>
                      <a:pt x="5" y="218"/>
                    </a:lnTo>
                    <a:lnTo>
                      <a:pt x="1" y="208"/>
                    </a:lnTo>
                    <a:lnTo>
                      <a:pt x="0" y="198"/>
                    </a:lnTo>
                    <a:lnTo>
                      <a:pt x="0" y="198"/>
                    </a:lnTo>
                    <a:lnTo>
                      <a:pt x="1" y="188"/>
                    </a:lnTo>
                    <a:lnTo>
                      <a:pt x="5" y="177"/>
                    </a:lnTo>
                    <a:lnTo>
                      <a:pt x="10" y="167"/>
                    </a:lnTo>
                    <a:lnTo>
                      <a:pt x="18" y="157"/>
                    </a:lnTo>
                    <a:lnTo>
                      <a:pt x="29" y="148"/>
                    </a:lnTo>
                    <a:lnTo>
                      <a:pt x="41" y="139"/>
                    </a:lnTo>
                    <a:lnTo>
                      <a:pt x="55" y="130"/>
                    </a:lnTo>
                    <a:lnTo>
                      <a:pt x="72" y="121"/>
                    </a:lnTo>
                    <a:lnTo>
                      <a:pt x="90" y="112"/>
                    </a:lnTo>
                    <a:lnTo>
                      <a:pt x="110" y="104"/>
                    </a:lnTo>
                    <a:lnTo>
                      <a:pt x="132" y="95"/>
                    </a:lnTo>
                    <a:lnTo>
                      <a:pt x="157" y="87"/>
                    </a:lnTo>
                    <a:lnTo>
                      <a:pt x="182" y="80"/>
                    </a:lnTo>
                    <a:lnTo>
                      <a:pt x="209" y="72"/>
                    </a:lnTo>
                    <a:lnTo>
                      <a:pt x="238" y="65"/>
                    </a:lnTo>
                    <a:lnTo>
                      <a:pt x="268" y="58"/>
                    </a:lnTo>
                    <a:lnTo>
                      <a:pt x="334" y="46"/>
                    </a:lnTo>
                    <a:lnTo>
                      <a:pt x="404" y="35"/>
                    </a:lnTo>
                    <a:lnTo>
                      <a:pt x="479" y="25"/>
                    </a:lnTo>
                    <a:lnTo>
                      <a:pt x="560" y="16"/>
                    </a:lnTo>
                    <a:lnTo>
                      <a:pt x="644" y="9"/>
                    </a:lnTo>
                    <a:lnTo>
                      <a:pt x="732" y="4"/>
                    </a:lnTo>
                    <a:lnTo>
                      <a:pt x="823" y="1"/>
                    </a:lnTo>
                    <a:lnTo>
                      <a:pt x="917" y="0"/>
                    </a:lnTo>
                    <a:lnTo>
                      <a:pt x="917" y="0"/>
                    </a:lnTo>
                    <a:lnTo>
                      <a:pt x="1011" y="1"/>
                    </a:lnTo>
                    <a:lnTo>
                      <a:pt x="1102" y="4"/>
                    </a:lnTo>
                    <a:lnTo>
                      <a:pt x="1191" y="9"/>
                    </a:lnTo>
                    <a:lnTo>
                      <a:pt x="1275" y="16"/>
                    </a:lnTo>
                    <a:lnTo>
                      <a:pt x="1354" y="25"/>
                    </a:lnTo>
                    <a:lnTo>
                      <a:pt x="1431" y="35"/>
                    </a:lnTo>
                    <a:lnTo>
                      <a:pt x="1501" y="46"/>
                    </a:lnTo>
                    <a:lnTo>
                      <a:pt x="1567" y="58"/>
                    </a:lnTo>
                    <a:lnTo>
                      <a:pt x="1597" y="65"/>
                    </a:lnTo>
                    <a:lnTo>
                      <a:pt x="1625" y="72"/>
                    </a:lnTo>
                    <a:lnTo>
                      <a:pt x="1653" y="80"/>
                    </a:lnTo>
                    <a:lnTo>
                      <a:pt x="1678" y="87"/>
                    </a:lnTo>
                    <a:lnTo>
                      <a:pt x="1702" y="95"/>
                    </a:lnTo>
                    <a:lnTo>
                      <a:pt x="1725" y="104"/>
                    </a:lnTo>
                    <a:lnTo>
                      <a:pt x="1745" y="112"/>
                    </a:lnTo>
                    <a:lnTo>
                      <a:pt x="1763" y="121"/>
                    </a:lnTo>
                    <a:lnTo>
                      <a:pt x="1779" y="130"/>
                    </a:lnTo>
                    <a:lnTo>
                      <a:pt x="1794" y="139"/>
                    </a:lnTo>
                    <a:lnTo>
                      <a:pt x="1806" y="148"/>
                    </a:lnTo>
                    <a:lnTo>
                      <a:pt x="1816" y="157"/>
                    </a:lnTo>
                    <a:lnTo>
                      <a:pt x="1824" y="167"/>
                    </a:lnTo>
                    <a:lnTo>
                      <a:pt x="1830" y="177"/>
                    </a:lnTo>
                    <a:lnTo>
                      <a:pt x="1834" y="188"/>
                    </a:lnTo>
                    <a:lnTo>
                      <a:pt x="1835" y="198"/>
                    </a:lnTo>
                    <a:lnTo>
                      <a:pt x="1835" y="198"/>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Group 51"/>
              <p:cNvGrpSpPr/>
              <p:nvPr/>
            </p:nvGrpSpPr>
            <p:grpSpPr>
              <a:xfrm>
                <a:off x="3093575" y="4196877"/>
                <a:ext cx="700674" cy="1070474"/>
                <a:chOff x="1656061" y="3048409"/>
                <a:chExt cx="700674" cy="1070474"/>
              </a:xfrm>
              <a:solidFill>
                <a:srgbClr val="BF7400"/>
              </a:solidFill>
            </p:grpSpPr>
            <p:sp>
              <p:nvSpPr>
                <p:cNvPr id="41" name="Freeform 20"/>
                <p:cNvSpPr>
                  <a:spLocks noEditPoints="1"/>
                </p:cNvSpPr>
                <p:nvPr/>
              </p:nvSpPr>
              <p:spPr bwMode="auto">
                <a:xfrm>
                  <a:off x="1656061" y="3048409"/>
                  <a:ext cx="700674" cy="1070474"/>
                </a:xfrm>
                <a:custGeom>
                  <a:avLst/>
                  <a:gdLst>
                    <a:gd name="T0" fmla="*/ 3490 w 3526"/>
                    <a:gd name="T1" fmla="*/ 1408 h 5386"/>
                    <a:gd name="T2" fmla="*/ 3352 w 3526"/>
                    <a:gd name="T3" fmla="*/ 999 h 5386"/>
                    <a:gd name="T4" fmla="*/ 3123 w 3526"/>
                    <a:gd name="T5" fmla="*/ 642 h 5386"/>
                    <a:gd name="T6" fmla="*/ 2818 w 3526"/>
                    <a:gd name="T7" fmla="*/ 351 h 5386"/>
                    <a:gd name="T8" fmla="*/ 2449 w 3526"/>
                    <a:gd name="T9" fmla="*/ 139 h 5386"/>
                    <a:gd name="T10" fmla="*/ 2032 w 3526"/>
                    <a:gd name="T11" fmla="*/ 21 h 5386"/>
                    <a:gd name="T12" fmla="*/ 1627 w 3526"/>
                    <a:gd name="T13" fmla="*/ 6 h 5386"/>
                    <a:gd name="T14" fmla="*/ 1198 w 3526"/>
                    <a:gd name="T15" fmla="*/ 93 h 5386"/>
                    <a:gd name="T16" fmla="*/ 813 w 3526"/>
                    <a:gd name="T17" fmla="*/ 278 h 5386"/>
                    <a:gd name="T18" fmla="*/ 487 w 3526"/>
                    <a:gd name="T19" fmla="*/ 547 h 5386"/>
                    <a:gd name="T20" fmla="*/ 234 w 3526"/>
                    <a:gd name="T21" fmla="*/ 886 h 5386"/>
                    <a:gd name="T22" fmla="*/ 68 w 3526"/>
                    <a:gd name="T23" fmla="*/ 1280 h 5386"/>
                    <a:gd name="T24" fmla="*/ 1 w 3526"/>
                    <a:gd name="T25" fmla="*/ 1718 h 5386"/>
                    <a:gd name="T26" fmla="*/ 5 w 3526"/>
                    <a:gd name="T27" fmla="*/ 1997 h 5386"/>
                    <a:gd name="T28" fmla="*/ 163 w 3526"/>
                    <a:gd name="T29" fmla="*/ 2772 h 5386"/>
                    <a:gd name="T30" fmla="*/ 482 w 3526"/>
                    <a:gd name="T31" fmla="*/ 3531 h 5386"/>
                    <a:gd name="T32" fmla="*/ 882 w 3526"/>
                    <a:gd name="T33" fmla="*/ 4222 h 5386"/>
                    <a:gd name="T34" fmla="*/ 1547 w 3526"/>
                    <a:gd name="T35" fmla="*/ 5133 h 5386"/>
                    <a:gd name="T36" fmla="*/ 1926 w 3526"/>
                    <a:gd name="T37" fmla="*/ 5198 h 5386"/>
                    <a:gd name="T38" fmla="*/ 2603 w 3526"/>
                    <a:gd name="T39" fmla="*/ 4285 h 5386"/>
                    <a:gd name="T40" fmla="*/ 3006 w 3526"/>
                    <a:gd name="T41" fmla="*/ 3604 h 5386"/>
                    <a:gd name="T42" fmla="*/ 3337 w 3526"/>
                    <a:gd name="T43" fmla="*/ 2850 h 5386"/>
                    <a:gd name="T44" fmla="*/ 3514 w 3526"/>
                    <a:gd name="T45" fmla="*/ 2073 h 5386"/>
                    <a:gd name="T46" fmla="*/ 3526 w 3526"/>
                    <a:gd name="T47" fmla="*/ 1763 h 5386"/>
                    <a:gd name="T48" fmla="*/ 1327 w 3526"/>
                    <a:gd name="T49" fmla="*/ 3800 h 5386"/>
                    <a:gd name="T50" fmla="*/ 861 w 3526"/>
                    <a:gd name="T51" fmla="*/ 3547 h 5386"/>
                    <a:gd name="T52" fmla="*/ 522 w 3526"/>
                    <a:gd name="T53" fmla="*/ 3144 h 5386"/>
                    <a:gd name="T54" fmla="*/ 585 w 3526"/>
                    <a:gd name="T55" fmla="*/ 3133 h 5386"/>
                    <a:gd name="T56" fmla="*/ 962 w 3526"/>
                    <a:gd name="T57" fmla="*/ 3422 h 5386"/>
                    <a:gd name="T58" fmla="*/ 1414 w 3526"/>
                    <a:gd name="T59" fmla="*/ 3593 h 5386"/>
                    <a:gd name="T60" fmla="*/ 1865 w 3526"/>
                    <a:gd name="T61" fmla="*/ 3627 h 5386"/>
                    <a:gd name="T62" fmla="*/ 2347 w 3526"/>
                    <a:gd name="T63" fmla="*/ 3524 h 5386"/>
                    <a:gd name="T64" fmla="*/ 2764 w 3526"/>
                    <a:gd name="T65" fmla="*/ 3291 h 5386"/>
                    <a:gd name="T66" fmla="*/ 3096 w 3526"/>
                    <a:gd name="T67" fmla="*/ 2951 h 5386"/>
                    <a:gd name="T68" fmla="*/ 2853 w 3526"/>
                    <a:gd name="T69" fmla="*/ 3362 h 5386"/>
                    <a:gd name="T70" fmla="*/ 2445 w 3526"/>
                    <a:gd name="T71" fmla="*/ 3695 h 5386"/>
                    <a:gd name="T72" fmla="*/ 1932 w 3526"/>
                    <a:gd name="T73" fmla="*/ 3859 h 5386"/>
                    <a:gd name="T74" fmla="*/ 1617 w 3526"/>
                    <a:gd name="T75" fmla="*/ 3183 h 5386"/>
                    <a:gd name="T76" fmla="*/ 1272 w 3526"/>
                    <a:gd name="T77" fmla="*/ 3103 h 5386"/>
                    <a:gd name="T78" fmla="*/ 966 w 3526"/>
                    <a:gd name="T79" fmla="*/ 2946 h 5386"/>
                    <a:gd name="T80" fmla="*/ 707 w 3526"/>
                    <a:gd name="T81" fmla="*/ 2723 h 5386"/>
                    <a:gd name="T82" fmla="*/ 509 w 3526"/>
                    <a:gd name="T83" fmla="*/ 2443 h 5386"/>
                    <a:gd name="T84" fmla="*/ 382 w 3526"/>
                    <a:gd name="T85" fmla="*/ 2120 h 5386"/>
                    <a:gd name="T86" fmla="*/ 337 w 3526"/>
                    <a:gd name="T87" fmla="*/ 1763 h 5386"/>
                    <a:gd name="T88" fmla="*/ 373 w 3526"/>
                    <a:gd name="T89" fmla="*/ 1441 h 5386"/>
                    <a:gd name="T90" fmla="*/ 493 w 3526"/>
                    <a:gd name="T91" fmla="*/ 1114 h 5386"/>
                    <a:gd name="T92" fmla="*/ 685 w 3526"/>
                    <a:gd name="T93" fmla="*/ 830 h 5386"/>
                    <a:gd name="T94" fmla="*/ 938 w 3526"/>
                    <a:gd name="T95" fmla="*/ 600 h 5386"/>
                    <a:gd name="T96" fmla="*/ 1240 w 3526"/>
                    <a:gd name="T97" fmla="*/ 435 h 5386"/>
                    <a:gd name="T98" fmla="*/ 1581 w 3526"/>
                    <a:gd name="T99" fmla="*/ 348 h 5386"/>
                    <a:gd name="T100" fmla="*/ 1909 w 3526"/>
                    <a:gd name="T101" fmla="*/ 344 h 5386"/>
                    <a:gd name="T102" fmla="*/ 2254 w 3526"/>
                    <a:gd name="T103" fmla="*/ 423 h 5386"/>
                    <a:gd name="T104" fmla="*/ 2561 w 3526"/>
                    <a:gd name="T105" fmla="*/ 580 h 5386"/>
                    <a:gd name="T106" fmla="*/ 2819 w 3526"/>
                    <a:gd name="T107" fmla="*/ 805 h 5386"/>
                    <a:gd name="T108" fmla="*/ 3017 w 3526"/>
                    <a:gd name="T109" fmla="*/ 1083 h 5386"/>
                    <a:gd name="T110" fmla="*/ 3144 w 3526"/>
                    <a:gd name="T111" fmla="*/ 1407 h 5386"/>
                    <a:gd name="T112" fmla="*/ 3189 w 3526"/>
                    <a:gd name="T113" fmla="*/ 1763 h 5386"/>
                    <a:gd name="T114" fmla="*/ 3153 w 3526"/>
                    <a:gd name="T115" fmla="*/ 2085 h 5386"/>
                    <a:gd name="T116" fmla="*/ 3033 w 3526"/>
                    <a:gd name="T117" fmla="*/ 2413 h 5386"/>
                    <a:gd name="T118" fmla="*/ 2841 w 3526"/>
                    <a:gd name="T119" fmla="*/ 2697 h 5386"/>
                    <a:gd name="T120" fmla="*/ 2589 w 3526"/>
                    <a:gd name="T121" fmla="*/ 2927 h 5386"/>
                    <a:gd name="T122" fmla="*/ 2286 w 3526"/>
                    <a:gd name="T123" fmla="*/ 3091 h 5386"/>
                    <a:gd name="T124" fmla="*/ 1945 w 3526"/>
                    <a:gd name="T125" fmla="*/ 3179 h 5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6" h="5386">
                      <a:moveTo>
                        <a:pt x="3526" y="1763"/>
                      </a:moveTo>
                      <a:lnTo>
                        <a:pt x="3526" y="1763"/>
                      </a:lnTo>
                      <a:lnTo>
                        <a:pt x="3525" y="1718"/>
                      </a:lnTo>
                      <a:lnTo>
                        <a:pt x="3523" y="1673"/>
                      </a:lnTo>
                      <a:lnTo>
                        <a:pt x="3521" y="1627"/>
                      </a:lnTo>
                      <a:lnTo>
                        <a:pt x="3517" y="1583"/>
                      </a:lnTo>
                      <a:lnTo>
                        <a:pt x="3512" y="1539"/>
                      </a:lnTo>
                      <a:lnTo>
                        <a:pt x="3505" y="1495"/>
                      </a:lnTo>
                      <a:lnTo>
                        <a:pt x="3498" y="1451"/>
                      </a:lnTo>
                      <a:lnTo>
                        <a:pt x="3490" y="1408"/>
                      </a:lnTo>
                      <a:lnTo>
                        <a:pt x="3481" y="1365"/>
                      </a:lnTo>
                      <a:lnTo>
                        <a:pt x="3470" y="1323"/>
                      </a:lnTo>
                      <a:lnTo>
                        <a:pt x="3459" y="1280"/>
                      </a:lnTo>
                      <a:lnTo>
                        <a:pt x="3447" y="1239"/>
                      </a:lnTo>
                      <a:lnTo>
                        <a:pt x="3434" y="1198"/>
                      </a:lnTo>
                      <a:lnTo>
                        <a:pt x="3419" y="1158"/>
                      </a:lnTo>
                      <a:lnTo>
                        <a:pt x="3404" y="1116"/>
                      </a:lnTo>
                      <a:lnTo>
                        <a:pt x="3387" y="1077"/>
                      </a:lnTo>
                      <a:lnTo>
                        <a:pt x="3370" y="1038"/>
                      </a:lnTo>
                      <a:lnTo>
                        <a:pt x="3352" y="999"/>
                      </a:lnTo>
                      <a:lnTo>
                        <a:pt x="3333" y="960"/>
                      </a:lnTo>
                      <a:lnTo>
                        <a:pt x="3313" y="923"/>
                      </a:lnTo>
                      <a:lnTo>
                        <a:pt x="3292" y="886"/>
                      </a:lnTo>
                      <a:lnTo>
                        <a:pt x="3271" y="849"/>
                      </a:lnTo>
                      <a:lnTo>
                        <a:pt x="3249" y="813"/>
                      </a:lnTo>
                      <a:lnTo>
                        <a:pt x="3225" y="777"/>
                      </a:lnTo>
                      <a:lnTo>
                        <a:pt x="3200" y="743"/>
                      </a:lnTo>
                      <a:lnTo>
                        <a:pt x="3175" y="708"/>
                      </a:lnTo>
                      <a:lnTo>
                        <a:pt x="3150" y="675"/>
                      </a:lnTo>
                      <a:lnTo>
                        <a:pt x="3123" y="642"/>
                      </a:lnTo>
                      <a:lnTo>
                        <a:pt x="3096" y="609"/>
                      </a:lnTo>
                      <a:lnTo>
                        <a:pt x="3068" y="578"/>
                      </a:lnTo>
                      <a:lnTo>
                        <a:pt x="3040" y="547"/>
                      </a:lnTo>
                      <a:lnTo>
                        <a:pt x="3009" y="517"/>
                      </a:lnTo>
                      <a:lnTo>
                        <a:pt x="2979" y="487"/>
                      </a:lnTo>
                      <a:lnTo>
                        <a:pt x="2948" y="458"/>
                      </a:lnTo>
                      <a:lnTo>
                        <a:pt x="2917" y="430"/>
                      </a:lnTo>
                      <a:lnTo>
                        <a:pt x="2885" y="403"/>
                      </a:lnTo>
                      <a:lnTo>
                        <a:pt x="2851" y="376"/>
                      </a:lnTo>
                      <a:lnTo>
                        <a:pt x="2818" y="351"/>
                      </a:lnTo>
                      <a:lnTo>
                        <a:pt x="2784" y="326"/>
                      </a:lnTo>
                      <a:lnTo>
                        <a:pt x="2749" y="302"/>
                      </a:lnTo>
                      <a:lnTo>
                        <a:pt x="2714" y="278"/>
                      </a:lnTo>
                      <a:lnTo>
                        <a:pt x="2677" y="255"/>
                      </a:lnTo>
                      <a:lnTo>
                        <a:pt x="2640" y="234"/>
                      </a:lnTo>
                      <a:lnTo>
                        <a:pt x="2603" y="213"/>
                      </a:lnTo>
                      <a:lnTo>
                        <a:pt x="2566" y="193"/>
                      </a:lnTo>
                      <a:lnTo>
                        <a:pt x="2528" y="174"/>
                      </a:lnTo>
                      <a:lnTo>
                        <a:pt x="2488" y="156"/>
                      </a:lnTo>
                      <a:lnTo>
                        <a:pt x="2449" y="139"/>
                      </a:lnTo>
                      <a:lnTo>
                        <a:pt x="2410" y="122"/>
                      </a:lnTo>
                      <a:lnTo>
                        <a:pt x="2370" y="107"/>
                      </a:lnTo>
                      <a:lnTo>
                        <a:pt x="2328" y="93"/>
                      </a:lnTo>
                      <a:lnTo>
                        <a:pt x="2287" y="79"/>
                      </a:lnTo>
                      <a:lnTo>
                        <a:pt x="2246" y="67"/>
                      </a:lnTo>
                      <a:lnTo>
                        <a:pt x="2204" y="56"/>
                      </a:lnTo>
                      <a:lnTo>
                        <a:pt x="2162" y="45"/>
                      </a:lnTo>
                      <a:lnTo>
                        <a:pt x="2118" y="36"/>
                      </a:lnTo>
                      <a:lnTo>
                        <a:pt x="2075" y="28"/>
                      </a:lnTo>
                      <a:lnTo>
                        <a:pt x="2032" y="21"/>
                      </a:lnTo>
                      <a:lnTo>
                        <a:pt x="1988" y="15"/>
                      </a:lnTo>
                      <a:lnTo>
                        <a:pt x="1943" y="9"/>
                      </a:lnTo>
                      <a:lnTo>
                        <a:pt x="1899" y="6"/>
                      </a:lnTo>
                      <a:lnTo>
                        <a:pt x="1854" y="3"/>
                      </a:lnTo>
                      <a:lnTo>
                        <a:pt x="1809" y="1"/>
                      </a:lnTo>
                      <a:lnTo>
                        <a:pt x="1763" y="0"/>
                      </a:lnTo>
                      <a:lnTo>
                        <a:pt x="1763" y="0"/>
                      </a:lnTo>
                      <a:lnTo>
                        <a:pt x="1718" y="1"/>
                      </a:lnTo>
                      <a:lnTo>
                        <a:pt x="1673" y="3"/>
                      </a:lnTo>
                      <a:lnTo>
                        <a:pt x="1627" y="6"/>
                      </a:lnTo>
                      <a:lnTo>
                        <a:pt x="1583" y="9"/>
                      </a:lnTo>
                      <a:lnTo>
                        <a:pt x="1539" y="15"/>
                      </a:lnTo>
                      <a:lnTo>
                        <a:pt x="1495" y="21"/>
                      </a:lnTo>
                      <a:lnTo>
                        <a:pt x="1451" y="28"/>
                      </a:lnTo>
                      <a:lnTo>
                        <a:pt x="1408" y="36"/>
                      </a:lnTo>
                      <a:lnTo>
                        <a:pt x="1365" y="45"/>
                      </a:lnTo>
                      <a:lnTo>
                        <a:pt x="1323" y="56"/>
                      </a:lnTo>
                      <a:lnTo>
                        <a:pt x="1280" y="67"/>
                      </a:lnTo>
                      <a:lnTo>
                        <a:pt x="1239" y="79"/>
                      </a:lnTo>
                      <a:lnTo>
                        <a:pt x="1198" y="93"/>
                      </a:lnTo>
                      <a:lnTo>
                        <a:pt x="1157" y="107"/>
                      </a:lnTo>
                      <a:lnTo>
                        <a:pt x="1117" y="122"/>
                      </a:lnTo>
                      <a:lnTo>
                        <a:pt x="1077" y="139"/>
                      </a:lnTo>
                      <a:lnTo>
                        <a:pt x="1038" y="156"/>
                      </a:lnTo>
                      <a:lnTo>
                        <a:pt x="999" y="174"/>
                      </a:lnTo>
                      <a:lnTo>
                        <a:pt x="961" y="193"/>
                      </a:lnTo>
                      <a:lnTo>
                        <a:pt x="923" y="213"/>
                      </a:lnTo>
                      <a:lnTo>
                        <a:pt x="886" y="234"/>
                      </a:lnTo>
                      <a:lnTo>
                        <a:pt x="849" y="255"/>
                      </a:lnTo>
                      <a:lnTo>
                        <a:pt x="813" y="278"/>
                      </a:lnTo>
                      <a:lnTo>
                        <a:pt x="778" y="302"/>
                      </a:lnTo>
                      <a:lnTo>
                        <a:pt x="742" y="326"/>
                      </a:lnTo>
                      <a:lnTo>
                        <a:pt x="708" y="351"/>
                      </a:lnTo>
                      <a:lnTo>
                        <a:pt x="675" y="376"/>
                      </a:lnTo>
                      <a:lnTo>
                        <a:pt x="642" y="403"/>
                      </a:lnTo>
                      <a:lnTo>
                        <a:pt x="610" y="430"/>
                      </a:lnTo>
                      <a:lnTo>
                        <a:pt x="577" y="458"/>
                      </a:lnTo>
                      <a:lnTo>
                        <a:pt x="547" y="487"/>
                      </a:lnTo>
                      <a:lnTo>
                        <a:pt x="517" y="517"/>
                      </a:lnTo>
                      <a:lnTo>
                        <a:pt x="487" y="547"/>
                      </a:lnTo>
                      <a:lnTo>
                        <a:pt x="459" y="578"/>
                      </a:lnTo>
                      <a:lnTo>
                        <a:pt x="431" y="609"/>
                      </a:lnTo>
                      <a:lnTo>
                        <a:pt x="402" y="642"/>
                      </a:lnTo>
                      <a:lnTo>
                        <a:pt x="376" y="675"/>
                      </a:lnTo>
                      <a:lnTo>
                        <a:pt x="350" y="708"/>
                      </a:lnTo>
                      <a:lnTo>
                        <a:pt x="326" y="743"/>
                      </a:lnTo>
                      <a:lnTo>
                        <a:pt x="302" y="777"/>
                      </a:lnTo>
                      <a:lnTo>
                        <a:pt x="278" y="813"/>
                      </a:lnTo>
                      <a:lnTo>
                        <a:pt x="256" y="849"/>
                      </a:lnTo>
                      <a:lnTo>
                        <a:pt x="234" y="886"/>
                      </a:lnTo>
                      <a:lnTo>
                        <a:pt x="213" y="923"/>
                      </a:lnTo>
                      <a:lnTo>
                        <a:pt x="193" y="960"/>
                      </a:lnTo>
                      <a:lnTo>
                        <a:pt x="174" y="999"/>
                      </a:lnTo>
                      <a:lnTo>
                        <a:pt x="156" y="1038"/>
                      </a:lnTo>
                      <a:lnTo>
                        <a:pt x="139" y="1077"/>
                      </a:lnTo>
                      <a:lnTo>
                        <a:pt x="123" y="1116"/>
                      </a:lnTo>
                      <a:lnTo>
                        <a:pt x="108" y="1158"/>
                      </a:lnTo>
                      <a:lnTo>
                        <a:pt x="93" y="1198"/>
                      </a:lnTo>
                      <a:lnTo>
                        <a:pt x="80" y="1239"/>
                      </a:lnTo>
                      <a:lnTo>
                        <a:pt x="68" y="1280"/>
                      </a:lnTo>
                      <a:lnTo>
                        <a:pt x="56" y="1323"/>
                      </a:lnTo>
                      <a:lnTo>
                        <a:pt x="45" y="1365"/>
                      </a:lnTo>
                      <a:lnTo>
                        <a:pt x="36" y="1408"/>
                      </a:lnTo>
                      <a:lnTo>
                        <a:pt x="28" y="1451"/>
                      </a:lnTo>
                      <a:lnTo>
                        <a:pt x="20" y="1495"/>
                      </a:lnTo>
                      <a:lnTo>
                        <a:pt x="14" y="1539"/>
                      </a:lnTo>
                      <a:lnTo>
                        <a:pt x="9" y="1583"/>
                      </a:lnTo>
                      <a:lnTo>
                        <a:pt x="5" y="1627"/>
                      </a:lnTo>
                      <a:lnTo>
                        <a:pt x="3" y="1673"/>
                      </a:lnTo>
                      <a:lnTo>
                        <a:pt x="1" y="1718"/>
                      </a:lnTo>
                      <a:lnTo>
                        <a:pt x="0" y="1763"/>
                      </a:lnTo>
                      <a:lnTo>
                        <a:pt x="0" y="1763"/>
                      </a:lnTo>
                      <a:lnTo>
                        <a:pt x="1" y="1805"/>
                      </a:lnTo>
                      <a:lnTo>
                        <a:pt x="1" y="1805"/>
                      </a:lnTo>
                      <a:lnTo>
                        <a:pt x="0" y="1844"/>
                      </a:lnTo>
                      <a:lnTo>
                        <a:pt x="0" y="1844"/>
                      </a:lnTo>
                      <a:lnTo>
                        <a:pt x="1" y="1882"/>
                      </a:lnTo>
                      <a:lnTo>
                        <a:pt x="2" y="1920"/>
                      </a:lnTo>
                      <a:lnTo>
                        <a:pt x="3" y="1958"/>
                      </a:lnTo>
                      <a:lnTo>
                        <a:pt x="5" y="1997"/>
                      </a:lnTo>
                      <a:lnTo>
                        <a:pt x="11" y="2073"/>
                      </a:lnTo>
                      <a:lnTo>
                        <a:pt x="20" y="2150"/>
                      </a:lnTo>
                      <a:lnTo>
                        <a:pt x="31" y="2228"/>
                      </a:lnTo>
                      <a:lnTo>
                        <a:pt x="44" y="2305"/>
                      </a:lnTo>
                      <a:lnTo>
                        <a:pt x="60" y="2383"/>
                      </a:lnTo>
                      <a:lnTo>
                        <a:pt x="77" y="2460"/>
                      </a:lnTo>
                      <a:lnTo>
                        <a:pt x="96" y="2539"/>
                      </a:lnTo>
                      <a:lnTo>
                        <a:pt x="116" y="2616"/>
                      </a:lnTo>
                      <a:lnTo>
                        <a:pt x="139" y="2694"/>
                      </a:lnTo>
                      <a:lnTo>
                        <a:pt x="163" y="2772"/>
                      </a:lnTo>
                      <a:lnTo>
                        <a:pt x="189" y="2850"/>
                      </a:lnTo>
                      <a:lnTo>
                        <a:pt x="216" y="2926"/>
                      </a:lnTo>
                      <a:lnTo>
                        <a:pt x="246" y="3004"/>
                      </a:lnTo>
                      <a:lnTo>
                        <a:pt x="276" y="3080"/>
                      </a:lnTo>
                      <a:lnTo>
                        <a:pt x="308" y="3156"/>
                      </a:lnTo>
                      <a:lnTo>
                        <a:pt x="340" y="3233"/>
                      </a:lnTo>
                      <a:lnTo>
                        <a:pt x="374" y="3307"/>
                      </a:lnTo>
                      <a:lnTo>
                        <a:pt x="410" y="3383"/>
                      </a:lnTo>
                      <a:lnTo>
                        <a:pt x="446" y="3457"/>
                      </a:lnTo>
                      <a:lnTo>
                        <a:pt x="482" y="3531"/>
                      </a:lnTo>
                      <a:lnTo>
                        <a:pt x="520" y="3604"/>
                      </a:lnTo>
                      <a:lnTo>
                        <a:pt x="558" y="3675"/>
                      </a:lnTo>
                      <a:lnTo>
                        <a:pt x="598" y="3748"/>
                      </a:lnTo>
                      <a:lnTo>
                        <a:pt x="637" y="3818"/>
                      </a:lnTo>
                      <a:lnTo>
                        <a:pt x="677" y="3888"/>
                      </a:lnTo>
                      <a:lnTo>
                        <a:pt x="717" y="3957"/>
                      </a:lnTo>
                      <a:lnTo>
                        <a:pt x="759" y="4025"/>
                      </a:lnTo>
                      <a:lnTo>
                        <a:pt x="800" y="4092"/>
                      </a:lnTo>
                      <a:lnTo>
                        <a:pt x="841" y="4157"/>
                      </a:lnTo>
                      <a:lnTo>
                        <a:pt x="882" y="4222"/>
                      </a:lnTo>
                      <a:lnTo>
                        <a:pt x="923" y="4285"/>
                      </a:lnTo>
                      <a:lnTo>
                        <a:pt x="965" y="4347"/>
                      </a:lnTo>
                      <a:lnTo>
                        <a:pt x="1046" y="4468"/>
                      </a:lnTo>
                      <a:lnTo>
                        <a:pt x="1127" y="4583"/>
                      </a:lnTo>
                      <a:lnTo>
                        <a:pt x="1205" y="4693"/>
                      </a:lnTo>
                      <a:lnTo>
                        <a:pt x="1281" y="4795"/>
                      </a:lnTo>
                      <a:lnTo>
                        <a:pt x="1354" y="4891"/>
                      </a:lnTo>
                      <a:lnTo>
                        <a:pt x="1423" y="4979"/>
                      </a:lnTo>
                      <a:lnTo>
                        <a:pt x="1488" y="5061"/>
                      </a:lnTo>
                      <a:lnTo>
                        <a:pt x="1547" y="5133"/>
                      </a:lnTo>
                      <a:lnTo>
                        <a:pt x="1600" y="5198"/>
                      </a:lnTo>
                      <a:lnTo>
                        <a:pt x="1648" y="5254"/>
                      </a:lnTo>
                      <a:lnTo>
                        <a:pt x="1688" y="5300"/>
                      </a:lnTo>
                      <a:lnTo>
                        <a:pt x="1743" y="5364"/>
                      </a:lnTo>
                      <a:lnTo>
                        <a:pt x="1763" y="5386"/>
                      </a:lnTo>
                      <a:lnTo>
                        <a:pt x="1763" y="5386"/>
                      </a:lnTo>
                      <a:lnTo>
                        <a:pt x="1783" y="5364"/>
                      </a:lnTo>
                      <a:lnTo>
                        <a:pt x="1839" y="5300"/>
                      </a:lnTo>
                      <a:lnTo>
                        <a:pt x="1879" y="5254"/>
                      </a:lnTo>
                      <a:lnTo>
                        <a:pt x="1926" y="5198"/>
                      </a:lnTo>
                      <a:lnTo>
                        <a:pt x="1979" y="5133"/>
                      </a:lnTo>
                      <a:lnTo>
                        <a:pt x="2039" y="5061"/>
                      </a:lnTo>
                      <a:lnTo>
                        <a:pt x="2103" y="4979"/>
                      </a:lnTo>
                      <a:lnTo>
                        <a:pt x="2172" y="4891"/>
                      </a:lnTo>
                      <a:lnTo>
                        <a:pt x="2245" y="4795"/>
                      </a:lnTo>
                      <a:lnTo>
                        <a:pt x="2321" y="4693"/>
                      </a:lnTo>
                      <a:lnTo>
                        <a:pt x="2400" y="4583"/>
                      </a:lnTo>
                      <a:lnTo>
                        <a:pt x="2480" y="4468"/>
                      </a:lnTo>
                      <a:lnTo>
                        <a:pt x="2562" y="4347"/>
                      </a:lnTo>
                      <a:lnTo>
                        <a:pt x="2603" y="4285"/>
                      </a:lnTo>
                      <a:lnTo>
                        <a:pt x="2644" y="4222"/>
                      </a:lnTo>
                      <a:lnTo>
                        <a:pt x="2685" y="4157"/>
                      </a:lnTo>
                      <a:lnTo>
                        <a:pt x="2727" y="4092"/>
                      </a:lnTo>
                      <a:lnTo>
                        <a:pt x="2768" y="4025"/>
                      </a:lnTo>
                      <a:lnTo>
                        <a:pt x="2809" y="3957"/>
                      </a:lnTo>
                      <a:lnTo>
                        <a:pt x="2849" y="3888"/>
                      </a:lnTo>
                      <a:lnTo>
                        <a:pt x="2890" y="3818"/>
                      </a:lnTo>
                      <a:lnTo>
                        <a:pt x="2929" y="3748"/>
                      </a:lnTo>
                      <a:lnTo>
                        <a:pt x="2968" y="3675"/>
                      </a:lnTo>
                      <a:lnTo>
                        <a:pt x="3006" y="3604"/>
                      </a:lnTo>
                      <a:lnTo>
                        <a:pt x="3045" y="3531"/>
                      </a:lnTo>
                      <a:lnTo>
                        <a:pt x="3081" y="3457"/>
                      </a:lnTo>
                      <a:lnTo>
                        <a:pt x="3117" y="3383"/>
                      </a:lnTo>
                      <a:lnTo>
                        <a:pt x="3152" y="3307"/>
                      </a:lnTo>
                      <a:lnTo>
                        <a:pt x="3186" y="3233"/>
                      </a:lnTo>
                      <a:lnTo>
                        <a:pt x="3219" y="3156"/>
                      </a:lnTo>
                      <a:lnTo>
                        <a:pt x="3251" y="3080"/>
                      </a:lnTo>
                      <a:lnTo>
                        <a:pt x="3281" y="3004"/>
                      </a:lnTo>
                      <a:lnTo>
                        <a:pt x="3310" y="2926"/>
                      </a:lnTo>
                      <a:lnTo>
                        <a:pt x="3337" y="2850"/>
                      </a:lnTo>
                      <a:lnTo>
                        <a:pt x="3363" y="2772"/>
                      </a:lnTo>
                      <a:lnTo>
                        <a:pt x="3387" y="2694"/>
                      </a:lnTo>
                      <a:lnTo>
                        <a:pt x="3411" y="2616"/>
                      </a:lnTo>
                      <a:lnTo>
                        <a:pt x="3431" y="2539"/>
                      </a:lnTo>
                      <a:lnTo>
                        <a:pt x="3450" y="2460"/>
                      </a:lnTo>
                      <a:lnTo>
                        <a:pt x="3467" y="2383"/>
                      </a:lnTo>
                      <a:lnTo>
                        <a:pt x="3482" y="2305"/>
                      </a:lnTo>
                      <a:lnTo>
                        <a:pt x="3495" y="2228"/>
                      </a:lnTo>
                      <a:lnTo>
                        <a:pt x="3506" y="2150"/>
                      </a:lnTo>
                      <a:lnTo>
                        <a:pt x="3514" y="2073"/>
                      </a:lnTo>
                      <a:lnTo>
                        <a:pt x="3521" y="1997"/>
                      </a:lnTo>
                      <a:lnTo>
                        <a:pt x="3523" y="1958"/>
                      </a:lnTo>
                      <a:lnTo>
                        <a:pt x="3524" y="1920"/>
                      </a:lnTo>
                      <a:lnTo>
                        <a:pt x="3525" y="1882"/>
                      </a:lnTo>
                      <a:lnTo>
                        <a:pt x="3526" y="1844"/>
                      </a:lnTo>
                      <a:lnTo>
                        <a:pt x="3526" y="1844"/>
                      </a:lnTo>
                      <a:lnTo>
                        <a:pt x="3525" y="1805"/>
                      </a:lnTo>
                      <a:lnTo>
                        <a:pt x="3525" y="1805"/>
                      </a:lnTo>
                      <a:lnTo>
                        <a:pt x="3526" y="1763"/>
                      </a:lnTo>
                      <a:lnTo>
                        <a:pt x="3526" y="1763"/>
                      </a:lnTo>
                      <a:close/>
                      <a:moveTo>
                        <a:pt x="1763" y="3869"/>
                      </a:moveTo>
                      <a:lnTo>
                        <a:pt x="1763" y="3869"/>
                      </a:lnTo>
                      <a:lnTo>
                        <a:pt x="1707" y="3868"/>
                      </a:lnTo>
                      <a:lnTo>
                        <a:pt x="1651" y="3864"/>
                      </a:lnTo>
                      <a:lnTo>
                        <a:pt x="1594" y="3859"/>
                      </a:lnTo>
                      <a:lnTo>
                        <a:pt x="1540" y="3851"/>
                      </a:lnTo>
                      <a:lnTo>
                        <a:pt x="1486" y="3841"/>
                      </a:lnTo>
                      <a:lnTo>
                        <a:pt x="1432" y="3829"/>
                      </a:lnTo>
                      <a:lnTo>
                        <a:pt x="1379" y="3816"/>
                      </a:lnTo>
                      <a:lnTo>
                        <a:pt x="1327" y="3800"/>
                      </a:lnTo>
                      <a:lnTo>
                        <a:pt x="1276" y="3783"/>
                      </a:lnTo>
                      <a:lnTo>
                        <a:pt x="1226" y="3764"/>
                      </a:lnTo>
                      <a:lnTo>
                        <a:pt x="1177" y="3742"/>
                      </a:lnTo>
                      <a:lnTo>
                        <a:pt x="1129" y="3720"/>
                      </a:lnTo>
                      <a:lnTo>
                        <a:pt x="1081" y="3695"/>
                      </a:lnTo>
                      <a:lnTo>
                        <a:pt x="1035" y="3668"/>
                      </a:lnTo>
                      <a:lnTo>
                        <a:pt x="990" y="3640"/>
                      </a:lnTo>
                      <a:lnTo>
                        <a:pt x="946" y="3611"/>
                      </a:lnTo>
                      <a:lnTo>
                        <a:pt x="903" y="3580"/>
                      </a:lnTo>
                      <a:lnTo>
                        <a:pt x="861" y="3547"/>
                      </a:lnTo>
                      <a:lnTo>
                        <a:pt x="821" y="3513"/>
                      </a:lnTo>
                      <a:lnTo>
                        <a:pt x="782" y="3476"/>
                      </a:lnTo>
                      <a:lnTo>
                        <a:pt x="744" y="3440"/>
                      </a:lnTo>
                      <a:lnTo>
                        <a:pt x="708" y="3401"/>
                      </a:lnTo>
                      <a:lnTo>
                        <a:pt x="673" y="3362"/>
                      </a:lnTo>
                      <a:lnTo>
                        <a:pt x="640" y="3320"/>
                      </a:lnTo>
                      <a:lnTo>
                        <a:pt x="608" y="3278"/>
                      </a:lnTo>
                      <a:lnTo>
                        <a:pt x="577" y="3235"/>
                      </a:lnTo>
                      <a:lnTo>
                        <a:pt x="549" y="3190"/>
                      </a:lnTo>
                      <a:lnTo>
                        <a:pt x="522" y="3144"/>
                      </a:lnTo>
                      <a:lnTo>
                        <a:pt x="497" y="3097"/>
                      </a:lnTo>
                      <a:lnTo>
                        <a:pt x="473" y="3050"/>
                      </a:lnTo>
                      <a:lnTo>
                        <a:pt x="451" y="3001"/>
                      </a:lnTo>
                      <a:lnTo>
                        <a:pt x="431" y="2951"/>
                      </a:lnTo>
                      <a:lnTo>
                        <a:pt x="431" y="2951"/>
                      </a:lnTo>
                      <a:lnTo>
                        <a:pt x="460" y="2989"/>
                      </a:lnTo>
                      <a:lnTo>
                        <a:pt x="489" y="3027"/>
                      </a:lnTo>
                      <a:lnTo>
                        <a:pt x="520" y="3063"/>
                      </a:lnTo>
                      <a:lnTo>
                        <a:pt x="551" y="3098"/>
                      </a:lnTo>
                      <a:lnTo>
                        <a:pt x="585" y="3133"/>
                      </a:lnTo>
                      <a:lnTo>
                        <a:pt x="618" y="3166"/>
                      </a:lnTo>
                      <a:lnTo>
                        <a:pt x="653" y="3199"/>
                      </a:lnTo>
                      <a:lnTo>
                        <a:pt x="688" y="3231"/>
                      </a:lnTo>
                      <a:lnTo>
                        <a:pt x="724" y="3261"/>
                      </a:lnTo>
                      <a:lnTo>
                        <a:pt x="763" y="3291"/>
                      </a:lnTo>
                      <a:lnTo>
                        <a:pt x="801" y="3319"/>
                      </a:lnTo>
                      <a:lnTo>
                        <a:pt x="840" y="3347"/>
                      </a:lnTo>
                      <a:lnTo>
                        <a:pt x="879" y="3373"/>
                      </a:lnTo>
                      <a:lnTo>
                        <a:pt x="920" y="3398"/>
                      </a:lnTo>
                      <a:lnTo>
                        <a:pt x="962" y="3422"/>
                      </a:lnTo>
                      <a:lnTo>
                        <a:pt x="1004" y="3445"/>
                      </a:lnTo>
                      <a:lnTo>
                        <a:pt x="1047" y="3466"/>
                      </a:lnTo>
                      <a:lnTo>
                        <a:pt x="1090" y="3487"/>
                      </a:lnTo>
                      <a:lnTo>
                        <a:pt x="1135" y="3506"/>
                      </a:lnTo>
                      <a:lnTo>
                        <a:pt x="1180" y="3524"/>
                      </a:lnTo>
                      <a:lnTo>
                        <a:pt x="1225" y="3541"/>
                      </a:lnTo>
                      <a:lnTo>
                        <a:pt x="1271" y="3556"/>
                      </a:lnTo>
                      <a:lnTo>
                        <a:pt x="1319" y="3570"/>
                      </a:lnTo>
                      <a:lnTo>
                        <a:pt x="1366" y="3582"/>
                      </a:lnTo>
                      <a:lnTo>
                        <a:pt x="1414" y="3593"/>
                      </a:lnTo>
                      <a:lnTo>
                        <a:pt x="1463" y="3603"/>
                      </a:lnTo>
                      <a:lnTo>
                        <a:pt x="1512" y="3611"/>
                      </a:lnTo>
                      <a:lnTo>
                        <a:pt x="1561" y="3618"/>
                      </a:lnTo>
                      <a:lnTo>
                        <a:pt x="1610" y="3623"/>
                      </a:lnTo>
                      <a:lnTo>
                        <a:pt x="1662" y="3627"/>
                      </a:lnTo>
                      <a:lnTo>
                        <a:pt x="1712" y="3630"/>
                      </a:lnTo>
                      <a:lnTo>
                        <a:pt x="1763" y="3630"/>
                      </a:lnTo>
                      <a:lnTo>
                        <a:pt x="1763" y="3630"/>
                      </a:lnTo>
                      <a:lnTo>
                        <a:pt x="1815" y="3630"/>
                      </a:lnTo>
                      <a:lnTo>
                        <a:pt x="1865" y="3627"/>
                      </a:lnTo>
                      <a:lnTo>
                        <a:pt x="1915" y="3623"/>
                      </a:lnTo>
                      <a:lnTo>
                        <a:pt x="1965" y="3618"/>
                      </a:lnTo>
                      <a:lnTo>
                        <a:pt x="2015" y="3611"/>
                      </a:lnTo>
                      <a:lnTo>
                        <a:pt x="2064" y="3603"/>
                      </a:lnTo>
                      <a:lnTo>
                        <a:pt x="2112" y="3593"/>
                      </a:lnTo>
                      <a:lnTo>
                        <a:pt x="2161" y="3582"/>
                      </a:lnTo>
                      <a:lnTo>
                        <a:pt x="2208" y="3570"/>
                      </a:lnTo>
                      <a:lnTo>
                        <a:pt x="2255" y="3556"/>
                      </a:lnTo>
                      <a:lnTo>
                        <a:pt x="2301" y="3541"/>
                      </a:lnTo>
                      <a:lnTo>
                        <a:pt x="2347" y="3524"/>
                      </a:lnTo>
                      <a:lnTo>
                        <a:pt x="2392" y="3506"/>
                      </a:lnTo>
                      <a:lnTo>
                        <a:pt x="2436" y="3487"/>
                      </a:lnTo>
                      <a:lnTo>
                        <a:pt x="2479" y="3466"/>
                      </a:lnTo>
                      <a:lnTo>
                        <a:pt x="2523" y="3445"/>
                      </a:lnTo>
                      <a:lnTo>
                        <a:pt x="2565" y="3422"/>
                      </a:lnTo>
                      <a:lnTo>
                        <a:pt x="2606" y="3398"/>
                      </a:lnTo>
                      <a:lnTo>
                        <a:pt x="2647" y="3373"/>
                      </a:lnTo>
                      <a:lnTo>
                        <a:pt x="2687" y="3347"/>
                      </a:lnTo>
                      <a:lnTo>
                        <a:pt x="2726" y="3319"/>
                      </a:lnTo>
                      <a:lnTo>
                        <a:pt x="2764" y="3291"/>
                      </a:lnTo>
                      <a:lnTo>
                        <a:pt x="2801" y="3261"/>
                      </a:lnTo>
                      <a:lnTo>
                        <a:pt x="2838" y="3231"/>
                      </a:lnTo>
                      <a:lnTo>
                        <a:pt x="2874" y="3199"/>
                      </a:lnTo>
                      <a:lnTo>
                        <a:pt x="2909" y="3166"/>
                      </a:lnTo>
                      <a:lnTo>
                        <a:pt x="2942" y="3133"/>
                      </a:lnTo>
                      <a:lnTo>
                        <a:pt x="2975" y="3098"/>
                      </a:lnTo>
                      <a:lnTo>
                        <a:pt x="3006" y="3063"/>
                      </a:lnTo>
                      <a:lnTo>
                        <a:pt x="3038" y="3027"/>
                      </a:lnTo>
                      <a:lnTo>
                        <a:pt x="3067" y="2989"/>
                      </a:lnTo>
                      <a:lnTo>
                        <a:pt x="3096" y="2951"/>
                      </a:lnTo>
                      <a:lnTo>
                        <a:pt x="3096" y="2951"/>
                      </a:lnTo>
                      <a:lnTo>
                        <a:pt x="3076" y="3001"/>
                      </a:lnTo>
                      <a:lnTo>
                        <a:pt x="3054" y="3050"/>
                      </a:lnTo>
                      <a:lnTo>
                        <a:pt x="3029" y="3097"/>
                      </a:lnTo>
                      <a:lnTo>
                        <a:pt x="3004" y="3144"/>
                      </a:lnTo>
                      <a:lnTo>
                        <a:pt x="2977" y="3190"/>
                      </a:lnTo>
                      <a:lnTo>
                        <a:pt x="2949" y="3235"/>
                      </a:lnTo>
                      <a:lnTo>
                        <a:pt x="2918" y="3278"/>
                      </a:lnTo>
                      <a:lnTo>
                        <a:pt x="2887" y="3320"/>
                      </a:lnTo>
                      <a:lnTo>
                        <a:pt x="2853" y="3362"/>
                      </a:lnTo>
                      <a:lnTo>
                        <a:pt x="2818" y="3401"/>
                      </a:lnTo>
                      <a:lnTo>
                        <a:pt x="2782" y="3440"/>
                      </a:lnTo>
                      <a:lnTo>
                        <a:pt x="2744" y="3476"/>
                      </a:lnTo>
                      <a:lnTo>
                        <a:pt x="2706" y="3513"/>
                      </a:lnTo>
                      <a:lnTo>
                        <a:pt x="2665" y="3547"/>
                      </a:lnTo>
                      <a:lnTo>
                        <a:pt x="2623" y="3580"/>
                      </a:lnTo>
                      <a:lnTo>
                        <a:pt x="2581" y="3611"/>
                      </a:lnTo>
                      <a:lnTo>
                        <a:pt x="2537" y="3640"/>
                      </a:lnTo>
                      <a:lnTo>
                        <a:pt x="2491" y="3668"/>
                      </a:lnTo>
                      <a:lnTo>
                        <a:pt x="2445" y="3695"/>
                      </a:lnTo>
                      <a:lnTo>
                        <a:pt x="2398" y="3720"/>
                      </a:lnTo>
                      <a:lnTo>
                        <a:pt x="2350" y="3742"/>
                      </a:lnTo>
                      <a:lnTo>
                        <a:pt x="2300" y="3764"/>
                      </a:lnTo>
                      <a:lnTo>
                        <a:pt x="2250" y="3783"/>
                      </a:lnTo>
                      <a:lnTo>
                        <a:pt x="2199" y="3800"/>
                      </a:lnTo>
                      <a:lnTo>
                        <a:pt x="2147" y="3816"/>
                      </a:lnTo>
                      <a:lnTo>
                        <a:pt x="2094" y="3829"/>
                      </a:lnTo>
                      <a:lnTo>
                        <a:pt x="2041" y="3841"/>
                      </a:lnTo>
                      <a:lnTo>
                        <a:pt x="1987" y="3851"/>
                      </a:lnTo>
                      <a:lnTo>
                        <a:pt x="1932" y="3859"/>
                      </a:lnTo>
                      <a:lnTo>
                        <a:pt x="1876" y="3864"/>
                      </a:lnTo>
                      <a:lnTo>
                        <a:pt x="1820" y="3868"/>
                      </a:lnTo>
                      <a:lnTo>
                        <a:pt x="1763" y="3869"/>
                      </a:lnTo>
                      <a:lnTo>
                        <a:pt x="1763" y="3869"/>
                      </a:lnTo>
                      <a:close/>
                      <a:moveTo>
                        <a:pt x="1763" y="3190"/>
                      </a:moveTo>
                      <a:lnTo>
                        <a:pt x="1763" y="3190"/>
                      </a:lnTo>
                      <a:lnTo>
                        <a:pt x="1726" y="3190"/>
                      </a:lnTo>
                      <a:lnTo>
                        <a:pt x="1690" y="3188"/>
                      </a:lnTo>
                      <a:lnTo>
                        <a:pt x="1654" y="3186"/>
                      </a:lnTo>
                      <a:lnTo>
                        <a:pt x="1617" y="3183"/>
                      </a:lnTo>
                      <a:lnTo>
                        <a:pt x="1581" y="3179"/>
                      </a:lnTo>
                      <a:lnTo>
                        <a:pt x="1546" y="3174"/>
                      </a:lnTo>
                      <a:lnTo>
                        <a:pt x="1511" y="3167"/>
                      </a:lnTo>
                      <a:lnTo>
                        <a:pt x="1476" y="3160"/>
                      </a:lnTo>
                      <a:lnTo>
                        <a:pt x="1441" y="3153"/>
                      </a:lnTo>
                      <a:lnTo>
                        <a:pt x="1407" y="3145"/>
                      </a:lnTo>
                      <a:lnTo>
                        <a:pt x="1373" y="3135"/>
                      </a:lnTo>
                      <a:lnTo>
                        <a:pt x="1339" y="3126"/>
                      </a:lnTo>
                      <a:lnTo>
                        <a:pt x="1306" y="3115"/>
                      </a:lnTo>
                      <a:lnTo>
                        <a:pt x="1272" y="3103"/>
                      </a:lnTo>
                      <a:lnTo>
                        <a:pt x="1240" y="3091"/>
                      </a:lnTo>
                      <a:lnTo>
                        <a:pt x="1208" y="3078"/>
                      </a:lnTo>
                      <a:lnTo>
                        <a:pt x="1176" y="3064"/>
                      </a:lnTo>
                      <a:lnTo>
                        <a:pt x="1145" y="3049"/>
                      </a:lnTo>
                      <a:lnTo>
                        <a:pt x="1114" y="3034"/>
                      </a:lnTo>
                      <a:lnTo>
                        <a:pt x="1083" y="3018"/>
                      </a:lnTo>
                      <a:lnTo>
                        <a:pt x="1053" y="3001"/>
                      </a:lnTo>
                      <a:lnTo>
                        <a:pt x="1024" y="2983"/>
                      </a:lnTo>
                      <a:lnTo>
                        <a:pt x="995" y="2965"/>
                      </a:lnTo>
                      <a:lnTo>
                        <a:pt x="966" y="2946"/>
                      </a:lnTo>
                      <a:lnTo>
                        <a:pt x="938" y="2927"/>
                      </a:lnTo>
                      <a:lnTo>
                        <a:pt x="909" y="2907"/>
                      </a:lnTo>
                      <a:lnTo>
                        <a:pt x="882" y="2886"/>
                      </a:lnTo>
                      <a:lnTo>
                        <a:pt x="856" y="2864"/>
                      </a:lnTo>
                      <a:lnTo>
                        <a:pt x="830" y="2842"/>
                      </a:lnTo>
                      <a:lnTo>
                        <a:pt x="804" y="2819"/>
                      </a:lnTo>
                      <a:lnTo>
                        <a:pt x="780" y="2796"/>
                      </a:lnTo>
                      <a:lnTo>
                        <a:pt x="754" y="2772"/>
                      </a:lnTo>
                      <a:lnTo>
                        <a:pt x="730" y="2748"/>
                      </a:lnTo>
                      <a:lnTo>
                        <a:pt x="707" y="2723"/>
                      </a:lnTo>
                      <a:lnTo>
                        <a:pt x="685" y="2697"/>
                      </a:lnTo>
                      <a:lnTo>
                        <a:pt x="663" y="2671"/>
                      </a:lnTo>
                      <a:lnTo>
                        <a:pt x="641" y="2644"/>
                      </a:lnTo>
                      <a:lnTo>
                        <a:pt x="621" y="2617"/>
                      </a:lnTo>
                      <a:lnTo>
                        <a:pt x="601" y="2589"/>
                      </a:lnTo>
                      <a:lnTo>
                        <a:pt x="581" y="2561"/>
                      </a:lnTo>
                      <a:lnTo>
                        <a:pt x="561" y="2533"/>
                      </a:lnTo>
                      <a:lnTo>
                        <a:pt x="543" y="2504"/>
                      </a:lnTo>
                      <a:lnTo>
                        <a:pt x="526" y="2473"/>
                      </a:lnTo>
                      <a:lnTo>
                        <a:pt x="509" y="2443"/>
                      </a:lnTo>
                      <a:lnTo>
                        <a:pt x="493" y="2413"/>
                      </a:lnTo>
                      <a:lnTo>
                        <a:pt x="478" y="2382"/>
                      </a:lnTo>
                      <a:lnTo>
                        <a:pt x="463" y="2351"/>
                      </a:lnTo>
                      <a:lnTo>
                        <a:pt x="449" y="2318"/>
                      </a:lnTo>
                      <a:lnTo>
                        <a:pt x="436" y="2286"/>
                      </a:lnTo>
                      <a:lnTo>
                        <a:pt x="424" y="2254"/>
                      </a:lnTo>
                      <a:lnTo>
                        <a:pt x="412" y="2221"/>
                      </a:lnTo>
                      <a:lnTo>
                        <a:pt x="401" y="2188"/>
                      </a:lnTo>
                      <a:lnTo>
                        <a:pt x="391" y="2153"/>
                      </a:lnTo>
                      <a:lnTo>
                        <a:pt x="382" y="2120"/>
                      </a:lnTo>
                      <a:lnTo>
                        <a:pt x="373" y="2085"/>
                      </a:lnTo>
                      <a:lnTo>
                        <a:pt x="366" y="2051"/>
                      </a:lnTo>
                      <a:lnTo>
                        <a:pt x="359" y="2016"/>
                      </a:lnTo>
                      <a:lnTo>
                        <a:pt x="353" y="1980"/>
                      </a:lnTo>
                      <a:lnTo>
                        <a:pt x="348" y="1945"/>
                      </a:lnTo>
                      <a:lnTo>
                        <a:pt x="344" y="1909"/>
                      </a:lnTo>
                      <a:lnTo>
                        <a:pt x="341" y="1873"/>
                      </a:lnTo>
                      <a:lnTo>
                        <a:pt x="339" y="1837"/>
                      </a:lnTo>
                      <a:lnTo>
                        <a:pt x="337" y="1800"/>
                      </a:lnTo>
                      <a:lnTo>
                        <a:pt x="337" y="1763"/>
                      </a:lnTo>
                      <a:lnTo>
                        <a:pt x="337" y="1763"/>
                      </a:lnTo>
                      <a:lnTo>
                        <a:pt x="337" y="1727"/>
                      </a:lnTo>
                      <a:lnTo>
                        <a:pt x="339" y="1690"/>
                      </a:lnTo>
                      <a:lnTo>
                        <a:pt x="341" y="1654"/>
                      </a:lnTo>
                      <a:lnTo>
                        <a:pt x="344" y="1617"/>
                      </a:lnTo>
                      <a:lnTo>
                        <a:pt x="348" y="1582"/>
                      </a:lnTo>
                      <a:lnTo>
                        <a:pt x="353" y="1546"/>
                      </a:lnTo>
                      <a:lnTo>
                        <a:pt x="359" y="1511"/>
                      </a:lnTo>
                      <a:lnTo>
                        <a:pt x="366" y="1475"/>
                      </a:lnTo>
                      <a:lnTo>
                        <a:pt x="373" y="1441"/>
                      </a:lnTo>
                      <a:lnTo>
                        <a:pt x="382" y="1407"/>
                      </a:lnTo>
                      <a:lnTo>
                        <a:pt x="391" y="1373"/>
                      </a:lnTo>
                      <a:lnTo>
                        <a:pt x="401" y="1339"/>
                      </a:lnTo>
                      <a:lnTo>
                        <a:pt x="412" y="1305"/>
                      </a:lnTo>
                      <a:lnTo>
                        <a:pt x="424" y="1273"/>
                      </a:lnTo>
                      <a:lnTo>
                        <a:pt x="436" y="1240"/>
                      </a:lnTo>
                      <a:lnTo>
                        <a:pt x="449" y="1208"/>
                      </a:lnTo>
                      <a:lnTo>
                        <a:pt x="463" y="1177"/>
                      </a:lnTo>
                      <a:lnTo>
                        <a:pt x="478" y="1145"/>
                      </a:lnTo>
                      <a:lnTo>
                        <a:pt x="493" y="1114"/>
                      </a:lnTo>
                      <a:lnTo>
                        <a:pt x="509" y="1083"/>
                      </a:lnTo>
                      <a:lnTo>
                        <a:pt x="526" y="1053"/>
                      </a:lnTo>
                      <a:lnTo>
                        <a:pt x="543" y="1024"/>
                      </a:lnTo>
                      <a:lnTo>
                        <a:pt x="561" y="995"/>
                      </a:lnTo>
                      <a:lnTo>
                        <a:pt x="581" y="965"/>
                      </a:lnTo>
                      <a:lnTo>
                        <a:pt x="601" y="937"/>
                      </a:lnTo>
                      <a:lnTo>
                        <a:pt x="621" y="910"/>
                      </a:lnTo>
                      <a:lnTo>
                        <a:pt x="641" y="883"/>
                      </a:lnTo>
                      <a:lnTo>
                        <a:pt x="663" y="856"/>
                      </a:lnTo>
                      <a:lnTo>
                        <a:pt x="685" y="830"/>
                      </a:lnTo>
                      <a:lnTo>
                        <a:pt x="707" y="805"/>
                      </a:lnTo>
                      <a:lnTo>
                        <a:pt x="730" y="779"/>
                      </a:lnTo>
                      <a:lnTo>
                        <a:pt x="754" y="754"/>
                      </a:lnTo>
                      <a:lnTo>
                        <a:pt x="780" y="731"/>
                      </a:lnTo>
                      <a:lnTo>
                        <a:pt x="804" y="707"/>
                      </a:lnTo>
                      <a:lnTo>
                        <a:pt x="830" y="685"/>
                      </a:lnTo>
                      <a:lnTo>
                        <a:pt x="856" y="663"/>
                      </a:lnTo>
                      <a:lnTo>
                        <a:pt x="882" y="642"/>
                      </a:lnTo>
                      <a:lnTo>
                        <a:pt x="909" y="620"/>
                      </a:lnTo>
                      <a:lnTo>
                        <a:pt x="938" y="600"/>
                      </a:lnTo>
                      <a:lnTo>
                        <a:pt x="966" y="580"/>
                      </a:lnTo>
                      <a:lnTo>
                        <a:pt x="995" y="561"/>
                      </a:lnTo>
                      <a:lnTo>
                        <a:pt x="1024" y="543"/>
                      </a:lnTo>
                      <a:lnTo>
                        <a:pt x="1053" y="526"/>
                      </a:lnTo>
                      <a:lnTo>
                        <a:pt x="1083" y="509"/>
                      </a:lnTo>
                      <a:lnTo>
                        <a:pt x="1114" y="493"/>
                      </a:lnTo>
                      <a:lnTo>
                        <a:pt x="1145" y="478"/>
                      </a:lnTo>
                      <a:lnTo>
                        <a:pt x="1176" y="462"/>
                      </a:lnTo>
                      <a:lnTo>
                        <a:pt x="1208" y="449"/>
                      </a:lnTo>
                      <a:lnTo>
                        <a:pt x="1240" y="435"/>
                      </a:lnTo>
                      <a:lnTo>
                        <a:pt x="1272" y="423"/>
                      </a:lnTo>
                      <a:lnTo>
                        <a:pt x="1306" y="412"/>
                      </a:lnTo>
                      <a:lnTo>
                        <a:pt x="1339" y="401"/>
                      </a:lnTo>
                      <a:lnTo>
                        <a:pt x="1373" y="391"/>
                      </a:lnTo>
                      <a:lnTo>
                        <a:pt x="1407" y="382"/>
                      </a:lnTo>
                      <a:lnTo>
                        <a:pt x="1441" y="373"/>
                      </a:lnTo>
                      <a:lnTo>
                        <a:pt x="1476" y="366"/>
                      </a:lnTo>
                      <a:lnTo>
                        <a:pt x="1511" y="359"/>
                      </a:lnTo>
                      <a:lnTo>
                        <a:pt x="1546" y="353"/>
                      </a:lnTo>
                      <a:lnTo>
                        <a:pt x="1581" y="348"/>
                      </a:lnTo>
                      <a:lnTo>
                        <a:pt x="1617" y="344"/>
                      </a:lnTo>
                      <a:lnTo>
                        <a:pt x="1654" y="341"/>
                      </a:lnTo>
                      <a:lnTo>
                        <a:pt x="1690" y="339"/>
                      </a:lnTo>
                      <a:lnTo>
                        <a:pt x="1726" y="338"/>
                      </a:lnTo>
                      <a:lnTo>
                        <a:pt x="1763" y="337"/>
                      </a:lnTo>
                      <a:lnTo>
                        <a:pt x="1763" y="337"/>
                      </a:lnTo>
                      <a:lnTo>
                        <a:pt x="1800" y="338"/>
                      </a:lnTo>
                      <a:lnTo>
                        <a:pt x="1837" y="339"/>
                      </a:lnTo>
                      <a:lnTo>
                        <a:pt x="1873" y="341"/>
                      </a:lnTo>
                      <a:lnTo>
                        <a:pt x="1909" y="344"/>
                      </a:lnTo>
                      <a:lnTo>
                        <a:pt x="1945" y="348"/>
                      </a:lnTo>
                      <a:lnTo>
                        <a:pt x="1980" y="353"/>
                      </a:lnTo>
                      <a:lnTo>
                        <a:pt x="2016" y="359"/>
                      </a:lnTo>
                      <a:lnTo>
                        <a:pt x="2051" y="366"/>
                      </a:lnTo>
                      <a:lnTo>
                        <a:pt x="2085" y="373"/>
                      </a:lnTo>
                      <a:lnTo>
                        <a:pt x="2119" y="382"/>
                      </a:lnTo>
                      <a:lnTo>
                        <a:pt x="2153" y="391"/>
                      </a:lnTo>
                      <a:lnTo>
                        <a:pt x="2188" y="401"/>
                      </a:lnTo>
                      <a:lnTo>
                        <a:pt x="2221" y="412"/>
                      </a:lnTo>
                      <a:lnTo>
                        <a:pt x="2254" y="423"/>
                      </a:lnTo>
                      <a:lnTo>
                        <a:pt x="2286" y="435"/>
                      </a:lnTo>
                      <a:lnTo>
                        <a:pt x="2318" y="449"/>
                      </a:lnTo>
                      <a:lnTo>
                        <a:pt x="2351" y="462"/>
                      </a:lnTo>
                      <a:lnTo>
                        <a:pt x="2382" y="478"/>
                      </a:lnTo>
                      <a:lnTo>
                        <a:pt x="2413" y="493"/>
                      </a:lnTo>
                      <a:lnTo>
                        <a:pt x="2443" y="509"/>
                      </a:lnTo>
                      <a:lnTo>
                        <a:pt x="2473" y="526"/>
                      </a:lnTo>
                      <a:lnTo>
                        <a:pt x="2502" y="543"/>
                      </a:lnTo>
                      <a:lnTo>
                        <a:pt x="2532" y="561"/>
                      </a:lnTo>
                      <a:lnTo>
                        <a:pt x="2561" y="580"/>
                      </a:lnTo>
                      <a:lnTo>
                        <a:pt x="2589" y="600"/>
                      </a:lnTo>
                      <a:lnTo>
                        <a:pt x="2616" y="620"/>
                      </a:lnTo>
                      <a:lnTo>
                        <a:pt x="2643" y="642"/>
                      </a:lnTo>
                      <a:lnTo>
                        <a:pt x="2670" y="663"/>
                      </a:lnTo>
                      <a:lnTo>
                        <a:pt x="2697" y="685"/>
                      </a:lnTo>
                      <a:lnTo>
                        <a:pt x="2722" y="707"/>
                      </a:lnTo>
                      <a:lnTo>
                        <a:pt x="2747" y="731"/>
                      </a:lnTo>
                      <a:lnTo>
                        <a:pt x="2772" y="754"/>
                      </a:lnTo>
                      <a:lnTo>
                        <a:pt x="2795" y="779"/>
                      </a:lnTo>
                      <a:lnTo>
                        <a:pt x="2819" y="805"/>
                      </a:lnTo>
                      <a:lnTo>
                        <a:pt x="2841" y="830"/>
                      </a:lnTo>
                      <a:lnTo>
                        <a:pt x="2864" y="856"/>
                      </a:lnTo>
                      <a:lnTo>
                        <a:pt x="2886" y="883"/>
                      </a:lnTo>
                      <a:lnTo>
                        <a:pt x="2906" y="910"/>
                      </a:lnTo>
                      <a:lnTo>
                        <a:pt x="2926" y="937"/>
                      </a:lnTo>
                      <a:lnTo>
                        <a:pt x="2946" y="965"/>
                      </a:lnTo>
                      <a:lnTo>
                        <a:pt x="2965" y="995"/>
                      </a:lnTo>
                      <a:lnTo>
                        <a:pt x="2983" y="1024"/>
                      </a:lnTo>
                      <a:lnTo>
                        <a:pt x="3000" y="1053"/>
                      </a:lnTo>
                      <a:lnTo>
                        <a:pt x="3017" y="1083"/>
                      </a:lnTo>
                      <a:lnTo>
                        <a:pt x="3033" y="1114"/>
                      </a:lnTo>
                      <a:lnTo>
                        <a:pt x="3049" y="1145"/>
                      </a:lnTo>
                      <a:lnTo>
                        <a:pt x="3064" y="1177"/>
                      </a:lnTo>
                      <a:lnTo>
                        <a:pt x="3078" y="1208"/>
                      </a:lnTo>
                      <a:lnTo>
                        <a:pt x="3091" y="1240"/>
                      </a:lnTo>
                      <a:lnTo>
                        <a:pt x="3103" y="1273"/>
                      </a:lnTo>
                      <a:lnTo>
                        <a:pt x="3115" y="1305"/>
                      </a:lnTo>
                      <a:lnTo>
                        <a:pt x="3125" y="1339"/>
                      </a:lnTo>
                      <a:lnTo>
                        <a:pt x="3135" y="1373"/>
                      </a:lnTo>
                      <a:lnTo>
                        <a:pt x="3144" y="1407"/>
                      </a:lnTo>
                      <a:lnTo>
                        <a:pt x="3153" y="1441"/>
                      </a:lnTo>
                      <a:lnTo>
                        <a:pt x="3160" y="1475"/>
                      </a:lnTo>
                      <a:lnTo>
                        <a:pt x="3167" y="1511"/>
                      </a:lnTo>
                      <a:lnTo>
                        <a:pt x="3173" y="1546"/>
                      </a:lnTo>
                      <a:lnTo>
                        <a:pt x="3178" y="1582"/>
                      </a:lnTo>
                      <a:lnTo>
                        <a:pt x="3182" y="1617"/>
                      </a:lnTo>
                      <a:lnTo>
                        <a:pt x="3185" y="1654"/>
                      </a:lnTo>
                      <a:lnTo>
                        <a:pt x="3187" y="1690"/>
                      </a:lnTo>
                      <a:lnTo>
                        <a:pt x="3189" y="1727"/>
                      </a:lnTo>
                      <a:lnTo>
                        <a:pt x="3189" y="1763"/>
                      </a:lnTo>
                      <a:lnTo>
                        <a:pt x="3189" y="1763"/>
                      </a:lnTo>
                      <a:lnTo>
                        <a:pt x="3189" y="1800"/>
                      </a:lnTo>
                      <a:lnTo>
                        <a:pt x="3187" y="1837"/>
                      </a:lnTo>
                      <a:lnTo>
                        <a:pt x="3185" y="1873"/>
                      </a:lnTo>
                      <a:lnTo>
                        <a:pt x="3182" y="1909"/>
                      </a:lnTo>
                      <a:lnTo>
                        <a:pt x="3178" y="1945"/>
                      </a:lnTo>
                      <a:lnTo>
                        <a:pt x="3173" y="1980"/>
                      </a:lnTo>
                      <a:lnTo>
                        <a:pt x="3167" y="2016"/>
                      </a:lnTo>
                      <a:lnTo>
                        <a:pt x="3160" y="2051"/>
                      </a:lnTo>
                      <a:lnTo>
                        <a:pt x="3153" y="2085"/>
                      </a:lnTo>
                      <a:lnTo>
                        <a:pt x="3144" y="2120"/>
                      </a:lnTo>
                      <a:lnTo>
                        <a:pt x="3135" y="2153"/>
                      </a:lnTo>
                      <a:lnTo>
                        <a:pt x="3125" y="2188"/>
                      </a:lnTo>
                      <a:lnTo>
                        <a:pt x="3115" y="2221"/>
                      </a:lnTo>
                      <a:lnTo>
                        <a:pt x="3103" y="2254"/>
                      </a:lnTo>
                      <a:lnTo>
                        <a:pt x="3091" y="2286"/>
                      </a:lnTo>
                      <a:lnTo>
                        <a:pt x="3078" y="2318"/>
                      </a:lnTo>
                      <a:lnTo>
                        <a:pt x="3064" y="2351"/>
                      </a:lnTo>
                      <a:lnTo>
                        <a:pt x="3049" y="2382"/>
                      </a:lnTo>
                      <a:lnTo>
                        <a:pt x="3033" y="2413"/>
                      </a:lnTo>
                      <a:lnTo>
                        <a:pt x="3017" y="2443"/>
                      </a:lnTo>
                      <a:lnTo>
                        <a:pt x="3000" y="2473"/>
                      </a:lnTo>
                      <a:lnTo>
                        <a:pt x="2983" y="2504"/>
                      </a:lnTo>
                      <a:lnTo>
                        <a:pt x="2965" y="2533"/>
                      </a:lnTo>
                      <a:lnTo>
                        <a:pt x="2946" y="2561"/>
                      </a:lnTo>
                      <a:lnTo>
                        <a:pt x="2926" y="2589"/>
                      </a:lnTo>
                      <a:lnTo>
                        <a:pt x="2906" y="2617"/>
                      </a:lnTo>
                      <a:lnTo>
                        <a:pt x="2886" y="2644"/>
                      </a:lnTo>
                      <a:lnTo>
                        <a:pt x="2864" y="2671"/>
                      </a:lnTo>
                      <a:lnTo>
                        <a:pt x="2841" y="2697"/>
                      </a:lnTo>
                      <a:lnTo>
                        <a:pt x="2819" y="2723"/>
                      </a:lnTo>
                      <a:lnTo>
                        <a:pt x="2795" y="2748"/>
                      </a:lnTo>
                      <a:lnTo>
                        <a:pt x="2772" y="2772"/>
                      </a:lnTo>
                      <a:lnTo>
                        <a:pt x="2747" y="2796"/>
                      </a:lnTo>
                      <a:lnTo>
                        <a:pt x="2722" y="2819"/>
                      </a:lnTo>
                      <a:lnTo>
                        <a:pt x="2697" y="2842"/>
                      </a:lnTo>
                      <a:lnTo>
                        <a:pt x="2670" y="2864"/>
                      </a:lnTo>
                      <a:lnTo>
                        <a:pt x="2643" y="2886"/>
                      </a:lnTo>
                      <a:lnTo>
                        <a:pt x="2616" y="2907"/>
                      </a:lnTo>
                      <a:lnTo>
                        <a:pt x="2589" y="2927"/>
                      </a:lnTo>
                      <a:lnTo>
                        <a:pt x="2561" y="2946"/>
                      </a:lnTo>
                      <a:lnTo>
                        <a:pt x="2532" y="2965"/>
                      </a:lnTo>
                      <a:lnTo>
                        <a:pt x="2502" y="2983"/>
                      </a:lnTo>
                      <a:lnTo>
                        <a:pt x="2473" y="3001"/>
                      </a:lnTo>
                      <a:lnTo>
                        <a:pt x="2443" y="3018"/>
                      </a:lnTo>
                      <a:lnTo>
                        <a:pt x="2413" y="3034"/>
                      </a:lnTo>
                      <a:lnTo>
                        <a:pt x="2382" y="3049"/>
                      </a:lnTo>
                      <a:lnTo>
                        <a:pt x="2351" y="3064"/>
                      </a:lnTo>
                      <a:lnTo>
                        <a:pt x="2318" y="3078"/>
                      </a:lnTo>
                      <a:lnTo>
                        <a:pt x="2286" y="3091"/>
                      </a:lnTo>
                      <a:lnTo>
                        <a:pt x="2254" y="3103"/>
                      </a:lnTo>
                      <a:lnTo>
                        <a:pt x="2221" y="3115"/>
                      </a:lnTo>
                      <a:lnTo>
                        <a:pt x="2188" y="3126"/>
                      </a:lnTo>
                      <a:lnTo>
                        <a:pt x="2153" y="3135"/>
                      </a:lnTo>
                      <a:lnTo>
                        <a:pt x="2119" y="3145"/>
                      </a:lnTo>
                      <a:lnTo>
                        <a:pt x="2085" y="3153"/>
                      </a:lnTo>
                      <a:lnTo>
                        <a:pt x="2051" y="3160"/>
                      </a:lnTo>
                      <a:lnTo>
                        <a:pt x="2016" y="3167"/>
                      </a:lnTo>
                      <a:lnTo>
                        <a:pt x="1980" y="3174"/>
                      </a:lnTo>
                      <a:lnTo>
                        <a:pt x="1945" y="3179"/>
                      </a:lnTo>
                      <a:lnTo>
                        <a:pt x="1909" y="3183"/>
                      </a:lnTo>
                      <a:lnTo>
                        <a:pt x="1873" y="3186"/>
                      </a:lnTo>
                      <a:lnTo>
                        <a:pt x="1837" y="3188"/>
                      </a:lnTo>
                      <a:lnTo>
                        <a:pt x="1800" y="3190"/>
                      </a:lnTo>
                      <a:lnTo>
                        <a:pt x="1763" y="3190"/>
                      </a:lnTo>
                      <a:lnTo>
                        <a:pt x="1763" y="319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Oval 41"/>
                <p:cNvSpPr/>
                <p:nvPr/>
              </p:nvSpPr>
              <p:spPr>
                <a:xfrm>
                  <a:off x="1719121" y="3081833"/>
                  <a:ext cx="576064" cy="5760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smtClean="0">
                      <a:solidFill>
                        <a:srgbClr val="0070C0"/>
                      </a:solidFill>
                    </a:rPr>
                    <a:t>2</a:t>
                  </a:r>
                  <a:endParaRPr lang="en-US" sz="4400" b="1" dirty="0">
                    <a:solidFill>
                      <a:srgbClr val="0070C0"/>
                    </a:solidFill>
                  </a:endParaRPr>
                </a:p>
              </p:txBody>
            </p:sp>
          </p:grpSp>
        </p:grpSp>
        <p:pic>
          <p:nvPicPr>
            <p:cNvPr id="9220" name="Picture 4" descr="C:\Users\Administrator\Desktop\Kerja Keras terengganu\kategori kump. bidang tugas 3.png"/>
            <p:cNvPicPr>
              <a:picLocks noChangeAspect="1" noChangeArrowheads="1"/>
            </p:cNvPicPr>
            <p:nvPr/>
          </p:nvPicPr>
          <p:blipFill>
            <a:blip r:embed="rId3"/>
            <a:srcRect l="36959" t="35067" r="35343" b="50566"/>
            <a:stretch>
              <a:fillRect/>
            </a:stretch>
          </p:blipFill>
          <p:spPr bwMode="auto">
            <a:xfrm>
              <a:off x="6021401" y="4598107"/>
              <a:ext cx="2046595" cy="750565"/>
            </a:xfrm>
            <a:prstGeom prst="rect">
              <a:avLst/>
            </a:prstGeom>
            <a:noFill/>
          </p:spPr>
        </p:pic>
        <p:sp>
          <p:nvSpPr>
            <p:cNvPr id="106" name="Rectangle 1"/>
            <p:cNvSpPr>
              <a:spLocks noChangeArrowheads="1"/>
            </p:cNvSpPr>
            <p:nvPr/>
          </p:nvSpPr>
          <p:spPr bwMode="auto">
            <a:xfrm>
              <a:off x="3360396" y="5065084"/>
              <a:ext cx="3739916" cy="830997"/>
            </a:xfrm>
            <a:prstGeom prst="rect">
              <a:avLst/>
            </a:prstGeom>
            <a:noFill/>
            <a:ln w="9525">
              <a:noFill/>
              <a:miter lim="800000"/>
              <a:headEnd/>
              <a:tailEnd/>
            </a:ln>
          </p:spPr>
          <p:txBody>
            <a:bodyPr wrap="square" anchor="ctr">
              <a:spAutoFit/>
            </a:bodyPr>
            <a:lstStyle/>
            <a:p>
              <a:pPr algn="just" eaLnBrk="0" hangingPunct="0"/>
              <a:r>
                <a:rPr lang="en-US" sz="1200" b="1" dirty="0">
                  <a:solidFill>
                    <a:srgbClr val="002060"/>
                  </a:solidFill>
                  <a:ea typeface="Calibri" pitchFamily="34" charset="0"/>
                  <a:cs typeface="Arial" pitchFamily="34" charset="0"/>
                </a:rPr>
                <a:t>*</a:t>
              </a:r>
              <a:r>
                <a:rPr lang="en-US" sz="1200" b="1" dirty="0" err="1">
                  <a:solidFill>
                    <a:srgbClr val="002060"/>
                  </a:solidFill>
                  <a:ea typeface="Calibri" pitchFamily="34" charset="0"/>
                  <a:cs typeface="Arial" pitchFamily="34" charset="0"/>
                </a:rPr>
                <a:t>Pengajaran</a:t>
              </a:r>
              <a:r>
                <a:rPr lang="en-US" sz="1200" b="1" dirty="0">
                  <a:solidFill>
                    <a:srgbClr val="002060"/>
                  </a:solidFill>
                  <a:ea typeface="Calibri" pitchFamily="34" charset="0"/>
                  <a:cs typeface="Arial" pitchFamily="34" charset="0"/>
                </a:rPr>
                <a:t> </a:t>
              </a:r>
              <a:r>
                <a:rPr lang="en-US" sz="1200" b="1" dirty="0" err="1">
                  <a:solidFill>
                    <a:srgbClr val="002060"/>
                  </a:solidFill>
                  <a:ea typeface="Calibri" pitchFamily="34" charset="0"/>
                  <a:cs typeface="Arial" pitchFamily="34" charset="0"/>
                </a:rPr>
                <a:t>dan</a:t>
              </a:r>
              <a:r>
                <a:rPr lang="en-US" sz="1200" b="1" dirty="0">
                  <a:solidFill>
                    <a:srgbClr val="002060"/>
                  </a:solidFill>
                  <a:ea typeface="Calibri" pitchFamily="34" charset="0"/>
                  <a:cs typeface="Arial" pitchFamily="34" charset="0"/>
                </a:rPr>
                <a:t> </a:t>
              </a:r>
              <a:r>
                <a:rPr lang="en-US" sz="1200" b="1" dirty="0" err="1">
                  <a:solidFill>
                    <a:srgbClr val="002060"/>
                  </a:solidFill>
                  <a:ea typeface="Calibri" pitchFamily="34" charset="0"/>
                  <a:cs typeface="Arial" pitchFamily="34" charset="0"/>
                </a:rPr>
                <a:t>Pentadbiran</a:t>
              </a:r>
              <a:r>
                <a:rPr lang="en-US" sz="1200" b="1" dirty="0">
                  <a:solidFill>
                    <a:srgbClr val="002060"/>
                  </a:solidFill>
                  <a:ea typeface="Calibri" pitchFamily="34" charset="0"/>
                  <a:cs typeface="Arial" pitchFamily="34" charset="0"/>
                </a:rPr>
                <a:t> (A</a:t>
              </a:r>
              <a:r>
                <a:rPr lang="en-US" sz="1200" b="1" dirty="0" smtClean="0">
                  <a:solidFill>
                    <a:srgbClr val="002060"/>
                  </a:solidFill>
                  <a:ea typeface="Calibri" pitchFamily="34" charset="0"/>
                  <a:cs typeface="Arial" pitchFamily="34" charset="0"/>
                </a:rPr>
                <a:t>)</a:t>
              </a:r>
            </a:p>
            <a:p>
              <a:pPr algn="just" eaLnBrk="0" hangingPunct="0"/>
              <a:r>
                <a:rPr lang="en-US" sz="1200" dirty="0" smtClean="0">
                  <a:solidFill>
                    <a:srgbClr val="002060"/>
                  </a:solidFill>
                  <a:latin typeface="Calibri" pitchFamily="34" charset="0"/>
                  <a:ea typeface="Calibri" pitchFamily="34" charset="0"/>
                  <a:cs typeface="Arial" pitchFamily="34" charset="0"/>
                </a:rPr>
                <a:t>–</a:t>
              </a:r>
              <a:r>
                <a:rPr lang="en-US" sz="1200" dirty="0" smtClean="0">
                  <a:solidFill>
                    <a:srgbClr val="002060"/>
                  </a:solidFill>
                  <a:ea typeface="Calibri" pitchFamily="34" charset="0"/>
                  <a:cs typeface="Arial" pitchFamily="34" charset="0"/>
                </a:rPr>
                <a:t> </a:t>
              </a:r>
              <a:r>
                <a:rPr lang="en-US" sz="1200" dirty="0">
                  <a:solidFill>
                    <a:srgbClr val="002060"/>
                  </a:solidFill>
                  <a:ea typeface="Calibri" pitchFamily="34" charset="0"/>
                  <a:cs typeface="Arial" pitchFamily="34" charset="0"/>
                </a:rPr>
                <a:t>PPP di </a:t>
              </a:r>
              <a:r>
                <a:rPr lang="en-US" sz="1200" dirty="0" err="1">
                  <a:solidFill>
                    <a:srgbClr val="002060"/>
                  </a:solidFill>
                  <a:ea typeface="Calibri" pitchFamily="34" charset="0"/>
                  <a:cs typeface="Arial" pitchFamily="34" charset="0"/>
                </a:rPr>
                <a:t>peringkat</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pengurusan</a:t>
              </a:r>
              <a:r>
                <a:rPr lang="en-US" sz="1200" dirty="0">
                  <a:solidFill>
                    <a:srgbClr val="002060"/>
                  </a:solidFill>
                  <a:ea typeface="Calibri" pitchFamily="34" charset="0"/>
                  <a:cs typeface="Arial" pitchFamily="34" charset="0"/>
                </a:rPr>
                <a:t> di </a:t>
              </a:r>
              <a:r>
                <a:rPr lang="en-US" sz="1200" dirty="0" err="1">
                  <a:solidFill>
                    <a:srgbClr val="002060"/>
                  </a:solidFill>
                  <a:ea typeface="Calibri" pitchFamily="34" charset="0"/>
                  <a:cs typeface="Arial" pitchFamily="34" charset="0"/>
                </a:rPr>
                <a:t>sekolah</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dan</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institusi</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pengajian</a:t>
              </a:r>
              <a:r>
                <a:rPr lang="en-US" sz="1200" dirty="0">
                  <a:solidFill>
                    <a:srgbClr val="002060"/>
                  </a:solidFill>
                  <a:ea typeface="Calibri" pitchFamily="34" charset="0"/>
                  <a:cs typeface="Arial" pitchFamily="34" charset="0"/>
                </a:rPr>
                <a:t> di </a:t>
              </a:r>
              <a:r>
                <a:rPr lang="en-US" sz="1200" dirty="0" err="1">
                  <a:solidFill>
                    <a:srgbClr val="002060"/>
                  </a:solidFill>
                  <a:ea typeface="Calibri" pitchFamily="34" charset="0"/>
                  <a:cs typeface="Arial" pitchFamily="34" charset="0"/>
                </a:rPr>
                <a:t>bawah</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kelolaan</a:t>
              </a:r>
              <a:r>
                <a:rPr lang="en-US" sz="1200" dirty="0">
                  <a:solidFill>
                    <a:srgbClr val="002060"/>
                  </a:solidFill>
                  <a:ea typeface="Calibri" pitchFamily="34" charset="0"/>
                  <a:cs typeface="Arial" pitchFamily="34" charset="0"/>
                </a:rPr>
                <a:t> KPM yang </a:t>
              </a:r>
              <a:r>
                <a:rPr lang="en-US" sz="1200" dirty="0" err="1">
                  <a:solidFill>
                    <a:srgbClr val="002060"/>
                  </a:solidFill>
                  <a:ea typeface="Calibri" pitchFamily="34" charset="0"/>
                  <a:cs typeface="Arial" pitchFamily="34" charset="0"/>
                </a:rPr>
                <a:t>terlibat</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dalam</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pengurusan</a:t>
              </a:r>
              <a:r>
                <a:rPr lang="en-US" sz="1200" b="1" dirty="0">
                  <a:solidFill>
                    <a:srgbClr val="002060"/>
                  </a:solidFill>
                  <a:ea typeface="Calibri" pitchFamily="34" charset="0"/>
                  <a:cs typeface="Arial" pitchFamily="34" charset="0"/>
                </a:rPr>
                <a:t> SERTA </a:t>
              </a:r>
              <a:r>
                <a:rPr lang="en-US" sz="1200" dirty="0" err="1">
                  <a:solidFill>
                    <a:srgbClr val="002060"/>
                  </a:solidFill>
                  <a:ea typeface="Calibri" pitchFamily="34" charset="0"/>
                  <a:cs typeface="Arial" pitchFamily="34" charset="0"/>
                </a:rPr>
                <a:t>pengajaran</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dan</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pembelajaran</a:t>
              </a:r>
              <a:endParaRPr lang="en-US" sz="1200" dirty="0">
                <a:solidFill>
                  <a:srgbClr val="002060"/>
                </a:solidFill>
                <a:ea typeface="Calibri" pitchFamily="34" charset="0"/>
                <a:cs typeface="Arial" pitchFamily="34" charset="0"/>
              </a:endParaRPr>
            </a:p>
          </p:txBody>
        </p:sp>
        <p:grpSp>
          <p:nvGrpSpPr>
            <p:cNvPr id="15" name="Group 20"/>
            <p:cNvGrpSpPr/>
            <p:nvPr/>
          </p:nvGrpSpPr>
          <p:grpSpPr>
            <a:xfrm>
              <a:off x="3575701" y="5944729"/>
              <a:ext cx="5386816" cy="369332"/>
              <a:chOff x="3575701" y="5944729"/>
              <a:chExt cx="5386816" cy="369332"/>
            </a:xfrm>
          </p:grpSpPr>
          <p:sp>
            <p:nvSpPr>
              <p:cNvPr id="116" name="TextBox 115"/>
              <p:cNvSpPr txBox="1"/>
              <p:nvPr/>
            </p:nvSpPr>
            <p:spPr>
              <a:xfrm>
                <a:off x="3575701" y="5944729"/>
                <a:ext cx="567357" cy="369332"/>
              </a:xfrm>
              <a:prstGeom prst="rect">
                <a:avLst/>
              </a:prstGeom>
              <a:noFill/>
            </p:spPr>
            <p:txBody>
              <a:bodyPr wrap="square" rtlCol="0">
                <a:spAutoFit/>
              </a:bodyPr>
              <a:lstStyle/>
              <a:p>
                <a:r>
                  <a:rPr lang="en-US" b="1" dirty="0" smtClean="0">
                    <a:solidFill>
                      <a:srgbClr val="FF0000"/>
                    </a:solidFill>
                    <a:latin typeface="Comic Sans MS" pitchFamily="66" charset="0"/>
                  </a:rPr>
                  <a:t>3</a:t>
                </a:r>
                <a:endParaRPr lang="en-US" b="1" dirty="0">
                  <a:solidFill>
                    <a:srgbClr val="FF0000"/>
                  </a:solidFill>
                  <a:latin typeface="Comic Sans MS" pitchFamily="66" charset="0"/>
                </a:endParaRPr>
              </a:p>
            </p:txBody>
          </p:sp>
          <p:sp>
            <p:nvSpPr>
              <p:cNvPr id="117" name="TextBox 116"/>
              <p:cNvSpPr txBox="1"/>
              <p:nvPr/>
            </p:nvSpPr>
            <p:spPr>
              <a:xfrm>
                <a:off x="3809253" y="5951958"/>
                <a:ext cx="5153264" cy="307777"/>
              </a:xfrm>
              <a:prstGeom prst="rect">
                <a:avLst/>
              </a:prstGeom>
              <a:noFill/>
            </p:spPr>
            <p:txBody>
              <a:bodyPr wrap="square" rtlCol="0">
                <a:spAutoFit/>
              </a:bodyPr>
              <a:lstStyle/>
              <a:p>
                <a:r>
                  <a:rPr lang="en-US" sz="1400" dirty="0" err="1" smtClean="0">
                    <a:latin typeface="Comic Sans MS" pitchFamily="66" charset="0"/>
                  </a:rPr>
                  <a:t>Kepimpinan</a:t>
                </a:r>
                <a:r>
                  <a:rPr lang="en-US" sz="1400" dirty="0" smtClean="0">
                    <a:latin typeface="Comic Sans MS" pitchFamily="66" charset="0"/>
                  </a:rPr>
                  <a:t> Sekolah </a:t>
                </a:r>
                <a:r>
                  <a:rPr lang="en-US" sz="1400" dirty="0" err="1" smtClean="0">
                    <a:latin typeface="Comic Sans MS" pitchFamily="66" charset="0"/>
                  </a:rPr>
                  <a:t>dan</a:t>
                </a:r>
                <a:r>
                  <a:rPr lang="en-US" sz="1400" dirty="0" smtClean="0">
                    <a:latin typeface="Comic Sans MS" pitchFamily="66" charset="0"/>
                  </a:rPr>
                  <a:t> </a:t>
                </a:r>
                <a:r>
                  <a:rPr lang="en-US" sz="1400" dirty="0" err="1" smtClean="0">
                    <a:latin typeface="Comic Sans MS" pitchFamily="66" charset="0"/>
                  </a:rPr>
                  <a:t>Kepimpinan</a:t>
                </a:r>
                <a:r>
                  <a:rPr lang="en-US" sz="1400" dirty="0" smtClean="0">
                    <a:latin typeface="Comic Sans MS" pitchFamily="66" charset="0"/>
                  </a:rPr>
                  <a:t> </a:t>
                </a:r>
                <a:r>
                  <a:rPr lang="en-US" sz="1400" dirty="0" err="1" smtClean="0">
                    <a:latin typeface="Comic Sans MS" pitchFamily="66" charset="0"/>
                  </a:rPr>
                  <a:t>Institusi</a:t>
                </a:r>
                <a:r>
                  <a:rPr lang="en-US" sz="1400" dirty="0" smtClean="0">
                    <a:latin typeface="Comic Sans MS" pitchFamily="66" charset="0"/>
                  </a:rPr>
                  <a:t> </a:t>
                </a:r>
                <a:r>
                  <a:rPr lang="en-US" sz="1400" dirty="0" err="1" smtClean="0">
                    <a:latin typeface="Comic Sans MS" pitchFamily="66" charset="0"/>
                  </a:rPr>
                  <a:t>Pendidikan</a:t>
                </a:r>
                <a:endParaRPr lang="en-US" sz="1400" dirty="0">
                  <a:latin typeface="Comic Sans MS" pitchFamily="66" charset="0"/>
                </a:endParaRPr>
              </a:p>
            </p:txBody>
          </p:sp>
        </p:grpSp>
      </p:grpSp>
      <p:grpSp>
        <p:nvGrpSpPr>
          <p:cNvPr id="17" name="Group 19"/>
          <p:cNvGrpSpPr/>
          <p:nvPr/>
        </p:nvGrpSpPr>
        <p:grpSpPr>
          <a:xfrm>
            <a:off x="4117282" y="2694891"/>
            <a:ext cx="4536102" cy="2071996"/>
            <a:chOff x="4100573" y="2043123"/>
            <a:chExt cx="4536102" cy="2071996"/>
          </a:xfrm>
        </p:grpSpPr>
        <p:grpSp>
          <p:nvGrpSpPr>
            <p:cNvPr id="18" name="Group 22"/>
            <p:cNvGrpSpPr/>
            <p:nvPr/>
          </p:nvGrpSpPr>
          <p:grpSpPr>
            <a:xfrm>
              <a:off x="5332801" y="2043123"/>
              <a:ext cx="700675" cy="1121345"/>
              <a:chOff x="2625138" y="3870694"/>
              <a:chExt cx="700674" cy="1121345"/>
            </a:xfrm>
          </p:grpSpPr>
          <p:sp>
            <p:nvSpPr>
              <p:cNvPr id="24" name="Freeform 15"/>
              <p:cNvSpPr>
                <a:spLocks/>
              </p:cNvSpPr>
              <p:nvPr/>
            </p:nvSpPr>
            <p:spPr bwMode="auto">
              <a:xfrm>
                <a:off x="2798937" y="4916391"/>
                <a:ext cx="347711" cy="75648"/>
              </a:xfrm>
              <a:custGeom>
                <a:avLst/>
                <a:gdLst>
                  <a:gd name="T0" fmla="*/ 1835 w 1835"/>
                  <a:gd name="T1" fmla="*/ 198 h 394"/>
                  <a:gd name="T2" fmla="*/ 1830 w 1835"/>
                  <a:gd name="T3" fmla="*/ 218 h 394"/>
                  <a:gd name="T4" fmla="*/ 1816 w 1835"/>
                  <a:gd name="T5" fmla="*/ 237 h 394"/>
                  <a:gd name="T6" fmla="*/ 1794 w 1835"/>
                  <a:gd name="T7" fmla="*/ 256 h 394"/>
                  <a:gd name="T8" fmla="*/ 1763 w 1835"/>
                  <a:gd name="T9" fmla="*/ 274 h 394"/>
                  <a:gd name="T10" fmla="*/ 1725 w 1835"/>
                  <a:gd name="T11" fmla="*/ 291 h 394"/>
                  <a:gd name="T12" fmla="*/ 1678 w 1835"/>
                  <a:gd name="T13" fmla="*/ 307 h 394"/>
                  <a:gd name="T14" fmla="*/ 1625 w 1835"/>
                  <a:gd name="T15" fmla="*/ 322 h 394"/>
                  <a:gd name="T16" fmla="*/ 1567 w 1835"/>
                  <a:gd name="T17" fmla="*/ 336 h 394"/>
                  <a:gd name="T18" fmla="*/ 1431 w 1835"/>
                  <a:gd name="T19" fmla="*/ 361 h 394"/>
                  <a:gd name="T20" fmla="*/ 1275 w 1835"/>
                  <a:gd name="T21" fmla="*/ 379 h 394"/>
                  <a:gd name="T22" fmla="*/ 1102 w 1835"/>
                  <a:gd name="T23" fmla="*/ 390 h 394"/>
                  <a:gd name="T24" fmla="*/ 917 w 1835"/>
                  <a:gd name="T25" fmla="*/ 394 h 394"/>
                  <a:gd name="T26" fmla="*/ 823 w 1835"/>
                  <a:gd name="T27" fmla="*/ 393 h 394"/>
                  <a:gd name="T28" fmla="*/ 644 w 1835"/>
                  <a:gd name="T29" fmla="*/ 386 h 394"/>
                  <a:gd name="T30" fmla="*/ 479 w 1835"/>
                  <a:gd name="T31" fmla="*/ 371 h 394"/>
                  <a:gd name="T32" fmla="*/ 334 w 1835"/>
                  <a:gd name="T33" fmla="*/ 349 h 394"/>
                  <a:gd name="T34" fmla="*/ 238 w 1835"/>
                  <a:gd name="T35" fmla="*/ 329 h 394"/>
                  <a:gd name="T36" fmla="*/ 182 w 1835"/>
                  <a:gd name="T37" fmla="*/ 315 h 394"/>
                  <a:gd name="T38" fmla="*/ 132 w 1835"/>
                  <a:gd name="T39" fmla="*/ 299 h 394"/>
                  <a:gd name="T40" fmla="*/ 90 w 1835"/>
                  <a:gd name="T41" fmla="*/ 283 h 394"/>
                  <a:gd name="T42" fmla="*/ 55 w 1835"/>
                  <a:gd name="T43" fmla="*/ 265 h 394"/>
                  <a:gd name="T44" fmla="*/ 29 w 1835"/>
                  <a:gd name="T45" fmla="*/ 247 h 394"/>
                  <a:gd name="T46" fmla="*/ 10 w 1835"/>
                  <a:gd name="T47" fmla="*/ 228 h 394"/>
                  <a:gd name="T48" fmla="*/ 1 w 1835"/>
                  <a:gd name="T49" fmla="*/ 208 h 394"/>
                  <a:gd name="T50" fmla="*/ 0 w 1835"/>
                  <a:gd name="T51" fmla="*/ 198 h 394"/>
                  <a:gd name="T52" fmla="*/ 5 w 1835"/>
                  <a:gd name="T53" fmla="*/ 177 h 394"/>
                  <a:gd name="T54" fmla="*/ 18 w 1835"/>
                  <a:gd name="T55" fmla="*/ 157 h 394"/>
                  <a:gd name="T56" fmla="*/ 41 w 1835"/>
                  <a:gd name="T57" fmla="*/ 139 h 394"/>
                  <a:gd name="T58" fmla="*/ 72 w 1835"/>
                  <a:gd name="T59" fmla="*/ 121 h 394"/>
                  <a:gd name="T60" fmla="*/ 110 w 1835"/>
                  <a:gd name="T61" fmla="*/ 104 h 394"/>
                  <a:gd name="T62" fmla="*/ 157 w 1835"/>
                  <a:gd name="T63" fmla="*/ 87 h 394"/>
                  <a:gd name="T64" fmla="*/ 209 w 1835"/>
                  <a:gd name="T65" fmla="*/ 72 h 394"/>
                  <a:gd name="T66" fmla="*/ 268 w 1835"/>
                  <a:gd name="T67" fmla="*/ 58 h 394"/>
                  <a:gd name="T68" fmla="*/ 404 w 1835"/>
                  <a:gd name="T69" fmla="*/ 35 h 394"/>
                  <a:gd name="T70" fmla="*/ 560 w 1835"/>
                  <a:gd name="T71" fmla="*/ 16 h 394"/>
                  <a:gd name="T72" fmla="*/ 732 w 1835"/>
                  <a:gd name="T73" fmla="*/ 4 h 394"/>
                  <a:gd name="T74" fmla="*/ 917 w 1835"/>
                  <a:gd name="T75" fmla="*/ 0 h 394"/>
                  <a:gd name="T76" fmla="*/ 1011 w 1835"/>
                  <a:gd name="T77" fmla="*/ 1 h 394"/>
                  <a:gd name="T78" fmla="*/ 1191 w 1835"/>
                  <a:gd name="T79" fmla="*/ 9 h 394"/>
                  <a:gd name="T80" fmla="*/ 1354 w 1835"/>
                  <a:gd name="T81" fmla="*/ 25 h 394"/>
                  <a:gd name="T82" fmla="*/ 1501 w 1835"/>
                  <a:gd name="T83" fmla="*/ 46 h 394"/>
                  <a:gd name="T84" fmla="*/ 1597 w 1835"/>
                  <a:gd name="T85" fmla="*/ 65 h 394"/>
                  <a:gd name="T86" fmla="*/ 1653 w 1835"/>
                  <a:gd name="T87" fmla="*/ 80 h 394"/>
                  <a:gd name="T88" fmla="*/ 1702 w 1835"/>
                  <a:gd name="T89" fmla="*/ 95 h 394"/>
                  <a:gd name="T90" fmla="*/ 1745 w 1835"/>
                  <a:gd name="T91" fmla="*/ 112 h 394"/>
                  <a:gd name="T92" fmla="*/ 1779 w 1835"/>
                  <a:gd name="T93" fmla="*/ 130 h 394"/>
                  <a:gd name="T94" fmla="*/ 1806 w 1835"/>
                  <a:gd name="T95" fmla="*/ 148 h 394"/>
                  <a:gd name="T96" fmla="*/ 1824 w 1835"/>
                  <a:gd name="T97" fmla="*/ 167 h 394"/>
                  <a:gd name="T98" fmla="*/ 1834 w 1835"/>
                  <a:gd name="T99" fmla="*/ 188 h 394"/>
                  <a:gd name="T100" fmla="*/ 1835 w 1835"/>
                  <a:gd name="T101" fmla="*/ 19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5" h="394">
                    <a:moveTo>
                      <a:pt x="1835" y="198"/>
                    </a:moveTo>
                    <a:lnTo>
                      <a:pt x="1835" y="198"/>
                    </a:lnTo>
                    <a:lnTo>
                      <a:pt x="1834" y="208"/>
                    </a:lnTo>
                    <a:lnTo>
                      <a:pt x="1830" y="218"/>
                    </a:lnTo>
                    <a:lnTo>
                      <a:pt x="1824" y="228"/>
                    </a:lnTo>
                    <a:lnTo>
                      <a:pt x="1816" y="237"/>
                    </a:lnTo>
                    <a:lnTo>
                      <a:pt x="1806" y="247"/>
                    </a:lnTo>
                    <a:lnTo>
                      <a:pt x="1794" y="256"/>
                    </a:lnTo>
                    <a:lnTo>
                      <a:pt x="1779" y="265"/>
                    </a:lnTo>
                    <a:lnTo>
                      <a:pt x="1763" y="274"/>
                    </a:lnTo>
                    <a:lnTo>
                      <a:pt x="1745" y="283"/>
                    </a:lnTo>
                    <a:lnTo>
                      <a:pt x="1725" y="291"/>
                    </a:lnTo>
                    <a:lnTo>
                      <a:pt x="1702" y="299"/>
                    </a:lnTo>
                    <a:lnTo>
                      <a:pt x="1678" y="307"/>
                    </a:lnTo>
                    <a:lnTo>
                      <a:pt x="1653" y="315"/>
                    </a:lnTo>
                    <a:lnTo>
                      <a:pt x="1625" y="322"/>
                    </a:lnTo>
                    <a:lnTo>
                      <a:pt x="1597" y="329"/>
                    </a:lnTo>
                    <a:lnTo>
                      <a:pt x="1567" y="336"/>
                    </a:lnTo>
                    <a:lnTo>
                      <a:pt x="1501" y="349"/>
                    </a:lnTo>
                    <a:lnTo>
                      <a:pt x="1431" y="361"/>
                    </a:lnTo>
                    <a:lnTo>
                      <a:pt x="1354" y="371"/>
                    </a:lnTo>
                    <a:lnTo>
                      <a:pt x="1275" y="379"/>
                    </a:lnTo>
                    <a:lnTo>
                      <a:pt x="1191" y="386"/>
                    </a:lnTo>
                    <a:lnTo>
                      <a:pt x="1102" y="390"/>
                    </a:lnTo>
                    <a:lnTo>
                      <a:pt x="1011" y="393"/>
                    </a:lnTo>
                    <a:lnTo>
                      <a:pt x="917" y="394"/>
                    </a:lnTo>
                    <a:lnTo>
                      <a:pt x="917" y="394"/>
                    </a:lnTo>
                    <a:lnTo>
                      <a:pt x="823" y="393"/>
                    </a:lnTo>
                    <a:lnTo>
                      <a:pt x="732" y="390"/>
                    </a:lnTo>
                    <a:lnTo>
                      <a:pt x="644" y="386"/>
                    </a:lnTo>
                    <a:lnTo>
                      <a:pt x="560" y="379"/>
                    </a:lnTo>
                    <a:lnTo>
                      <a:pt x="479" y="371"/>
                    </a:lnTo>
                    <a:lnTo>
                      <a:pt x="404" y="361"/>
                    </a:lnTo>
                    <a:lnTo>
                      <a:pt x="334" y="349"/>
                    </a:lnTo>
                    <a:lnTo>
                      <a:pt x="268" y="336"/>
                    </a:lnTo>
                    <a:lnTo>
                      <a:pt x="238" y="329"/>
                    </a:lnTo>
                    <a:lnTo>
                      <a:pt x="209" y="322"/>
                    </a:lnTo>
                    <a:lnTo>
                      <a:pt x="182" y="315"/>
                    </a:lnTo>
                    <a:lnTo>
                      <a:pt x="157" y="307"/>
                    </a:lnTo>
                    <a:lnTo>
                      <a:pt x="132" y="299"/>
                    </a:lnTo>
                    <a:lnTo>
                      <a:pt x="110" y="291"/>
                    </a:lnTo>
                    <a:lnTo>
                      <a:pt x="90" y="283"/>
                    </a:lnTo>
                    <a:lnTo>
                      <a:pt x="72" y="274"/>
                    </a:lnTo>
                    <a:lnTo>
                      <a:pt x="55" y="265"/>
                    </a:lnTo>
                    <a:lnTo>
                      <a:pt x="41" y="256"/>
                    </a:lnTo>
                    <a:lnTo>
                      <a:pt x="29" y="247"/>
                    </a:lnTo>
                    <a:lnTo>
                      <a:pt x="18" y="237"/>
                    </a:lnTo>
                    <a:lnTo>
                      <a:pt x="10" y="228"/>
                    </a:lnTo>
                    <a:lnTo>
                      <a:pt x="5" y="218"/>
                    </a:lnTo>
                    <a:lnTo>
                      <a:pt x="1" y="208"/>
                    </a:lnTo>
                    <a:lnTo>
                      <a:pt x="0" y="198"/>
                    </a:lnTo>
                    <a:lnTo>
                      <a:pt x="0" y="198"/>
                    </a:lnTo>
                    <a:lnTo>
                      <a:pt x="1" y="188"/>
                    </a:lnTo>
                    <a:lnTo>
                      <a:pt x="5" y="177"/>
                    </a:lnTo>
                    <a:lnTo>
                      <a:pt x="10" y="167"/>
                    </a:lnTo>
                    <a:lnTo>
                      <a:pt x="18" y="157"/>
                    </a:lnTo>
                    <a:lnTo>
                      <a:pt x="29" y="148"/>
                    </a:lnTo>
                    <a:lnTo>
                      <a:pt x="41" y="139"/>
                    </a:lnTo>
                    <a:lnTo>
                      <a:pt x="55" y="130"/>
                    </a:lnTo>
                    <a:lnTo>
                      <a:pt x="72" y="121"/>
                    </a:lnTo>
                    <a:lnTo>
                      <a:pt x="90" y="112"/>
                    </a:lnTo>
                    <a:lnTo>
                      <a:pt x="110" y="104"/>
                    </a:lnTo>
                    <a:lnTo>
                      <a:pt x="132" y="95"/>
                    </a:lnTo>
                    <a:lnTo>
                      <a:pt x="157" y="87"/>
                    </a:lnTo>
                    <a:lnTo>
                      <a:pt x="182" y="80"/>
                    </a:lnTo>
                    <a:lnTo>
                      <a:pt x="209" y="72"/>
                    </a:lnTo>
                    <a:lnTo>
                      <a:pt x="238" y="65"/>
                    </a:lnTo>
                    <a:lnTo>
                      <a:pt x="268" y="58"/>
                    </a:lnTo>
                    <a:lnTo>
                      <a:pt x="334" y="46"/>
                    </a:lnTo>
                    <a:lnTo>
                      <a:pt x="404" y="35"/>
                    </a:lnTo>
                    <a:lnTo>
                      <a:pt x="479" y="25"/>
                    </a:lnTo>
                    <a:lnTo>
                      <a:pt x="560" y="16"/>
                    </a:lnTo>
                    <a:lnTo>
                      <a:pt x="644" y="9"/>
                    </a:lnTo>
                    <a:lnTo>
                      <a:pt x="732" y="4"/>
                    </a:lnTo>
                    <a:lnTo>
                      <a:pt x="823" y="1"/>
                    </a:lnTo>
                    <a:lnTo>
                      <a:pt x="917" y="0"/>
                    </a:lnTo>
                    <a:lnTo>
                      <a:pt x="917" y="0"/>
                    </a:lnTo>
                    <a:lnTo>
                      <a:pt x="1011" y="1"/>
                    </a:lnTo>
                    <a:lnTo>
                      <a:pt x="1102" y="4"/>
                    </a:lnTo>
                    <a:lnTo>
                      <a:pt x="1191" y="9"/>
                    </a:lnTo>
                    <a:lnTo>
                      <a:pt x="1275" y="16"/>
                    </a:lnTo>
                    <a:lnTo>
                      <a:pt x="1354" y="25"/>
                    </a:lnTo>
                    <a:lnTo>
                      <a:pt x="1431" y="35"/>
                    </a:lnTo>
                    <a:lnTo>
                      <a:pt x="1501" y="46"/>
                    </a:lnTo>
                    <a:lnTo>
                      <a:pt x="1567" y="58"/>
                    </a:lnTo>
                    <a:lnTo>
                      <a:pt x="1597" y="65"/>
                    </a:lnTo>
                    <a:lnTo>
                      <a:pt x="1625" y="72"/>
                    </a:lnTo>
                    <a:lnTo>
                      <a:pt x="1653" y="80"/>
                    </a:lnTo>
                    <a:lnTo>
                      <a:pt x="1678" y="87"/>
                    </a:lnTo>
                    <a:lnTo>
                      <a:pt x="1702" y="95"/>
                    </a:lnTo>
                    <a:lnTo>
                      <a:pt x="1725" y="104"/>
                    </a:lnTo>
                    <a:lnTo>
                      <a:pt x="1745" y="112"/>
                    </a:lnTo>
                    <a:lnTo>
                      <a:pt x="1763" y="121"/>
                    </a:lnTo>
                    <a:lnTo>
                      <a:pt x="1779" y="130"/>
                    </a:lnTo>
                    <a:lnTo>
                      <a:pt x="1794" y="139"/>
                    </a:lnTo>
                    <a:lnTo>
                      <a:pt x="1806" y="148"/>
                    </a:lnTo>
                    <a:lnTo>
                      <a:pt x="1816" y="157"/>
                    </a:lnTo>
                    <a:lnTo>
                      <a:pt x="1824" y="167"/>
                    </a:lnTo>
                    <a:lnTo>
                      <a:pt x="1830" y="177"/>
                    </a:lnTo>
                    <a:lnTo>
                      <a:pt x="1834" y="188"/>
                    </a:lnTo>
                    <a:lnTo>
                      <a:pt x="1835" y="198"/>
                    </a:lnTo>
                    <a:lnTo>
                      <a:pt x="1835" y="198"/>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9" name="Group 46"/>
              <p:cNvGrpSpPr/>
              <p:nvPr/>
            </p:nvGrpSpPr>
            <p:grpSpPr>
              <a:xfrm>
                <a:off x="2625138" y="3870694"/>
                <a:ext cx="700674" cy="1070474"/>
                <a:chOff x="1187624" y="2722226"/>
                <a:chExt cx="700674" cy="1070474"/>
              </a:xfrm>
              <a:solidFill>
                <a:srgbClr val="BF7400"/>
              </a:solidFill>
            </p:grpSpPr>
            <p:sp>
              <p:nvSpPr>
                <p:cNvPr id="26" name="Freeform 20"/>
                <p:cNvSpPr>
                  <a:spLocks noEditPoints="1"/>
                </p:cNvSpPr>
                <p:nvPr/>
              </p:nvSpPr>
              <p:spPr bwMode="auto">
                <a:xfrm>
                  <a:off x="1187624" y="2722226"/>
                  <a:ext cx="700674" cy="1070474"/>
                </a:xfrm>
                <a:custGeom>
                  <a:avLst/>
                  <a:gdLst>
                    <a:gd name="T0" fmla="*/ 3490 w 3526"/>
                    <a:gd name="T1" fmla="*/ 1408 h 5386"/>
                    <a:gd name="T2" fmla="*/ 3352 w 3526"/>
                    <a:gd name="T3" fmla="*/ 999 h 5386"/>
                    <a:gd name="T4" fmla="*/ 3123 w 3526"/>
                    <a:gd name="T5" fmla="*/ 642 h 5386"/>
                    <a:gd name="T6" fmla="*/ 2818 w 3526"/>
                    <a:gd name="T7" fmla="*/ 351 h 5386"/>
                    <a:gd name="T8" fmla="*/ 2449 w 3526"/>
                    <a:gd name="T9" fmla="*/ 139 h 5386"/>
                    <a:gd name="T10" fmla="*/ 2032 w 3526"/>
                    <a:gd name="T11" fmla="*/ 21 h 5386"/>
                    <a:gd name="T12" fmla="*/ 1627 w 3526"/>
                    <a:gd name="T13" fmla="*/ 6 h 5386"/>
                    <a:gd name="T14" fmla="*/ 1198 w 3526"/>
                    <a:gd name="T15" fmla="*/ 93 h 5386"/>
                    <a:gd name="T16" fmla="*/ 813 w 3526"/>
                    <a:gd name="T17" fmla="*/ 278 h 5386"/>
                    <a:gd name="T18" fmla="*/ 487 w 3526"/>
                    <a:gd name="T19" fmla="*/ 547 h 5386"/>
                    <a:gd name="T20" fmla="*/ 234 w 3526"/>
                    <a:gd name="T21" fmla="*/ 886 h 5386"/>
                    <a:gd name="T22" fmla="*/ 68 w 3526"/>
                    <a:gd name="T23" fmla="*/ 1280 h 5386"/>
                    <a:gd name="T24" fmla="*/ 1 w 3526"/>
                    <a:gd name="T25" fmla="*/ 1718 h 5386"/>
                    <a:gd name="T26" fmla="*/ 5 w 3526"/>
                    <a:gd name="T27" fmla="*/ 1997 h 5386"/>
                    <a:gd name="T28" fmla="*/ 163 w 3526"/>
                    <a:gd name="T29" fmla="*/ 2772 h 5386"/>
                    <a:gd name="T30" fmla="*/ 482 w 3526"/>
                    <a:gd name="T31" fmla="*/ 3531 h 5386"/>
                    <a:gd name="T32" fmla="*/ 882 w 3526"/>
                    <a:gd name="T33" fmla="*/ 4222 h 5386"/>
                    <a:gd name="T34" fmla="*/ 1547 w 3526"/>
                    <a:gd name="T35" fmla="*/ 5133 h 5386"/>
                    <a:gd name="T36" fmla="*/ 1926 w 3526"/>
                    <a:gd name="T37" fmla="*/ 5198 h 5386"/>
                    <a:gd name="T38" fmla="*/ 2603 w 3526"/>
                    <a:gd name="T39" fmla="*/ 4285 h 5386"/>
                    <a:gd name="T40" fmla="*/ 3006 w 3526"/>
                    <a:gd name="T41" fmla="*/ 3604 h 5386"/>
                    <a:gd name="T42" fmla="*/ 3337 w 3526"/>
                    <a:gd name="T43" fmla="*/ 2850 h 5386"/>
                    <a:gd name="T44" fmla="*/ 3514 w 3526"/>
                    <a:gd name="T45" fmla="*/ 2073 h 5386"/>
                    <a:gd name="T46" fmla="*/ 3526 w 3526"/>
                    <a:gd name="T47" fmla="*/ 1763 h 5386"/>
                    <a:gd name="T48" fmla="*/ 1327 w 3526"/>
                    <a:gd name="T49" fmla="*/ 3800 h 5386"/>
                    <a:gd name="T50" fmla="*/ 861 w 3526"/>
                    <a:gd name="T51" fmla="*/ 3547 h 5386"/>
                    <a:gd name="T52" fmla="*/ 522 w 3526"/>
                    <a:gd name="T53" fmla="*/ 3144 h 5386"/>
                    <a:gd name="T54" fmla="*/ 585 w 3526"/>
                    <a:gd name="T55" fmla="*/ 3133 h 5386"/>
                    <a:gd name="T56" fmla="*/ 962 w 3526"/>
                    <a:gd name="T57" fmla="*/ 3422 h 5386"/>
                    <a:gd name="T58" fmla="*/ 1414 w 3526"/>
                    <a:gd name="T59" fmla="*/ 3593 h 5386"/>
                    <a:gd name="T60" fmla="*/ 1865 w 3526"/>
                    <a:gd name="T61" fmla="*/ 3627 h 5386"/>
                    <a:gd name="T62" fmla="*/ 2347 w 3526"/>
                    <a:gd name="T63" fmla="*/ 3524 h 5386"/>
                    <a:gd name="T64" fmla="*/ 2764 w 3526"/>
                    <a:gd name="T65" fmla="*/ 3291 h 5386"/>
                    <a:gd name="T66" fmla="*/ 3096 w 3526"/>
                    <a:gd name="T67" fmla="*/ 2951 h 5386"/>
                    <a:gd name="T68" fmla="*/ 2853 w 3526"/>
                    <a:gd name="T69" fmla="*/ 3362 h 5386"/>
                    <a:gd name="T70" fmla="*/ 2445 w 3526"/>
                    <a:gd name="T71" fmla="*/ 3695 h 5386"/>
                    <a:gd name="T72" fmla="*/ 1932 w 3526"/>
                    <a:gd name="T73" fmla="*/ 3859 h 5386"/>
                    <a:gd name="T74" fmla="*/ 1617 w 3526"/>
                    <a:gd name="T75" fmla="*/ 3183 h 5386"/>
                    <a:gd name="T76" fmla="*/ 1272 w 3526"/>
                    <a:gd name="T77" fmla="*/ 3103 h 5386"/>
                    <a:gd name="T78" fmla="*/ 966 w 3526"/>
                    <a:gd name="T79" fmla="*/ 2946 h 5386"/>
                    <a:gd name="T80" fmla="*/ 707 w 3526"/>
                    <a:gd name="T81" fmla="*/ 2723 h 5386"/>
                    <a:gd name="T82" fmla="*/ 509 w 3526"/>
                    <a:gd name="T83" fmla="*/ 2443 h 5386"/>
                    <a:gd name="T84" fmla="*/ 382 w 3526"/>
                    <a:gd name="T85" fmla="*/ 2120 h 5386"/>
                    <a:gd name="T86" fmla="*/ 337 w 3526"/>
                    <a:gd name="T87" fmla="*/ 1763 h 5386"/>
                    <a:gd name="T88" fmla="*/ 373 w 3526"/>
                    <a:gd name="T89" fmla="*/ 1441 h 5386"/>
                    <a:gd name="T90" fmla="*/ 493 w 3526"/>
                    <a:gd name="T91" fmla="*/ 1114 h 5386"/>
                    <a:gd name="T92" fmla="*/ 685 w 3526"/>
                    <a:gd name="T93" fmla="*/ 830 h 5386"/>
                    <a:gd name="T94" fmla="*/ 938 w 3526"/>
                    <a:gd name="T95" fmla="*/ 600 h 5386"/>
                    <a:gd name="T96" fmla="*/ 1240 w 3526"/>
                    <a:gd name="T97" fmla="*/ 435 h 5386"/>
                    <a:gd name="T98" fmla="*/ 1581 w 3526"/>
                    <a:gd name="T99" fmla="*/ 348 h 5386"/>
                    <a:gd name="T100" fmla="*/ 1909 w 3526"/>
                    <a:gd name="T101" fmla="*/ 344 h 5386"/>
                    <a:gd name="T102" fmla="*/ 2254 w 3526"/>
                    <a:gd name="T103" fmla="*/ 423 h 5386"/>
                    <a:gd name="T104" fmla="*/ 2561 w 3526"/>
                    <a:gd name="T105" fmla="*/ 580 h 5386"/>
                    <a:gd name="T106" fmla="*/ 2819 w 3526"/>
                    <a:gd name="T107" fmla="*/ 805 h 5386"/>
                    <a:gd name="T108" fmla="*/ 3017 w 3526"/>
                    <a:gd name="T109" fmla="*/ 1083 h 5386"/>
                    <a:gd name="T110" fmla="*/ 3144 w 3526"/>
                    <a:gd name="T111" fmla="*/ 1407 h 5386"/>
                    <a:gd name="T112" fmla="*/ 3189 w 3526"/>
                    <a:gd name="T113" fmla="*/ 1763 h 5386"/>
                    <a:gd name="T114" fmla="*/ 3153 w 3526"/>
                    <a:gd name="T115" fmla="*/ 2085 h 5386"/>
                    <a:gd name="T116" fmla="*/ 3033 w 3526"/>
                    <a:gd name="T117" fmla="*/ 2413 h 5386"/>
                    <a:gd name="T118" fmla="*/ 2841 w 3526"/>
                    <a:gd name="T119" fmla="*/ 2697 h 5386"/>
                    <a:gd name="T120" fmla="*/ 2589 w 3526"/>
                    <a:gd name="T121" fmla="*/ 2927 h 5386"/>
                    <a:gd name="T122" fmla="*/ 2286 w 3526"/>
                    <a:gd name="T123" fmla="*/ 3091 h 5386"/>
                    <a:gd name="T124" fmla="*/ 1945 w 3526"/>
                    <a:gd name="T125" fmla="*/ 3179 h 5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6" h="5386">
                      <a:moveTo>
                        <a:pt x="3526" y="1763"/>
                      </a:moveTo>
                      <a:lnTo>
                        <a:pt x="3526" y="1763"/>
                      </a:lnTo>
                      <a:lnTo>
                        <a:pt x="3525" y="1718"/>
                      </a:lnTo>
                      <a:lnTo>
                        <a:pt x="3523" y="1673"/>
                      </a:lnTo>
                      <a:lnTo>
                        <a:pt x="3521" y="1627"/>
                      </a:lnTo>
                      <a:lnTo>
                        <a:pt x="3517" y="1583"/>
                      </a:lnTo>
                      <a:lnTo>
                        <a:pt x="3512" y="1539"/>
                      </a:lnTo>
                      <a:lnTo>
                        <a:pt x="3505" y="1495"/>
                      </a:lnTo>
                      <a:lnTo>
                        <a:pt x="3498" y="1451"/>
                      </a:lnTo>
                      <a:lnTo>
                        <a:pt x="3490" y="1408"/>
                      </a:lnTo>
                      <a:lnTo>
                        <a:pt x="3481" y="1365"/>
                      </a:lnTo>
                      <a:lnTo>
                        <a:pt x="3470" y="1323"/>
                      </a:lnTo>
                      <a:lnTo>
                        <a:pt x="3459" y="1280"/>
                      </a:lnTo>
                      <a:lnTo>
                        <a:pt x="3447" y="1239"/>
                      </a:lnTo>
                      <a:lnTo>
                        <a:pt x="3434" y="1198"/>
                      </a:lnTo>
                      <a:lnTo>
                        <a:pt x="3419" y="1158"/>
                      </a:lnTo>
                      <a:lnTo>
                        <a:pt x="3404" y="1116"/>
                      </a:lnTo>
                      <a:lnTo>
                        <a:pt x="3387" y="1077"/>
                      </a:lnTo>
                      <a:lnTo>
                        <a:pt x="3370" y="1038"/>
                      </a:lnTo>
                      <a:lnTo>
                        <a:pt x="3352" y="999"/>
                      </a:lnTo>
                      <a:lnTo>
                        <a:pt x="3333" y="960"/>
                      </a:lnTo>
                      <a:lnTo>
                        <a:pt x="3313" y="923"/>
                      </a:lnTo>
                      <a:lnTo>
                        <a:pt x="3292" y="886"/>
                      </a:lnTo>
                      <a:lnTo>
                        <a:pt x="3271" y="849"/>
                      </a:lnTo>
                      <a:lnTo>
                        <a:pt x="3249" y="813"/>
                      </a:lnTo>
                      <a:lnTo>
                        <a:pt x="3225" y="777"/>
                      </a:lnTo>
                      <a:lnTo>
                        <a:pt x="3200" y="743"/>
                      </a:lnTo>
                      <a:lnTo>
                        <a:pt x="3175" y="708"/>
                      </a:lnTo>
                      <a:lnTo>
                        <a:pt x="3150" y="675"/>
                      </a:lnTo>
                      <a:lnTo>
                        <a:pt x="3123" y="642"/>
                      </a:lnTo>
                      <a:lnTo>
                        <a:pt x="3096" y="609"/>
                      </a:lnTo>
                      <a:lnTo>
                        <a:pt x="3068" y="578"/>
                      </a:lnTo>
                      <a:lnTo>
                        <a:pt x="3040" y="547"/>
                      </a:lnTo>
                      <a:lnTo>
                        <a:pt x="3009" y="517"/>
                      </a:lnTo>
                      <a:lnTo>
                        <a:pt x="2979" y="487"/>
                      </a:lnTo>
                      <a:lnTo>
                        <a:pt x="2948" y="458"/>
                      </a:lnTo>
                      <a:lnTo>
                        <a:pt x="2917" y="430"/>
                      </a:lnTo>
                      <a:lnTo>
                        <a:pt x="2885" y="403"/>
                      </a:lnTo>
                      <a:lnTo>
                        <a:pt x="2851" y="376"/>
                      </a:lnTo>
                      <a:lnTo>
                        <a:pt x="2818" y="351"/>
                      </a:lnTo>
                      <a:lnTo>
                        <a:pt x="2784" y="326"/>
                      </a:lnTo>
                      <a:lnTo>
                        <a:pt x="2749" y="302"/>
                      </a:lnTo>
                      <a:lnTo>
                        <a:pt x="2714" y="278"/>
                      </a:lnTo>
                      <a:lnTo>
                        <a:pt x="2677" y="255"/>
                      </a:lnTo>
                      <a:lnTo>
                        <a:pt x="2640" y="234"/>
                      </a:lnTo>
                      <a:lnTo>
                        <a:pt x="2603" y="213"/>
                      </a:lnTo>
                      <a:lnTo>
                        <a:pt x="2566" y="193"/>
                      </a:lnTo>
                      <a:lnTo>
                        <a:pt x="2528" y="174"/>
                      </a:lnTo>
                      <a:lnTo>
                        <a:pt x="2488" y="156"/>
                      </a:lnTo>
                      <a:lnTo>
                        <a:pt x="2449" y="139"/>
                      </a:lnTo>
                      <a:lnTo>
                        <a:pt x="2410" y="122"/>
                      </a:lnTo>
                      <a:lnTo>
                        <a:pt x="2370" y="107"/>
                      </a:lnTo>
                      <a:lnTo>
                        <a:pt x="2328" y="93"/>
                      </a:lnTo>
                      <a:lnTo>
                        <a:pt x="2287" y="79"/>
                      </a:lnTo>
                      <a:lnTo>
                        <a:pt x="2246" y="67"/>
                      </a:lnTo>
                      <a:lnTo>
                        <a:pt x="2204" y="56"/>
                      </a:lnTo>
                      <a:lnTo>
                        <a:pt x="2162" y="45"/>
                      </a:lnTo>
                      <a:lnTo>
                        <a:pt x="2118" y="36"/>
                      </a:lnTo>
                      <a:lnTo>
                        <a:pt x="2075" y="28"/>
                      </a:lnTo>
                      <a:lnTo>
                        <a:pt x="2032" y="21"/>
                      </a:lnTo>
                      <a:lnTo>
                        <a:pt x="1988" y="15"/>
                      </a:lnTo>
                      <a:lnTo>
                        <a:pt x="1943" y="9"/>
                      </a:lnTo>
                      <a:lnTo>
                        <a:pt x="1899" y="6"/>
                      </a:lnTo>
                      <a:lnTo>
                        <a:pt x="1854" y="3"/>
                      </a:lnTo>
                      <a:lnTo>
                        <a:pt x="1809" y="1"/>
                      </a:lnTo>
                      <a:lnTo>
                        <a:pt x="1763" y="0"/>
                      </a:lnTo>
                      <a:lnTo>
                        <a:pt x="1763" y="0"/>
                      </a:lnTo>
                      <a:lnTo>
                        <a:pt x="1718" y="1"/>
                      </a:lnTo>
                      <a:lnTo>
                        <a:pt x="1673" y="3"/>
                      </a:lnTo>
                      <a:lnTo>
                        <a:pt x="1627" y="6"/>
                      </a:lnTo>
                      <a:lnTo>
                        <a:pt x="1583" y="9"/>
                      </a:lnTo>
                      <a:lnTo>
                        <a:pt x="1539" y="15"/>
                      </a:lnTo>
                      <a:lnTo>
                        <a:pt x="1495" y="21"/>
                      </a:lnTo>
                      <a:lnTo>
                        <a:pt x="1451" y="28"/>
                      </a:lnTo>
                      <a:lnTo>
                        <a:pt x="1408" y="36"/>
                      </a:lnTo>
                      <a:lnTo>
                        <a:pt x="1365" y="45"/>
                      </a:lnTo>
                      <a:lnTo>
                        <a:pt x="1323" y="56"/>
                      </a:lnTo>
                      <a:lnTo>
                        <a:pt x="1280" y="67"/>
                      </a:lnTo>
                      <a:lnTo>
                        <a:pt x="1239" y="79"/>
                      </a:lnTo>
                      <a:lnTo>
                        <a:pt x="1198" y="93"/>
                      </a:lnTo>
                      <a:lnTo>
                        <a:pt x="1157" y="107"/>
                      </a:lnTo>
                      <a:lnTo>
                        <a:pt x="1117" y="122"/>
                      </a:lnTo>
                      <a:lnTo>
                        <a:pt x="1077" y="139"/>
                      </a:lnTo>
                      <a:lnTo>
                        <a:pt x="1038" y="156"/>
                      </a:lnTo>
                      <a:lnTo>
                        <a:pt x="999" y="174"/>
                      </a:lnTo>
                      <a:lnTo>
                        <a:pt x="961" y="193"/>
                      </a:lnTo>
                      <a:lnTo>
                        <a:pt x="923" y="213"/>
                      </a:lnTo>
                      <a:lnTo>
                        <a:pt x="886" y="234"/>
                      </a:lnTo>
                      <a:lnTo>
                        <a:pt x="849" y="255"/>
                      </a:lnTo>
                      <a:lnTo>
                        <a:pt x="813" y="278"/>
                      </a:lnTo>
                      <a:lnTo>
                        <a:pt x="778" y="302"/>
                      </a:lnTo>
                      <a:lnTo>
                        <a:pt x="742" y="326"/>
                      </a:lnTo>
                      <a:lnTo>
                        <a:pt x="708" y="351"/>
                      </a:lnTo>
                      <a:lnTo>
                        <a:pt x="675" y="376"/>
                      </a:lnTo>
                      <a:lnTo>
                        <a:pt x="642" y="403"/>
                      </a:lnTo>
                      <a:lnTo>
                        <a:pt x="610" y="430"/>
                      </a:lnTo>
                      <a:lnTo>
                        <a:pt x="577" y="458"/>
                      </a:lnTo>
                      <a:lnTo>
                        <a:pt x="547" y="487"/>
                      </a:lnTo>
                      <a:lnTo>
                        <a:pt x="517" y="517"/>
                      </a:lnTo>
                      <a:lnTo>
                        <a:pt x="487" y="547"/>
                      </a:lnTo>
                      <a:lnTo>
                        <a:pt x="459" y="578"/>
                      </a:lnTo>
                      <a:lnTo>
                        <a:pt x="431" y="609"/>
                      </a:lnTo>
                      <a:lnTo>
                        <a:pt x="402" y="642"/>
                      </a:lnTo>
                      <a:lnTo>
                        <a:pt x="376" y="675"/>
                      </a:lnTo>
                      <a:lnTo>
                        <a:pt x="350" y="708"/>
                      </a:lnTo>
                      <a:lnTo>
                        <a:pt x="326" y="743"/>
                      </a:lnTo>
                      <a:lnTo>
                        <a:pt x="302" y="777"/>
                      </a:lnTo>
                      <a:lnTo>
                        <a:pt x="278" y="813"/>
                      </a:lnTo>
                      <a:lnTo>
                        <a:pt x="256" y="849"/>
                      </a:lnTo>
                      <a:lnTo>
                        <a:pt x="234" y="886"/>
                      </a:lnTo>
                      <a:lnTo>
                        <a:pt x="213" y="923"/>
                      </a:lnTo>
                      <a:lnTo>
                        <a:pt x="193" y="960"/>
                      </a:lnTo>
                      <a:lnTo>
                        <a:pt x="174" y="999"/>
                      </a:lnTo>
                      <a:lnTo>
                        <a:pt x="156" y="1038"/>
                      </a:lnTo>
                      <a:lnTo>
                        <a:pt x="139" y="1077"/>
                      </a:lnTo>
                      <a:lnTo>
                        <a:pt x="123" y="1116"/>
                      </a:lnTo>
                      <a:lnTo>
                        <a:pt x="108" y="1158"/>
                      </a:lnTo>
                      <a:lnTo>
                        <a:pt x="93" y="1198"/>
                      </a:lnTo>
                      <a:lnTo>
                        <a:pt x="80" y="1239"/>
                      </a:lnTo>
                      <a:lnTo>
                        <a:pt x="68" y="1280"/>
                      </a:lnTo>
                      <a:lnTo>
                        <a:pt x="56" y="1323"/>
                      </a:lnTo>
                      <a:lnTo>
                        <a:pt x="45" y="1365"/>
                      </a:lnTo>
                      <a:lnTo>
                        <a:pt x="36" y="1408"/>
                      </a:lnTo>
                      <a:lnTo>
                        <a:pt x="28" y="1451"/>
                      </a:lnTo>
                      <a:lnTo>
                        <a:pt x="20" y="1495"/>
                      </a:lnTo>
                      <a:lnTo>
                        <a:pt x="14" y="1539"/>
                      </a:lnTo>
                      <a:lnTo>
                        <a:pt x="9" y="1583"/>
                      </a:lnTo>
                      <a:lnTo>
                        <a:pt x="5" y="1627"/>
                      </a:lnTo>
                      <a:lnTo>
                        <a:pt x="3" y="1673"/>
                      </a:lnTo>
                      <a:lnTo>
                        <a:pt x="1" y="1718"/>
                      </a:lnTo>
                      <a:lnTo>
                        <a:pt x="0" y="1763"/>
                      </a:lnTo>
                      <a:lnTo>
                        <a:pt x="0" y="1763"/>
                      </a:lnTo>
                      <a:lnTo>
                        <a:pt x="1" y="1805"/>
                      </a:lnTo>
                      <a:lnTo>
                        <a:pt x="1" y="1805"/>
                      </a:lnTo>
                      <a:lnTo>
                        <a:pt x="0" y="1844"/>
                      </a:lnTo>
                      <a:lnTo>
                        <a:pt x="0" y="1844"/>
                      </a:lnTo>
                      <a:lnTo>
                        <a:pt x="1" y="1882"/>
                      </a:lnTo>
                      <a:lnTo>
                        <a:pt x="2" y="1920"/>
                      </a:lnTo>
                      <a:lnTo>
                        <a:pt x="3" y="1958"/>
                      </a:lnTo>
                      <a:lnTo>
                        <a:pt x="5" y="1997"/>
                      </a:lnTo>
                      <a:lnTo>
                        <a:pt x="11" y="2073"/>
                      </a:lnTo>
                      <a:lnTo>
                        <a:pt x="20" y="2150"/>
                      </a:lnTo>
                      <a:lnTo>
                        <a:pt x="31" y="2228"/>
                      </a:lnTo>
                      <a:lnTo>
                        <a:pt x="44" y="2305"/>
                      </a:lnTo>
                      <a:lnTo>
                        <a:pt x="60" y="2383"/>
                      </a:lnTo>
                      <a:lnTo>
                        <a:pt x="77" y="2460"/>
                      </a:lnTo>
                      <a:lnTo>
                        <a:pt x="96" y="2539"/>
                      </a:lnTo>
                      <a:lnTo>
                        <a:pt x="116" y="2616"/>
                      </a:lnTo>
                      <a:lnTo>
                        <a:pt x="139" y="2694"/>
                      </a:lnTo>
                      <a:lnTo>
                        <a:pt x="163" y="2772"/>
                      </a:lnTo>
                      <a:lnTo>
                        <a:pt x="189" y="2850"/>
                      </a:lnTo>
                      <a:lnTo>
                        <a:pt x="216" y="2926"/>
                      </a:lnTo>
                      <a:lnTo>
                        <a:pt x="246" y="3004"/>
                      </a:lnTo>
                      <a:lnTo>
                        <a:pt x="276" y="3080"/>
                      </a:lnTo>
                      <a:lnTo>
                        <a:pt x="308" y="3156"/>
                      </a:lnTo>
                      <a:lnTo>
                        <a:pt x="340" y="3233"/>
                      </a:lnTo>
                      <a:lnTo>
                        <a:pt x="374" y="3307"/>
                      </a:lnTo>
                      <a:lnTo>
                        <a:pt x="410" y="3383"/>
                      </a:lnTo>
                      <a:lnTo>
                        <a:pt x="446" y="3457"/>
                      </a:lnTo>
                      <a:lnTo>
                        <a:pt x="482" y="3531"/>
                      </a:lnTo>
                      <a:lnTo>
                        <a:pt x="520" y="3604"/>
                      </a:lnTo>
                      <a:lnTo>
                        <a:pt x="558" y="3675"/>
                      </a:lnTo>
                      <a:lnTo>
                        <a:pt x="598" y="3748"/>
                      </a:lnTo>
                      <a:lnTo>
                        <a:pt x="637" y="3818"/>
                      </a:lnTo>
                      <a:lnTo>
                        <a:pt x="677" y="3888"/>
                      </a:lnTo>
                      <a:lnTo>
                        <a:pt x="717" y="3957"/>
                      </a:lnTo>
                      <a:lnTo>
                        <a:pt x="759" y="4025"/>
                      </a:lnTo>
                      <a:lnTo>
                        <a:pt x="800" y="4092"/>
                      </a:lnTo>
                      <a:lnTo>
                        <a:pt x="841" y="4157"/>
                      </a:lnTo>
                      <a:lnTo>
                        <a:pt x="882" y="4222"/>
                      </a:lnTo>
                      <a:lnTo>
                        <a:pt x="923" y="4285"/>
                      </a:lnTo>
                      <a:lnTo>
                        <a:pt x="965" y="4347"/>
                      </a:lnTo>
                      <a:lnTo>
                        <a:pt x="1046" y="4468"/>
                      </a:lnTo>
                      <a:lnTo>
                        <a:pt x="1127" y="4583"/>
                      </a:lnTo>
                      <a:lnTo>
                        <a:pt x="1205" y="4693"/>
                      </a:lnTo>
                      <a:lnTo>
                        <a:pt x="1281" y="4795"/>
                      </a:lnTo>
                      <a:lnTo>
                        <a:pt x="1354" y="4891"/>
                      </a:lnTo>
                      <a:lnTo>
                        <a:pt x="1423" y="4979"/>
                      </a:lnTo>
                      <a:lnTo>
                        <a:pt x="1488" y="5061"/>
                      </a:lnTo>
                      <a:lnTo>
                        <a:pt x="1547" y="5133"/>
                      </a:lnTo>
                      <a:lnTo>
                        <a:pt x="1600" y="5198"/>
                      </a:lnTo>
                      <a:lnTo>
                        <a:pt x="1648" y="5254"/>
                      </a:lnTo>
                      <a:lnTo>
                        <a:pt x="1688" y="5300"/>
                      </a:lnTo>
                      <a:lnTo>
                        <a:pt x="1743" y="5364"/>
                      </a:lnTo>
                      <a:lnTo>
                        <a:pt x="1763" y="5386"/>
                      </a:lnTo>
                      <a:lnTo>
                        <a:pt x="1763" y="5386"/>
                      </a:lnTo>
                      <a:lnTo>
                        <a:pt x="1783" y="5364"/>
                      </a:lnTo>
                      <a:lnTo>
                        <a:pt x="1839" y="5300"/>
                      </a:lnTo>
                      <a:lnTo>
                        <a:pt x="1879" y="5254"/>
                      </a:lnTo>
                      <a:lnTo>
                        <a:pt x="1926" y="5198"/>
                      </a:lnTo>
                      <a:lnTo>
                        <a:pt x="1979" y="5133"/>
                      </a:lnTo>
                      <a:lnTo>
                        <a:pt x="2039" y="5061"/>
                      </a:lnTo>
                      <a:lnTo>
                        <a:pt x="2103" y="4979"/>
                      </a:lnTo>
                      <a:lnTo>
                        <a:pt x="2172" y="4891"/>
                      </a:lnTo>
                      <a:lnTo>
                        <a:pt x="2245" y="4795"/>
                      </a:lnTo>
                      <a:lnTo>
                        <a:pt x="2321" y="4693"/>
                      </a:lnTo>
                      <a:lnTo>
                        <a:pt x="2400" y="4583"/>
                      </a:lnTo>
                      <a:lnTo>
                        <a:pt x="2480" y="4468"/>
                      </a:lnTo>
                      <a:lnTo>
                        <a:pt x="2562" y="4347"/>
                      </a:lnTo>
                      <a:lnTo>
                        <a:pt x="2603" y="4285"/>
                      </a:lnTo>
                      <a:lnTo>
                        <a:pt x="2644" y="4222"/>
                      </a:lnTo>
                      <a:lnTo>
                        <a:pt x="2685" y="4157"/>
                      </a:lnTo>
                      <a:lnTo>
                        <a:pt x="2727" y="4092"/>
                      </a:lnTo>
                      <a:lnTo>
                        <a:pt x="2768" y="4025"/>
                      </a:lnTo>
                      <a:lnTo>
                        <a:pt x="2809" y="3957"/>
                      </a:lnTo>
                      <a:lnTo>
                        <a:pt x="2849" y="3888"/>
                      </a:lnTo>
                      <a:lnTo>
                        <a:pt x="2890" y="3818"/>
                      </a:lnTo>
                      <a:lnTo>
                        <a:pt x="2929" y="3748"/>
                      </a:lnTo>
                      <a:lnTo>
                        <a:pt x="2968" y="3675"/>
                      </a:lnTo>
                      <a:lnTo>
                        <a:pt x="3006" y="3604"/>
                      </a:lnTo>
                      <a:lnTo>
                        <a:pt x="3045" y="3531"/>
                      </a:lnTo>
                      <a:lnTo>
                        <a:pt x="3081" y="3457"/>
                      </a:lnTo>
                      <a:lnTo>
                        <a:pt x="3117" y="3383"/>
                      </a:lnTo>
                      <a:lnTo>
                        <a:pt x="3152" y="3307"/>
                      </a:lnTo>
                      <a:lnTo>
                        <a:pt x="3186" y="3233"/>
                      </a:lnTo>
                      <a:lnTo>
                        <a:pt x="3219" y="3156"/>
                      </a:lnTo>
                      <a:lnTo>
                        <a:pt x="3251" y="3080"/>
                      </a:lnTo>
                      <a:lnTo>
                        <a:pt x="3281" y="3004"/>
                      </a:lnTo>
                      <a:lnTo>
                        <a:pt x="3310" y="2926"/>
                      </a:lnTo>
                      <a:lnTo>
                        <a:pt x="3337" y="2850"/>
                      </a:lnTo>
                      <a:lnTo>
                        <a:pt x="3363" y="2772"/>
                      </a:lnTo>
                      <a:lnTo>
                        <a:pt x="3387" y="2694"/>
                      </a:lnTo>
                      <a:lnTo>
                        <a:pt x="3411" y="2616"/>
                      </a:lnTo>
                      <a:lnTo>
                        <a:pt x="3431" y="2539"/>
                      </a:lnTo>
                      <a:lnTo>
                        <a:pt x="3450" y="2460"/>
                      </a:lnTo>
                      <a:lnTo>
                        <a:pt x="3467" y="2383"/>
                      </a:lnTo>
                      <a:lnTo>
                        <a:pt x="3482" y="2305"/>
                      </a:lnTo>
                      <a:lnTo>
                        <a:pt x="3495" y="2228"/>
                      </a:lnTo>
                      <a:lnTo>
                        <a:pt x="3506" y="2150"/>
                      </a:lnTo>
                      <a:lnTo>
                        <a:pt x="3514" y="2073"/>
                      </a:lnTo>
                      <a:lnTo>
                        <a:pt x="3521" y="1997"/>
                      </a:lnTo>
                      <a:lnTo>
                        <a:pt x="3523" y="1958"/>
                      </a:lnTo>
                      <a:lnTo>
                        <a:pt x="3524" y="1920"/>
                      </a:lnTo>
                      <a:lnTo>
                        <a:pt x="3525" y="1882"/>
                      </a:lnTo>
                      <a:lnTo>
                        <a:pt x="3526" y="1844"/>
                      </a:lnTo>
                      <a:lnTo>
                        <a:pt x="3526" y="1844"/>
                      </a:lnTo>
                      <a:lnTo>
                        <a:pt x="3525" y="1805"/>
                      </a:lnTo>
                      <a:lnTo>
                        <a:pt x="3525" y="1805"/>
                      </a:lnTo>
                      <a:lnTo>
                        <a:pt x="3526" y="1763"/>
                      </a:lnTo>
                      <a:lnTo>
                        <a:pt x="3526" y="1763"/>
                      </a:lnTo>
                      <a:close/>
                      <a:moveTo>
                        <a:pt x="1763" y="3869"/>
                      </a:moveTo>
                      <a:lnTo>
                        <a:pt x="1763" y="3869"/>
                      </a:lnTo>
                      <a:lnTo>
                        <a:pt x="1707" y="3868"/>
                      </a:lnTo>
                      <a:lnTo>
                        <a:pt x="1651" y="3864"/>
                      </a:lnTo>
                      <a:lnTo>
                        <a:pt x="1594" y="3859"/>
                      </a:lnTo>
                      <a:lnTo>
                        <a:pt x="1540" y="3851"/>
                      </a:lnTo>
                      <a:lnTo>
                        <a:pt x="1486" y="3841"/>
                      </a:lnTo>
                      <a:lnTo>
                        <a:pt x="1432" y="3829"/>
                      </a:lnTo>
                      <a:lnTo>
                        <a:pt x="1379" y="3816"/>
                      </a:lnTo>
                      <a:lnTo>
                        <a:pt x="1327" y="3800"/>
                      </a:lnTo>
                      <a:lnTo>
                        <a:pt x="1276" y="3783"/>
                      </a:lnTo>
                      <a:lnTo>
                        <a:pt x="1226" y="3764"/>
                      </a:lnTo>
                      <a:lnTo>
                        <a:pt x="1177" y="3742"/>
                      </a:lnTo>
                      <a:lnTo>
                        <a:pt x="1129" y="3720"/>
                      </a:lnTo>
                      <a:lnTo>
                        <a:pt x="1081" y="3695"/>
                      </a:lnTo>
                      <a:lnTo>
                        <a:pt x="1035" y="3668"/>
                      </a:lnTo>
                      <a:lnTo>
                        <a:pt x="990" y="3640"/>
                      </a:lnTo>
                      <a:lnTo>
                        <a:pt x="946" y="3611"/>
                      </a:lnTo>
                      <a:lnTo>
                        <a:pt x="903" y="3580"/>
                      </a:lnTo>
                      <a:lnTo>
                        <a:pt x="861" y="3547"/>
                      </a:lnTo>
                      <a:lnTo>
                        <a:pt x="821" y="3513"/>
                      </a:lnTo>
                      <a:lnTo>
                        <a:pt x="782" y="3476"/>
                      </a:lnTo>
                      <a:lnTo>
                        <a:pt x="744" y="3440"/>
                      </a:lnTo>
                      <a:lnTo>
                        <a:pt x="708" y="3401"/>
                      </a:lnTo>
                      <a:lnTo>
                        <a:pt x="673" y="3362"/>
                      </a:lnTo>
                      <a:lnTo>
                        <a:pt x="640" y="3320"/>
                      </a:lnTo>
                      <a:lnTo>
                        <a:pt x="608" y="3278"/>
                      </a:lnTo>
                      <a:lnTo>
                        <a:pt x="577" y="3235"/>
                      </a:lnTo>
                      <a:lnTo>
                        <a:pt x="549" y="3190"/>
                      </a:lnTo>
                      <a:lnTo>
                        <a:pt x="522" y="3144"/>
                      </a:lnTo>
                      <a:lnTo>
                        <a:pt x="497" y="3097"/>
                      </a:lnTo>
                      <a:lnTo>
                        <a:pt x="473" y="3050"/>
                      </a:lnTo>
                      <a:lnTo>
                        <a:pt x="451" y="3001"/>
                      </a:lnTo>
                      <a:lnTo>
                        <a:pt x="431" y="2951"/>
                      </a:lnTo>
                      <a:lnTo>
                        <a:pt x="431" y="2951"/>
                      </a:lnTo>
                      <a:lnTo>
                        <a:pt x="460" y="2989"/>
                      </a:lnTo>
                      <a:lnTo>
                        <a:pt x="489" y="3027"/>
                      </a:lnTo>
                      <a:lnTo>
                        <a:pt x="520" y="3063"/>
                      </a:lnTo>
                      <a:lnTo>
                        <a:pt x="551" y="3098"/>
                      </a:lnTo>
                      <a:lnTo>
                        <a:pt x="585" y="3133"/>
                      </a:lnTo>
                      <a:lnTo>
                        <a:pt x="618" y="3166"/>
                      </a:lnTo>
                      <a:lnTo>
                        <a:pt x="653" y="3199"/>
                      </a:lnTo>
                      <a:lnTo>
                        <a:pt x="688" y="3231"/>
                      </a:lnTo>
                      <a:lnTo>
                        <a:pt x="724" y="3261"/>
                      </a:lnTo>
                      <a:lnTo>
                        <a:pt x="763" y="3291"/>
                      </a:lnTo>
                      <a:lnTo>
                        <a:pt x="801" y="3319"/>
                      </a:lnTo>
                      <a:lnTo>
                        <a:pt x="840" y="3347"/>
                      </a:lnTo>
                      <a:lnTo>
                        <a:pt x="879" y="3373"/>
                      </a:lnTo>
                      <a:lnTo>
                        <a:pt x="920" y="3398"/>
                      </a:lnTo>
                      <a:lnTo>
                        <a:pt x="962" y="3422"/>
                      </a:lnTo>
                      <a:lnTo>
                        <a:pt x="1004" y="3445"/>
                      </a:lnTo>
                      <a:lnTo>
                        <a:pt x="1047" y="3466"/>
                      </a:lnTo>
                      <a:lnTo>
                        <a:pt x="1090" y="3487"/>
                      </a:lnTo>
                      <a:lnTo>
                        <a:pt x="1135" y="3506"/>
                      </a:lnTo>
                      <a:lnTo>
                        <a:pt x="1180" y="3524"/>
                      </a:lnTo>
                      <a:lnTo>
                        <a:pt x="1225" y="3541"/>
                      </a:lnTo>
                      <a:lnTo>
                        <a:pt x="1271" y="3556"/>
                      </a:lnTo>
                      <a:lnTo>
                        <a:pt x="1319" y="3570"/>
                      </a:lnTo>
                      <a:lnTo>
                        <a:pt x="1366" y="3582"/>
                      </a:lnTo>
                      <a:lnTo>
                        <a:pt x="1414" y="3593"/>
                      </a:lnTo>
                      <a:lnTo>
                        <a:pt x="1463" y="3603"/>
                      </a:lnTo>
                      <a:lnTo>
                        <a:pt x="1512" y="3611"/>
                      </a:lnTo>
                      <a:lnTo>
                        <a:pt x="1561" y="3618"/>
                      </a:lnTo>
                      <a:lnTo>
                        <a:pt x="1610" y="3623"/>
                      </a:lnTo>
                      <a:lnTo>
                        <a:pt x="1662" y="3627"/>
                      </a:lnTo>
                      <a:lnTo>
                        <a:pt x="1712" y="3630"/>
                      </a:lnTo>
                      <a:lnTo>
                        <a:pt x="1763" y="3630"/>
                      </a:lnTo>
                      <a:lnTo>
                        <a:pt x="1763" y="3630"/>
                      </a:lnTo>
                      <a:lnTo>
                        <a:pt x="1815" y="3630"/>
                      </a:lnTo>
                      <a:lnTo>
                        <a:pt x="1865" y="3627"/>
                      </a:lnTo>
                      <a:lnTo>
                        <a:pt x="1915" y="3623"/>
                      </a:lnTo>
                      <a:lnTo>
                        <a:pt x="1965" y="3618"/>
                      </a:lnTo>
                      <a:lnTo>
                        <a:pt x="2015" y="3611"/>
                      </a:lnTo>
                      <a:lnTo>
                        <a:pt x="2064" y="3603"/>
                      </a:lnTo>
                      <a:lnTo>
                        <a:pt x="2112" y="3593"/>
                      </a:lnTo>
                      <a:lnTo>
                        <a:pt x="2161" y="3582"/>
                      </a:lnTo>
                      <a:lnTo>
                        <a:pt x="2208" y="3570"/>
                      </a:lnTo>
                      <a:lnTo>
                        <a:pt x="2255" y="3556"/>
                      </a:lnTo>
                      <a:lnTo>
                        <a:pt x="2301" y="3541"/>
                      </a:lnTo>
                      <a:lnTo>
                        <a:pt x="2347" y="3524"/>
                      </a:lnTo>
                      <a:lnTo>
                        <a:pt x="2392" y="3506"/>
                      </a:lnTo>
                      <a:lnTo>
                        <a:pt x="2436" y="3487"/>
                      </a:lnTo>
                      <a:lnTo>
                        <a:pt x="2479" y="3466"/>
                      </a:lnTo>
                      <a:lnTo>
                        <a:pt x="2523" y="3445"/>
                      </a:lnTo>
                      <a:lnTo>
                        <a:pt x="2565" y="3422"/>
                      </a:lnTo>
                      <a:lnTo>
                        <a:pt x="2606" y="3398"/>
                      </a:lnTo>
                      <a:lnTo>
                        <a:pt x="2647" y="3373"/>
                      </a:lnTo>
                      <a:lnTo>
                        <a:pt x="2687" y="3347"/>
                      </a:lnTo>
                      <a:lnTo>
                        <a:pt x="2726" y="3319"/>
                      </a:lnTo>
                      <a:lnTo>
                        <a:pt x="2764" y="3291"/>
                      </a:lnTo>
                      <a:lnTo>
                        <a:pt x="2801" y="3261"/>
                      </a:lnTo>
                      <a:lnTo>
                        <a:pt x="2838" y="3231"/>
                      </a:lnTo>
                      <a:lnTo>
                        <a:pt x="2874" y="3199"/>
                      </a:lnTo>
                      <a:lnTo>
                        <a:pt x="2909" y="3166"/>
                      </a:lnTo>
                      <a:lnTo>
                        <a:pt x="2942" y="3133"/>
                      </a:lnTo>
                      <a:lnTo>
                        <a:pt x="2975" y="3098"/>
                      </a:lnTo>
                      <a:lnTo>
                        <a:pt x="3006" y="3063"/>
                      </a:lnTo>
                      <a:lnTo>
                        <a:pt x="3038" y="3027"/>
                      </a:lnTo>
                      <a:lnTo>
                        <a:pt x="3067" y="2989"/>
                      </a:lnTo>
                      <a:lnTo>
                        <a:pt x="3096" y="2951"/>
                      </a:lnTo>
                      <a:lnTo>
                        <a:pt x="3096" y="2951"/>
                      </a:lnTo>
                      <a:lnTo>
                        <a:pt x="3076" y="3001"/>
                      </a:lnTo>
                      <a:lnTo>
                        <a:pt x="3054" y="3050"/>
                      </a:lnTo>
                      <a:lnTo>
                        <a:pt x="3029" y="3097"/>
                      </a:lnTo>
                      <a:lnTo>
                        <a:pt x="3004" y="3144"/>
                      </a:lnTo>
                      <a:lnTo>
                        <a:pt x="2977" y="3190"/>
                      </a:lnTo>
                      <a:lnTo>
                        <a:pt x="2949" y="3235"/>
                      </a:lnTo>
                      <a:lnTo>
                        <a:pt x="2918" y="3278"/>
                      </a:lnTo>
                      <a:lnTo>
                        <a:pt x="2887" y="3320"/>
                      </a:lnTo>
                      <a:lnTo>
                        <a:pt x="2853" y="3362"/>
                      </a:lnTo>
                      <a:lnTo>
                        <a:pt x="2818" y="3401"/>
                      </a:lnTo>
                      <a:lnTo>
                        <a:pt x="2782" y="3440"/>
                      </a:lnTo>
                      <a:lnTo>
                        <a:pt x="2744" y="3476"/>
                      </a:lnTo>
                      <a:lnTo>
                        <a:pt x="2706" y="3513"/>
                      </a:lnTo>
                      <a:lnTo>
                        <a:pt x="2665" y="3547"/>
                      </a:lnTo>
                      <a:lnTo>
                        <a:pt x="2623" y="3580"/>
                      </a:lnTo>
                      <a:lnTo>
                        <a:pt x="2581" y="3611"/>
                      </a:lnTo>
                      <a:lnTo>
                        <a:pt x="2537" y="3640"/>
                      </a:lnTo>
                      <a:lnTo>
                        <a:pt x="2491" y="3668"/>
                      </a:lnTo>
                      <a:lnTo>
                        <a:pt x="2445" y="3695"/>
                      </a:lnTo>
                      <a:lnTo>
                        <a:pt x="2398" y="3720"/>
                      </a:lnTo>
                      <a:lnTo>
                        <a:pt x="2350" y="3742"/>
                      </a:lnTo>
                      <a:lnTo>
                        <a:pt x="2300" y="3764"/>
                      </a:lnTo>
                      <a:lnTo>
                        <a:pt x="2250" y="3783"/>
                      </a:lnTo>
                      <a:lnTo>
                        <a:pt x="2199" y="3800"/>
                      </a:lnTo>
                      <a:lnTo>
                        <a:pt x="2147" y="3816"/>
                      </a:lnTo>
                      <a:lnTo>
                        <a:pt x="2094" y="3829"/>
                      </a:lnTo>
                      <a:lnTo>
                        <a:pt x="2041" y="3841"/>
                      </a:lnTo>
                      <a:lnTo>
                        <a:pt x="1987" y="3851"/>
                      </a:lnTo>
                      <a:lnTo>
                        <a:pt x="1932" y="3859"/>
                      </a:lnTo>
                      <a:lnTo>
                        <a:pt x="1876" y="3864"/>
                      </a:lnTo>
                      <a:lnTo>
                        <a:pt x="1820" y="3868"/>
                      </a:lnTo>
                      <a:lnTo>
                        <a:pt x="1763" y="3869"/>
                      </a:lnTo>
                      <a:lnTo>
                        <a:pt x="1763" y="3869"/>
                      </a:lnTo>
                      <a:close/>
                      <a:moveTo>
                        <a:pt x="1763" y="3190"/>
                      </a:moveTo>
                      <a:lnTo>
                        <a:pt x="1763" y="3190"/>
                      </a:lnTo>
                      <a:lnTo>
                        <a:pt x="1726" y="3190"/>
                      </a:lnTo>
                      <a:lnTo>
                        <a:pt x="1690" y="3188"/>
                      </a:lnTo>
                      <a:lnTo>
                        <a:pt x="1654" y="3186"/>
                      </a:lnTo>
                      <a:lnTo>
                        <a:pt x="1617" y="3183"/>
                      </a:lnTo>
                      <a:lnTo>
                        <a:pt x="1581" y="3179"/>
                      </a:lnTo>
                      <a:lnTo>
                        <a:pt x="1546" y="3174"/>
                      </a:lnTo>
                      <a:lnTo>
                        <a:pt x="1511" y="3167"/>
                      </a:lnTo>
                      <a:lnTo>
                        <a:pt x="1476" y="3160"/>
                      </a:lnTo>
                      <a:lnTo>
                        <a:pt x="1441" y="3153"/>
                      </a:lnTo>
                      <a:lnTo>
                        <a:pt x="1407" y="3145"/>
                      </a:lnTo>
                      <a:lnTo>
                        <a:pt x="1373" y="3135"/>
                      </a:lnTo>
                      <a:lnTo>
                        <a:pt x="1339" y="3126"/>
                      </a:lnTo>
                      <a:lnTo>
                        <a:pt x="1306" y="3115"/>
                      </a:lnTo>
                      <a:lnTo>
                        <a:pt x="1272" y="3103"/>
                      </a:lnTo>
                      <a:lnTo>
                        <a:pt x="1240" y="3091"/>
                      </a:lnTo>
                      <a:lnTo>
                        <a:pt x="1208" y="3078"/>
                      </a:lnTo>
                      <a:lnTo>
                        <a:pt x="1176" y="3064"/>
                      </a:lnTo>
                      <a:lnTo>
                        <a:pt x="1145" y="3049"/>
                      </a:lnTo>
                      <a:lnTo>
                        <a:pt x="1114" y="3034"/>
                      </a:lnTo>
                      <a:lnTo>
                        <a:pt x="1083" y="3018"/>
                      </a:lnTo>
                      <a:lnTo>
                        <a:pt x="1053" y="3001"/>
                      </a:lnTo>
                      <a:lnTo>
                        <a:pt x="1024" y="2983"/>
                      </a:lnTo>
                      <a:lnTo>
                        <a:pt x="995" y="2965"/>
                      </a:lnTo>
                      <a:lnTo>
                        <a:pt x="966" y="2946"/>
                      </a:lnTo>
                      <a:lnTo>
                        <a:pt x="938" y="2927"/>
                      </a:lnTo>
                      <a:lnTo>
                        <a:pt x="909" y="2907"/>
                      </a:lnTo>
                      <a:lnTo>
                        <a:pt x="882" y="2886"/>
                      </a:lnTo>
                      <a:lnTo>
                        <a:pt x="856" y="2864"/>
                      </a:lnTo>
                      <a:lnTo>
                        <a:pt x="830" y="2842"/>
                      </a:lnTo>
                      <a:lnTo>
                        <a:pt x="804" y="2819"/>
                      </a:lnTo>
                      <a:lnTo>
                        <a:pt x="780" y="2796"/>
                      </a:lnTo>
                      <a:lnTo>
                        <a:pt x="754" y="2772"/>
                      </a:lnTo>
                      <a:lnTo>
                        <a:pt x="730" y="2748"/>
                      </a:lnTo>
                      <a:lnTo>
                        <a:pt x="707" y="2723"/>
                      </a:lnTo>
                      <a:lnTo>
                        <a:pt x="685" y="2697"/>
                      </a:lnTo>
                      <a:lnTo>
                        <a:pt x="663" y="2671"/>
                      </a:lnTo>
                      <a:lnTo>
                        <a:pt x="641" y="2644"/>
                      </a:lnTo>
                      <a:lnTo>
                        <a:pt x="621" y="2617"/>
                      </a:lnTo>
                      <a:lnTo>
                        <a:pt x="601" y="2589"/>
                      </a:lnTo>
                      <a:lnTo>
                        <a:pt x="581" y="2561"/>
                      </a:lnTo>
                      <a:lnTo>
                        <a:pt x="561" y="2533"/>
                      </a:lnTo>
                      <a:lnTo>
                        <a:pt x="543" y="2504"/>
                      </a:lnTo>
                      <a:lnTo>
                        <a:pt x="526" y="2473"/>
                      </a:lnTo>
                      <a:lnTo>
                        <a:pt x="509" y="2443"/>
                      </a:lnTo>
                      <a:lnTo>
                        <a:pt x="493" y="2413"/>
                      </a:lnTo>
                      <a:lnTo>
                        <a:pt x="478" y="2382"/>
                      </a:lnTo>
                      <a:lnTo>
                        <a:pt x="463" y="2351"/>
                      </a:lnTo>
                      <a:lnTo>
                        <a:pt x="449" y="2318"/>
                      </a:lnTo>
                      <a:lnTo>
                        <a:pt x="436" y="2286"/>
                      </a:lnTo>
                      <a:lnTo>
                        <a:pt x="424" y="2254"/>
                      </a:lnTo>
                      <a:lnTo>
                        <a:pt x="412" y="2221"/>
                      </a:lnTo>
                      <a:lnTo>
                        <a:pt x="401" y="2188"/>
                      </a:lnTo>
                      <a:lnTo>
                        <a:pt x="391" y="2153"/>
                      </a:lnTo>
                      <a:lnTo>
                        <a:pt x="382" y="2120"/>
                      </a:lnTo>
                      <a:lnTo>
                        <a:pt x="373" y="2085"/>
                      </a:lnTo>
                      <a:lnTo>
                        <a:pt x="366" y="2051"/>
                      </a:lnTo>
                      <a:lnTo>
                        <a:pt x="359" y="2016"/>
                      </a:lnTo>
                      <a:lnTo>
                        <a:pt x="353" y="1980"/>
                      </a:lnTo>
                      <a:lnTo>
                        <a:pt x="348" y="1945"/>
                      </a:lnTo>
                      <a:lnTo>
                        <a:pt x="344" y="1909"/>
                      </a:lnTo>
                      <a:lnTo>
                        <a:pt x="341" y="1873"/>
                      </a:lnTo>
                      <a:lnTo>
                        <a:pt x="339" y="1837"/>
                      </a:lnTo>
                      <a:lnTo>
                        <a:pt x="337" y="1800"/>
                      </a:lnTo>
                      <a:lnTo>
                        <a:pt x="337" y="1763"/>
                      </a:lnTo>
                      <a:lnTo>
                        <a:pt x="337" y="1763"/>
                      </a:lnTo>
                      <a:lnTo>
                        <a:pt x="337" y="1727"/>
                      </a:lnTo>
                      <a:lnTo>
                        <a:pt x="339" y="1690"/>
                      </a:lnTo>
                      <a:lnTo>
                        <a:pt x="341" y="1654"/>
                      </a:lnTo>
                      <a:lnTo>
                        <a:pt x="344" y="1617"/>
                      </a:lnTo>
                      <a:lnTo>
                        <a:pt x="348" y="1582"/>
                      </a:lnTo>
                      <a:lnTo>
                        <a:pt x="353" y="1546"/>
                      </a:lnTo>
                      <a:lnTo>
                        <a:pt x="359" y="1511"/>
                      </a:lnTo>
                      <a:lnTo>
                        <a:pt x="366" y="1475"/>
                      </a:lnTo>
                      <a:lnTo>
                        <a:pt x="373" y="1441"/>
                      </a:lnTo>
                      <a:lnTo>
                        <a:pt x="382" y="1407"/>
                      </a:lnTo>
                      <a:lnTo>
                        <a:pt x="391" y="1373"/>
                      </a:lnTo>
                      <a:lnTo>
                        <a:pt x="401" y="1339"/>
                      </a:lnTo>
                      <a:lnTo>
                        <a:pt x="412" y="1305"/>
                      </a:lnTo>
                      <a:lnTo>
                        <a:pt x="424" y="1273"/>
                      </a:lnTo>
                      <a:lnTo>
                        <a:pt x="436" y="1240"/>
                      </a:lnTo>
                      <a:lnTo>
                        <a:pt x="449" y="1208"/>
                      </a:lnTo>
                      <a:lnTo>
                        <a:pt x="463" y="1177"/>
                      </a:lnTo>
                      <a:lnTo>
                        <a:pt x="478" y="1145"/>
                      </a:lnTo>
                      <a:lnTo>
                        <a:pt x="493" y="1114"/>
                      </a:lnTo>
                      <a:lnTo>
                        <a:pt x="509" y="1083"/>
                      </a:lnTo>
                      <a:lnTo>
                        <a:pt x="526" y="1053"/>
                      </a:lnTo>
                      <a:lnTo>
                        <a:pt x="543" y="1024"/>
                      </a:lnTo>
                      <a:lnTo>
                        <a:pt x="561" y="995"/>
                      </a:lnTo>
                      <a:lnTo>
                        <a:pt x="581" y="965"/>
                      </a:lnTo>
                      <a:lnTo>
                        <a:pt x="601" y="937"/>
                      </a:lnTo>
                      <a:lnTo>
                        <a:pt x="621" y="910"/>
                      </a:lnTo>
                      <a:lnTo>
                        <a:pt x="641" y="883"/>
                      </a:lnTo>
                      <a:lnTo>
                        <a:pt x="663" y="856"/>
                      </a:lnTo>
                      <a:lnTo>
                        <a:pt x="685" y="830"/>
                      </a:lnTo>
                      <a:lnTo>
                        <a:pt x="707" y="805"/>
                      </a:lnTo>
                      <a:lnTo>
                        <a:pt x="730" y="779"/>
                      </a:lnTo>
                      <a:lnTo>
                        <a:pt x="754" y="754"/>
                      </a:lnTo>
                      <a:lnTo>
                        <a:pt x="780" y="731"/>
                      </a:lnTo>
                      <a:lnTo>
                        <a:pt x="804" y="707"/>
                      </a:lnTo>
                      <a:lnTo>
                        <a:pt x="830" y="685"/>
                      </a:lnTo>
                      <a:lnTo>
                        <a:pt x="856" y="663"/>
                      </a:lnTo>
                      <a:lnTo>
                        <a:pt x="882" y="642"/>
                      </a:lnTo>
                      <a:lnTo>
                        <a:pt x="909" y="620"/>
                      </a:lnTo>
                      <a:lnTo>
                        <a:pt x="938" y="600"/>
                      </a:lnTo>
                      <a:lnTo>
                        <a:pt x="966" y="580"/>
                      </a:lnTo>
                      <a:lnTo>
                        <a:pt x="995" y="561"/>
                      </a:lnTo>
                      <a:lnTo>
                        <a:pt x="1024" y="543"/>
                      </a:lnTo>
                      <a:lnTo>
                        <a:pt x="1053" y="526"/>
                      </a:lnTo>
                      <a:lnTo>
                        <a:pt x="1083" y="509"/>
                      </a:lnTo>
                      <a:lnTo>
                        <a:pt x="1114" y="493"/>
                      </a:lnTo>
                      <a:lnTo>
                        <a:pt x="1145" y="478"/>
                      </a:lnTo>
                      <a:lnTo>
                        <a:pt x="1176" y="462"/>
                      </a:lnTo>
                      <a:lnTo>
                        <a:pt x="1208" y="449"/>
                      </a:lnTo>
                      <a:lnTo>
                        <a:pt x="1240" y="435"/>
                      </a:lnTo>
                      <a:lnTo>
                        <a:pt x="1272" y="423"/>
                      </a:lnTo>
                      <a:lnTo>
                        <a:pt x="1306" y="412"/>
                      </a:lnTo>
                      <a:lnTo>
                        <a:pt x="1339" y="401"/>
                      </a:lnTo>
                      <a:lnTo>
                        <a:pt x="1373" y="391"/>
                      </a:lnTo>
                      <a:lnTo>
                        <a:pt x="1407" y="382"/>
                      </a:lnTo>
                      <a:lnTo>
                        <a:pt x="1441" y="373"/>
                      </a:lnTo>
                      <a:lnTo>
                        <a:pt x="1476" y="366"/>
                      </a:lnTo>
                      <a:lnTo>
                        <a:pt x="1511" y="359"/>
                      </a:lnTo>
                      <a:lnTo>
                        <a:pt x="1546" y="353"/>
                      </a:lnTo>
                      <a:lnTo>
                        <a:pt x="1581" y="348"/>
                      </a:lnTo>
                      <a:lnTo>
                        <a:pt x="1617" y="344"/>
                      </a:lnTo>
                      <a:lnTo>
                        <a:pt x="1654" y="341"/>
                      </a:lnTo>
                      <a:lnTo>
                        <a:pt x="1690" y="339"/>
                      </a:lnTo>
                      <a:lnTo>
                        <a:pt x="1726" y="338"/>
                      </a:lnTo>
                      <a:lnTo>
                        <a:pt x="1763" y="337"/>
                      </a:lnTo>
                      <a:lnTo>
                        <a:pt x="1763" y="337"/>
                      </a:lnTo>
                      <a:lnTo>
                        <a:pt x="1800" y="338"/>
                      </a:lnTo>
                      <a:lnTo>
                        <a:pt x="1837" y="339"/>
                      </a:lnTo>
                      <a:lnTo>
                        <a:pt x="1873" y="341"/>
                      </a:lnTo>
                      <a:lnTo>
                        <a:pt x="1909" y="344"/>
                      </a:lnTo>
                      <a:lnTo>
                        <a:pt x="1945" y="348"/>
                      </a:lnTo>
                      <a:lnTo>
                        <a:pt x="1980" y="353"/>
                      </a:lnTo>
                      <a:lnTo>
                        <a:pt x="2016" y="359"/>
                      </a:lnTo>
                      <a:lnTo>
                        <a:pt x="2051" y="366"/>
                      </a:lnTo>
                      <a:lnTo>
                        <a:pt x="2085" y="373"/>
                      </a:lnTo>
                      <a:lnTo>
                        <a:pt x="2119" y="382"/>
                      </a:lnTo>
                      <a:lnTo>
                        <a:pt x="2153" y="391"/>
                      </a:lnTo>
                      <a:lnTo>
                        <a:pt x="2188" y="401"/>
                      </a:lnTo>
                      <a:lnTo>
                        <a:pt x="2221" y="412"/>
                      </a:lnTo>
                      <a:lnTo>
                        <a:pt x="2254" y="423"/>
                      </a:lnTo>
                      <a:lnTo>
                        <a:pt x="2286" y="435"/>
                      </a:lnTo>
                      <a:lnTo>
                        <a:pt x="2318" y="449"/>
                      </a:lnTo>
                      <a:lnTo>
                        <a:pt x="2351" y="462"/>
                      </a:lnTo>
                      <a:lnTo>
                        <a:pt x="2382" y="478"/>
                      </a:lnTo>
                      <a:lnTo>
                        <a:pt x="2413" y="493"/>
                      </a:lnTo>
                      <a:lnTo>
                        <a:pt x="2443" y="509"/>
                      </a:lnTo>
                      <a:lnTo>
                        <a:pt x="2473" y="526"/>
                      </a:lnTo>
                      <a:lnTo>
                        <a:pt x="2502" y="543"/>
                      </a:lnTo>
                      <a:lnTo>
                        <a:pt x="2532" y="561"/>
                      </a:lnTo>
                      <a:lnTo>
                        <a:pt x="2561" y="580"/>
                      </a:lnTo>
                      <a:lnTo>
                        <a:pt x="2589" y="600"/>
                      </a:lnTo>
                      <a:lnTo>
                        <a:pt x="2616" y="620"/>
                      </a:lnTo>
                      <a:lnTo>
                        <a:pt x="2643" y="642"/>
                      </a:lnTo>
                      <a:lnTo>
                        <a:pt x="2670" y="663"/>
                      </a:lnTo>
                      <a:lnTo>
                        <a:pt x="2697" y="685"/>
                      </a:lnTo>
                      <a:lnTo>
                        <a:pt x="2722" y="707"/>
                      </a:lnTo>
                      <a:lnTo>
                        <a:pt x="2747" y="731"/>
                      </a:lnTo>
                      <a:lnTo>
                        <a:pt x="2772" y="754"/>
                      </a:lnTo>
                      <a:lnTo>
                        <a:pt x="2795" y="779"/>
                      </a:lnTo>
                      <a:lnTo>
                        <a:pt x="2819" y="805"/>
                      </a:lnTo>
                      <a:lnTo>
                        <a:pt x="2841" y="830"/>
                      </a:lnTo>
                      <a:lnTo>
                        <a:pt x="2864" y="856"/>
                      </a:lnTo>
                      <a:lnTo>
                        <a:pt x="2886" y="883"/>
                      </a:lnTo>
                      <a:lnTo>
                        <a:pt x="2906" y="910"/>
                      </a:lnTo>
                      <a:lnTo>
                        <a:pt x="2926" y="937"/>
                      </a:lnTo>
                      <a:lnTo>
                        <a:pt x="2946" y="965"/>
                      </a:lnTo>
                      <a:lnTo>
                        <a:pt x="2965" y="995"/>
                      </a:lnTo>
                      <a:lnTo>
                        <a:pt x="2983" y="1024"/>
                      </a:lnTo>
                      <a:lnTo>
                        <a:pt x="3000" y="1053"/>
                      </a:lnTo>
                      <a:lnTo>
                        <a:pt x="3017" y="1083"/>
                      </a:lnTo>
                      <a:lnTo>
                        <a:pt x="3033" y="1114"/>
                      </a:lnTo>
                      <a:lnTo>
                        <a:pt x="3049" y="1145"/>
                      </a:lnTo>
                      <a:lnTo>
                        <a:pt x="3064" y="1177"/>
                      </a:lnTo>
                      <a:lnTo>
                        <a:pt x="3078" y="1208"/>
                      </a:lnTo>
                      <a:lnTo>
                        <a:pt x="3091" y="1240"/>
                      </a:lnTo>
                      <a:lnTo>
                        <a:pt x="3103" y="1273"/>
                      </a:lnTo>
                      <a:lnTo>
                        <a:pt x="3115" y="1305"/>
                      </a:lnTo>
                      <a:lnTo>
                        <a:pt x="3125" y="1339"/>
                      </a:lnTo>
                      <a:lnTo>
                        <a:pt x="3135" y="1373"/>
                      </a:lnTo>
                      <a:lnTo>
                        <a:pt x="3144" y="1407"/>
                      </a:lnTo>
                      <a:lnTo>
                        <a:pt x="3153" y="1441"/>
                      </a:lnTo>
                      <a:lnTo>
                        <a:pt x="3160" y="1475"/>
                      </a:lnTo>
                      <a:lnTo>
                        <a:pt x="3167" y="1511"/>
                      </a:lnTo>
                      <a:lnTo>
                        <a:pt x="3173" y="1546"/>
                      </a:lnTo>
                      <a:lnTo>
                        <a:pt x="3178" y="1582"/>
                      </a:lnTo>
                      <a:lnTo>
                        <a:pt x="3182" y="1617"/>
                      </a:lnTo>
                      <a:lnTo>
                        <a:pt x="3185" y="1654"/>
                      </a:lnTo>
                      <a:lnTo>
                        <a:pt x="3187" y="1690"/>
                      </a:lnTo>
                      <a:lnTo>
                        <a:pt x="3189" y="1727"/>
                      </a:lnTo>
                      <a:lnTo>
                        <a:pt x="3189" y="1763"/>
                      </a:lnTo>
                      <a:lnTo>
                        <a:pt x="3189" y="1763"/>
                      </a:lnTo>
                      <a:lnTo>
                        <a:pt x="3189" y="1800"/>
                      </a:lnTo>
                      <a:lnTo>
                        <a:pt x="3187" y="1837"/>
                      </a:lnTo>
                      <a:lnTo>
                        <a:pt x="3185" y="1873"/>
                      </a:lnTo>
                      <a:lnTo>
                        <a:pt x="3182" y="1909"/>
                      </a:lnTo>
                      <a:lnTo>
                        <a:pt x="3178" y="1945"/>
                      </a:lnTo>
                      <a:lnTo>
                        <a:pt x="3173" y="1980"/>
                      </a:lnTo>
                      <a:lnTo>
                        <a:pt x="3167" y="2016"/>
                      </a:lnTo>
                      <a:lnTo>
                        <a:pt x="3160" y="2051"/>
                      </a:lnTo>
                      <a:lnTo>
                        <a:pt x="3153" y="2085"/>
                      </a:lnTo>
                      <a:lnTo>
                        <a:pt x="3144" y="2120"/>
                      </a:lnTo>
                      <a:lnTo>
                        <a:pt x="3135" y="2153"/>
                      </a:lnTo>
                      <a:lnTo>
                        <a:pt x="3125" y="2188"/>
                      </a:lnTo>
                      <a:lnTo>
                        <a:pt x="3115" y="2221"/>
                      </a:lnTo>
                      <a:lnTo>
                        <a:pt x="3103" y="2254"/>
                      </a:lnTo>
                      <a:lnTo>
                        <a:pt x="3091" y="2286"/>
                      </a:lnTo>
                      <a:lnTo>
                        <a:pt x="3078" y="2318"/>
                      </a:lnTo>
                      <a:lnTo>
                        <a:pt x="3064" y="2351"/>
                      </a:lnTo>
                      <a:lnTo>
                        <a:pt x="3049" y="2382"/>
                      </a:lnTo>
                      <a:lnTo>
                        <a:pt x="3033" y="2413"/>
                      </a:lnTo>
                      <a:lnTo>
                        <a:pt x="3017" y="2443"/>
                      </a:lnTo>
                      <a:lnTo>
                        <a:pt x="3000" y="2473"/>
                      </a:lnTo>
                      <a:lnTo>
                        <a:pt x="2983" y="2504"/>
                      </a:lnTo>
                      <a:lnTo>
                        <a:pt x="2965" y="2533"/>
                      </a:lnTo>
                      <a:lnTo>
                        <a:pt x="2946" y="2561"/>
                      </a:lnTo>
                      <a:lnTo>
                        <a:pt x="2926" y="2589"/>
                      </a:lnTo>
                      <a:lnTo>
                        <a:pt x="2906" y="2617"/>
                      </a:lnTo>
                      <a:lnTo>
                        <a:pt x="2886" y="2644"/>
                      </a:lnTo>
                      <a:lnTo>
                        <a:pt x="2864" y="2671"/>
                      </a:lnTo>
                      <a:lnTo>
                        <a:pt x="2841" y="2697"/>
                      </a:lnTo>
                      <a:lnTo>
                        <a:pt x="2819" y="2723"/>
                      </a:lnTo>
                      <a:lnTo>
                        <a:pt x="2795" y="2748"/>
                      </a:lnTo>
                      <a:lnTo>
                        <a:pt x="2772" y="2772"/>
                      </a:lnTo>
                      <a:lnTo>
                        <a:pt x="2747" y="2796"/>
                      </a:lnTo>
                      <a:lnTo>
                        <a:pt x="2722" y="2819"/>
                      </a:lnTo>
                      <a:lnTo>
                        <a:pt x="2697" y="2842"/>
                      </a:lnTo>
                      <a:lnTo>
                        <a:pt x="2670" y="2864"/>
                      </a:lnTo>
                      <a:lnTo>
                        <a:pt x="2643" y="2886"/>
                      </a:lnTo>
                      <a:lnTo>
                        <a:pt x="2616" y="2907"/>
                      </a:lnTo>
                      <a:lnTo>
                        <a:pt x="2589" y="2927"/>
                      </a:lnTo>
                      <a:lnTo>
                        <a:pt x="2561" y="2946"/>
                      </a:lnTo>
                      <a:lnTo>
                        <a:pt x="2532" y="2965"/>
                      </a:lnTo>
                      <a:lnTo>
                        <a:pt x="2502" y="2983"/>
                      </a:lnTo>
                      <a:lnTo>
                        <a:pt x="2473" y="3001"/>
                      </a:lnTo>
                      <a:lnTo>
                        <a:pt x="2443" y="3018"/>
                      </a:lnTo>
                      <a:lnTo>
                        <a:pt x="2413" y="3034"/>
                      </a:lnTo>
                      <a:lnTo>
                        <a:pt x="2382" y="3049"/>
                      </a:lnTo>
                      <a:lnTo>
                        <a:pt x="2351" y="3064"/>
                      </a:lnTo>
                      <a:lnTo>
                        <a:pt x="2318" y="3078"/>
                      </a:lnTo>
                      <a:lnTo>
                        <a:pt x="2286" y="3091"/>
                      </a:lnTo>
                      <a:lnTo>
                        <a:pt x="2254" y="3103"/>
                      </a:lnTo>
                      <a:lnTo>
                        <a:pt x="2221" y="3115"/>
                      </a:lnTo>
                      <a:lnTo>
                        <a:pt x="2188" y="3126"/>
                      </a:lnTo>
                      <a:lnTo>
                        <a:pt x="2153" y="3135"/>
                      </a:lnTo>
                      <a:lnTo>
                        <a:pt x="2119" y="3145"/>
                      </a:lnTo>
                      <a:lnTo>
                        <a:pt x="2085" y="3153"/>
                      </a:lnTo>
                      <a:lnTo>
                        <a:pt x="2051" y="3160"/>
                      </a:lnTo>
                      <a:lnTo>
                        <a:pt x="2016" y="3167"/>
                      </a:lnTo>
                      <a:lnTo>
                        <a:pt x="1980" y="3174"/>
                      </a:lnTo>
                      <a:lnTo>
                        <a:pt x="1945" y="3179"/>
                      </a:lnTo>
                      <a:lnTo>
                        <a:pt x="1909" y="3183"/>
                      </a:lnTo>
                      <a:lnTo>
                        <a:pt x="1873" y="3186"/>
                      </a:lnTo>
                      <a:lnTo>
                        <a:pt x="1837" y="3188"/>
                      </a:lnTo>
                      <a:lnTo>
                        <a:pt x="1800" y="3190"/>
                      </a:lnTo>
                      <a:lnTo>
                        <a:pt x="1763" y="3190"/>
                      </a:lnTo>
                      <a:lnTo>
                        <a:pt x="1763" y="3190"/>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Oval 26"/>
                <p:cNvSpPr/>
                <p:nvPr/>
              </p:nvSpPr>
              <p:spPr>
                <a:xfrm>
                  <a:off x="1253438" y="2780928"/>
                  <a:ext cx="576064" cy="5760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smtClean="0">
                      <a:solidFill>
                        <a:srgbClr val="00B050"/>
                      </a:solidFill>
                    </a:rPr>
                    <a:t>3</a:t>
                  </a:r>
                  <a:endParaRPr lang="en-US" sz="4400" b="1" dirty="0">
                    <a:solidFill>
                      <a:srgbClr val="00B050"/>
                    </a:solidFill>
                  </a:endParaRPr>
                </a:p>
              </p:txBody>
            </p:sp>
          </p:grpSp>
        </p:grpSp>
        <p:pic>
          <p:nvPicPr>
            <p:cNvPr id="104" name="Picture 7" descr="C:\Users\Administrator\Desktop\Kerja Keras terengganu\kategori kump. bidang tugas 3.png"/>
            <p:cNvPicPr>
              <a:picLocks noChangeAspect="1" noChangeArrowheads="1"/>
            </p:cNvPicPr>
            <p:nvPr/>
          </p:nvPicPr>
          <p:blipFill>
            <a:blip r:embed="rId3"/>
            <a:srcRect l="70349" t="12443" r="3707" b="73199"/>
            <a:stretch>
              <a:fillRect/>
            </a:stretch>
          </p:blipFill>
          <p:spPr bwMode="auto">
            <a:xfrm>
              <a:off x="4100573" y="2996500"/>
              <a:ext cx="1932903" cy="756374"/>
            </a:xfrm>
            <a:prstGeom prst="rect">
              <a:avLst/>
            </a:prstGeom>
            <a:noFill/>
          </p:spPr>
        </p:pic>
        <p:sp>
          <p:nvSpPr>
            <p:cNvPr id="107" name="Rectangle 1"/>
            <p:cNvSpPr>
              <a:spLocks noChangeArrowheads="1"/>
            </p:cNvSpPr>
            <p:nvPr/>
          </p:nvSpPr>
          <p:spPr bwMode="auto">
            <a:xfrm>
              <a:off x="5983348" y="2688194"/>
              <a:ext cx="2653327" cy="1038746"/>
            </a:xfrm>
            <a:prstGeom prst="rect">
              <a:avLst/>
            </a:prstGeom>
            <a:noFill/>
            <a:ln w="9525">
              <a:noFill/>
              <a:miter lim="800000"/>
              <a:headEnd/>
              <a:tailEnd/>
            </a:ln>
          </p:spPr>
          <p:txBody>
            <a:bodyPr wrap="square" anchor="ctr">
              <a:spAutoFit/>
            </a:bodyPr>
            <a:lstStyle/>
            <a:p>
              <a:pPr algn="just" eaLnBrk="0" hangingPunct="0"/>
              <a:r>
                <a:rPr lang="en-US" sz="1200" b="1" dirty="0">
                  <a:solidFill>
                    <a:srgbClr val="002060"/>
                  </a:solidFill>
                  <a:ea typeface="Calibri" pitchFamily="34" charset="0"/>
                  <a:cs typeface="Arial" pitchFamily="34" charset="0"/>
                </a:rPr>
                <a:t>*Pengurusan </a:t>
              </a:r>
              <a:r>
                <a:rPr lang="en-US" sz="1200" b="1" dirty="0" err="1">
                  <a:solidFill>
                    <a:srgbClr val="002060"/>
                  </a:solidFill>
                  <a:ea typeface="Calibri" pitchFamily="34" charset="0"/>
                  <a:cs typeface="Arial" pitchFamily="34" charset="0"/>
                </a:rPr>
                <a:t>dan</a:t>
              </a:r>
              <a:r>
                <a:rPr lang="en-US" sz="1200" b="1" dirty="0">
                  <a:solidFill>
                    <a:srgbClr val="002060"/>
                  </a:solidFill>
                  <a:ea typeface="Calibri" pitchFamily="34" charset="0"/>
                  <a:cs typeface="Arial" pitchFamily="34" charset="0"/>
                </a:rPr>
                <a:t> </a:t>
              </a:r>
              <a:r>
                <a:rPr lang="en-US" sz="1200" b="1" dirty="0" err="1">
                  <a:solidFill>
                    <a:srgbClr val="002060"/>
                  </a:solidFill>
                  <a:ea typeface="Calibri" pitchFamily="34" charset="0"/>
                  <a:cs typeface="Arial" pitchFamily="34" charset="0"/>
                </a:rPr>
                <a:t>Pentadbiran</a:t>
              </a:r>
              <a:r>
                <a:rPr lang="en-US" sz="1200" b="1" dirty="0">
                  <a:solidFill>
                    <a:srgbClr val="002060"/>
                  </a:solidFill>
                  <a:ea typeface="Calibri" pitchFamily="34" charset="0"/>
                  <a:cs typeface="Arial" pitchFamily="34" charset="0"/>
                </a:rPr>
                <a:t> (B)</a:t>
              </a:r>
              <a:r>
                <a:rPr lang="en-US" sz="1200" dirty="0">
                  <a:solidFill>
                    <a:srgbClr val="002060"/>
                  </a:solidFill>
                  <a:ea typeface="Calibri" pitchFamily="34" charset="0"/>
                  <a:cs typeface="Arial" pitchFamily="34" charset="0"/>
                </a:rPr>
                <a:t> </a:t>
              </a:r>
              <a:r>
                <a:rPr lang="en-US" sz="1200" dirty="0">
                  <a:solidFill>
                    <a:srgbClr val="002060"/>
                  </a:solidFill>
                  <a:latin typeface="Calibri" pitchFamily="34" charset="0"/>
                  <a:ea typeface="Calibri" pitchFamily="34" charset="0"/>
                  <a:cs typeface="Arial" pitchFamily="34" charset="0"/>
                </a:rPr>
                <a:t>–</a:t>
              </a:r>
              <a:r>
                <a:rPr lang="en-US" sz="1200" dirty="0">
                  <a:solidFill>
                    <a:srgbClr val="002060"/>
                  </a:solidFill>
                  <a:ea typeface="Calibri" pitchFamily="34" charset="0"/>
                  <a:cs typeface="Arial" pitchFamily="34" charset="0"/>
                </a:rPr>
                <a:t> PPP </a:t>
              </a:r>
              <a:r>
                <a:rPr lang="en-US" sz="1200" dirty="0" err="1">
                  <a:solidFill>
                    <a:srgbClr val="002060"/>
                  </a:solidFill>
                  <a:ea typeface="Calibri" pitchFamily="34" charset="0"/>
                  <a:cs typeface="Arial" pitchFamily="34" charset="0"/>
                </a:rPr>
                <a:t>di</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peringkat</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pengurusan</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di</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organisasi</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kelolaan</a:t>
              </a:r>
              <a:r>
                <a:rPr lang="en-US" sz="1200" dirty="0">
                  <a:solidFill>
                    <a:srgbClr val="002060"/>
                  </a:solidFill>
                  <a:ea typeface="Calibri" pitchFamily="34" charset="0"/>
                  <a:cs typeface="Arial" pitchFamily="34" charset="0"/>
                </a:rPr>
                <a:t> KPM yang </a:t>
              </a:r>
              <a:r>
                <a:rPr lang="en-US" sz="1200" dirty="0" err="1">
                  <a:solidFill>
                    <a:srgbClr val="002060"/>
                  </a:solidFill>
                  <a:ea typeface="Calibri" pitchFamily="34" charset="0"/>
                  <a:cs typeface="Arial" pitchFamily="34" charset="0"/>
                </a:rPr>
                <a:t>terlibat</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dalam</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hanya</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berkaitan</a:t>
              </a:r>
              <a:r>
                <a:rPr lang="en-US" sz="1200" dirty="0">
                  <a:solidFill>
                    <a:srgbClr val="002060"/>
                  </a:solidFill>
                  <a:ea typeface="Calibri" pitchFamily="34" charset="0"/>
                  <a:cs typeface="Arial" pitchFamily="34" charset="0"/>
                </a:rPr>
                <a:t> </a:t>
              </a:r>
              <a:r>
                <a:rPr lang="en-US" sz="1200" dirty="0" err="1">
                  <a:solidFill>
                    <a:srgbClr val="002060"/>
                  </a:solidFill>
                  <a:ea typeface="Calibri" pitchFamily="34" charset="0"/>
                  <a:cs typeface="Arial" pitchFamily="34" charset="0"/>
                </a:rPr>
                <a:t>pengurusan</a:t>
              </a:r>
              <a:r>
                <a:rPr lang="en-US" sz="1200" dirty="0">
                  <a:solidFill>
                    <a:srgbClr val="002060"/>
                  </a:solidFill>
                  <a:ea typeface="Calibri" pitchFamily="34" charset="0"/>
                  <a:cs typeface="Arial" pitchFamily="34" charset="0"/>
                </a:rPr>
                <a:t> </a:t>
              </a:r>
              <a:r>
                <a:rPr lang="en-US" sz="1200" b="1" dirty="0">
                  <a:solidFill>
                    <a:srgbClr val="002060"/>
                  </a:solidFill>
                  <a:ea typeface="Calibri" pitchFamily="34" charset="0"/>
                  <a:cs typeface="Arial" pitchFamily="34" charset="0"/>
                </a:rPr>
                <a:t>TANPA </a:t>
              </a:r>
              <a:r>
                <a:rPr lang="en-US" sz="1200" dirty="0" err="1">
                  <a:solidFill>
                    <a:srgbClr val="002060"/>
                  </a:solidFill>
                  <a:ea typeface="Calibri" pitchFamily="34" charset="0"/>
                  <a:cs typeface="Arial" pitchFamily="34" charset="0"/>
                </a:rPr>
                <a:t>pengajaran</a:t>
              </a:r>
              <a:endParaRPr lang="en-US" sz="1200" dirty="0">
                <a:solidFill>
                  <a:srgbClr val="002060"/>
                </a:solidFill>
                <a:ea typeface="Calibri" pitchFamily="34" charset="0"/>
                <a:cs typeface="Arial" pitchFamily="34" charset="0"/>
              </a:endParaRPr>
            </a:p>
          </p:txBody>
        </p:sp>
        <p:grpSp>
          <p:nvGrpSpPr>
            <p:cNvPr id="20" name="Group 18"/>
            <p:cNvGrpSpPr/>
            <p:nvPr/>
          </p:nvGrpSpPr>
          <p:grpSpPr>
            <a:xfrm>
              <a:off x="6248902" y="3745787"/>
              <a:ext cx="1787868" cy="369332"/>
              <a:chOff x="6248902" y="3745787"/>
              <a:chExt cx="1787868" cy="369332"/>
            </a:xfrm>
          </p:grpSpPr>
          <p:sp>
            <p:nvSpPr>
              <p:cNvPr id="118" name="TextBox 117"/>
              <p:cNvSpPr txBox="1"/>
              <p:nvPr/>
            </p:nvSpPr>
            <p:spPr>
              <a:xfrm>
                <a:off x="6248902" y="3745787"/>
                <a:ext cx="567357" cy="369332"/>
              </a:xfrm>
              <a:prstGeom prst="rect">
                <a:avLst/>
              </a:prstGeom>
              <a:noFill/>
            </p:spPr>
            <p:txBody>
              <a:bodyPr wrap="square" rtlCol="0">
                <a:spAutoFit/>
              </a:bodyPr>
              <a:lstStyle/>
              <a:p>
                <a:r>
                  <a:rPr lang="en-US" b="1" dirty="0" smtClean="0">
                    <a:solidFill>
                      <a:srgbClr val="FF0000"/>
                    </a:solidFill>
                    <a:latin typeface="Comic Sans MS" pitchFamily="66" charset="0"/>
                  </a:rPr>
                  <a:t>4</a:t>
                </a:r>
                <a:endParaRPr lang="en-US" b="1" dirty="0">
                  <a:solidFill>
                    <a:srgbClr val="FF0000"/>
                  </a:solidFill>
                  <a:latin typeface="Comic Sans MS" pitchFamily="66" charset="0"/>
                </a:endParaRPr>
              </a:p>
            </p:txBody>
          </p:sp>
          <p:sp>
            <p:nvSpPr>
              <p:cNvPr id="119" name="TextBox 118"/>
              <p:cNvSpPr txBox="1"/>
              <p:nvPr/>
            </p:nvSpPr>
            <p:spPr>
              <a:xfrm>
                <a:off x="6465669" y="3768765"/>
                <a:ext cx="1571101" cy="307777"/>
              </a:xfrm>
              <a:prstGeom prst="rect">
                <a:avLst/>
              </a:prstGeom>
              <a:noFill/>
            </p:spPr>
            <p:txBody>
              <a:bodyPr wrap="square" rtlCol="0">
                <a:spAutoFit/>
              </a:bodyPr>
              <a:lstStyle/>
              <a:p>
                <a:r>
                  <a:rPr lang="en-US" sz="1400" dirty="0" err="1" smtClean="0">
                    <a:latin typeface="Comic Sans MS" pitchFamily="66" charset="0"/>
                  </a:rPr>
                  <a:t>Organisasi</a:t>
                </a:r>
                <a:endParaRPr lang="en-US" sz="1400" dirty="0">
                  <a:latin typeface="Comic Sans MS" pitchFamily="66" charset="0"/>
                </a:endParaRPr>
              </a:p>
            </p:txBody>
          </p:sp>
        </p:grpSp>
      </p:grpSp>
      <p:grpSp>
        <p:nvGrpSpPr>
          <p:cNvPr id="21" name="Group 8"/>
          <p:cNvGrpSpPr/>
          <p:nvPr/>
        </p:nvGrpSpPr>
        <p:grpSpPr>
          <a:xfrm>
            <a:off x="-81295" y="1362795"/>
            <a:ext cx="4095794" cy="2484359"/>
            <a:chOff x="202758" y="629238"/>
            <a:chExt cx="4095794" cy="2484359"/>
          </a:xfrm>
        </p:grpSpPr>
        <p:grpSp>
          <p:nvGrpSpPr>
            <p:cNvPr id="22" name="Group 32"/>
            <p:cNvGrpSpPr/>
            <p:nvPr/>
          </p:nvGrpSpPr>
          <p:grpSpPr>
            <a:xfrm>
              <a:off x="3597877" y="858426"/>
              <a:ext cx="700675" cy="1121345"/>
              <a:chOff x="2625138" y="3870694"/>
              <a:chExt cx="700674" cy="1121345"/>
            </a:xfrm>
          </p:grpSpPr>
          <p:sp>
            <p:nvSpPr>
              <p:cNvPr id="34" name="Freeform 15"/>
              <p:cNvSpPr>
                <a:spLocks/>
              </p:cNvSpPr>
              <p:nvPr/>
            </p:nvSpPr>
            <p:spPr bwMode="auto">
              <a:xfrm>
                <a:off x="2798937" y="4916391"/>
                <a:ext cx="347711" cy="75648"/>
              </a:xfrm>
              <a:custGeom>
                <a:avLst/>
                <a:gdLst>
                  <a:gd name="T0" fmla="*/ 1835 w 1835"/>
                  <a:gd name="T1" fmla="*/ 198 h 394"/>
                  <a:gd name="T2" fmla="*/ 1830 w 1835"/>
                  <a:gd name="T3" fmla="*/ 218 h 394"/>
                  <a:gd name="T4" fmla="*/ 1816 w 1835"/>
                  <a:gd name="T5" fmla="*/ 237 h 394"/>
                  <a:gd name="T6" fmla="*/ 1794 w 1835"/>
                  <a:gd name="T7" fmla="*/ 256 h 394"/>
                  <a:gd name="T8" fmla="*/ 1763 w 1835"/>
                  <a:gd name="T9" fmla="*/ 274 h 394"/>
                  <a:gd name="T10" fmla="*/ 1725 w 1835"/>
                  <a:gd name="T11" fmla="*/ 291 h 394"/>
                  <a:gd name="T12" fmla="*/ 1678 w 1835"/>
                  <a:gd name="T13" fmla="*/ 307 h 394"/>
                  <a:gd name="T14" fmla="*/ 1625 w 1835"/>
                  <a:gd name="T15" fmla="*/ 322 h 394"/>
                  <a:gd name="T16" fmla="*/ 1567 w 1835"/>
                  <a:gd name="T17" fmla="*/ 336 h 394"/>
                  <a:gd name="T18" fmla="*/ 1431 w 1835"/>
                  <a:gd name="T19" fmla="*/ 361 h 394"/>
                  <a:gd name="T20" fmla="*/ 1275 w 1835"/>
                  <a:gd name="T21" fmla="*/ 379 h 394"/>
                  <a:gd name="T22" fmla="*/ 1102 w 1835"/>
                  <a:gd name="T23" fmla="*/ 390 h 394"/>
                  <a:gd name="T24" fmla="*/ 917 w 1835"/>
                  <a:gd name="T25" fmla="*/ 394 h 394"/>
                  <a:gd name="T26" fmla="*/ 823 w 1835"/>
                  <a:gd name="T27" fmla="*/ 393 h 394"/>
                  <a:gd name="T28" fmla="*/ 644 w 1835"/>
                  <a:gd name="T29" fmla="*/ 386 h 394"/>
                  <a:gd name="T30" fmla="*/ 479 w 1835"/>
                  <a:gd name="T31" fmla="*/ 371 h 394"/>
                  <a:gd name="T32" fmla="*/ 334 w 1835"/>
                  <a:gd name="T33" fmla="*/ 349 h 394"/>
                  <a:gd name="T34" fmla="*/ 238 w 1835"/>
                  <a:gd name="T35" fmla="*/ 329 h 394"/>
                  <a:gd name="T36" fmla="*/ 182 w 1835"/>
                  <a:gd name="T37" fmla="*/ 315 h 394"/>
                  <a:gd name="T38" fmla="*/ 132 w 1835"/>
                  <a:gd name="T39" fmla="*/ 299 h 394"/>
                  <a:gd name="T40" fmla="*/ 90 w 1835"/>
                  <a:gd name="T41" fmla="*/ 283 h 394"/>
                  <a:gd name="T42" fmla="*/ 55 w 1835"/>
                  <a:gd name="T43" fmla="*/ 265 h 394"/>
                  <a:gd name="T44" fmla="*/ 29 w 1835"/>
                  <a:gd name="T45" fmla="*/ 247 h 394"/>
                  <a:gd name="T46" fmla="*/ 10 w 1835"/>
                  <a:gd name="T47" fmla="*/ 228 h 394"/>
                  <a:gd name="T48" fmla="*/ 1 w 1835"/>
                  <a:gd name="T49" fmla="*/ 208 h 394"/>
                  <a:gd name="T50" fmla="*/ 0 w 1835"/>
                  <a:gd name="T51" fmla="*/ 198 h 394"/>
                  <a:gd name="T52" fmla="*/ 5 w 1835"/>
                  <a:gd name="T53" fmla="*/ 177 h 394"/>
                  <a:gd name="T54" fmla="*/ 18 w 1835"/>
                  <a:gd name="T55" fmla="*/ 157 h 394"/>
                  <a:gd name="T56" fmla="*/ 41 w 1835"/>
                  <a:gd name="T57" fmla="*/ 139 h 394"/>
                  <a:gd name="T58" fmla="*/ 72 w 1835"/>
                  <a:gd name="T59" fmla="*/ 121 h 394"/>
                  <a:gd name="T60" fmla="*/ 110 w 1835"/>
                  <a:gd name="T61" fmla="*/ 104 h 394"/>
                  <a:gd name="T62" fmla="*/ 157 w 1835"/>
                  <a:gd name="T63" fmla="*/ 87 h 394"/>
                  <a:gd name="T64" fmla="*/ 209 w 1835"/>
                  <a:gd name="T65" fmla="*/ 72 h 394"/>
                  <a:gd name="T66" fmla="*/ 268 w 1835"/>
                  <a:gd name="T67" fmla="*/ 58 h 394"/>
                  <a:gd name="T68" fmla="*/ 404 w 1835"/>
                  <a:gd name="T69" fmla="*/ 35 h 394"/>
                  <a:gd name="T70" fmla="*/ 560 w 1835"/>
                  <a:gd name="T71" fmla="*/ 16 h 394"/>
                  <a:gd name="T72" fmla="*/ 732 w 1835"/>
                  <a:gd name="T73" fmla="*/ 4 h 394"/>
                  <a:gd name="T74" fmla="*/ 917 w 1835"/>
                  <a:gd name="T75" fmla="*/ 0 h 394"/>
                  <a:gd name="T76" fmla="*/ 1011 w 1835"/>
                  <a:gd name="T77" fmla="*/ 1 h 394"/>
                  <a:gd name="T78" fmla="*/ 1191 w 1835"/>
                  <a:gd name="T79" fmla="*/ 9 h 394"/>
                  <a:gd name="T80" fmla="*/ 1354 w 1835"/>
                  <a:gd name="T81" fmla="*/ 25 h 394"/>
                  <a:gd name="T82" fmla="*/ 1501 w 1835"/>
                  <a:gd name="T83" fmla="*/ 46 h 394"/>
                  <a:gd name="T84" fmla="*/ 1597 w 1835"/>
                  <a:gd name="T85" fmla="*/ 65 h 394"/>
                  <a:gd name="T86" fmla="*/ 1653 w 1835"/>
                  <a:gd name="T87" fmla="*/ 80 h 394"/>
                  <a:gd name="T88" fmla="*/ 1702 w 1835"/>
                  <a:gd name="T89" fmla="*/ 95 h 394"/>
                  <a:gd name="T90" fmla="*/ 1745 w 1835"/>
                  <a:gd name="T91" fmla="*/ 112 h 394"/>
                  <a:gd name="T92" fmla="*/ 1779 w 1835"/>
                  <a:gd name="T93" fmla="*/ 130 h 394"/>
                  <a:gd name="T94" fmla="*/ 1806 w 1835"/>
                  <a:gd name="T95" fmla="*/ 148 h 394"/>
                  <a:gd name="T96" fmla="*/ 1824 w 1835"/>
                  <a:gd name="T97" fmla="*/ 167 h 394"/>
                  <a:gd name="T98" fmla="*/ 1834 w 1835"/>
                  <a:gd name="T99" fmla="*/ 188 h 394"/>
                  <a:gd name="T100" fmla="*/ 1835 w 1835"/>
                  <a:gd name="T101" fmla="*/ 19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5" h="394">
                    <a:moveTo>
                      <a:pt x="1835" y="198"/>
                    </a:moveTo>
                    <a:lnTo>
                      <a:pt x="1835" y="198"/>
                    </a:lnTo>
                    <a:lnTo>
                      <a:pt x="1834" y="208"/>
                    </a:lnTo>
                    <a:lnTo>
                      <a:pt x="1830" y="218"/>
                    </a:lnTo>
                    <a:lnTo>
                      <a:pt x="1824" y="228"/>
                    </a:lnTo>
                    <a:lnTo>
                      <a:pt x="1816" y="237"/>
                    </a:lnTo>
                    <a:lnTo>
                      <a:pt x="1806" y="247"/>
                    </a:lnTo>
                    <a:lnTo>
                      <a:pt x="1794" y="256"/>
                    </a:lnTo>
                    <a:lnTo>
                      <a:pt x="1779" y="265"/>
                    </a:lnTo>
                    <a:lnTo>
                      <a:pt x="1763" y="274"/>
                    </a:lnTo>
                    <a:lnTo>
                      <a:pt x="1745" y="283"/>
                    </a:lnTo>
                    <a:lnTo>
                      <a:pt x="1725" y="291"/>
                    </a:lnTo>
                    <a:lnTo>
                      <a:pt x="1702" y="299"/>
                    </a:lnTo>
                    <a:lnTo>
                      <a:pt x="1678" y="307"/>
                    </a:lnTo>
                    <a:lnTo>
                      <a:pt x="1653" y="315"/>
                    </a:lnTo>
                    <a:lnTo>
                      <a:pt x="1625" y="322"/>
                    </a:lnTo>
                    <a:lnTo>
                      <a:pt x="1597" y="329"/>
                    </a:lnTo>
                    <a:lnTo>
                      <a:pt x="1567" y="336"/>
                    </a:lnTo>
                    <a:lnTo>
                      <a:pt x="1501" y="349"/>
                    </a:lnTo>
                    <a:lnTo>
                      <a:pt x="1431" y="361"/>
                    </a:lnTo>
                    <a:lnTo>
                      <a:pt x="1354" y="371"/>
                    </a:lnTo>
                    <a:lnTo>
                      <a:pt x="1275" y="379"/>
                    </a:lnTo>
                    <a:lnTo>
                      <a:pt x="1191" y="386"/>
                    </a:lnTo>
                    <a:lnTo>
                      <a:pt x="1102" y="390"/>
                    </a:lnTo>
                    <a:lnTo>
                      <a:pt x="1011" y="393"/>
                    </a:lnTo>
                    <a:lnTo>
                      <a:pt x="917" y="394"/>
                    </a:lnTo>
                    <a:lnTo>
                      <a:pt x="917" y="394"/>
                    </a:lnTo>
                    <a:lnTo>
                      <a:pt x="823" y="393"/>
                    </a:lnTo>
                    <a:lnTo>
                      <a:pt x="732" y="390"/>
                    </a:lnTo>
                    <a:lnTo>
                      <a:pt x="644" y="386"/>
                    </a:lnTo>
                    <a:lnTo>
                      <a:pt x="560" y="379"/>
                    </a:lnTo>
                    <a:lnTo>
                      <a:pt x="479" y="371"/>
                    </a:lnTo>
                    <a:lnTo>
                      <a:pt x="404" y="361"/>
                    </a:lnTo>
                    <a:lnTo>
                      <a:pt x="334" y="349"/>
                    </a:lnTo>
                    <a:lnTo>
                      <a:pt x="268" y="336"/>
                    </a:lnTo>
                    <a:lnTo>
                      <a:pt x="238" y="329"/>
                    </a:lnTo>
                    <a:lnTo>
                      <a:pt x="209" y="322"/>
                    </a:lnTo>
                    <a:lnTo>
                      <a:pt x="182" y="315"/>
                    </a:lnTo>
                    <a:lnTo>
                      <a:pt x="157" y="307"/>
                    </a:lnTo>
                    <a:lnTo>
                      <a:pt x="132" y="299"/>
                    </a:lnTo>
                    <a:lnTo>
                      <a:pt x="110" y="291"/>
                    </a:lnTo>
                    <a:lnTo>
                      <a:pt x="90" y="283"/>
                    </a:lnTo>
                    <a:lnTo>
                      <a:pt x="72" y="274"/>
                    </a:lnTo>
                    <a:lnTo>
                      <a:pt x="55" y="265"/>
                    </a:lnTo>
                    <a:lnTo>
                      <a:pt x="41" y="256"/>
                    </a:lnTo>
                    <a:lnTo>
                      <a:pt x="29" y="247"/>
                    </a:lnTo>
                    <a:lnTo>
                      <a:pt x="18" y="237"/>
                    </a:lnTo>
                    <a:lnTo>
                      <a:pt x="10" y="228"/>
                    </a:lnTo>
                    <a:lnTo>
                      <a:pt x="5" y="218"/>
                    </a:lnTo>
                    <a:lnTo>
                      <a:pt x="1" y="208"/>
                    </a:lnTo>
                    <a:lnTo>
                      <a:pt x="0" y="198"/>
                    </a:lnTo>
                    <a:lnTo>
                      <a:pt x="0" y="198"/>
                    </a:lnTo>
                    <a:lnTo>
                      <a:pt x="1" y="188"/>
                    </a:lnTo>
                    <a:lnTo>
                      <a:pt x="5" y="177"/>
                    </a:lnTo>
                    <a:lnTo>
                      <a:pt x="10" y="167"/>
                    </a:lnTo>
                    <a:lnTo>
                      <a:pt x="18" y="157"/>
                    </a:lnTo>
                    <a:lnTo>
                      <a:pt x="29" y="148"/>
                    </a:lnTo>
                    <a:lnTo>
                      <a:pt x="41" y="139"/>
                    </a:lnTo>
                    <a:lnTo>
                      <a:pt x="55" y="130"/>
                    </a:lnTo>
                    <a:lnTo>
                      <a:pt x="72" y="121"/>
                    </a:lnTo>
                    <a:lnTo>
                      <a:pt x="90" y="112"/>
                    </a:lnTo>
                    <a:lnTo>
                      <a:pt x="110" y="104"/>
                    </a:lnTo>
                    <a:lnTo>
                      <a:pt x="132" y="95"/>
                    </a:lnTo>
                    <a:lnTo>
                      <a:pt x="157" y="87"/>
                    </a:lnTo>
                    <a:lnTo>
                      <a:pt x="182" y="80"/>
                    </a:lnTo>
                    <a:lnTo>
                      <a:pt x="209" y="72"/>
                    </a:lnTo>
                    <a:lnTo>
                      <a:pt x="238" y="65"/>
                    </a:lnTo>
                    <a:lnTo>
                      <a:pt x="268" y="58"/>
                    </a:lnTo>
                    <a:lnTo>
                      <a:pt x="334" y="46"/>
                    </a:lnTo>
                    <a:lnTo>
                      <a:pt x="404" y="35"/>
                    </a:lnTo>
                    <a:lnTo>
                      <a:pt x="479" y="25"/>
                    </a:lnTo>
                    <a:lnTo>
                      <a:pt x="560" y="16"/>
                    </a:lnTo>
                    <a:lnTo>
                      <a:pt x="644" y="9"/>
                    </a:lnTo>
                    <a:lnTo>
                      <a:pt x="732" y="4"/>
                    </a:lnTo>
                    <a:lnTo>
                      <a:pt x="823" y="1"/>
                    </a:lnTo>
                    <a:lnTo>
                      <a:pt x="917" y="0"/>
                    </a:lnTo>
                    <a:lnTo>
                      <a:pt x="917" y="0"/>
                    </a:lnTo>
                    <a:lnTo>
                      <a:pt x="1011" y="1"/>
                    </a:lnTo>
                    <a:lnTo>
                      <a:pt x="1102" y="4"/>
                    </a:lnTo>
                    <a:lnTo>
                      <a:pt x="1191" y="9"/>
                    </a:lnTo>
                    <a:lnTo>
                      <a:pt x="1275" y="16"/>
                    </a:lnTo>
                    <a:lnTo>
                      <a:pt x="1354" y="25"/>
                    </a:lnTo>
                    <a:lnTo>
                      <a:pt x="1431" y="35"/>
                    </a:lnTo>
                    <a:lnTo>
                      <a:pt x="1501" y="46"/>
                    </a:lnTo>
                    <a:lnTo>
                      <a:pt x="1567" y="58"/>
                    </a:lnTo>
                    <a:lnTo>
                      <a:pt x="1597" y="65"/>
                    </a:lnTo>
                    <a:lnTo>
                      <a:pt x="1625" y="72"/>
                    </a:lnTo>
                    <a:lnTo>
                      <a:pt x="1653" y="80"/>
                    </a:lnTo>
                    <a:lnTo>
                      <a:pt x="1678" y="87"/>
                    </a:lnTo>
                    <a:lnTo>
                      <a:pt x="1702" y="95"/>
                    </a:lnTo>
                    <a:lnTo>
                      <a:pt x="1725" y="104"/>
                    </a:lnTo>
                    <a:lnTo>
                      <a:pt x="1745" y="112"/>
                    </a:lnTo>
                    <a:lnTo>
                      <a:pt x="1763" y="121"/>
                    </a:lnTo>
                    <a:lnTo>
                      <a:pt x="1779" y="130"/>
                    </a:lnTo>
                    <a:lnTo>
                      <a:pt x="1794" y="139"/>
                    </a:lnTo>
                    <a:lnTo>
                      <a:pt x="1806" y="148"/>
                    </a:lnTo>
                    <a:lnTo>
                      <a:pt x="1816" y="157"/>
                    </a:lnTo>
                    <a:lnTo>
                      <a:pt x="1824" y="167"/>
                    </a:lnTo>
                    <a:lnTo>
                      <a:pt x="1830" y="177"/>
                    </a:lnTo>
                    <a:lnTo>
                      <a:pt x="1834" y="188"/>
                    </a:lnTo>
                    <a:lnTo>
                      <a:pt x="1835" y="198"/>
                    </a:lnTo>
                    <a:lnTo>
                      <a:pt x="1835" y="198"/>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46"/>
              <p:cNvGrpSpPr/>
              <p:nvPr/>
            </p:nvGrpSpPr>
            <p:grpSpPr>
              <a:xfrm>
                <a:off x="2625138" y="3870694"/>
                <a:ext cx="700674" cy="1070474"/>
                <a:chOff x="1187624" y="2722226"/>
                <a:chExt cx="700674" cy="1070474"/>
              </a:xfrm>
              <a:solidFill>
                <a:srgbClr val="BF7400"/>
              </a:solidFill>
            </p:grpSpPr>
            <p:sp>
              <p:nvSpPr>
                <p:cNvPr id="36" name="Freeform 20"/>
                <p:cNvSpPr>
                  <a:spLocks noEditPoints="1"/>
                </p:cNvSpPr>
                <p:nvPr/>
              </p:nvSpPr>
              <p:spPr bwMode="auto">
                <a:xfrm>
                  <a:off x="1187624" y="2722226"/>
                  <a:ext cx="700674" cy="1070474"/>
                </a:xfrm>
                <a:custGeom>
                  <a:avLst/>
                  <a:gdLst>
                    <a:gd name="T0" fmla="*/ 3490 w 3526"/>
                    <a:gd name="T1" fmla="*/ 1408 h 5386"/>
                    <a:gd name="T2" fmla="*/ 3352 w 3526"/>
                    <a:gd name="T3" fmla="*/ 999 h 5386"/>
                    <a:gd name="T4" fmla="*/ 3123 w 3526"/>
                    <a:gd name="T5" fmla="*/ 642 h 5386"/>
                    <a:gd name="T6" fmla="*/ 2818 w 3526"/>
                    <a:gd name="T7" fmla="*/ 351 h 5386"/>
                    <a:gd name="T8" fmla="*/ 2449 w 3526"/>
                    <a:gd name="T9" fmla="*/ 139 h 5386"/>
                    <a:gd name="T10" fmla="*/ 2032 w 3526"/>
                    <a:gd name="T11" fmla="*/ 21 h 5386"/>
                    <a:gd name="T12" fmla="*/ 1627 w 3526"/>
                    <a:gd name="T13" fmla="*/ 6 h 5386"/>
                    <a:gd name="T14" fmla="*/ 1198 w 3526"/>
                    <a:gd name="T15" fmla="*/ 93 h 5386"/>
                    <a:gd name="T16" fmla="*/ 813 w 3526"/>
                    <a:gd name="T17" fmla="*/ 278 h 5386"/>
                    <a:gd name="T18" fmla="*/ 487 w 3526"/>
                    <a:gd name="T19" fmla="*/ 547 h 5386"/>
                    <a:gd name="T20" fmla="*/ 234 w 3526"/>
                    <a:gd name="T21" fmla="*/ 886 h 5386"/>
                    <a:gd name="T22" fmla="*/ 68 w 3526"/>
                    <a:gd name="T23" fmla="*/ 1280 h 5386"/>
                    <a:gd name="T24" fmla="*/ 1 w 3526"/>
                    <a:gd name="T25" fmla="*/ 1718 h 5386"/>
                    <a:gd name="T26" fmla="*/ 5 w 3526"/>
                    <a:gd name="T27" fmla="*/ 1997 h 5386"/>
                    <a:gd name="T28" fmla="*/ 163 w 3526"/>
                    <a:gd name="T29" fmla="*/ 2772 h 5386"/>
                    <a:gd name="T30" fmla="*/ 482 w 3526"/>
                    <a:gd name="T31" fmla="*/ 3531 h 5386"/>
                    <a:gd name="T32" fmla="*/ 882 w 3526"/>
                    <a:gd name="T33" fmla="*/ 4222 h 5386"/>
                    <a:gd name="T34" fmla="*/ 1547 w 3526"/>
                    <a:gd name="T35" fmla="*/ 5133 h 5386"/>
                    <a:gd name="T36" fmla="*/ 1926 w 3526"/>
                    <a:gd name="T37" fmla="*/ 5198 h 5386"/>
                    <a:gd name="T38" fmla="*/ 2603 w 3526"/>
                    <a:gd name="T39" fmla="*/ 4285 h 5386"/>
                    <a:gd name="T40" fmla="*/ 3006 w 3526"/>
                    <a:gd name="T41" fmla="*/ 3604 h 5386"/>
                    <a:gd name="T42" fmla="*/ 3337 w 3526"/>
                    <a:gd name="T43" fmla="*/ 2850 h 5386"/>
                    <a:gd name="T44" fmla="*/ 3514 w 3526"/>
                    <a:gd name="T45" fmla="*/ 2073 h 5386"/>
                    <a:gd name="T46" fmla="*/ 3526 w 3526"/>
                    <a:gd name="T47" fmla="*/ 1763 h 5386"/>
                    <a:gd name="T48" fmla="*/ 1327 w 3526"/>
                    <a:gd name="T49" fmla="*/ 3800 h 5386"/>
                    <a:gd name="T50" fmla="*/ 861 w 3526"/>
                    <a:gd name="T51" fmla="*/ 3547 h 5386"/>
                    <a:gd name="T52" fmla="*/ 522 w 3526"/>
                    <a:gd name="T53" fmla="*/ 3144 h 5386"/>
                    <a:gd name="T54" fmla="*/ 585 w 3526"/>
                    <a:gd name="T55" fmla="*/ 3133 h 5386"/>
                    <a:gd name="T56" fmla="*/ 962 w 3526"/>
                    <a:gd name="T57" fmla="*/ 3422 h 5386"/>
                    <a:gd name="T58" fmla="*/ 1414 w 3526"/>
                    <a:gd name="T59" fmla="*/ 3593 h 5386"/>
                    <a:gd name="T60" fmla="*/ 1865 w 3526"/>
                    <a:gd name="T61" fmla="*/ 3627 h 5386"/>
                    <a:gd name="T62" fmla="*/ 2347 w 3526"/>
                    <a:gd name="T63" fmla="*/ 3524 h 5386"/>
                    <a:gd name="T64" fmla="*/ 2764 w 3526"/>
                    <a:gd name="T65" fmla="*/ 3291 h 5386"/>
                    <a:gd name="T66" fmla="*/ 3096 w 3526"/>
                    <a:gd name="T67" fmla="*/ 2951 h 5386"/>
                    <a:gd name="T68" fmla="*/ 2853 w 3526"/>
                    <a:gd name="T69" fmla="*/ 3362 h 5386"/>
                    <a:gd name="T70" fmla="*/ 2445 w 3526"/>
                    <a:gd name="T71" fmla="*/ 3695 h 5386"/>
                    <a:gd name="T72" fmla="*/ 1932 w 3526"/>
                    <a:gd name="T73" fmla="*/ 3859 h 5386"/>
                    <a:gd name="T74" fmla="*/ 1617 w 3526"/>
                    <a:gd name="T75" fmla="*/ 3183 h 5386"/>
                    <a:gd name="T76" fmla="*/ 1272 w 3526"/>
                    <a:gd name="T77" fmla="*/ 3103 h 5386"/>
                    <a:gd name="T78" fmla="*/ 966 w 3526"/>
                    <a:gd name="T79" fmla="*/ 2946 h 5386"/>
                    <a:gd name="T80" fmla="*/ 707 w 3526"/>
                    <a:gd name="T81" fmla="*/ 2723 h 5386"/>
                    <a:gd name="T82" fmla="*/ 509 w 3526"/>
                    <a:gd name="T83" fmla="*/ 2443 h 5386"/>
                    <a:gd name="T84" fmla="*/ 382 w 3526"/>
                    <a:gd name="T85" fmla="*/ 2120 h 5386"/>
                    <a:gd name="T86" fmla="*/ 337 w 3526"/>
                    <a:gd name="T87" fmla="*/ 1763 h 5386"/>
                    <a:gd name="T88" fmla="*/ 373 w 3526"/>
                    <a:gd name="T89" fmla="*/ 1441 h 5386"/>
                    <a:gd name="T90" fmla="*/ 493 w 3526"/>
                    <a:gd name="T91" fmla="*/ 1114 h 5386"/>
                    <a:gd name="T92" fmla="*/ 685 w 3526"/>
                    <a:gd name="T93" fmla="*/ 830 h 5386"/>
                    <a:gd name="T94" fmla="*/ 938 w 3526"/>
                    <a:gd name="T95" fmla="*/ 600 h 5386"/>
                    <a:gd name="T96" fmla="*/ 1240 w 3526"/>
                    <a:gd name="T97" fmla="*/ 435 h 5386"/>
                    <a:gd name="T98" fmla="*/ 1581 w 3526"/>
                    <a:gd name="T99" fmla="*/ 348 h 5386"/>
                    <a:gd name="T100" fmla="*/ 1909 w 3526"/>
                    <a:gd name="T101" fmla="*/ 344 h 5386"/>
                    <a:gd name="T102" fmla="*/ 2254 w 3526"/>
                    <a:gd name="T103" fmla="*/ 423 h 5386"/>
                    <a:gd name="T104" fmla="*/ 2561 w 3526"/>
                    <a:gd name="T105" fmla="*/ 580 h 5386"/>
                    <a:gd name="T106" fmla="*/ 2819 w 3526"/>
                    <a:gd name="T107" fmla="*/ 805 h 5386"/>
                    <a:gd name="T108" fmla="*/ 3017 w 3526"/>
                    <a:gd name="T109" fmla="*/ 1083 h 5386"/>
                    <a:gd name="T110" fmla="*/ 3144 w 3526"/>
                    <a:gd name="T111" fmla="*/ 1407 h 5386"/>
                    <a:gd name="T112" fmla="*/ 3189 w 3526"/>
                    <a:gd name="T113" fmla="*/ 1763 h 5386"/>
                    <a:gd name="T114" fmla="*/ 3153 w 3526"/>
                    <a:gd name="T115" fmla="*/ 2085 h 5386"/>
                    <a:gd name="T116" fmla="*/ 3033 w 3526"/>
                    <a:gd name="T117" fmla="*/ 2413 h 5386"/>
                    <a:gd name="T118" fmla="*/ 2841 w 3526"/>
                    <a:gd name="T119" fmla="*/ 2697 h 5386"/>
                    <a:gd name="T120" fmla="*/ 2589 w 3526"/>
                    <a:gd name="T121" fmla="*/ 2927 h 5386"/>
                    <a:gd name="T122" fmla="*/ 2286 w 3526"/>
                    <a:gd name="T123" fmla="*/ 3091 h 5386"/>
                    <a:gd name="T124" fmla="*/ 1945 w 3526"/>
                    <a:gd name="T125" fmla="*/ 3179 h 5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6" h="5386">
                      <a:moveTo>
                        <a:pt x="3526" y="1763"/>
                      </a:moveTo>
                      <a:lnTo>
                        <a:pt x="3526" y="1763"/>
                      </a:lnTo>
                      <a:lnTo>
                        <a:pt x="3525" y="1718"/>
                      </a:lnTo>
                      <a:lnTo>
                        <a:pt x="3523" y="1673"/>
                      </a:lnTo>
                      <a:lnTo>
                        <a:pt x="3521" y="1627"/>
                      </a:lnTo>
                      <a:lnTo>
                        <a:pt x="3517" y="1583"/>
                      </a:lnTo>
                      <a:lnTo>
                        <a:pt x="3512" y="1539"/>
                      </a:lnTo>
                      <a:lnTo>
                        <a:pt x="3505" y="1495"/>
                      </a:lnTo>
                      <a:lnTo>
                        <a:pt x="3498" y="1451"/>
                      </a:lnTo>
                      <a:lnTo>
                        <a:pt x="3490" y="1408"/>
                      </a:lnTo>
                      <a:lnTo>
                        <a:pt x="3481" y="1365"/>
                      </a:lnTo>
                      <a:lnTo>
                        <a:pt x="3470" y="1323"/>
                      </a:lnTo>
                      <a:lnTo>
                        <a:pt x="3459" y="1280"/>
                      </a:lnTo>
                      <a:lnTo>
                        <a:pt x="3447" y="1239"/>
                      </a:lnTo>
                      <a:lnTo>
                        <a:pt x="3434" y="1198"/>
                      </a:lnTo>
                      <a:lnTo>
                        <a:pt x="3419" y="1158"/>
                      </a:lnTo>
                      <a:lnTo>
                        <a:pt x="3404" y="1116"/>
                      </a:lnTo>
                      <a:lnTo>
                        <a:pt x="3387" y="1077"/>
                      </a:lnTo>
                      <a:lnTo>
                        <a:pt x="3370" y="1038"/>
                      </a:lnTo>
                      <a:lnTo>
                        <a:pt x="3352" y="999"/>
                      </a:lnTo>
                      <a:lnTo>
                        <a:pt x="3333" y="960"/>
                      </a:lnTo>
                      <a:lnTo>
                        <a:pt x="3313" y="923"/>
                      </a:lnTo>
                      <a:lnTo>
                        <a:pt x="3292" y="886"/>
                      </a:lnTo>
                      <a:lnTo>
                        <a:pt x="3271" y="849"/>
                      </a:lnTo>
                      <a:lnTo>
                        <a:pt x="3249" y="813"/>
                      </a:lnTo>
                      <a:lnTo>
                        <a:pt x="3225" y="777"/>
                      </a:lnTo>
                      <a:lnTo>
                        <a:pt x="3200" y="743"/>
                      </a:lnTo>
                      <a:lnTo>
                        <a:pt x="3175" y="708"/>
                      </a:lnTo>
                      <a:lnTo>
                        <a:pt x="3150" y="675"/>
                      </a:lnTo>
                      <a:lnTo>
                        <a:pt x="3123" y="642"/>
                      </a:lnTo>
                      <a:lnTo>
                        <a:pt x="3096" y="609"/>
                      </a:lnTo>
                      <a:lnTo>
                        <a:pt x="3068" y="578"/>
                      </a:lnTo>
                      <a:lnTo>
                        <a:pt x="3040" y="547"/>
                      </a:lnTo>
                      <a:lnTo>
                        <a:pt x="3009" y="517"/>
                      </a:lnTo>
                      <a:lnTo>
                        <a:pt x="2979" y="487"/>
                      </a:lnTo>
                      <a:lnTo>
                        <a:pt x="2948" y="458"/>
                      </a:lnTo>
                      <a:lnTo>
                        <a:pt x="2917" y="430"/>
                      </a:lnTo>
                      <a:lnTo>
                        <a:pt x="2885" y="403"/>
                      </a:lnTo>
                      <a:lnTo>
                        <a:pt x="2851" y="376"/>
                      </a:lnTo>
                      <a:lnTo>
                        <a:pt x="2818" y="351"/>
                      </a:lnTo>
                      <a:lnTo>
                        <a:pt x="2784" y="326"/>
                      </a:lnTo>
                      <a:lnTo>
                        <a:pt x="2749" y="302"/>
                      </a:lnTo>
                      <a:lnTo>
                        <a:pt x="2714" y="278"/>
                      </a:lnTo>
                      <a:lnTo>
                        <a:pt x="2677" y="255"/>
                      </a:lnTo>
                      <a:lnTo>
                        <a:pt x="2640" y="234"/>
                      </a:lnTo>
                      <a:lnTo>
                        <a:pt x="2603" y="213"/>
                      </a:lnTo>
                      <a:lnTo>
                        <a:pt x="2566" y="193"/>
                      </a:lnTo>
                      <a:lnTo>
                        <a:pt x="2528" y="174"/>
                      </a:lnTo>
                      <a:lnTo>
                        <a:pt x="2488" y="156"/>
                      </a:lnTo>
                      <a:lnTo>
                        <a:pt x="2449" y="139"/>
                      </a:lnTo>
                      <a:lnTo>
                        <a:pt x="2410" y="122"/>
                      </a:lnTo>
                      <a:lnTo>
                        <a:pt x="2370" y="107"/>
                      </a:lnTo>
                      <a:lnTo>
                        <a:pt x="2328" y="93"/>
                      </a:lnTo>
                      <a:lnTo>
                        <a:pt x="2287" y="79"/>
                      </a:lnTo>
                      <a:lnTo>
                        <a:pt x="2246" y="67"/>
                      </a:lnTo>
                      <a:lnTo>
                        <a:pt x="2204" y="56"/>
                      </a:lnTo>
                      <a:lnTo>
                        <a:pt x="2162" y="45"/>
                      </a:lnTo>
                      <a:lnTo>
                        <a:pt x="2118" y="36"/>
                      </a:lnTo>
                      <a:lnTo>
                        <a:pt x="2075" y="28"/>
                      </a:lnTo>
                      <a:lnTo>
                        <a:pt x="2032" y="21"/>
                      </a:lnTo>
                      <a:lnTo>
                        <a:pt x="1988" y="15"/>
                      </a:lnTo>
                      <a:lnTo>
                        <a:pt x="1943" y="9"/>
                      </a:lnTo>
                      <a:lnTo>
                        <a:pt x="1899" y="6"/>
                      </a:lnTo>
                      <a:lnTo>
                        <a:pt x="1854" y="3"/>
                      </a:lnTo>
                      <a:lnTo>
                        <a:pt x="1809" y="1"/>
                      </a:lnTo>
                      <a:lnTo>
                        <a:pt x="1763" y="0"/>
                      </a:lnTo>
                      <a:lnTo>
                        <a:pt x="1763" y="0"/>
                      </a:lnTo>
                      <a:lnTo>
                        <a:pt x="1718" y="1"/>
                      </a:lnTo>
                      <a:lnTo>
                        <a:pt x="1673" y="3"/>
                      </a:lnTo>
                      <a:lnTo>
                        <a:pt x="1627" y="6"/>
                      </a:lnTo>
                      <a:lnTo>
                        <a:pt x="1583" y="9"/>
                      </a:lnTo>
                      <a:lnTo>
                        <a:pt x="1539" y="15"/>
                      </a:lnTo>
                      <a:lnTo>
                        <a:pt x="1495" y="21"/>
                      </a:lnTo>
                      <a:lnTo>
                        <a:pt x="1451" y="28"/>
                      </a:lnTo>
                      <a:lnTo>
                        <a:pt x="1408" y="36"/>
                      </a:lnTo>
                      <a:lnTo>
                        <a:pt x="1365" y="45"/>
                      </a:lnTo>
                      <a:lnTo>
                        <a:pt x="1323" y="56"/>
                      </a:lnTo>
                      <a:lnTo>
                        <a:pt x="1280" y="67"/>
                      </a:lnTo>
                      <a:lnTo>
                        <a:pt x="1239" y="79"/>
                      </a:lnTo>
                      <a:lnTo>
                        <a:pt x="1198" y="93"/>
                      </a:lnTo>
                      <a:lnTo>
                        <a:pt x="1157" y="107"/>
                      </a:lnTo>
                      <a:lnTo>
                        <a:pt x="1117" y="122"/>
                      </a:lnTo>
                      <a:lnTo>
                        <a:pt x="1077" y="139"/>
                      </a:lnTo>
                      <a:lnTo>
                        <a:pt x="1038" y="156"/>
                      </a:lnTo>
                      <a:lnTo>
                        <a:pt x="999" y="174"/>
                      </a:lnTo>
                      <a:lnTo>
                        <a:pt x="961" y="193"/>
                      </a:lnTo>
                      <a:lnTo>
                        <a:pt x="923" y="213"/>
                      </a:lnTo>
                      <a:lnTo>
                        <a:pt x="886" y="234"/>
                      </a:lnTo>
                      <a:lnTo>
                        <a:pt x="849" y="255"/>
                      </a:lnTo>
                      <a:lnTo>
                        <a:pt x="813" y="278"/>
                      </a:lnTo>
                      <a:lnTo>
                        <a:pt x="778" y="302"/>
                      </a:lnTo>
                      <a:lnTo>
                        <a:pt x="742" y="326"/>
                      </a:lnTo>
                      <a:lnTo>
                        <a:pt x="708" y="351"/>
                      </a:lnTo>
                      <a:lnTo>
                        <a:pt x="675" y="376"/>
                      </a:lnTo>
                      <a:lnTo>
                        <a:pt x="642" y="403"/>
                      </a:lnTo>
                      <a:lnTo>
                        <a:pt x="610" y="430"/>
                      </a:lnTo>
                      <a:lnTo>
                        <a:pt x="577" y="458"/>
                      </a:lnTo>
                      <a:lnTo>
                        <a:pt x="547" y="487"/>
                      </a:lnTo>
                      <a:lnTo>
                        <a:pt x="517" y="517"/>
                      </a:lnTo>
                      <a:lnTo>
                        <a:pt x="487" y="547"/>
                      </a:lnTo>
                      <a:lnTo>
                        <a:pt x="459" y="578"/>
                      </a:lnTo>
                      <a:lnTo>
                        <a:pt x="431" y="609"/>
                      </a:lnTo>
                      <a:lnTo>
                        <a:pt x="402" y="642"/>
                      </a:lnTo>
                      <a:lnTo>
                        <a:pt x="376" y="675"/>
                      </a:lnTo>
                      <a:lnTo>
                        <a:pt x="350" y="708"/>
                      </a:lnTo>
                      <a:lnTo>
                        <a:pt x="326" y="743"/>
                      </a:lnTo>
                      <a:lnTo>
                        <a:pt x="302" y="777"/>
                      </a:lnTo>
                      <a:lnTo>
                        <a:pt x="278" y="813"/>
                      </a:lnTo>
                      <a:lnTo>
                        <a:pt x="256" y="849"/>
                      </a:lnTo>
                      <a:lnTo>
                        <a:pt x="234" y="886"/>
                      </a:lnTo>
                      <a:lnTo>
                        <a:pt x="213" y="923"/>
                      </a:lnTo>
                      <a:lnTo>
                        <a:pt x="193" y="960"/>
                      </a:lnTo>
                      <a:lnTo>
                        <a:pt x="174" y="999"/>
                      </a:lnTo>
                      <a:lnTo>
                        <a:pt x="156" y="1038"/>
                      </a:lnTo>
                      <a:lnTo>
                        <a:pt x="139" y="1077"/>
                      </a:lnTo>
                      <a:lnTo>
                        <a:pt x="123" y="1116"/>
                      </a:lnTo>
                      <a:lnTo>
                        <a:pt x="108" y="1158"/>
                      </a:lnTo>
                      <a:lnTo>
                        <a:pt x="93" y="1198"/>
                      </a:lnTo>
                      <a:lnTo>
                        <a:pt x="80" y="1239"/>
                      </a:lnTo>
                      <a:lnTo>
                        <a:pt x="68" y="1280"/>
                      </a:lnTo>
                      <a:lnTo>
                        <a:pt x="56" y="1323"/>
                      </a:lnTo>
                      <a:lnTo>
                        <a:pt x="45" y="1365"/>
                      </a:lnTo>
                      <a:lnTo>
                        <a:pt x="36" y="1408"/>
                      </a:lnTo>
                      <a:lnTo>
                        <a:pt x="28" y="1451"/>
                      </a:lnTo>
                      <a:lnTo>
                        <a:pt x="20" y="1495"/>
                      </a:lnTo>
                      <a:lnTo>
                        <a:pt x="14" y="1539"/>
                      </a:lnTo>
                      <a:lnTo>
                        <a:pt x="9" y="1583"/>
                      </a:lnTo>
                      <a:lnTo>
                        <a:pt x="5" y="1627"/>
                      </a:lnTo>
                      <a:lnTo>
                        <a:pt x="3" y="1673"/>
                      </a:lnTo>
                      <a:lnTo>
                        <a:pt x="1" y="1718"/>
                      </a:lnTo>
                      <a:lnTo>
                        <a:pt x="0" y="1763"/>
                      </a:lnTo>
                      <a:lnTo>
                        <a:pt x="0" y="1763"/>
                      </a:lnTo>
                      <a:lnTo>
                        <a:pt x="1" y="1805"/>
                      </a:lnTo>
                      <a:lnTo>
                        <a:pt x="1" y="1805"/>
                      </a:lnTo>
                      <a:lnTo>
                        <a:pt x="0" y="1844"/>
                      </a:lnTo>
                      <a:lnTo>
                        <a:pt x="0" y="1844"/>
                      </a:lnTo>
                      <a:lnTo>
                        <a:pt x="1" y="1882"/>
                      </a:lnTo>
                      <a:lnTo>
                        <a:pt x="2" y="1920"/>
                      </a:lnTo>
                      <a:lnTo>
                        <a:pt x="3" y="1958"/>
                      </a:lnTo>
                      <a:lnTo>
                        <a:pt x="5" y="1997"/>
                      </a:lnTo>
                      <a:lnTo>
                        <a:pt x="11" y="2073"/>
                      </a:lnTo>
                      <a:lnTo>
                        <a:pt x="20" y="2150"/>
                      </a:lnTo>
                      <a:lnTo>
                        <a:pt x="31" y="2228"/>
                      </a:lnTo>
                      <a:lnTo>
                        <a:pt x="44" y="2305"/>
                      </a:lnTo>
                      <a:lnTo>
                        <a:pt x="60" y="2383"/>
                      </a:lnTo>
                      <a:lnTo>
                        <a:pt x="77" y="2460"/>
                      </a:lnTo>
                      <a:lnTo>
                        <a:pt x="96" y="2539"/>
                      </a:lnTo>
                      <a:lnTo>
                        <a:pt x="116" y="2616"/>
                      </a:lnTo>
                      <a:lnTo>
                        <a:pt x="139" y="2694"/>
                      </a:lnTo>
                      <a:lnTo>
                        <a:pt x="163" y="2772"/>
                      </a:lnTo>
                      <a:lnTo>
                        <a:pt x="189" y="2850"/>
                      </a:lnTo>
                      <a:lnTo>
                        <a:pt x="216" y="2926"/>
                      </a:lnTo>
                      <a:lnTo>
                        <a:pt x="246" y="3004"/>
                      </a:lnTo>
                      <a:lnTo>
                        <a:pt x="276" y="3080"/>
                      </a:lnTo>
                      <a:lnTo>
                        <a:pt x="308" y="3156"/>
                      </a:lnTo>
                      <a:lnTo>
                        <a:pt x="340" y="3233"/>
                      </a:lnTo>
                      <a:lnTo>
                        <a:pt x="374" y="3307"/>
                      </a:lnTo>
                      <a:lnTo>
                        <a:pt x="410" y="3383"/>
                      </a:lnTo>
                      <a:lnTo>
                        <a:pt x="446" y="3457"/>
                      </a:lnTo>
                      <a:lnTo>
                        <a:pt x="482" y="3531"/>
                      </a:lnTo>
                      <a:lnTo>
                        <a:pt x="520" y="3604"/>
                      </a:lnTo>
                      <a:lnTo>
                        <a:pt x="558" y="3675"/>
                      </a:lnTo>
                      <a:lnTo>
                        <a:pt x="598" y="3748"/>
                      </a:lnTo>
                      <a:lnTo>
                        <a:pt x="637" y="3818"/>
                      </a:lnTo>
                      <a:lnTo>
                        <a:pt x="677" y="3888"/>
                      </a:lnTo>
                      <a:lnTo>
                        <a:pt x="717" y="3957"/>
                      </a:lnTo>
                      <a:lnTo>
                        <a:pt x="759" y="4025"/>
                      </a:lnTo>
                      <a:lnTo>
                        <a:pt x="800" y="4092"/>
                      </a:lnTo>
                      <a:lnTo>
                        <a:pt x="841" y="4157"/>
                      </a:lnTo>
                      <a:lnTo>
                        <a:pt x="882" y="4222"/>
                      </a:lnTo>
                      <a:lnTo>
                        <a:pt x="923" y="4285"/>
                      </a:lnTo>
                      <a:lnTo>
                        <a:pt x="965" y="4347"/>
                      </a:lnTo>
                      <a:lnTo>
                        <a:pt x="1046" y="4468"/>
                      </a:lnTo>
                      <a:lnTo>
                        <a:pt x="1127" y="4583"/>
                      </a:lnTo>
                      <a:lnTo>
                        <a:pt x="1205" y="4693"/>
                      </a:lnTo>
                      <a:lnTo>
                        <a:pt x="1281" y="4795"/>
                      </a:lnTo>
                      <a:lnTo>
                        <a:pt x="1354" y="4891"/>
                      </a:lnTo>
                      <a:lnTo>
                        <a:pt x="1423" y="4979"/>
                      </a:lnTo>
                      <a:lnTo>
                        <a:pt x="1488" y="5061"/>
                      </a:lnTo>
                      <a:lnTo>
                        <a:pt x="1547" y="5133"/>
                      </a:lnTo>
                      <a:lnTo>
                        <a:pt x="1600" y="5198"/>
                      </a:lnTo>
                      <a:lnTo>
                        <a:pt x="1648" y="5254"/>
                      </a:lnTo>
                      <a:lnTo>
                        <a:pt x="1688" y="5300"/>
                      </a:lnTo>
                      <a:lnTo>
                        <a:pt x="1743" y="5364"/>
                      </a:lnTo>
                      <a:lnTo>
                        <a:pt x="1763" y="5386"/>
                      </a:lnTo>
                      <a:lnTo>
                        <a:pt x="1763" y="5386"/>
                      </a:lnTo>
                      <a:lnTo>
                        <a:pt x="1783" y="5364"/>
                      </a:lnTo>
                      <a:lnTo>
                        <a:pt x="1839" y="5300"/>
                      </a:lnTo>
                      <a:lnTo>
                        <a:pt x="1879" y="5254"/>
                      </a:lnTo>
                      <a:lnTo>
                        <a:pt x="1926" y="5198"/>
                      </a:lnTo>
                      <a:lnTo>
                        <a:pt x="1979" y="5133"/>
                      </a:lnTo>
                      <a:lnTo>
                        <a:pt x="2039" y="5061"/>
                      </a:lnTo>
                      <a:lnTo>
                        <a:pt x="2103" y="4979"/>
                      </a:lnTo>
                      <a:lnTo>
                        <a:pt x="2172" y="4891"/>
                      </a:lnTo>
                      <a:lnTo>
                        <a:pt x="2245" y="4795"/>
                      </a:lnTo>
                      <a:lnTo>
                        <a:pt x="2321" y="4693"/>
                      </a:lnTo>
                      <a:lnTo>
                        <a:pt x="2400" y="4583"/>
                      </a:lnTo>
                      <a:lnTo>
                        <a:pt x="2480" y="4468"/>
                      </a:lnTo>
                      <a:lnTo>
                        <a:pt x="2562" y="4347"/>
                      </a:lnTo>
                      <a:lnTo>
                        <a:pt x="2603" y="4285"/>
                      </a:lnTo>
                      <a:lnTo>
                        <a:pt x="2644" y="4222"/>
                      </a:lnTo>
                      <a:lnTo>
                        <a:pt x="2685" y="4157"/>
                      </a:lnTo>
                      <a:lnTo>
                        <a:pt x="2727" y="4092"/>
                      </a:lnTo>
                      <a:lnTo>
                        <a:pt x="2768" y="4025"/>
                      </a:lnTo>
                      <a:lnTo>
                        <a:pt x="2809" y="3957"/>
                      </a:lnTo>
                      <a:lnTo>
                        <a:pt x="2849" y="3888"/>
                      </a:lnTo>
                      <a:lnTo>
                        <a:pt x="2890" y="3818"/>
                      </a:lnTo>
                      <a:lnTo>
                        <a:pt x="2929" y="3748"/>
                      </a:lnTo>
                      <a:lnTo>
                        <a:pt x="2968" y="3675"/>
                      </a:lnTo>
                      <a:lnTo>
                        <a:pt x="3006" y="3604"/>
                      </a:lnTo>
                      <a:lnTo>
                        <a:pt x="3045" y="3531"/>
                      </a:lnTo>
                      <a:lnTo>
                        <a:pt x="3081" y="3457"/>
                      </a:lnTo>
                      <a:lnTo>
                        <a:pt x="3117" y="3383"/>
                      </a:lnTo>
                      <a:lnTo>
                        <a:pt x="3152" y="3307"/>
                      </a:lnTo>
                      <a:lnTo>
                        <a:pt x="3186" y="3233"/>
                      </a:lnTo>
                      <a:lnTo>
                        <a:pt x="3219" y="3156"/>
                      </a:lnTo>
                      <a:lnTo>
                        <a:pt x="3251" y="3080"/>
                      </a:lnTo>
                      <a:lnTo>
                        <a:pt x="3281" y="3004"/>
                      </a:lnTo>
                      <a:lnTo>
                        <a:pt x="3310" y="2926"/>
                      </a:lnTo>
                      <a:lnTo>
                        <a:pt x="3337" y="2850"/>
                      </a:lnTo>
                      <a:lnTo>
                        <a:pt x="3363" y="2772"/>
                      </a:lnTo>
                      <a:lnTo>
                        <a:pt x="3387" y="2694"/>
                      </a:lnTo>
                      <a:lnTo>
                        <a:pt x="3411" y="2616"/>
                      </a:lnTo>
                      <a:lnTo>
                        <a:pt x="3431" y="2539"/>
                      </a:lnTo>
                      <a:lnTo>
                        <a:pt x="3450" y="2460"/>
                      </a:lnTo>
                      <a:lnTo>
                        <a:pt x="3467" y="2383"/>
                      </a:lnTo>
                      <a:lnTo>
                        <a:pt x="3482" y="2305"/>
                      </a:lnTo>
                      <a:lnTo>
                        <a:pt x="3495" y="2228"/>
                      </a:lnTo>
                      <a:lnTo>
                        <a:pt x="3506" y="2150"/>
                      </a:lnTo>
                      <a:lnTo>
                        <a:pt x="3514" y="2073"/>
                      </a:lnTo>
                      <a:lnTo>
                        <a:pt x="3521" y="1997"/>
                      </a:lnTo>
                      <a:lnTo>
                        <a:pt x="3523" y="1958"/>
                      </a:lnTo>
                      <a:lnTo>
                        <a:pt x="3524" y="1920"/>
                      </a:lnTo>
                      <a:lnTo>
                        <a:pt x="3525" y="1882"/>
                      </a:lnTo>
                      <a:lnTo>
                        <a:pt x="3526" y="1844"/>
                      </a:lnTo>
                      <a:lnTo>
                        <a:pt x="3526" y="1844"/>
                      </a:lnTo>
                      <a:lnTo>
                        <a:pt x="3525" y="1805"/>
                      </a:lnTo>
                      <a:lnTo>
                        <a:pt x="3525" y="1805"/>
                      </a:lnTo>
                      <a:lnTo>
                        <a:pt x="3526" y="1763"/>
                      </a:lnTo>
                      <a:lnTo>
                        <a:pt x="3526" y="1763"/>
                      </a:lnTo>
                      <a:close/>
                      <a:moveTo>
                        <a:pt x="1763" y="3869"/>
                      </a:moveTo>
                      <a:lnTo>
                        <a:pt x="1763" y="3869"/>
                      </a:lnTo>
                      <a:lnTo>
                        <a:pt x="1707" y="3868"/>
                      </a:lnTo>
                      <a:lnTo>
                        <a:pt x="1651" y="3864"/>
                      </a:lnTo>
                      <a:lnTo>
                        <a:pt x="1594" y="3859"/>
                      </a:lnTo>
                      <a:lnTo>
                        <a:pt x="1540" y="3851"/>
                      </a:lnTo>
                      <a:lnTo>
                        <a:pt x="1486" y="3841"/>
                      </a:lnTo>
                      <a:lnTo>
                        <a:pt x="1432" y="3829"/>
                      </a:lnTo>
                      <a:lnTo>
                        <a:pt x="1379" y="3816"/>
                      </a:lnTo>
                      <a:lnTo>
                        <a:pt x="1327" y="3800"/>
                      </a:lnTo>
                      <a:lnTo>
                        <a:pt x="1276" y="3783"/>
                      </a:lnTo>
                      <a:lnTo>
                        <a:pt x="1226" y="3764"/>
                      </a:lnTo>
                      <a:lnTo>
                        <a:pt x="1177" y="3742"/>
                      </a:lnTo>
                      <a:lnTo>
                        <a:pt x="1129" y="3720"/>
                      </a:lnTo>
                      <a:lnTo>
                        <a:pt x="1081" y="3695"/>
                      </a:lnTo>
                      <a:lnTo>
                        <a:pt x="1035" y="3668"/>
                      </a:lnTo>
                      <a:lnTo>
                        <a:pt x="990" y="3640"/>
                      </a:lnTo>
                      <a:lnTo>
                        <a:pt x="946" y="3611"/>
                      </a:lnTo>
                      <a:lnTo>
                        <a:pt x="903" y="3580"/>
                      </a:lnTo>
                      <a:lnTo>
                        <a:pt x="861" y="3547"/>
                      </a:lnTo>
                      <a:lnTo>
                        <a:pt x="821" y="3513"/>
                      </a:lnTo>
                      <a:lnTo>
                        <a:pt x="782" y="3476"/>
                      </a:lnTo>
                      <a:lnTo>
                        <a:pt x="744" y="3440"/>
                      </a:lnTo>
                      <a:lnTo>
                        <a:pt x="708" y="3401"/>
                      </a:lnTo>
                      <a:lnTo>
                        <a:pt x="673" y="3362"/>
                      </a:lnTo>
                      <a:lnTo>
                        <a:pt x="640" y="3320"/>
                      </a:lnTo>
                      <a:lnTo>
                        <a:pt x="608" y="3278"/>
                      </a:lnTo>
                      <a:lnTo>
                        <a:pt x="577" y="3235"/>
                      </a:lnTo>
                      <a:lnTo>
                        <a:pt x="549" y="3190"/>
                      </a:lnTo>
                      <a:lnTo>
                        <a:pt x="522" y="3144"/>
                      </a:lnTo>
                      <a:lnTo>
                        <a:pt x="497" y="3097"/>
                      </a:lnTo>
                      <a:lnTo>
                        <a:pt x="473" y="3050"/>
                      </a:lnTo>
                      <a:lnTo>
                        <a:pt x="451" y="3001"/>
                      </a:lnTo>
                      <a:lnTo>
                        <a:pt x="431" y="2951"/>
                      </a:lnTo>
                      <a:lnTo>
                        <a:pt x="431" y="2951"/>
                      </a:lnTo>
                      <a:lnTo>
                        <a:pt x="460" y="2989"/>
                      </a:lnTo>
                      <a:lnTo>
                        <a:pt x="489" y="3027"/>
                      </a:lnTo>
                      <a:lnTo>
                        <a:pt x="520" y="3063"/>
                      </a:lnTo>
                      <a:lnTo>
                        <a:pt x="551" y="3098"/>
                      </a:lnTo>
                      <a:lnTo>
                        <a:pt x="585" y="3133"/>
                      </a:lnTo>
                      <a:lnTo>
                        <a:pt x="618" y="3166"/>
                      </a:lnTo>
                      <a:lnTo>
                        <a:pt x="653" y="3199"/>
                      </a:lnTo>
                      <a:lnTo>
                        <a:pt x="688" y="3231"/>
                      </a:lnTo>
                      <a:lnTo>
                        <a:pt x="724" y="3261"/>
                      </a:lnTo>
                      <a:lnTo>
                        <a:pt x="763" y="3291"/>
                      </a:lnTo>
                      <a:lnTo>
                        <a:pt x="801" y="3319"/>
                      </a:lnTo>
                      <a:lnTo>
                        <a:pt x="840" y="3347"/>
                      </a:lnTo>
                      <a:lnTo>
                        <a:pt x="879" y="3373"/>
                      </a:lnTo>
                      <a:lnTo>
                        <a:pt x="920" y="3398"/>
                      </a:lnTo>
                      <a:lnTo>
                        <a:pt x="962" y="3422"/>
                      </a:lnTo>
                      <a:lnTo>
                        <a:pt x="1004" y="3445"/>
                      </a:lnTo>
                      <a:lnTo>
                        <a:pt x="1047" y="3466"/>
                      </a:lnTo>
                      <a:lnTo>
                        <a:pt x="1090" y="3487"/>
                      </a:lnTo>
                      <a:lnTo>
                        <a:pt x="1135" y="3506"/>
                      </a:lnTo>
                      <a:lnTo>
                        <a:pt x="1180" y="3524"/>
                      </a:lnTo>
                      <a:lnTo>
                        <a:pt x="1225" y="3541"/>
                      </a:lnTo>
                      <a:lnTo>
                        <a:pt x="1271" y="3556"/>
                      </a:lnTo>
                      <a:lnTo>
                        <a:pt x="1319" y="3570"/>
                      </a:lnTo>
                      <a:lnTo>
                        <a:pt x="1366" y="3582"/>
                      </a:lnTo>
                      <a:lnTo>
                        <a:pt x="1414" y="3593"/>
                      </a:lnTo>
                      <a:lnTo>
                        <a:pt x="1463" y="3603"/>
                      </a:lnTo>
                      <a:lnTo>
                        <a:pt x="1512" y="3611"/>
                      </a:lnTo>
                      <a:lnTo>
                        <a:pt x="1561" y="3618"/>
                      </a:lnTo>
                      <a:lnTo>
                        <a:pt x="1610" y="3623"/>
                      </a:lnTo>
                      <a:lnTo>
                        <a:pt x="1662" y="3627"/>
                      </a:lnTo>
                      <a:lnTo>
                        <a:pt x="1712" y="3630"/>
                      </a:lnTo>
                      <a:lnTo>
                        <a:pt x="1763" y="3630"/>
                      </a:lnTo>
                      <a:lnTo>
                        <a:pt x="1763" y="3630"/>
                      </a:lnTo>
                      <a:lnTo>
                        <a:pt x="1815" y="3630"/>
                      </a:lnTo>
                      <a:lnTo>
                        <a:pt x="1865" y="3627"/>
                      </a:lnTo>
                      <a:lnTo>
                        <a:pt x="1915" y="3623"/>
                      </a:lnTo>
                      <a:lnTo>
                        <a:pt x="1965" y="3618"/>
                      </a:lnTo>
                      <a:lnTo>
                        <a:pt x="2015" y="3611"/>
                      </a:lnTo>
                      <a:lnTo>
                        <a:pt x="2064" y="3603"/>
                      </a:lnTo>
                      <a:lnTo>
                        <a:pt x="2112" y="3593"/>
                      </a:lnTo>
                      <a:lnTo>
                        <a:pt x="2161" y="3582"/>
                      </a:lnTo>
                      <a:lnTo>
                        <a:pt x="2208" y="3570"/>
                      </a:lnTo>
                      <a:lnTo>
                        <a:pt x="2255" y="3556"/>
                      </a:lnTo>
                      <a:lnTo>
                        <a:pt x="2301" y="3541"/>
                      </a:lnTo>
                      <a:lnTo>
                        <a:pt x="2347" y="3524"/>
                      </a:lnTo>
                      <a:lnTo>
                        <a:pt x="2392" y="3506"/>
                      </a:lnTo>
                      <a:lnTo>
                        <a:pt x="2436" y="3487"/>
                      </a:lnTo>
                      <a:lnTo>
                        <a:pt x="2479" y="3466"/>
                      </a:lnTo>
                      <a:lnTo>
                        <a:pt x="2523" y="3445"/>
                      </a:lnTo>
                      <a:lnTo>
                        <a:pt x="2565" y="3422"/>
                      </a:lnTo>
                      <a:lnTo>
                        <a:pt x="2606" y="3398"/>
                      </a:lnTo>
                      <a:lnTo>
                        <a:pt x="2647" y="3373"/>
                      </a:lnTo>
                      <a:lnTo>
                        <a:pt x="2687" y="3347"/>
                      </a:lnTo>
                      <a:lnTo>
                        <a:pt x="2726" y="3319"/>
                      </a:lnTo>
                      <a:lnTo>
                        <a:pt x="2764" y="3291"/>
                      </a:lnTo>
                      <a:lnTo>
                        <a:pt x="2801" y="3261"/>
                      </a:lnTo>
                      <a:lnTo>
                        <a:pt x="2838" y="3231"/>
                      </a:lnTo>
                      <a:lnTo>
                        <a:pt x="2874" y="3199"/>
                      </a:lnTo>
                      <a:lnTo>
                        <a:pt x="2909" y="3166"/>
                      </a:lnTo>
                      <a:lnTo>
                        <a:pt x="2942" y="3133"/>
                      </a:lnTo>
                      <a:lnTo>
                        <a:pt x="2975" y="3098"/>
                      </a:lnTo>
                      <a:lnTo>
                        <a:pt x="3006" y="3063"/>
                      </a:lnTo>
                      <a:lnTo>
                        <a:pt x="3038" y="3027"/>
                      </a:lnTo>
                      <a:lnTo>
                        <a:pt x="3067" y="2989"/>
                      </a:lnTo>
                      <a:lnTo>
                        <a:pt x="3096" y="2951"/>
                      </a:lnTo>
                      <a:lnTo>
                        <a:pt x="3096" y="2951"/>
                      </a:lnTo>
                      <a:lnTo>
                        <a:pt x="3076" y="3001"/>
                      </a:lnTo>
                      <a:lnTo>
                        <a:pt x="3054" y="3050"/>
                      </a:lnTo>
                      <a:lnTo>
                        <a:pt x="3029" y="3097"/>
                      </a:lnTo>
                      <a:lnTo>
                        <a:pt x="3004" y="3144"/>
                      </a:lnTo>
                      <a:lnTo>
                        <a:pt x="2977" y="3190"/>
                      </a:lnTo>
                      <a:lnTo>
                        <a:pt x="2949" y="3235"/>
                      </a:lnTo>
                      <a:lnTo>
                        <a:pt x="2918" y="3278"/>
                      </a:lnTo>
                      <a:lnTo>
                        <a:pt x="2887" y="3320"/>
                      </a:lnTo>
                      <a:lnTo>
                        <a:pt x="2853" y="3362"/>
                      </a:lnTo>
                      <a:lnTo>
                        <a:pt x="2818" y="3401"/>
                      </a:lnTo>
                      <a:lnTo>
                        <a:pt x="2782" y="3440"/>
                      </a:lnTo>
                      <a:lnTo>
                        <a:pt x="2744" y="3476"/>
                      </a:lnTo>
                      <a:lnTo>
                        <a:pt x="2706" y="3513"/>
                      </a:lnTo>
                      <a:lnTo>
                        <a:pt x="2665" y="3547"/>
                      </a:lnTo>
                      <a:lnTo>
                        <a:pt x="2623" y="3580"/>
                      </a:lnTo>
                      <a:lnTo>
                        <a:pt x="2581" y="3611"/>
                      </a:lnTo>
                      <a:lnTo>
                        <a:pt x="2537" y="3640"/>
                      </a:lnTo>
                      <a:lnTo>
                        <a:pt x="2491" y="3668"/>
                      </a:lnTo>
                      <a:lnTo>
                        <a:pt x="2445" y="3695"/>
                      </a:lnTo>
                      <a:lnTo>
                        <a:pt x="2398" y="3720"/>
                      </a:lnTo>
                      <a:lnTo>
                        <a:pt x="2350" y="3742"/>
                      </a:lnTo>
                      <a:lnTo>
                        <a:pt x="2300" y="3764"/>
                      </a:lnTo>
                      <a:lnTo>
                        <a:pt x="2250" y="3783"/>
                      </a:lnTo>
                      <a:lnTo>
                        <a:pt x="2199" y="3800"/>
                      </a:lnTo>
                      <a:lnTo>
                        <a:pt x="2147" y="3816"/>
                      </a:lnTo>
                      <a:lnTo>
                        <a:pt x="2094" y="3829"/>
                      </a:lnTo>
                      <a:lnTo>
                        <a:pt x="2041" y="3841"/>
                      </a:lnTo>
                      <a:lnTo>
                        <a:pt x="1987" y="3851"/>
                      </a:lnTo>
                      <a:lnTo>
                        <a:pt x="1932" y="3859"/>
                      </a:lnTo>
                      <a:lnTo>
                        <a:pt x="1876" y="3864"/>
                      </a:lnTo>
                      <a:lnTo>
                        <a:pt x="1820" y="3868"/>
                      </a:lnTo>
                      <a:lnTo>
                        <a:pt x="1763" y="3869"/>
                      </a:lnTo>
                      <a:lnTo>
                        <a:pt x="1763" y="3869"/>
                      </a:lnTo>
                      <a:close/>
                      <a:moveTo>
                        <a:pt x="1763" y="3190"/>
                      </a:moveTo>
                      <a:lnTo>
                        <a:pt x="1763" y="3190"/>
                      </a:lnTo>
                      <a:lnTo>
                        <a:pt x="1726" y="3190"/>
                      </a:lnTo>
                      <a:lnTo>
                        <a:pt x="1690" y="3188"/>
                      </a:lnTo>
                      <a:lnTo>
                        <a:pt x="1654" y="3186"/>
                      </a:lnTo>
                      <a:lnTo>
                        <a:pt x="1617" y="3183"/>
                      </a:lnTo>
                      <a:lnTo>
                        <a:pt x="1581" y="3179"/>
                      </a:lnTo>
                      <a:lnTo>
                        <a:pt x="1546" y="3174"/>
                      </a:lnTo>
                      <a:lnTo>
                        <a:pt x="1511" y="3167"/>
                      </a:lnTo>
                      <a:lnTo>
                        <a:pt x="1476" y="3160"/>
                      </a:lnTo>
                      <a:lnTo>
                        <a:pt x="1441" y="3153"/>
                      </a:lnTo>
                      <a:lnTo>
                        <a:pt x="1407" y="3145"/>
                      </a:lnTo>
                      <a:lnTo>
                        <a:pt x="1373" y="3135"/>
                      </a:lnTo>
                      <a:lnTo>
                        <a:pt x="1339" y="3126"/>
                      </a:lnTo>
                      <a:lnTo>
                        <a:pt x="1306" y="3115"/>
                      </a:lnTo>
                      <a:lnTo>
                        <a:pt x="1272" y="3103"/>
                      </a:lnTo>
                      <a:lnTo>
                        <a:pt x="1240" y="3091"/>
                      </a:lnTo>
                      <a:lnTo>
                        <a:pt x="1208" y="3078"/>
                      </a:lnTo>
                      <a:lnTo>
                        <a:pt x="1176" y="3064"/>
                      </a:lnTo>
                      <a:lnTo>
                        <a:pt x="1145" y="3049"/>
                      </a:lnTo>
                      <a:lnTo>
                        <a:pt x="1114" y="3034"/>
                      </a:lnTo>
                      <a:lnTo>
                        <a:pt x="1083" y="3018"/>
                      </a:lnTo>
                      <a:lnTo>
                        <a:pt x="1053" y="3001"/>
                      </a:lnTo>
                      <a:lnTo>
                        <a:pt x="1024" y="2983"/>
                      </a:lnTo>
                      <a:lnTo>
                        <a:pt x="995" y="2965"/>
                      </a:lnTo>
                      <a:lnTo>
                        <a:pt x="966" y="2946"/>
                      </a:lnTo>
                      <a:lnTo>
                        <a:pt x="938" y="2927"/>
                      </a:lnTo>
                      <a:lnTo>
                        <a:pt x="909" y="2907"/>
                      </a:lnTo>
                      <a:lnTo>
                        <a:pt x="882" y="2886"/>
                      </a:lnTo>
                      <a:lnTo>
                        <a:pt x="856" y="2864"/>
                      </a:lnTo>
                      <a:lnTo>
                        <a:pt x="830" y="2842"/>
                      </a:lnTo>
                      <a:lnTo>
                        <a:pt x="804" y="2819"/>
                      </a:lnTo>
                      <a:lnTo>
                        <a:pt x="780" y="2796"/>
                      </a:lnTo>
                      <a:lnTo>
                        <a:pt x="754" y="2772"/>
                      </a:lnTo>
                      <a:lnTo>
                        <a:pt x="730" y="2748"/>
                      </a:lnTo>
                      <a:lnTo>
                        <a:pt x="707" y="2723"/>
                      </a:lnTo>
                      <a:lnTo>
                        <a:pt x="685" y="2697"/>
                      </a:lnTo>
                      <a:lnTo>
                        <a:pt x="663" y="2671"/>
                      </a:lnTo>
                      <a:lnTo>
                        <a:pt x="641" y="2644"/>
                      </a:lnTo>
                      <a:lnTo>
                        <a:pt x="621" y="2617"/>
                      </a:lnTo>
                      <a:lnTo>
                        <a:pt x="601" y="2589"/>
                      </a:lnTo>
                      <a:lnTo>
                        <a:pt x="581" y="2561"/>
                      </a:lnTo>
                      <a:lnTo>
                        <a:pt x="561" y="2533"/>
                      </a:lnTo>
                      <a:lnTo>
                        <a:pt x="543" y="2504"/>
                      </a:lnTo>
                      <a:lnTo>
                        <a:pt x="526" y="2473"/>
                      </a:lnTo>
                      <a:lnTo>
                        <a:pt x="509" y="2443"/>
                      </a:lnTo>
                      <a:lnTo>
                        <a:pt x="493" y="2413"/>
                      </a:lnTo>
                      <a:lnTo>
                        <a:pt x="478" y="2382"/>
                      </a:lnTo>
                      <a:lnTo>
                        <a:pt x="463" y="2351"/>
                      </a:lnTo>
                      <a:lnTo>
                        <a:pt x="449" y="2318"/>
                      </a:lnTo>
                      <a:lnTo>
                        <a:pt x="436" y="2286"/>
                      </a:lnTo>
                      <a:lnTo>
                        <a:pt x="424" y="2254"/>
                      </a:lnTo>
                      <a:lnTo>
                        <a:pt x="412" y="2221"/>
                      </a:lnTo>
                      <a:lnTo>
                        <a:pt x="401" y="2188"/>
                      </a:lnTo>
                      <a:lnTo>
                        <a:pt x="391" y="2153"/>
                      </a:lnTo>
                      <a:lnTo>
                        <a:pt x="382" y="2120"/>
                      </a:lnTo>
                      <a:lnTo>
                        <a:pt x="373" y="2085"/>
                      </a:lnTo>
                      <a:lnTo>
                        <a:pt x="366" y="2051"/>
                      </a:lnTo>
                      <a:lnTo>
                        <a:pt x="359" y="2016"/>
                      </a:lnTo>
                      <a:lnTo>
                        <a:pt x="353" y="1980"/>
                      </a:lnTo>
                      <a:lnTo>
                        <a:pt x="348" y="1945"/>
                      </a:lnTo>
                      <a:lnTo>
                        <a:pt x="344" y="1909"/>
                      </a:lnTo>
                      <a:lnTo>
                        <a:pt x="341" y="1873"/>
                      </a:lnTo>
                      <a:lnTo>
                        <a:pt x="339" y="1837"/>
                      </a:lnTo>
                      <a:lnTo>
                        <a:pt x="337" y="1800"/>
                      </a:lnTo>
                      <a:lnTo>
                        <a:pt x="337" y="1763"/>
                      </a:lnTo>
                      <a:lnTo>
                        <a:pt x="337" y="1763"/>
                      </a:lnTo>
                      <a:lnTo>
                        <a:pt x="337" y="1727"/>
                      </a:lnTo>
                      <a:lnTo>
                        <a:pt x="339" y="1690"/>
                      </a:lnTo>
                      <a:lnTo>
                        <a:pt x="341" y="1654"/>
                      </a:lnTo>
                      <a:lnTo>
                        <a:pt x="344" y="1617"/>
                      </a:lnTo>
                      <a:lnTo>
                        <a:pt x="348" y="1582"/>
                      </a:lnTo>
                      <a:lnTo>
                        <a:pt x="353" y="1546"/>
                      </a:lnTo>
                      <a:lnTo>
                        <a:pt x="359" y="1511"/>
                      </a:lnTo>
                      <a:lnTo>
                        <a:pt x="366" y="1475"/>
                      </a:lnTo>
                      <a:lnTo>
                        <a:pt x="373" y="1441"/>
                      </a:lnTo>
                      <a:lnTo>
                        <a:pt x="382" y="1407"/>
                      </a:lnTo>
                      <a:lnTo>
                        <a:pt x="391" y="1373"/>
                      </a:lnTo>
                      <a:lnTo>
                        <a:pt x="401" y="1339"/>
                      </a:lnTo>
                      <a:lnTo>
                        <a:pt x="412" y="1305"/>
                      </a:lnTo>
                      <a:lnTo>
                        <a:pt x="424" y="1273"/>
                      </a:lnTo>
                      <a:lnTo>
                        <a:pt x="436" y="1240"/>
                      </a:lnTo>
                      <a:lnTo>
                        <a:pt x="449" y="1208"/>
                      </a:lnTo>
                      <a:lnTo>
                        <a:pt x="463" y="1177"/>
                      </a:lnTo>
                      <a:lnTo>
                        <a:pt x="478" y="1145"/>
                      </a:lnTo>
                      <a:lnTo>
                        <a:pt x="493" y="1114"/>
                      </a:lnTo>
                      <a:lnTo>
                        <a:pt x="509" y="1083"/>
                      </a:lnTo>
                      <a:lnTo>
                        <a:pt x="526" y="1053"/>
                      </a:lnTo>
                      <a:lnTo>
                        <a:pt x="543" y="1024"/>
                      </a:lnTo>
                      <a:lnTo>
                        <a:pt x="561" y="995"/>
                      </a:lnTo>
                      <a:lnTo>
                        <a:pt x="581" y="965"/>
                      </a:lnTo>
                      <a:lnTo>
                        <a:pt x="601" y="937"/>
                      </a:lnTo>
                      <a:lnTo>
                        <a:pt x="621" y="910"/>
                      </a:lnTo>
                      <a:lnTo>
                        <a:pt x="641" y="883"/>
                      </a:lnTo>
                      <a:lnTo>
                        <a:pt x="663" y="856"/>
                      </a:lnTo>
                      <a:lnTo>
                        <a:pt x="685" y="830"/>
                      </a:lnTo>
                      <a:lnTo>
                        <a:pt x="707" y="805"/>
                      </a:lnTo>
                      <a:lnTo>
                        <a:pt x="730" y="779"/>
                      </a:lnTo>
                      <a:lnTo>
                        <a:pt x="754" y="754"/>
                      </a:lnTo>
                      <a:lnTo>
                        <a:pt x="780" y="731"/>
                      </a:lnTo>
                      <a:lnTo>
                        <a:pt x="804" y="707"/>
                      </a:lnTo>
                      <a:lnTo>
                        <a:pt x="830" y="685"/>
                      </a:lnTo>
                      <a:lnTo>
                        <a:pt x="856" y="663"/>
                      </a:lnTo>
                      <a:lnTo>
                        <a:pt x="882" y="642"/>
                      </a:lnTo>
                      <a:lnTo>
                        <a:pt x="909" y="620"/>
                      </a:lnTo>
                      <a:lnTo>
                        <a:pt x="938" y="600"/>
                      </a:lnTo>
                      <a:lnTo>
                        <a:pt x="966" y="580"/>
                      </a:lnTo>
                      <a:lnTo>
                        <a:pt x="995" y="561"/>
                      </a:lnTo>
                      <a:lnTo>
                        <a:pt x="1024" y="543"/>
                      </a:lnTo>
                      <a:lnTo>
                        <a:pt x="1053" y="526"/>
                      </a:lnTo>
                      <a:lnTo>
                        <a:pt x="1083" y="509"/>
                      </a:lnTo>
                      <a:lnTo>
                        <a:pt x="1114" y="493"/>
                      </a:lnTo>
                      <a:lnTo>
                        <a:pt x="1145" y="478"/>
                      </a:lnTo>
                      <a:lnTo>
                        <a:pt x="1176" y="462"/>
                      </a:lnTo>
                      <a:lnTo>
                        <a:pt x="1208" y="449"/>
                      </a:lnTo>
                      <a:lnTo>
                        <a:pt x="1240" y="435"/>
                      </a:lnTo>
                      <a:lnTo>
                        <a:pt x="1272" y="423"/>
                      </a:lnTo>
                      <a:lnTo>
                        <a:pt x="1306" y="412"/>
                      </a:lnTo>
                      <a:lnTo>
                        <a:pt x="1339" y="401"/>
                      </a:lnTo>
                      <a:lnTo>
                        <a:pt x="1373" y="391"/>
                      </a:lnTo>
                      <a:lnTo>
                        <a:pt x="1407" y="382"/>
                      </a:lnTo>
                      <a:lnTo>
                        <a:pt x="1441" y="373"/>
                      </a:lnTo>
                      <a:lnTo>
                        <a:pt x="1476" y="366"/>
                      </a:lnTo>
                      <a:lnTo>
                        <a:pt x="1511" y="359"/>
                      </a:lnTo>
                      <a:lnTo>
                        <a:pt x="1546" y="353"/>
                      </a:lnTo>
                      <a:lnTo>
                        <a:pt x="1581" y="348"/>
                      </a:lnTo>
                      <a:lnTo>
                        <a:pt x="1617" y="344"/>
                      </a:lnTo>
                      <a:lnTo>
                        <a:pt x="1654" y="341"/>
                      </a:lnTo>
                      <a:lnTo>
                        <a:pt x="1690" y="339"/>
                      </a:lnTo>
                      <a:lnTo>
                        <a:pt x="1726" y="338"/>
                      </a:lnTo>
                      <a:lnTo>
                        <a:pt x="1763" y="337"/>
                      </a:lnTo>
                      <a:lnTo>
                        <a:pt x="1763" y="337"/>
                      </a:lnTo>
                      <a:lnTo>
                        <a:pt x="1800" y="338"/>
                      </a:lnTo>
                      <a:lnTo>
                        <a:pt x="1837" y="339"/>
                      </a:lnTo>
                      <a:lnTo>
                        <a:pt x="1873" y="341"/>
                      </a:lnTo>
                      <a:lnTo>
                        <a:pt x="1909" y="344"/>
                      </a:lnTo>
                      <a:lnTo>
                        <a:pt x="1945" y="348"/>
                      </a:lnTo>
                      <a:lnTo>
                        <a:pt x="1980" y="353"/>
                      </a:lnTo>
                      <a:lnTo>
                        <a:pt x="2016" y="359"/>
                      </a:lnTo>
                      <a:lnTo>
                        <a:pt x="2051" y="366"/>
                      </a:lnTo>
                      <a:lnTo>
                        <a:pt x="2085" y="373"/>
                      </a:lnTo>
                      <a:lnTo>
                        <a:pt x="2119" y="382"/>
                      </a:lnTo>
                      <a:lnTo>
                        <a:pt x="2153" y="391"/>
                      </a:lnTo>
                      <a:lnTo>
                        <a:pt x="2188" y="401"/>
                      </a:lnTo>
                      <a:lnTo>
                        <a:pt x="2221" y="412"/>
                      </a:lnTo>
                      <a:lnTo>
                        <a:pt x="2254" y="423"/>
                      </a:lnTo>
                      <a:lnTo>
                        <a:pt x="2286" y="435"/>
                      </a:lnTo>
                      <a:lnTo>
                        <a:pt x="2318" y="449"/>
                      </a:lnTo>
                      <a:lnTo>
                        <a:pt x="2351" y="462"/>
                      </a:lnTo>
                      <a:lnTo>
                        <a:pt x="2382" y="478"/>
                      </a:lnTo>
                      <a:lnTo>
                        <a:pt x="2413" y="493"/>
                      </a:lnTo>
                      <a:lnTo>
                        <a:pt x="2443" y="509"/>
                      </a:lnTo>
                      <a:lnTo>
                        <a:pt x="2473" y="526"/>
                      </a:lnTo>
                      <a:lnTo>
                        <a:pt x="2502" y="543"/>
                      </a:lnTo>
                      <a:lnTo>
                        <a:pt x="2532" y="561"/>
                      </a:lnTo>
                      <a:lnTo>
                        <a:pt x="2561" y="580"/>
                      </a:lnTo>
                      <a:lnTo>
                        <a:pt x="2589" y="600"/>
                      </a:lnTo>
                      <a:lnTo>
                        <a:pt x="2616" y="620"/>
                      </a:lnTo>
                      <a:lnTo>
                        <a:pt x="2643" y="642"/>
                      </a:lnTo>
                      <a:lnTo>
                        <a:pt x="2670" y="663"/>
                      </a:lnTo>
                      <a:lnTo>
                        <a:pt x="2697" y="685"/>
                      </a:lnTo>
                      <a:lnTo>
                        <a:pt x="2722" y="707"/>
                      </a:lnTo>
                      <a:lnTo>
                        <a:pt x="2747" y="731"/>
                      </a:lnTo>
                      <a:lnTo>
                        <a:pt x="2772" y="754"/>
                      </a:lnTo>
                      <a:lnTo>
                        <a:pt x="2795" y="779"/>
                      </a:lnTo>
                      <a:lnTo>
                        <a:pt x="2819" y="805"/>
                      </a:lnTo>
                      <a:lnTo>
                        <a:pt x="2841" y="830"/>
                      </a:lnTo>
                      <a:lnTo>
                        <a:pt x="2864" y="856"/>
                      </a:lnTo>
                      <a:lnTo>
                        <a:pt x="2886" y="883"/>
                      </a:lnTo>
                      <a:lnTo>
                        <a:pt x="2906" y="910"/>
                      </a:lnTo>
                      <a:lnTo>
                        <a:pt x="2926" y="937"/>
                      </a:lnTo>
                      <a:lnTo>
                        <a:pt x="2946" y="965"/>
                      </a:lnTo>
                      <a:lnTo>
                        <a:pt x="2965" y="995"/>
                      </a:lnTo>
                      <a:lnTo>
                        <a:pt x="2983" y="1024"/>
                      </a:lnTo>
                      <a:lnTo>
                        <a:pt x="3000" y="1053"/>
                      </a:lnTo>
                      <a:lnTo>
                        <a:pt x="3017" y="1083"/>
                      </a:lnTo>
                      <a:lnTo>
                        <a:pt x="3033" y="1114"/>
                      </a:lnTo>
                      <a:lnTo>
                        <a:pt x="3049" y="1145"/>
                      </a:lnTo>
                      <a:lnTo>
                        <a:pt x="3064" y="1177"/>
                      </a:lnTo>
                      <a:lnTo>
                        <a:pt x="3078" y="1208"/>
                      </a:lnTo>
                      <a:lnTo>
                        <a:pt x="3091" y="1240"/>
                      </a:lnTo>
                      <a:lnTo>
                        <a:pt x="3103" y="1273"/>
                      </a:lnTo>
                      <a:lnTo>
                        <a:pt x="3115" y="1305"/>
                      </a:lnTo>
                      <a:lnTo>
                        <a:pt x="3125" y="1339"/>
                      </a:lnTo>
                      <a:lnTo>
                        <a:pt x="3135" y="1373"/>
                      </a:lnTo>
                      <a:lnTo>
                        <a:pt x="3144" y="1407"/>
                      </a:lnTo>
                      <a:lnTo>
                        <a:pt x="3153" y="1441"/>
                      </a:lnTo>
                      <a:lnTo>
                        <a:pt x="3160" y="1475"/>
                      </a:lnTo>
                      <a:lnTo>
                        <a:pt x="3167" y="1511"/>
                      </a:lnTo>
                      <a:lnTo>
                        <a:pt x="3173" y="1546"/>
                      </a:lnTo>
                      <a:lnTo>
                        <a:pt x="3178" y="1582"/>
                      </a:lnTo>
                      <a:lnTo>
                        <a:pt x="3182" y="1617"/>
                      </a:lnTo>
                      <a:lnTo>
                        <a:pt x="3185" y="1654"/>
                      </a:lnTo>
                      <a:lnTo>
                        <a:pt x="3187" y="1690"/>
                      </a:lnTo>
                      <a:lnTo>
                        <a:pt x="3189" y="1727"/>
                      </a:lnTo>
                      <a:lnTo>
                        <a:pt x="3189" y="1763"/>
                      </a:lnTo>
                      <a:lnTo>
                        <a:pt x="3189" y="1763"/>
                      </a:lnTo>
                      <a:lnTo>
                        <a:pt x="3189" y="1800"/>
                      </a:lnTo>
                      <a:lnTo>
                        <a:pt x="3187" y="1837"/>
                      </a:lnTo>
                      <a:lnTo>
                        <a:pt x="3185" y="1873"/>
                      </a:lnTo>
                      <a:lnTo>
                        <a:pt x="3182" y="1909"/>
                      </a:lnTo>
                      <a:lnTo>
                        <a:pt x="3178" y="1945"/>
                      </a:lnTo>
                      <a:lnTo>
                        <a:pt x="3173" y="1980"/>
                      </a:lnTo>
                      <a:lnTo>
                        <a:pt x="3167" y="2016"/>
                      </a:lnTo>
                      <a:lnTo>
                        <a:pt x="3160" y="2051"/>
                      </a:lnTo>
                      <a:lnTo>
                        <a:pt x="3153" y="2085"/>
                      </a:lnTo>
                      <a:lnTo>
                        <a:pt x="3144" y="2120"/>
                      </a:lnTo>
                      <a:lnTo>
                        <a:pt x="3135" y="2153"/>
                      </a:lnTo>
                      <a:lnTo>
                        <a:pt x="3125" y="2188"/>
                      </a:lnTo>
                      <a:lnTo>
                        <a:pt x="3115" y="2221"/>
                      </a:lnTo>
                      <a:lnTo>
                        <a:pt x="3103" y="2254"/>
                      </a:lnTo>
                      <a:lnTo>
                        <a:pt x="3091" y="2286"/>
                      </a:lnTo>
                      <a:lnTo>
                        <a:pt x="3078" y="2318"/>
                      </a:lnTo>
                      <a:lnTo>
                        <a:pt x="3064" y="2351"/>
                      </a:lnTo>
                      <a:lnTo>
                        <a:pt x="3049" y="2382"/>
                      </a:lnTo>
                      <a:lnTo>
                        <a:pt x="3033" y="2413"/>
                      </a:lnTo>
                      <a:lnTo>
                        <a:pt x="3017" y="2443"/>
                      </a:lnTo>
                      <a:lnTo>
                        <a:pt x="3000" y="2473"/>
                      </a:lnTo>
                      <a:lnTo>
                        <a:pt x="2983" y="2504"/>
                      </a:lnTo>
                      <a:lnTo>
                        <a:pt x="2965" y="2533"/>
                      </a:lnTo>
                      <a:lnTo>
                        <a:pt x="2946" y="2561"/>
                      </a:lnTo>
                      <a:lnTo>
                        <a:pt x="2926" y="2589"/>
                      </a:lnTo>
                      <a:lnTo>
                        <a:pt x="2906" y="2617"/>
                      </a:lnTo>
                      <a:lnTo>
                        <a:pt x="2886" y="2644"/>
                      </a:lnTo>
                      <a:lnTo>
                        <a:pt x="2864" y="2671"/>
                      </a:lnTo>
                      <a:lnTo>
                        <a:pt x="2841" y="2697"/>
                      </a:lnTo>
                      <a:lnTo>
                        <a:pt x="2819" y="2723"/>
                      </a:lnTo>
                      <a:lnTo>
                        <a:pt x="2795" y="2748"/>
                      </a:lnTo>
                      <a:lnTo>
                        <a:pt x="2772" y="2772"/>
                      </a:lnTo>
                      <a:lnTo>
                        <a:pt x="2747" y="2796"/>
                      </a:lnTo>
                      <a:lnTo>
                        <a:pt x="2722" y="2819"/>
                      </a:lnTo>
                      <a:lnTo>
                        <a:pt x="2697" y="2842"/>
                      </a:lnTo>
                      <a:lnTo>
                        <a:pt x="2670" y="2864"/>
                      </a:lnTo>
                      <a:lnTo>
                        <a:pt x="2643" y="2886"/>
                      </a:lnTo>
                      <a:lnTo>
                        <a:pt x="2616" y="2907"/>
                      </a:lnTo>
                      <a:lnTo>
                        <a:pt x="2589" y="2927"/>
                      </a:lnTo>
                      <a:lnTo>
                        <a:pt x="2561" y="2946"/>
                      </a:lnTo>
                      <a:lnTo>
                        <a:pt x="2532" y="2965"/>
                      </a:lnTo>
                      <a:lnTo>
                        <a:pt x="2502" y="2983"/>
                      </a:lnTo>
                      <a:lnTo>
                        <a:pt x="2473" y="3001"/>
                      </a:lnTo>
                      <a:lnTo>
                        <a:pt x="2443" y="3018"/>
                      </a:lnTo>
                      <a:lnTo>
                        <a:pt x="2413" y="3034"/>
                      </a:lnTo>
                      <a:lnTo>
                        <a:pt x="2382" y="3049"/>
                      </a:lnTo>
                      <a:lnTo>
                        <a:pt x="2351" y="3064"/>
                      </a:lnTo>
                      <a:lnTo>
                        <a:pt x="2318" y="3078"/>
                      </a:lnTo>
                      <a:lnTo>
                        <a:pt x="2286" y="3091"/>
                      </a:lnTo>
                      <a:lnTo>
                        <a:pt x="2254" y="3103"/>
                      </a:lnTo>
                      <a:lnTo>
                        <a:pt x="2221" y="3115"/>
                      </a:lnTo>
                      <a:lnTo>
                        <a:pt x="2188" y="3126"/>
                      </a:lnTo>
                      <a:lnTo>
                        <a:pt x="2153" y="3135"/>
                      </a:lnTo>
                      <a:lnTo>
                        <a:pt x="2119" y="3145"/>
                      </a:lnTo>
                      <a:lnTo>
                        <a:pt x="2085" y="3153"/>
                      </a:lnTo>
                      <a:lnTo>
                        <a:pt x="2051" y="3160"/>
                      </a:lnTo>
                      <a:lnTo>
                        <a:pt x="2016" y="3167"/>
                      </a:lnTo>
                      <a:lnTo>
                        <a:pt x="1980" y="3174"/>
                      </a:lnTo>
                      <a:lnTo>
                        <a:pt x="1945" y="3179"/>
                      </a:lnTo>
                      <a:lnTo>
                        <a:pt x="1909" y="3183"/>
                      </a:lnTo>
                      <a:lnTo>
                        <a:pt x="1873" y="3186"/>
                      </a:lnTo>
                      <a:lnTo>
                        <a:pt x="1837" y="3188"/>
                      </a:lnTo>
                      <a:lnTo>
                        <a:pt x="1800" y="3190"/>
                      </a:lnTo>
                      <a:lnTo>
                        <a:pt x="1763" y="3190"/>
                      </a:lnTo>
                      <a:lnTo>
                        <a:pt x="1763" y="3190"/>
                      </a:lnTo>
                      <a:close/>
                    </a:path>
                  </a:pathLst>
                </a:custGeom>
                <a:solidFill>
                  <a:srgbClr val="9E0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Oval 36"/>
                <p:cNvSpPr/>
                <p:nvPr/>
              </p:nvSpPr>
              <p:spPr>
                <a:xfrm>
                  <a:off x="1253438" y="2780928"/>
                  <a:ext cx="576064" cy="5760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smtClean="0">
                      <a:solidFill>
                        <a:srgbClr val="9E005D"/>
                      </a:solidFill>
                    </a:rPr>
                    <a:t>4</a:t>
                  </a:r>
                  <a:endParaRPr lang="en-US" sz="4400" b="1" dirty="0">
                    <a:solidFill>
                      <a:srgbClr val="9E005D"/>
                    </a:solidFill>
                  </a:endParaRPr>
                </a:p>
              </p:txBody>
            </p:sp>
          </p:grpSp>
        </p:grpSp>
        <p:pic>
          <p:nvPicPr>
            <p:cNvPr id="9221" name="Picture 5" descr="C:\Users\Administrator\Desktop\Kerja Keras terengganu\kategori kump. bidang tugas 3.png"/>
            <p:cNvPicPr>
              <a:picLocks noChangeAspect="1" noChangeArrowheads="1"/>
            </p:cNvPicPr>
            <p:nvPr/>
          </p:nvPicPr>
          <p:blipFill>
            <a:blip r:embed="rId3"/>
            <a:srcRect t="59280" r="67633" b="27498"/>
            <a:stretch>
              <a:fillRect/>
            </a:stretch>
          </p:blipFill>
          <p:spPr bwMode="auto">
            <a:xfrm>
              <a:off x="1412403" y="1894746"/>
              <a:ext cx="2711460" cy="783142"/>
            </a:xfrm>
            <a:prstGeom prst="rect">
              <a:avLst/>
            </a:prstGeom>
            <a:noFill/>
          </p:spPr>
        </p:pic>
        <p:sp>
          <p:nvSpPr>
            <p:cNvPr id="108" name="Rectangle 1"/>
            <p:cNvSpPr>
              <a:spLocks noChangeArrowheads="1"/>
            </p:cNvSpPr>
            <p:nvPr/>
          </p:nvSpPr>
          <p:spPr bwMode="auto">
            <a:xfrm>
              <a:off x="1586295" y="2651932"/>
              <a:ext cx="2653327" cy="461665"/>
            </a:xfrm>
            <a:prstGeom prst="rect">
              <a:avLst/>
            </a:prstGeom>
            <a:noFill/>
            <a:ln w="9525">
              <a:noFill/>
              <a:miter lim="800000"/>
              <a:headEnd/>
              <a:tailEnd/>
            </a:ln>
          </p:spPr>
          <p:txBody>
            <a:bodyPr wrap="square" anchor="ctr">
              <a:spAutoFit/>
            </a:bodyPr>
            <a:lstStyle/>
            <a:p>
              <a:pPr algn="just" eaLnBrk="0" hangingPunct="0"/>
              <a:r>
                <a:rPr lang="en-US" sz="1200" b="1" dirty="0" smtClean="0">
                  <a:solidFill>
                    <a:srgbClr val="002060"/>
                  </a:solidFill>
                  <a:ea typeface="Calibri" pitchFamily="34" charset="0"/>
                  <a:cs typeface="Arial" pitchFamily="34" charset="0"/>
                </a:rPr>
                <a:t>*</a:t>
              </a:r>
              <a:r>
                <a:rPr lang="en-US" sz="1200" b="1" dirty="0" err="1" smtClean="0">
                  <a:solidFill>
                    <a:srgbClr val="002060"/>
                  </a:solidFill>
                  <a:ea typeface="Calibri" pitchFamily="34" charset="0"/>
                  <a:cs typeface="Arial" pitchFamily="34" charset="0"/>
                </a:rPr>
                <a:t>Fasilitator</a:t>
              </a:r>
              <a:r>
                <a:rPr lang="en-US" sz="1200" b="1" dirty="0" smtClean="0">
                  <a:solidFill>
                    <a:srgbClr val="002060"/>
                  </a:solidFill>
                  <a:ea typeface="Calibri" pitchFamily="34" charset="0"/>
                  <a:cs typeface="Arial" pitchFamily="34" charset="0"/>
                </a:rPr>
                <a:t> </a:t>
              </a:r>
              <a:r>
                <a:rPr lang="en-US" sz="1200" dirty="0" smtClean="0">
                  <a:solidFill>
                    <a:srgbClr val="002060"/>
                  </a:solidFill>
                  <a:latin typeface="Calibri" pitchFamily="34" charset="0"/>
                  <a:ea typeface="Calibri" pitchFamily="34" charset="0"/>
                  <a:cs typeface="Arial" pitchFamily="34" charset="0"/>
                </a:rPr>
                <a:t>–</a:t>
              </a:r>
              <a:r>
                <a:rPr lang="en-US" sz="1200" dirty="0" smtClean="0">
                  <a:solidFill>
                    <a:srgbClr val="002060"/>
                  </a:solidFill>
                  <a:ea typeface="Calibri" pitchFamily="34" charset="0"/>
                  <a:cs typeface="Arial" pitchFamily="34" charset="0"/>
                </a:rPr>
                <a:t> </a:t>
              </a:r>
              <a:r>
                <a:rPr lang="en-US" sz="1200" dirty="0">
                  <a:solidFill>
                    <a:srgbClr val="002060"/>
                  </a:solidFill>
                  <a:ea typeface="Calibri" pitchFamily="34" charset="0"/>
                  <a:cs typeface="Arial" pitchFamily="34" charset="0"/>
                </a:rPr>
                <a:t>PPP </a:t>
              </a:r>
              <a:r>
                <a:rPr lang="en-US" sz="1200" dirty="0" smtClean="0">
                  <a:solidFill>
                    <a:srgbClr val="002060"/>
                  </a:solidFill>
                  <a:ea typeface="Calibri" pitchFamily="34" charset="0"/>
                  <a:cs typeface="Arial" pitchFamily="34" charset="0"/>
                </a:rPr>
                <a:t>yang </a:t>
              </a:r>
              <a:r>
                <a:rPr lang="en-US" sz="1200" dirty="0" err="1" smtClean="0">
                  <a:solidFill>
                    <a:srgbClr val="002060"/>
                  </a:solidFill>
                  <a:ea typeface="Calibri" pitchFamily="34" charset="0"/>
                  <a:cs typeface="Arial" pitchFamily="34" charset="0"/>
                </a:rPr>
                <a:t>memberi</a:t>
              </a:r>
              <a:r>
                <a:rPr lang="en-US" sz="1200" dirty="0" smtClean="0">
                  <a:solidFill>
                    <a:srgbClr val="002060"/>
                  </a:solidFill>
                  <a:ea typeface="Calibri" pitchFamily="34" charset="0"/>
                  <a:cs typeface="Arial" pitchFamily="34" charset="0"/>
                </a:rPr>
                <a:t> </a:t>
              </a:r>
              <a:r>
                <a:rPr lang="en-US" sz="1200" dirty="0" err="1" smtClean="0">
                  <a:solidFill>
                    <a:srgbClr val="002060"/>
                  </a:solidFill>
                  <a:ea typeface="Calibri" pitchFamily="34" charset="0"/>
                  <a:cs typeface="Arial" pitchFamily="34" charset="0"/>
                </a:rPr>
                <a:t>bimbingan</a:t>
              </a:r>
              <a:r>
                <a:rPr lang="en-US" sz="1200" dirty="0" smtClean="0">
                  <a:solidFill>
                    <a:srgbClr val="002060"/>
                  </a:solidFill>
                  <a:ea typeface="Calibri" pitchFamily="34" charset="0"/>
                  <a:cs typeface="Arial" pitchFamily="34" charset="0"/>
                </a:rPr>
                <a:t> </a:t>
              </a:r>
              <a:r>
                <a:rPr lang="en-US" sz="1200" dirty="0" err="1" smtClean="0">
                  <a:solidFill>
                    <a:srgbClr val="002060"/>
                  </a:solidFill>
                  <a:ea typeface="Calibri" pitchFamily="34" charset="0"/>
                  <a:cs typeface="Arial" pitchFamily="34" charset="0"/>
                </a:rPr>
                <a:t>mengikut</a:t>
              </a:r>
              <a:r>
                <a:rPr lang="en-US" sz="1200" dirty="0" smtClean="0">
                  <a:solidFill>
                    <a:srgbClr val="002060"/>
                  </a:solidFill>
                  <a:ea typeface="Calibri" pitchFamily="34" charset="0"/>
                  <a:cs typeface="Arial" pitchFamily="34" charset="0"/>
                </a:rPr>
                <a:t> </a:t>
              </a:r>
              <a:r>
                <a:rPr lang="en-US" sz="1200" dirty="0" err="1" smtClean="0">
                  <a:solidFill>
                    <a:srgbClr val="002060"/>
                  </a:solidFill>
                  <a:ea typeface="Calibri" pitchFamily="34" charset="0"/>
                  <a:cs typeface="Arial" pitchFamily="34" charset="0"/>
                </a:rPr>
                <a:t>kumpulan</a:t>
              </a:r>
              <a:r>
                <a:rPr lang="en-US" sz="1200" dirty="0" smtClean="0">
                  <a:solidFill>
                    <a:srgbClr val="002060"/>
                  </a:solidFill>
                  <a:ea typeface="Calibri" pitchFamily="34" charset="0"/>
                  <a:cs typeface="Arial" pitchFamily="34" charset="0"/>
                </a:rPr>
                <a:t> </a:t>
              </a:r>
              <a:r>
                <a:rPr lang="en-US" sz="1200" dirty="0" err="1" smtClean="0">
                  <a:solidFill>
                    <a:srgbClr val="002060"/>
                  </a:solidFill>
                  <a:ea typeface="Calibri" pitchFamily="34" charset="0"/>
                  <a:cs typeface="Arial" pitchFamily="34" charset="0"/>
                </a:rPr>
                <a:t>sasaran</a:t>
              </a:r>
              <a:endParaRPr lang="en-US" sz="1200" dirty="0">
                <a:solidFill>
                  <a:srgbClr val="002060"/>
                </a:solidFill>
                <a:ea typeface="Calibri" pitchFamily="34" charset="0"/>
                <a:cs typeface="Arial" pitchFamily="34" charset="0"/>
              </a:endParaRPr>
            </a:p>
          </p:txBody>
        </p:sp>
        <p:grpSp>
          <p:nvGrpSpPr>
            <p:cNvPr id="25" name="Group 2"/>
            <p:cNvGrpSpPr/>
            <p:nvPr/>
          </p:nvGrpSpPr>
          <p:grpSpPr>
            <a:xfrm>
              <a:off x="1416511" y="1337854"/>
              <a:ext cx="2047756" cy="523220"/>
              <a:chOff x="1416511" y="1337854"/>
              <a:chExt cx="2047756" cy="523220"/>
            </a:xfrm>
          </p:grpSpPr>
          <p:sp>
            <p:nvSpPr>
              <p:cNvPr id="120" name="TextBox 119"/>
              <p:cNvSpPr txBox="1"/>
              <p:nvPr/>
            </p:nvSpPr>
            <p:spPr>
              <a:xfrm>
                <a:off x="1588237" y="1347377"/>
                <a:ext cx="567357" cy="369332"/>
              </a:xfrm>
              <a:prstGeom prst="rect">
                <a:avLst/>
              </a:prstGeom>
              <a:noFill/>
            </p:spPr>
            <p:txBody>
              <a:bodyPr wrap="square" rtlCol="0">
                <a:spAutoFit/>
              </a:bodyPr>
              <a:lstStyle/>
              <a:p>
                <a:r>
                  <a:rPr lang="en-US" b="1" dirty="0" smtClean="0">
                    <a:solidFill>
                      <a:srgbClr val="FF0000"/>
                    </a:solidFill>
                    <a:latin typeface="Comic Sans MS" pitchFamily="66" charset="0"/>
                  </a:rPr>
                  <a:t>7</a:t>
                </a:r>
                <a:endParaRPr lang="en-US" b="1" dirty="0">
                  <a:solidFill>
                    <a:srgbClr val="FF0000"/>
                  </a:solidFill>
                  <a:latin typeface="Comic Sans MS" pitchFamily="66" charset="0"/>
                </a:endParaRPr>
              </a:p>
            </p:txBody>
          </p:sp>
          <p:sp>
            <p:nvSpPr>
              <p:cNvPr id="121" name="TextBox 120"/>
              <p:cNvSpPr txBox="1"/>
              <p:nvPr/>
            </p:nvSpPr>
            <p:spPr>
              <a:xfrm>
                <a:off x="1416511" y="1337854"/>
                <a:ext cx="2047756" cy="523220"/>
              </a:xfrm>
              <a:prstGeom prst="rect">
                <a:avLst/>
              </a:prstGeom>
              <a:noFill/>
            </p:spPr>
            <p:txBody>
              <a:bodyPr wrap="square" rtlCol="0">
                <a:spAutoFit/>
              </a:bodyPr>
              <a:lstStyle/>
              <a:p>
                <a:pPr algn="r"/>
                <a:r>
                  <a:rPr lang="en-US" sz="1400" dirty="0" err="1" smtClean="0">
                    <a:latin typeface="Comic Sans MS" pitchFamily="66" charset="0"/>
                  </a:rPr>
                  <a:t>SiPartners</a:t>
                </a:r>
                <a:r>
                  <a:rPr lang="en-US" sz="1400" dirty="0" smtClean="0">
                    <a:latin typeface="Comic Sans MS" pitchFamily="66" charset="0"/>
                  </a:rPr>
                  <a:t>+, SISC </a:t>
                </a:r>
                <a:r>
                  <a:rPr lang="en-US" sz="1400" dirty="0" err="1" smtClean="0">
                    <a:latin typeface="Comic Sans MS" pitchFamily="66" charset="0"/>
                  </a:rPr>
                  <a:t>dan</a:t>
                </a:r>
                <a:r>
                  <a:rPr lang="en-US" sz="1400" dirty="0" smtClean="0">
                    <a:latin typeface="Comic Sans MS" pitchFamily="66" charset="0"/>
                  </a:rPr>
                  <a:t> </a:t>
                </a:r>
                <a:r>
                  <a:rPr lang="en-US" sz="1400" dirty="0" err="1" smtClean="0">
                    <a:latin typeface="Comic Sans MS" pitchFamily="66" charset="0"/>
                  </a:rPr>
                  <a:t>FasiLINUS</a:t>
                </a:r>
                <a:endParaRPr lang="en-US" sz="1400" dirty="0">
                  <a:latin typeface="Comic Sans MS" pitchFamily="66" charset="0"/>
                </a:endParaRPr>
              </a:p>
            </p:txBody>
          </p:sp>
        </p:grpSp>
        <p:grpSp>
          <p:nvGrpSpPr>
            <p:cNvPr id="28" name="Group 7"/>
            <p:cNvGrpSpPr/>
            <p:nvPr/>
          </p:nvGrpSpPr>
          <p:grpSpPr>
            <a:xfrm>
              <a:off x="662063" y="629238"/>
              <a:ext cx="2920332" cy="369332"/>
              <a:chOff x="662063" y="629238"/>
              <a:chExt cx="2920332" cy="369332"/>
            </a:xfrm>
          </p:grpSpPr>
          <p:sp>
            <p:nvSpPr>
              <p:cNvPr id="132" name="TextBox 131"/>
              <p:cNvSpPr txBox="1"/>
              <p:nvPr/>
            </p:nvSpPr>
            <p:spPr>
              <a:xfrm>
                <a:off x="662063" y="629238"/>
                <a:ext cx="567357" cy="369332"/>
              </a:xfrm>
              <a:prstGeom prst="rect">
                <a:avLst/>
              </a:prstGeom>
              <a:noFill/>
            </p:spPr>
            <p:txBody>
              <a:bodyPr wrap="square" rtlCol="0">
                <a:spAutoFit/>
              </a:bodyPr>
              <a:lstStyle/>
              <a:p>
                <a:pPr algn="r"/>
                <a:r>
                  <a:rPr lang="en-US" b="1" dirty="0" smtClean="0">
                    <a:solidFill>
                      <a:srgbClr val="FF0000"/>
                    </a:solidFill>
                    <a:latin typeface="Comic Sans MS" pitchFamily="66" charset="0"/>
                  </a:rPr>
                  <a:t>5</a:t>
                </a:r>
                <a:endParaRPr lang="en-US" b="1" dirty="0">
                  <a:solidFill>
                    <a:srgbClr val="FF0000"/>
                  </a:solidFill>
                  <a:latin typeface="Comic Sans MS" pitchFamily="66" charset="0"/>
                </a:endParaRPr>
              </a:p>
            </p:txBody>
          </p:sp>
          <p:sp>
            <p:nvSpPr>
              <p:cNvPr id="133" name="TextBox 132"/>
              <p:cNvSpPr txBox="1"/>
              <p:nvPr/>
            </p:nvSpPr>
            <p:spPr>
              <a:xfrm>
                <a:off x="1080872" y="634137"/>
                <a:ext cx="2501523" cy="307777"/>
              </a:xfrm>
              <a:prstGeom prst="rect">
                <a:avLst/>
              </a:prstGeom>
              <a:noFill/>
            </p:spPr>
            <p:txBody>
              <a:bodyPr wrap="square" rtlCol="0">
                <a:spAutoFit/>
              </a:bodyPr>
              <a:lstStyle/>
              <a:p>
                <a:pPr algn="r"/>
                <a:r>
                  <a:rPr lang="en-US" sz="1400" dirty="0" smtClean="0">
                    <a:latin typeface="Comic Sans MS" pitchFamily="66" charset="0"/>
                  </a:rPr>
                  <a:t>Guru </a:t>
                </a:r>
                <a:r>
                  <a:rPr lang="en-US" sz="1400" dirty="0" err="1" smtClean="0">
                    <a:latin typeface="Comic Sans MS" pitchFamily="66" charset="0"/>
                  </a:rPr>
                  <a:t>Bimbingan</a:t>
                </a:r>
                <a:r>
                  <a:rPr lang="en-US" sz="1400" dirty="0" smtClean="0">
                    <a:latin typeface="Comic Sans MS" pitchFamily="66" charset="0"/>
                  </a:rPr>
                  <a:t> </a:t>
                </a:r>
                <a:r>
                  <a:rPr lang="en-US" sz="1400" dirty="0" err="1" smtClean="0">
                    <a:latin typeface="Comic Sans MS" pitchFamily="66" charset="0"/>
                  </a:rPr>
                  <a:t>Kasunseling</a:t>
                </a:r>
                <a:endParaRPr lang="en-US" sz="1400" dirty="0">
                  <a:latin typeface="Comic Sans MS" pitchFamily="66" charset="0"/>
                </a:endParaRPr>
              </a:p>
            </p:txBody>
          </p:sp>
        </p:grpSp>
        <p:grpSp>
          <p:nvGrpSpPr>
            <p:cNvPr id="30" name="Group 6"/>
            <p:cNvGrpSpPr/>
            <p:nvPr/>
          </p:nvGrpSpPr>
          <p:grpSpPr>
            <a:xfrm>
              <a:off x="1056212" y="941913"/>
              <a:ext cx="2348291" cy="369332"/>
              <a:chOff x="1056212" y="941913"/>
              <a:chExt cx="2348291" cy="369332"/>
            </a:xfrm>
          </p:grpSpPr>
          <p:sp>
            <p:nvSpPr>
              <p:cNvPr id="135" name="TextBox 134"/>
              <p:cNvSpPr txBox="1"/>
              <p:nvPr/>
            </p:nvSpPr>
            <p:spPr>
              <a:xfrm>
                <a:off x="1056212" y="941913"/>
                <a:ext cx="567357" cy="369332"/>
              </a:xfrm>
              <a:prstGeom prst="rect">
                <a:avLst/>
              </a:prstGeom>
              <a:noFill/>
            </p:spPr>
            <p:txBody>
              <a:bodyPr wrap="square" rtlCol="0">
                <a:spAutoFit/>
              </a:bodyPr>
              <a:lstStyle/>
              <a:p>
                <a:pPr algn="r"/>
                <a:r>
                  <a:rPr lang="en-US" b="1" dirty="0" smtClean="0">
                    <a:solidFill>
                      <a:srgbClr val="FF0000"/>
                    </a:solidFill>
                    <a:latin typeface="Comic Sans MS" pitchFamily="66" charset="0"/>
                  </a:rPr>
                  <a:t>6</a:t>
                </a:r>
                <a:endParaRPr lang="en-US" b="1" dirty="0">
                  <a:solidFill>
                    <a:srgbClr val="FF0000"/>
                  </a:solidFill>
                  <a:latin typeface="Comic Sans MS" pitchFamily="66" charset="0"/>
                </a:endParaRPr>
              </a:p>
            </p:txBody>
          </p:sp>
          <p:sp>
            <p:nvSpPr>
              <p:cNvPr id="136" name="TextBox 135"/>
              <p:cNvSpPr txBox="1"/>
              <p:nvPr/>
            </p:nvSpPr>
            <p:spPr>
              <a:xfrm>
                <a:off x="1356747" y="1001646"/>
                <a:ext cx="2047756" cy="307777"/>
              </a:xfrm>
              <a:prstGeom prst="rect">
                <a:avLst/>
              </a:prstGeom>
              <a:noFill/>
            </p:spPr>
            <p:txBody>
              <a:bodyPr wrap="square" rtlCol="0">
                <a:spAutoFit/>
              </a:bodyPr>
              <a:lstStyle/>
              <a:p>
                <a:pPr algn="r"/>
                <a:r>
                  <a:rPr lang="en-US" sz="1400" dirty="0" err="1" smtClean="0">
                    <a:latin typeface="Comic Sans MS" pitchFamily="66" charset="0"/>
                  </a:rPr>
                  <a:t>Kaunselor</a:t>
                </a:r>
                <a:r>
                  <a:rPr lang="en-US" sz="1400" dirty="0" smtClean="0">
                    <a:latin typeface="Comic Sans MS" pitchFamily="66" charset="0"/>
                  </a:rPr>
                  <a:t> </a:t>
                </a:r>
                <a:r>
                  <a:rPr lang="en-US" sz="1400" dirty="0" err="1" smtClean="0">
                    <a:latin typeface="Comic Sans MS" pitchFamily="66" charset="0"/>
                  </a:rPr>
                  <a:t>Organisasi</a:t>
                </a:r>
                <a:endParaRPr lang="en-US" sz="1400" dirty="0">
                  <a:latin typeface="Comic Sans MS" pitchFamily="66" charset="0"/>
                </a:endParaRPr>
              </a:p>
            </p:txBody>
          </p:sp>
        </p:grpSp>
        <p:grpSp>
          <p:nvGrpSpPr>
            <p:cNvPr id="9216" name="Group 1"/>
            <p:cNvGrpSpPr/>
            <p:nvPr/>
          </p:nvGrpSpPr>
          <p:grpSpPr>
            <a:xfrm>
              <a:off x="202758" y="1699886"/>
              <a:ext cx="1696223" cy="752833"/>
              <a:chOff x="202758" y="1699886"/>
              <a:chExt cx="1696223" cy="752833"/>
            </a:xfrm>
          </p:grpSpPr>
          <p:sp>
            <p:nvSpPr>
              <p:cNvPr id="139" name="TextBox 138"/>
              <p:cNvSpPr txBox="1"/>
              <p:nvPr/>
            </p:nvSpPr>
            <p:spPr>
              <a:xfrm>
                <a:off x="202758" y="1714055"/>
                <a:ext cx="1696223" cy="738664"/>
              </a:xfrm>
              <a:prstGeom prst="rect">
                <a:avLst/>
              </a:prstGeom>
              <a:noFill/>
            </p:spPr>
            <p:txBody>
              <a:bodyPr wrap="square" rtlCol="0">
                <a:spAutoFit/>
              </a:bodyPr>
              <a:lstStyle/>
              <a:p>
                <a:pPr algn="r"/>
                <a:r>
                  <a:rPr lang="en-US" sz="1400" dirty="0" err="1" smtClean="0">
                    <a:latin typeface="Comic Sans MS" pitchFamily="66" charset="0"/>
                  </a:rPr>
                  <a:t>Pegawai</a:t>
                </a:r>
                <a:r>
                  <a:rPr lang="en-US" sz="1400" dirty="0" smtClean="0">
                    <a:latin typeface="Comic Sans MS" pitchFamily="66" charset="0"/>
                  </a:rPr>
                  <a:t> </a:t>
                </a:r>
                <a:r>
                  <a:rPr lang="en-US" sz="1400" dirty="0" err="1" smtClean="0">
                    <a:latin typeface="Comic Sans MS" pitchFamily="66" charset="0"/>
                  </a:rPr>
                  <a:t>Pusat</a:t>
                </a:r>
                <a:r>
                  <a:rPr lang="en-US" sz="1400" dirty="0" smtClean="0">
                    <a:latin typeface="Comic Sans MS" pitchFamily="66" charset="0"/>
                  </a:rPr>
                  <a:t> </a:t>
                </a:r>
                <a:r>
                  <a:rPr lang="en-US" sz="1400" dirty="0" err="1" smtClean="0">
                    <a:latin typeface="Comic Sans MS" pitchFamily="66" charset="0"/>
                  </a:rPr>
                  <a:t>Perkhidmatan</a:t>
                </a:r>
                <a:r>
                  <a:rPr lang="en-US" sz="1400" dirty="0" smtClean="0">
                    <a:latin typeface="Comic Sans MS" pitchFamily="66" charset="0"/>
                  </a:rPr>
                  <a:t> </a:t>
                </a:r>
                <a:r>
                  <a:rPr lang="en-US" sz="1400" dirty="0" err="1" smtClean="0">
                    <a:latin typeface="Comic Sans MS" pitchFamily="66" charset="0"/>
                  </a:rPr>
                  <a:t>Pendidikan</a:t>
                </a:r>
                <a:r>
                  <a:rPr lang="en-US" sz="1400" dirty="0" smtClean="0">
                    <a:latin typeface="Comic Sans MS" pitchFamily="66" charset="0"/>
                  </a:rPr>
                  <a:t> </a:t>
                </a:r>
                <a:r>
                  <a:rPr lang="en-US" sz="1400" dirty="0" err="1" smtClean="0">
                    <a:latin typeface="Comic Sans MS" pitchFamily="66" charset="0"/>
                  </a:rPr>
                  <a:t>Khas</a:t>
                </a:r>
                <a:endParaRPr lang="en-US" sz="1400" dirty="0">
                  <a:latin typeface="Comic Sans MS" pitchFamily="66" charset="0"/>
                </a:endParaRPr>
              </a:p>
            </p:txBody>
          </p:sp>
          <p:sp>
            <p:nvSpPr>
              <p:cNvPr id="138" name="TextBox 137"/>
              <p:cNvSpPr txBox="1"/>
              <p:nvPr/>
            </p:nvSpPr>
            <p:spPr>
              <a:xfrm>
                <a:off x="412890" y="1699886"/>
                <a:ext cx="567357" cy="369332"/>
              </a:xfrm>
              <a:prstGeom prst="rect">
                <a:avLst/>
              </a:prstGeom>
              <a:noFill/>
            </p:spPr>
            <p:txBody>
              <a:bodyPr wrap="square" rtlCol="0">
                <a:spAutoFit/>
              </a:bodyPr>
              <a:lstStyle/>
              <a:p>
                <a:r>
                  <a:rPr lang="en-US" b="1" dirty="0" smtClean="0">
                    <a:solidFill>
                      <a:srgbClr val="FF0000"/>
                    </a:solidFill>
                    <a:latin typeface="Comic Sans MS" pitchFamily="66" charset="0"/>
                  </a:rPr>
                  <a:t>8</a:t>
                </a:r>
                <a:endParaRPr lang="en-US" b="1" dirty="0">
                  <a:solidFill>
                    <a:srgbClr val="FF0000"/>
                  </a:solidFill>
                  <a:latin typeface="Comic Sans MS" pitchFamily="66" charset="0"/>
                </a:endParaRPr>
              </a:p>
            </p:txBody>
          </p:sp>
        </p:grpSp>
      </p:grpSp>
      <p:grpSp>
        <p:nvGrpSpPr>
          <p:cNvPr id="9217" name="Group 17"/>
          <p:cNvGrpSpPr/>
          <p:nvPr/>
        </p:nvGrpSpPr>
        <p:grpSpPr>
          <a:xfrm>
            <a:off x="4642387" y="1078825"/>
            <a:ext cx="4371213" cy="1674768"/>
            <a:chOff x="4529162" y="277618"/>
            <a:chExt cx="4371213" cy="1674768"/>
          </a:xfrm>
        </p:grpSpPr>
        <p:grpSp>
          <p:nvGrpSpPr>
            <p:cNvPr id="9218" name="Group 27"/>
            <p:cNvGrpSpPr/>
            <p:nvPr/>
          </p:nvGrpSpPr>
          <p:grpSpPr>
            <a:xfrm>
              <a:off x="6479075" y="277618"/>
              <a:ext cx="700675" cy="1121345"/>
              <a:chOff x="2625138" y="3870694"/>
              <a:chExt cx="700674" cy="1121345"/>
            </a:xfrm>
          </p:grpSpPr>
          <p:sp>
            <p:nvSpPr>
              <p:cNvPr id="29" name="Freeform 15"/>
              <p:cNvSpPr>
                <a:spLocks/>
              </p:cNvSpPr>
              <p:nvPr/>
            </p:nvSpPr>
            <p:spPr bwMode="auto">
              <a:xfrm>
                <a:off x="2798937" y="4916391"/>
                <a:ext cx="347711" cy="75648"/>
              </a:xfrm>
              <a:custGeom>
                <a:avLst/>
                <a:gdLst>
                  <a:gd name="T0" fmla="*/ 1835 w 1835"/>
                  <a:gd name="T1" fmla="*/ 198 h 394"/>
                  <a:gd name="T2" fmla="*/ 1830 w 1835"/>
                  <a:gd name="T3" fmla="*/ 218 h 394"/>
                  <a:gd name="T4" fmla="*/ 1816 w 1835"/>
                  <a:gd name="T5" fmla="*/ 237 h 394"/>
                  <a:gd name="T6" fmla="*/ 1794 w 1835"/>
                  <a:gd name="T7" fmla="*/ 256 h 394"/>
                  <a:gd name="T8" fmla="*/ 1763 w 1835"/>
                  <a:gd name="T9" fmla="*/ 274 h 394"/>
                  <a:gd name="T10" fmla="*/ 1725 w 1835"/>
                  <a:gd name="T11" fmla="*/ 291 h 394"/>
                  <a:gd name="T12" fmla="*/ 1678 w 1835"/>
                  <a:gd name="T13" fmla="*/ 307 h 394"/>
                  <a:gd name="T14" fmla="*/ 1625 w 1835"/>
                  <a:gd name="T15" fmla="*/ 322 h 394"/>
                  <a:gd name="T16" fmla="*/ 1567 w 1835"/>
                  <a:gd name="T17" fmla="*/ 336 h 394"/>
                  <a:gd name="T18" fmla="*/ 1431 w 1835"/>
                  <a:gd name="T19" fmla="*/ 361 h 394"/>
                  <a:gd name="T20" fmla="*/ 1275 w 1835"/>
                  <a:gd name="T21" fmla="*/ 379 h 394"/>
                  <a:gd name="T22" fmla="*/ 1102 w 1835"/>
                  <a:gd name="T23" fmla="*/ 390 h 394"/>
                  <a:gd name="T24" fmla="*/ 917 w 1835"/>
                  <a:gd name="T25" fmla="*/ 394 h 394"/>
                  <a:gd name="T26" fmla="*/ 823 w 1835"/>
                  <a:gd name="T27" fmla="*/ 393 h 394"/>
                  <a:gd name="T28" fmla="*/ 644 w 1835"/>
                  <a:gd name="T29" fmla="*/ 386 h 394"/>
                  <a:gd name="T30" fmla="*/ 479 w 1835"/>
                  <a:gd name="T31" fmla="*/ 371 h 394"/>
                  <a:gd name="T32" fmla="*/ 334 w 1835"/>
                  <a:gd name="T33" fmla="*/ 349 h 394"/>
                  <a:gd name="T34" fmla="*/ 238 w 1835"/>
                  <a:gd name="T35" fmla="*/ 329 h 394"/>
                  <a:gd name="T36" fmla="*/ 182 w 1835"/>
                  <a:gd name="T37" fmla="*/ 315 h 394"/>
                  <a:gd name="T38" fmla="*/ 132 w 1835"/>
                  <a:gd name="T39" fmla="*/ 299 h 394"/>
                  <a:gd name="T40" fmla="*/ 90 w 1835"/>
                  <a:gd name="T41" fmla="*/ 283 h 394"/>
                  <a:gd name="T42" fmla="*/ 55 w 1835"/>
                  <a:gd name="T43" fmla="*/ 265 h 394"/>
                  <a:gd name="T44" fmla="*/ 29 w 1835"/>
                  <a:gd name="T45" fmla="*/ 247 h 394"/>
                  <a:gd name="T46" fmla="*/ 10 w 1835"/>
                  <a:gd name="T47" fmla="*/ 228 h 394"/>
                  <a:gd name="T48" fmla="*/ 1 w 1835"/>
                  <a:gd name="T49" fmla="*/ 208 h 394"/>
                  <a:gd name="T50" fmla="*/ 0 w 1835"/>
                  <a:gd name="T51" fmla="*/ 198 h 394"/>
                  <a:gd name="T52" fmla="*/ 5 w 1835"/>
                  <a:gd name="T53" fmla="*/ 177 h 394"/>
                  <a:gd name="T54" fmla="*/ 18 w 1835"/>
                  <a:gd name="T55" fmla="*/ 157 h 394"/>
                  <a:gd name="T56" fmla="*/ 41 w 1835"/>
                  <a:gd name="T57" fmla="*/ 139 h 394"/>
                  <a:gd name="T58" fmla="*/ 72 w 1835"/>
                  <a:gd name="T59" fmla="*/ 121 h 394"/>
                  <a:gd name="T60" fmla="*/ 110 w 1835"/>
                  <a:gd name="T61" fmla="*/ 104 h 394"/>
                  <a:gd name="T62" fmla="*/ 157 w 1835"/>
                  <a:gd name="T63" fmla="*/ 87 h 394"/>
                  <a:gd name="T64" fmla="*/ 209 w 1835"/>
                  <a:gd name="T65" fmla="*/ 72 h 394"/>
                  <a:gd name="T66" fmla="*/ 268 w 1835"/>
                  <a:gd name="T67" fmla="*/ 58 h 394"/>
                  <a:gd name="T68" fmla="*/ 404 w 1835"/>
                  <a:gd name="T69" fmla="*/ 35 h 394"/>
                  <a:gd name="T70" fmla="*/ 560 w 1835"/>
                  <a:gd name="T71" fmla="*/ 16 h 394"/>
                  <a:gd name="T72" fmla="*/ 732 w 1835"/>
                  <a:gd name="T73" fmla="*/ 4 h 394"/>
                  <a:gd name="T74" fmla="*/ 917 w 1835"/>
                  <a:gd name="T75" fmla="*/ 0 h 394"/>
                  <a:gd name="T76" fmla="*/ 1011 w 1835"/>
                  <a:gd name="T77" fmla="*/ 1 h 394"/>
                  <a:gd name="T78" fmla="*/ 1191 w 1835"/>
                  <a:gd name="T79" fmla="*/ 9 h 394"/>
                  <a:gd name="T80" fmla="*/ 1354 w 1835"/>
                  <a:gd name="T81" fmla="*/ 25 h 394"/>
                  <a:gd name="T82" fmla="*/ 1501 w 1835"/>
                  <a:gd name="T83" fmla="*/ 46 h 394"/>
                  <a:gd name="T84" fmla="*/ 1597 w 1835"/>
                  <a:gd name="T85" fmla="*/ 65 h 394"/>
                  <a:gd name="T86" fmla="*/ 1653 w 1835"/>
                  <a:gd name="T87" fmla="*/ 80 h 394"/>
                  <a:gd name="T88" fmla="*/ 1702 w 1835"/>
                  <a:gd name="T89" fmla="*/ 95 h 394"/>
                  <a:gd name="T90" fmla="*/ 1745 w 1835"/>
                  <a:gd name="T91" fmla="*/ 112 h 394"/>
                  <a:gd name="T92" fmla="*/ 1779 w 1835"/>
                  <a:gd name="T93" fmla="*/ 130 h 394"/>
                  <a:gd name="T94" fmla="*/ 1806 w 1835"/>
                  <a:gd name="T95" fmla="*/ 148 h 394"/>
                  <a:gd name="T96" fmla="*/ 1824 w 1835"/>
                  <a:gd name="T97" fmla="*/ 167 h 394"/>
                  <a:gd name="T98" fmla="*/ 1834 w 1835"/>
                  <a:gd name="T99" fmla="*/ 188 h 394"/>
                  <a:gd name="T100" fmla="*/ 1835 w 1835"/>
                  <a:gd name="T101" fmla="*/ 19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5" h="394">
                    <a:moveTo>
                      <a:pt x="1835" y="198"/>
                    </a:moveTo>
                    <a:lnTo>
                      <a:pt x="1835" y="198"/>
                    </a:lnTo>
                    <a:lnTo>
                      <a:pt x="1834" y="208"/>
                    </a:lnTo>
                    <a:lnTo>
                      <a:pt x="1830" y="218"/>
                    </a:lnTo>
                    <a:lnTo>
                      <a:pt x="1824" y="228"/>
                    </a:lnTo>
                    <a:lnTo>
                      <a:pt x="1816" y="237"/>
                    </a:lnTo>
                    <a:lnTo>
                      <a:pt x="1806" y="247"/>
                    </a:lnTo>
                    <a:lnTo>
                      <a:pt x="1794" y="256"/>
                    </a:lnTo>
                    <a:lnTo>
                      <a:pt x="1779" y="265"/>
                    </a:lnTo>
                    <a:lnTo>
                      <a:pt x="1763" y="274"/>
                    </a:lnTo>
                    <a:lnTo>
                      <a:pt x="1745" y="283"/>
                    </a:lnTo>
                    <a:lnTo>
                      <a:pt x="1725" y="291"/>
                    </a:lnTo>
                    <a:lnTo>
                      <a:pt x="1702" y="299"/>
                    </a:lnTo>
                    <a:lnTo>
                      <a:pt x="1678" y="307"/>
                    </a:lnTo>
                    <a:lnTo>
                      <a:pt x="1653" y="315"/>
                    </a:lnTo>
                    <a:lnTo>
                      <a:pt x="1625" y="322"/>
                    </a:lnTo>
                    <a:lnTo>
                      <a:pt x="1597" y="329"/>
                    </a:lnTo>
                    <a:lnTo>
                      <a:pt x="1567" y="336"/>
                    </a:lnTo>
                    <a:lnTo>
                      <a:pt x="1501" y="349"/>
                    </a:lnTo>
                    <a:lnTo>
                      <a:pt x="1431" y="361"/>
                    </a:lnTo>
                    <a:lnTo>
                      <a:pt x="1354" y="371"/>
                    </a:lnTo>
                    <a:lnTo>
                      <a:pt x="1275" y="379"/>
                    </a:lnTo>
                    <a:lnTo>
                      <a:pt x="1191" y="386"/>
                    </a:lnTo>
                    <a:lnTo>
                      <a:pt x="1102" y="390"/>
                    </a:lnTo>
                    <a:lnTo>
                      <a:pt x="1011" y="393"/>
                    </a:lnTo>
                    <a:lnTo>
                      <a:pt x="917" y="394"/>
                    </a:lnTo>
                    <a:lnTo>
                      <a:pt x="917" y="394"/>
                    </a:lnTo>
                    <a:lnTo>
                      <a:pt x="823" y="393"/>
                    </a:lnTo>
                    <a:lnTo>
                      <a:pt x="732" y="390"/>
                    </a:lnTo>
                    <a:lnTo>
                      <a:pt x="644" y="386"/>
                    </a:lnTo>
                    <a:lnTo>
                      <a:pt x="560" y="379"/>
                    </a:lnTo>
                    <a:lnTo>
                      <a:pt x="479" y="371"/>
                    </a:lnTo>
                    <a:lnTo>
                      <a:pt x="404" y="361"/>
                    </a:lnTo>
                    <a:lnTo>
                      <a:pt x="334" y="349"/>
                    </a:lnTo>
                    <a:lnTo>
                      <a:pt x="268" y="336"/>
                    </a:lnTo>
                    <a:lnTo>
                      <a:pt x="238" y="329"/>
                    </a:lnTo>
                    <a:lnTo>
                      <a:pt x="209" y="322"/>
                    </a:lnTo>
                    <a:lnTo>
                      <a:pt x="182" y="315"/>
                    </a:lnTo>
                    <a:lnTo>
                      <a:pt x="157" y="307"/>
                    </a:lnTo>
                    <a:lnTo>
                      <a:pt x="132" y="299"/>
                    </a:lnTo>
                    <a:lnTo>
                      <a:pt x="110" y="291"/>
                    </a:lnTo>
                    <a:lnTo>
                      <a:pt x="90" y="283"/>
                    </a:lnTo>
                    <a:lnTo>
                      <a:pt x="72" y="274"/>
                    </a:lnTo>
                    <a:lnTo>
                      <a:pt x="55" y="265"/>
                    </a:lnTo>
                    <a:lnTo>
                      <a:pt x="41" y="256"/>
                    </a:lnTo>
                    <a:lnTo>
                      <a:pt x="29" y="247"/>
                    </a:lnTo>
                    <a:lnTo>
                      <a:pt x="18" y="237"/>
                    </a:lnTo>
                    <a:lnTo>
                      <a:pt x="10" y="228"/>
                    </a:lnTo>
                    <a:lnTo>
                      <a:pt x="5" y="218"/>
                    </a:lnTo>
                    <a:lnTo>
                      <a:pt x="1" y="208"/>
                    </a:lnTo>
                    <a:lnTo>
                      <a:pt x="0" y="198"/>
                    </a:lnTo>
                    <a:lnTo>
                      <a:pt x="0" y="198"/>
                    </a:lnTo>
                    <a:lnTo>
                      <a:pt x="1" y="188"/>
                    </a:lnTo>
                    <a:lnTo>
                      <a:pt x="5" y="177"/>
                    </a:lnTo>
                    <a:lnTo>
                      <a:pt x="10" y="167"/>
                    </a:lnTo>
                    <a:lnTo>
                      <a:pt x="18" y="157"/>
                    </a:lnTo>
                    <a:lnTo>
                      <a:pt x="29" y="148"/>
                    </a:lnTo>
                    <a:lnTo>
                      <a:pt x="41" y="139"/>
                    </a:lnTo>
                    <a:lnTo>
                      <a:pt x="55" y="130"/>
                    </a:lnTo>
                    <a:lnTo>
                      <a:pt x="72" y="121"/>
                    </a:lnTo>
                    <a:lnTo>
                      <a:pt x="90" y="112"/>
                    </a:lnTo>
                    <a:lnTo>
                      <a:pt x="110" y="104"/>
                    </a:lnTo>
                    <a:lnTo>
                      <a:pt x="132" y="95"/>
                    </a:lnTo>
                    <a:lnTo>
                      <a:pt x="157" y="87"/>
                    </a:lnTo>
                    <a:lnTo>
                      <a:pt x="182" y="80"/>
                    </a:lnTo>
                    <a:lnTo>
                      <a:pt x="209" y="72"/>
                    </a:lnTo>
                    <a:lnTo>
                      <a:pt x="238" y="65"/>
                    </a:lnTo>
                    <a:lnTo>
                      <a:pt x="268" y="58"/>
                    </a:lnTo>
                    <a:lnTo>
                      <a:pt x="334" y="46"/>
                    </a:lnTo>
                    <a:lnTo>
                      <a:pt x="404" y="35"/>
                    </a:lnTo>
                    <a:lnTo>
                      <a:pt x="479" y="25"/>
                    </a:lnTo>
                    <a:lnTo>
                      <a:pt x="560" y="16"/>
                    </a:lnTo>
                    <a:lnTo>
                      <a:pt x="644" y="9"/>
                    </a:lnTo>
                    <a:lnTo>
                      <a:pt x="732" y="4"/>
                    </a:lnTo>
                    <a:lnTo>
                      <a:pt x="823" y="1"/>
                    </a:lnTo>
                    <a:lnTo>
                      <a:pt x="917" y="0"/>
                    </a:lnTo>
                    <a:lnTo>
                      <a:pt x="917" y="0"/>
                    </a:lnTo>
                    <a:lnTo>
                      <a:pt x="1011" y="1"/>
                    </a:lnTo>
                    <a:lnTo>
                      <a:pt x="1102" y="4"/>
                    </a:lnTo>
                    <a:lnTo>
                      <a:pt x="1191" y="9"/>
                    </a:lnTo>
                    <a:lnTo>
                      <a:pt x="1275" y="16"/>
                    </a:lnTo>
                    <a:lnTo>
                      <a:pt x="1354" y="25"/>
                    </a:lnTo>
                    <a:lnTo>
                      <a:pt x="1431" y="35"/>
                    </a:lnTo>
                    <a:lnTo>
                      <a:pt x="1501" y="46"/>
                    </a:lnTo>
                    <a:lnTo>
                      <a:pt x="1567" y="58"/>
                    </a:lnTo>
                    <a:lnTo>
                      <a:pt x="1597" y="65"/>
                    </a:lnTo>
                    <a:lnTo>
                      <a:pt x="1625" y="72"/>
                    </a:lnTo>
                    <a:lnTo>
                      <a:pt x="1653" y="80"/>
                    </a:lnTo>
                    <a:lnTo>
                      <a:pt x="1678" y="87"/>
                    </a:lnTo>
                    <a:lnTo>
                      <a:pt x="1702" y="95"/>
                    </a:lnTo>
                    <a:lnTo>
                      <a:pt x="1725" y="104"/>
                    </a:lnTo>
                    <a:lnTo>
                      <a:pt x="1745" y="112"/>
                    </a:lnTo>
                    <a:lnTo>
                      <a:pt x="1763" y="121"/>
                    </a:lnTo>
                    <a:lnTo>
                      <a:pt x="1779" y="130"/>
                    </a:lnTo>
                    <a:lnTo>
                      <a:pt x="1794" y="139"/>
                    </a:lnTo>
                    <a:lnTo>
                      <a:pt x="1806" y="148"/>
                    </a:lnTo>
                    <a:lnTo>
                      <a:pt x="1816" y="157"/>
                    </a:lnTo>
                    <a:lnTo>
                      <a:pt x="1824" y="167"/>
                    </a:lnTo>
                    <a:lnTo>
                      <a:pt x="1830" y="177"/>
                    </a:lnTo>
                    <a:lnTo>
                      <a:pt x="1834" y="188"/>
                    </a:lnTo>
                    <a:lnTo>
                      <a:pt x="1835" y="198"/>
                    </a:lnTo>
                    <a:lnTo>
                      <a:pt x="1835" y="198"/>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219" name="Group 51"/>
              <p:cNvGrpSpPr/>
              <p:nvPr/>
            </p:nvGrpSpPr>
            <p:grpSpPr>
              <a:xfrm>
                <a:off x="2625138" y="3870694"/>
                <a:ext cx="700674" cy="1070474"/>
                <a:chOff x="1187624" y="2722226"/>
                <a:chExt cx="700674" cy="1070474"/>
              </a:xfrm>
              <a:solidFill>
                <a:srgbClr val="BF7400"/>
              </a:solidFill>
            </p:grpSpPr>
            <p:sp>
              <p:nvSpPr>
                <p:cNvPr id="31" name="Freeform 20"/>
                <p:cNvSpPr>
                  <a:spLocks noEditPoints="1"/>
                </p:cNvSpPr>
                <p:nvPr/>
              </p:nvSpPr>
              <p:spPr bwMode="auto">
                <a:xfrm>
                  <a:off x="1187624" y="2722226"/>
                  <a:ext cx="700674" cy="1070474"/>
                </a:xfrm>
                <a:custGeom>
                  <a:avLst/>
                  <a:gdLst>
                    <a:gd name="T0" fmla="*/ 3490 w 3526"/>
                    <a:gd name="T1" fmla="*/ 1408 h 5386"/>
                    <a:gd name="T2" fmla="*/ 3352 w 3526"/>
                    <a:gd name="T3" fmla="*/ 999 h 5386"/>
                    <a:gd name="T4" fmla="*/ 3123 w 3526"/>
                    <a:gd name="T5" fmla="*/ 642 h 5386"/>
                    <a:gd name="T6" fmla="*/ 2818 w 3526"/>
                    <a:gd name="T7" fmla="*/ 351 h 5386"/>
                    <a:gd name="T8" fmla="*/ 2449 w 3526"/>
                    <a:gd name="T9" fmla="*/ 139 h 5386"/>
                    <a:gd name="T10" fmla="*/ 2032 w 3526"/>
                    <a:gd name="T11" fmla="*/ 21 h 5386"/>
                    <a:gd name="T12" fmla="*/ 1627 w 3526"/>
                    <a:gd name="T13" fmla="*/ 6 h 5386"/>
                    <a:gd name="T14" fmla="*/ 1198 w 3526"/>
                    <a:gd name="T15" fmla="*/ 93 h 5386"/>
                    <a:gd name="T16" fmla="*/ 813 w 3526"/>
                    <a:gd name="T17" fmla="*/ 278 h 5386"/>
                    <a:gd name="T18" fmla="*/ 487 w 3526"/>
                    <a:gd name="T19" fmla="*/ 547 h 5386"/>
                    <a:gd name="T20" fmla="*/ 234 w 3526"/>
                    <a:gd name="T21" fmla="*/ 886 h 5386"/>
                    <a:gd name="T22" fmla="*/ 68 w 3526"/>
                    <a:gd name="T23" fmla="*/ 1280 h 5386"/>
                    <a:gd name="T24" fmla="*/ 1 w 3526"/>
                    <a:gd name="T25" fmla="*/ 1718 h 5386"/>
                    <a:gd name="T26" fmla="*/ 5 w 3526"/>
                    <a:gd name="T27" fmla="*/ 1997 h 5386"/>
                    <a:gd name="T28" fmla="*/ 163 w 3526"/>
                    <a:gd name="T29" fmla="*/ 2772 h 5386"/>
                    <a:gd name="T30" fmla="*/ 482 w 3526"/>
                    <a:gd name="T31" fmla="*/ 3531 h 5386"/>
                    <a:gd name="T32" fmla="*/ 882 w 3526"/>
                    <a:gd name="T33" fmla="*/ 4222 h 5386"/>
                    <a:gd name="T34" fmla="*/ 1547 w 3526"/>
                    <a:gd name="T35" fmla="*/ 5133 h 5386"/>
                    <a:gd name="T36" fmla="*/ 1926 w 3526"/>
                    <a:gd name="T37" fmla="*/ 5198 h 5386"/>
                    <a:gd name="T38" fmla="*/ 2603 w 3526"/>
                    <a:gd name="T39" fmla="*/ 4285 h 5386"/>
                    <a:gd name="T40" fmla="*/ 3006 w 3526"/>
                    <a:gd name="T41" fmla="*/ 3604 h 5386"/>
                    <a:gd name="T42" fmla="*/ 3337 w 3526"/>
                    <a:gd name="T43" fmla="*/ 2850 h 5386"/>
                    <a:gd name="T44" fmla="*/ 3514 w 3526"/>
                    <a:gd name="T45" fmla="*/ 2073 h 5386"/>
                    <a:gd name="T46" fmla="*/ 3526 w 3526"/>
                    <a:gd name="T47" fmla="*/ 1763 h 5386"/>
                    <a:gd name="T48" fmla="*/ 1327 w 3526"/>
                    <a:gd name="T49" fmla="*/ 3800 h 5386"/>
                    <a:gd name="T50" fmla="*/ 861 w 3526"/>
                    <a:gd name="T51" fmla="*/ 3547 h 5386"/>
                    <a:gd name="T52" fmla="*/ 522 w 3526"/>
                    <a:gd name="T53" fmla="*/ 3144 h 5386"/>
                    <a:gd name="T54" fmla="*/ 585 w 3526"/>
                    <a:gd name="T55" fmla="*/ 3133 h 5386"/>
                    <a:gd name="T56" fmla="*/ 962 w 3526"/>
                    <a:gd name="T57" fmla="*/ 3422 h 5386"/>
                    <a:gd name="T58" fmla="*/ 1414 w 3526"/>
                    <a:gd name="T59" fmla="*/ 3593 h 5386"/>
                    <a:gd name="T60" fmla="*/ 1865 w 3526"/>
                    <a:gd name="T61" fmla="*/ 3627 h 5386"/>
                    <a:gd name="T62" fmla="*/ 2347 w 3526"/>
                    <a:gd name="T63" fmla="*/ 3524 h 5386"/>
                    <a:gd name="T64" fmla="*/ 2764 w 3526"/>
                    <a:gd name="T65" fmla="*/ 3291 h 5386"/>
                    <a:gd name="T66" fmla="*/ 3096 w 3526"/>
                    <a:gd name="T67" fmla="*/ 2951 h 5386"/>
                    <a:gd name="T68" fmla="*/ 2853 w 3526"/>
                    <a:gd name="T69" fmla="*/ 3362 h 5386"/>
                    <a:gd name="T70" fmla="*/ 2445 w 3526"/>
                    <a:gd name="T71" fmla="*/ 3695 h 5386"/>
                    <a:gd name="T72" fmla="*/ 1932 w 3526"/>
                    <a:gd name="T73" fmla="*/ 3859 h 5386"/>
                    <a:gd name="T74" fmla="*/ 1617 w 3526"/>
                    <a:gd name="T75" fmla="*/ 3183 h 5386"/>
                    <a:gd name="T76" fmla="*/ 1272 w 3526"/>
                    <a:gd name="T77" fmla="*/ 3103 h 5386"/>
                    <a:gd name="T78" fmla="*/ 966 w 3526"/>
                    <a:gd name="T79" fmla="*/ 2946 h 5386"/>
                    <a:gd name="T80" fmla="*/ 707 w 3526"/>
                    <a:gd name="T81" fmla="*/ 2723 h 5386"/>
                    <a:gd name="T82" fmla="*/ 509 w 3526"/>
                    <a:gd name="T83" fmla="*/ 2443 h 5386"/>
                    <a:gd name="T84" fmla="*/ 382 w 3526"/>
                    <a:gd name="T85" fmla="*/ 2120 h 5386"/>
                    <a:gd name="T86" fmla="*/ 337 w 3526"/>
                    <a:gd name="T87" fmla="*/ 1763 h 5386"/>
                    <a:gd name="T88" fmla="*/ 373 w 3526"/>
                    <a:gd name="T89" fmla="*/ 1441 h 5386"/>
                    <a:gd name="T90" fmla="*/ 493 w 3526"/>
                    <a:gd name="T91" fmla="*/ 1114 h 5386"/>
                    <a:gd name="T92" fmla="*/ 685 w 3526"/>
                    <a:gd name="T93" fmla="*/ 830 h 5386"/>
                    <a:gd name="T94" fmla="*/ 938 w 3526"/>
                    <a:gd name="T95" fmla="*/ 600 h 5386"/>
                    <a:gd name="T96" fmla="*/ 1240 w 3526"/>
                    <a:gd name="T97" fmla="*/ 435 h 5386"/>
                    <a:gd name="T98" fmla="*/ 1581 w 3526"/>
                    <a:gd name="T99" fmla="*/ 348 h 5386"/>
                    <a:gd name="T100" fmla="*/ 1909 w 3526"/>
                    <a:gd name="T101" fmla="*/ 344 h 5386"/>
                    <a:gd name="T102" fmla="*/ 2254 w 3526"/>
                    <a:gd name="T103" fmla="*/ 423 h 5386"/>
                    <a:gd name="T104" fmla="*/ 2561 w 3526"/>
                    <a:gd name="T105" fmla="*/ 580 h 5386"/>
                    <a:gd name="T106" fmla="*/ 2819 w 3526"/>
                    <a:gd name="T107" fmla="*/ 805 h 5386"/>
                    <a:gd name="T108" fmla="*/ 3017 w 3526"/>
                    <a:gd name="T109" fmla="*/ 1083 h 5386"/>
                    <a:gd name="T110" fmla="*/ 3144 w 3526"/>
                    <a:gd name="T111" fmla="*/ 1407 h 5386"/>
                    <a:gd name="T112" fmla="*/ 3189 w 3526"/>
                    <a:gd name="T113" fmla="*/ 1763 h 5386"/>
                    <a:gd name="T114" fmla="*/ 3153 w 3526"/>
                    <a:gd name="T115" fmla="*/ 2085 h 5386"/>
                    <a:gd name="T116" fmla="*/ 3033 w 3526"/>
                    <a:gd name="T117" fmla="*/ 2413 h 5386"/>
                    <a:gd name="T118" fmla="*/ 2841 w 3526"/>
                    <a:gd name="T119" fmla="*/ 2697 h 5386"/>
                    <a:gd name="T120" fmla="*/ 2589 w 3526"/>
                    <a:gd name="T121" fmla="*/ 2927 h 5386"/>
                    <a:gd name="T122" fmla="*/ 2286 w 3526"/>
                    <a:gd name="T123" fmla="*/ 3091 h 5386"/>
                    <a:gd name="T124" fmla="*/ 1945 w 3526"/>
                    <a:gd name="T125" fmla="*/ 3179 h 5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6" h="5386">
                      <a:moveTo>
                        <a:pt x="3526" y="1763"/>
                      </a:moveTo>
                      <a:lnTo>
                        <a:pt x="3526" y="1763"/>
                      </a:lnTo>
                      <a:lnTo>
                        <a:pt x="3525" y="1718"/>
                      </a:lnTo>
                      <a:lnTo>
                        <a:pt x="3523" y="1673"/>
                      </a:lnTo>
                      <a:lnTo>
                        <a:pt x="3521" y="1627"/>
                      </a:lnTo>
                      <a:lnTo>
                        <a:pt x="3517" y="1583"/>
                      </a:lnTo>
                      <a:lnTo>
                        <a:pt x="3512" y="1539"/>
                      </a:lnTo>
                      <a:lnTo>
                        <a:pt x="3505" y="1495"/>
                      </a:lnTo>
                      <a:lnTo>
                        <a:pt x="3498" y="1451"/>
                      </a:lnTo>
                      <a:lnTo>
                        <a:pt x="3490" y="1408"/>
                      </a:lnTo>
                      <a:lnTo>
                        <a:pt x="3481" y="1365"/>
                      </a:lnTo>
                      <a:lnTo>
                        <a:pt x="3470" y="1323"/>
                      </a:lnTo>
                      <a:lnTo>
                        <a:pt x="3459" y="1280"/>
                      </a:lnTo>
                      <a:lnTo>
                        <a:pt x="3447" y="1239"/>
                      </a:lnTo>
                      <a:lnTo>
                        <a:pt x="3434" y="1198"/>
                      </a:lnTo>
                      <a:lnTo>
                        <a:pt x="3419" y="1158"/>
                      </a:lnTo>
                      <a:lnTo>
                        <a:pt x="3404" y="1116"/>
                      </a:lnTo>
                      <a:lnTo>
                        <a:pt x="3387" y="1077"/>
                      </a:lnTo>
                      <a:lnTo>
                        <a:pt x="3370" y="1038"/>
                      </a:lnTo>
                      <a:lnTo>
                        <a:pt x="3352" y="999"/>
                      </a:lnTo>
                      <a:lnTo>
                        <a:pt x="3333" y="960"/>
                      </a:lnTo>
                      <a:lnTo>
                        <a:pt x="3313" y="923"/>
                      </a:lnTo>
                      <a:lnTo>
                        <a:pt x="3292" y="886"/>
                      </a:lnTo>
                      <a:lnTo>
                        <a:pt x="3271" y="849"/>
                      </a:lnTo>
                      <a:lnTo>
                        <a:pt x="3249" y="813"/>
                      </a:lnTo>
                      <a:lnTo>
                        <a:pt x="3225" y="777"/>
                      </a:lnTo>
                      <a:lnTo>
                        <a:pt x="3200" y="743"/>
                      </a:lnTo>
                      <a:lnTo>
                        <a:pt x="3175" y="708"/>
                      </a:lnTo>
                      <a:lnTo>
                        <a:pt x="3150" y="675"/>
                      </a:lnTo>
                      <a:lnTo>
                        <a:pt x="3123" y="642"/>
                      </a:lnTo>
                      <a:lnTo>
                        <a:pt x="3096" y="609"/>
                      </a:lnTo>
                      <a:lnTo>
                        <a:pt x="3068" y="578"/>
                      </a:lnTo>
                      <a:lnTo>
                        <a:pt x="3040" y="547"/>
                      </a:lnTo>
                      <a:lnTo>
                        <a:pt x="3009" y="517"/>
                      </a:lnTo>
                      <a:lnTo>
                        <a:pt x="2979" y="487"/>
                      </a:lnTo>
                      <a:lnTo>
                        <a:pt x="2948" y="458"/>
                      </a:lnTo>
                      <a:lnTo>
                        <a:pt x="2917" y="430"/>
                      </a:lnTo>
                      <a:lnTo>
                        <a:pt x="2885" y="403"/>
                      </a:lnTo>
                      <a:lnTo>
                        <a:pt x="2851" y="376"/>
                      </a:lnTo>
                      <a:lnTo>
                        <a:pt x="2818" y="351"/>
                      </a:lnTo>
                      <a:lnTo>
                        <a:pt x="2784" y="326"/>
                      </a:lnTo>
                      <a:lnTo>
                        <a:pt x="2749" y="302"/>
                      </a:lnTo>
                      <a:lnTo>
                        <a:pt x="2714" y="278"/>
                      </a:lnTo>
                      <a:lnTo>
                        <a:pt x="2677" y="255"/>
                      </a:lnTo>
                      <a:lnTo>
                        <a:pt x="2640" y="234"/>
                      </a:lnTo>
                      <a:lnTo>
                        <a:pt x="2603" y="213"/>
                      </a:lnTo>
                      <a:lnTo>
                        <a:pt x="2566" y="193"/>
                      </a:lnTo>
                      <a:lnTo>
                        <a:pt x="2528" y="174"/>
                      </a:lnTo>
                      <a:lnTo>
                        <a:pt x="2488" y="156"/>
                      </a:lnTo>
                      <a:lnTo>
                        <a:pt x="2449" y="139"/>
                      </a:lnTo>
                      <a:lnTo>
                        <a:pt x="2410" y="122"/>
                      </a:lnTo>
                      <a:lnTo>
                        <a:pt x="2370" y="107"/>
                      </a:lnTo>
                      <a:lnTo>
                        <a:pt x="2328" y="93"/>
                      </a:lnTo>
                      <a:lnTo>
                        <a:pt x="2287" y="79"/>
                      </a:lnTo>
                      <a:lnTo>
                        <a:pt x="2246" y="67"/>
                      </a:lnTo>
                      <a:lnTo>
                        <a:pt x="2204" y="56"/>
                      </a:lnTo>
                      <a:lnTo>
                        <a:pt x="2162" y="45"/>
                      </a:lnTo>
                      <a:lnTo>
                        <a:pt x="2118" y="36"/>
                      </a:lnTo>
                      <a:lnTo>
                        <a:pt x="2075" y="28"/>
                      </a:lnTo>
                      <a:lnTo>
                        <a:pt x="2032" y="21"/>
                      </a:lnTo>
                      <a:lnTo>
                        <a:pt x="1988" y="15"/>
                      </a:lnTo>
                      <a:lnTo>
                        <a:pt x="1943" y="9"/>
                      </a:lnTo>
                      <a:lnTo>
                        <a:pt x="1899" y="6"/>
                      </a:lnTo>
                      <a:lnTo>
                        <a:pt x="1854" y="3"/>
                      </a:lnTo>
                      <a:lnTo>
                        <a:pt x="1809" y="1"/>
                      </a:lnTo>
                      <a:lnTo>
                        <a:pt x="1763" y="0"/>
                      </a:lnTo>
                      <a:lnTo>
                        <a:pt x="1763" y="0"/>
                      </a:lnTo>
                      <a:lnTo>
                        <a:pt x="1718" y="1"/>
                      </a:lnTo>
                      <a:lnTo>
                        <a:pt x="1673" y="3"/>
                      </a:lnTo>
                      <a:lnTo>
                        <a:pt x="1627" y="6"/>
                      </a:lnTo>
                      <a:lnTo>
                        <a:pt x="1583" y="9"/>
                      </a:lnTo>
                      <a:lnTo>
                        <a:pt x="1539" y="15"/>
                      </a:lnTo>
                      <a:lnTo>
                        <a:pt x="1495" y="21"/>
                      </a:lnTo>
                      <a:lnTo>
                        <a:pt x="1451" y="28"/>
                      </a:lnTo>
                      <a:lnTo>
                        <a:pt x="1408" y="36"/>
                      </a:lnTo>
                      <a:lnTo>
                        <a:pt x="1365" y="45"/>
                      </a:lnTo>
                      <a:lnTo>
                        <a:pt x="1323" y="56"/>
                      </a:lnTo>
                      <a:lnTo>
                        <a:pt x="1280" y="67"/>
                      </a:lnTo>
                      <a:lnTo>
                        <a:pt x="1239" y="79"/>
                      </a:lnTo>
                      <a:lnTo>
                        <a:pt x="1198" y="93"/>
                      </a:lnTo>
                      <a:lnTo>
                        <a:pt x="1157" y="107"/>
                      </a:lnTo>
                      <a:lnTo>
                        <a:pt x="1117" y="122"/>
                      </a:lnTo>
                      <a:lnTo>
                        <a:pt x="1077" y="139"/>
                      </a:lnTo>
                      <a:lnTo>
                        <a:pt x="1038" y="156"/>
                      </a:lnTo>
                      <a:lnTo>
                        <a:pt x="999" y="174"/>
                      </a:lnTo>
                      <a:lnTo>
                        <a:pt x="961" y="193"/>
                      </a:lnTo>
                      <a:lnTo>
                        <a:pt x="923" y="213"/>
                      </a:lnTo>
                      <a:lnTo>
                        <a:pt x="886" y="234"/>
                      </a:lnTo>
                      <a:lnTo>
                        <a:pt x="849" y="255"/>
                      </a:lnTo>
                      <a:lnTo>
                        <a:pt x="813" y="278"/>
                      </a:lnTo>
                      <a:lnTo>
                        <a:pt x="778" y="302"/>
                      </a:lnTo>
                      <a:lnTo>
                        <a:pt x="742" y="326"/>
                      </a:lnTo>
                      <a:lnTo>
                        <a:pt x="708" y="351"/>
                      </a:lnTo>
                      <a:lnTo>
                        <a:pt x="675" y="376"/>
                      </a:lnTo>
                      <a:lnTo>
                        <a:pt x="642" y="403"/>
                      </a:lnTo>
                      <a:lnTo>
                        <a:pt x="610" y="430"/>
                      </a:lnTo>
                      <a:lnTo>
                        <a:pt x="577" y="458"/>
                      </a:lnTo>
                      <a:lnTo>
                        <a:pt x="547" y="487"/>
                      </a:lnTo>
                      <a:lnTo>
                        <a:pt x="517" y="517"/>
                      </a:lnTo>
                      <a:lnTo>
                        <a:pt x="487" y="547"/>
                      </a:lnTo>
                      <a:lnTo>
                        <a:pt x="459" y="578"/>
                      </a:lnTo>
                      <a:lnTo>
                        <a:pt x="431" y="609"/>
                      </a:lnTo>
                      <a:lnTo>
                        <a:pt x="402" y="642"/>
                      </a:lnTo>
                      <a:lnTo>
                        <a:pt x="376" y="675"/>
                      </a:lnTo>
                      <a:lnTo>
                        <a:pt x="350" y="708"/>
                      </a:lnTo>
                      <a:lnTo>
                        <a:pt x="326" y="743"/>
                      </a:lnTo>
                      <a:lnTo>
                        <a:pt x="302" y="777"/>
                      </a:lnTo>
                      <a:lnTo>
                        <a:pt x="278" y="813"/>
                      </a:lnTo>
                      <a:lnTo>
                        <a:pt x="256" y="849"/>
                      </a:lnTo>
                      <a:lnTo>
                        <a:pt x="234" y="886"/>
                      </a:lnTo>
                      <a:lnTo>
                        <a:pt x="213" y="923"/>
                      </a:lnTo>
                      <a:lnTo>
                        <a:pt x="193" y="960"/>
                      </a:lnTo>
                      <a:lnTo>
                        <a:pt x="174" y="999"/>
                      </a:lnTo>
                      <a:lnTo>
                        <a:pt x="156" y="1038"/>
                      </a:lnTo>
                      <a:lnTo>
                        <a:pt x="139" y="1077"/>
                      </a:lnTo>
                      <a:lnTo>
                        <a:pt x="123" y="1116"/>
                      </a:lnTo>
                      <a:lnTo>
                        <a:pt x="108" y="1158"/>
                      </a:lnTo>
                      <a:lnTo>
                        <a:pt x="93" y="1198"/>
                      </a:lnTo>
                      <a:lnTo>
                        <a:pt x="80" y="1239"/>
                      </a:lnTo>
                      <a:lnTo>
                        <a:pt x="68" y="1280"/>
                      </a:lnTo>
                      <a:lnTo>
                        <a:pt x="56" y="1323"/>
                      </a:lnTo>
                      <a:lnTo>
                        <a:pt x="45" y="1365"/>
                      </a:lnTo>
                      <a:lnTo>
                        <a:pt x="36" y="1408"/>
                      </a:lnTo>
                      <a:lnTo>
                        <a:pt x="28" y="1451"/>
                      </a:lnTo>
                      <a:lnTo>
                        <a:pt x="20" y="1495"/>
                      </a:lnTo>
                      <a:lnTo>
                        <a:pt x="14" y="1539"/>
                      </a:lnTo>
                      <a:lnTo>
                        <a:pt x="9" y="1583"/>
                      </a:lnTo>
                      <a:lnTo>
                        <a:pt x="5" y="1627"/>
                      </a:lnTo>
                      <a:lnTo>
                        <a:pt x="3" y="1673"/>
                      </a:lnTo>
                      <a:lnTo>
                        <a:pt x="1" y="1718"/>
                      </a:lnTo>
                      <a:lnTo>
                        <a:pt x="0" y="1763"/>
                      </a:lnTo>
                      <a:lnTo>
                        <a:pt x="0" y="1763"/>
                      </a:lnTo>
                      <a:lnTo>
                        <a:pt x="1" y="1805"/>
                      </a:lnTo>
                      <a:lnTo>
                        <a:pt x="1" y="1805"/>
                      </a:lnTo>
                      <a:lnTo>
                        <a:pt x="0" y="1844"/>
                      </a:lnTo>
                      <a:lnTo>
                        <a:pt x="0" y="1844"/>
                      </a:lnTo>
                      <a:lnTo>
                        <a:pt x="1" y="1882"/>
                      </a:lnTo>
                      <a:lnTo>
                        <a:pt x="2" y="1920"/>
                      </a:lnTo>
                      <a:lnTo>
                        <a:pt x="3" y="1958"/>
                      </a:lnTo>
                      <a:lnTo>
                        <a:pt x="5" y="1997"/>
                      </a:lnTo>
                      <a:lnTo>
                        <a:pt x="11" y="2073"/>
                      </a:lnTo>
                      <a:lnTo>
                        <a:pt x="20" y="2150"/>
                      </a:lnTo>
                      <a:lnTo>
                        <a:pt x="31" y="2228"/>
                      </a:lnTo>
                      <a:lnTo>
                        <a:pt x="44" y="2305"/>
                      </a:lnTo>
                      <a:lnTo>
                        <a:pt x="60" y="2383"/>
                      </a:lnTo>
                      <a:lnTo>
                        <a:pt x="77" y="2460"/>
                      </a:lnTo>
                      <a:lnTo>
                        <a:pt x="96" y="2539"/>
                      </a:lnTo>
                      <a:lnTo>
                        <a:pt x="116" y="2616"/>
                      </a:lnTo>
                      <a:lnTo>
                        <a:pt x="139" y="2694"/>
                      </a:lnTo>
                      <a:lnTo>
                        <a:pt x="163" y="2772"/>
                      </a:lnTo>
                      <a:lnTo>
                        <a:pt x="189" y="2850"/>
                      </a:lnTo>
                      <a:lnTo>
                        <a:pt x="216" y="2926"/>
                      </a:lnTo>
                      <a:lnTo>
                        <a:pt x="246" y="3004"/>
                      </a:lnTo>
                      <a:lnTo>
                        <a:pt x="276" y="3080"/>
                      </a:lnTo>
                      <a:lnTo>
                        <a:pt x="308" y="3156"/>
                      </a:lnTo>
                      <a:lnTo>
                        <a:pt x="340" y="3233"/>
                      </a:lnTo>
                      <a:lnTo>
                        <a:pt x="374" y="3307"/>
                      </a:lnTo>
                      <a:lnTo>
                        <a:pt x="410" y="3383"/>
                      </a:lnTo>
                      <a:lnTo>
                        <a:pt x="446" y="3457"/>
                      </a:lnTo>
                      <a:lnTo>
                        <a:pt x="482" y="3531"/>
                      </a:lnTo>
                      <a:lnTo>
                        <a:pt x="520" y="3604"/>
                      </a:lnTo>
                      <a:lnTo>
                        <a:pt x="558" y="3675"/>
                      </a:lnTo>
                      <a:lnTo>
                        <a:pt x="598" y="3748"/>
                      </a:lnTo>
                      <a:lnTo>
                        <a:pt x="637" y="3818"/>
                      </a:lnTo>
                      <a:lnTo>
                        <a:pt x="677" y="3888"/>
                      </a:lnTo>
                      <a:lnTo>
                        <a:pt x="717" y="3957"/>
                      </a:lnTo>
                      <a:lnTo>
                        <a:pt x="759" y="4025"/>
                      </a:lnTo>
                      <a:lnTo>
                        <a:pt x="800" y="4092"/>
                      </a:lnTo>
                      <a:lnTo>
                        <a:pt x="841" y="4157"/>
                      </a:lnTo>
                      <a:lnTo>
                        <a:pt x="882" y="4222"/>
                      </a:lnTo>
                      <a:lnTo>
                        <a:pt x="923" y="4285"/>
                      </a:lnTo>
                      <a:lnTo>
                        <a:pt x="965" y="4347"/>
                      </a:lnTo>
                      <a:lnTo>
                        <a:pt x="1046" y="4468"/>
                      </a:lnTo>
                      <a:lnTo>
                        <a:pt x="1127" y="4583"/>
                      </a:lnTo>
                      <a:lnTo>
                        <a:pt x="1205" y="4693"/>
                      </a:lnTo>
                      <a:lnTo>
                        <a:pt x="1281" y="4795"/>
                      </a:lnTo>
                      <a:lnTo>
                        <a:pt x="1354" y="4891"/>
                      </a:lnTo>
                      <a:lnTo>
                        <a:pt x="1423" y="4979"/>
                      </a:lnTo>
                      <a:lnTo>
                        <a:pt x="1488" y="5061"/>
                      </a:lnTo>
                      <a:lnTo>
                        <a:pt x="1547" y="5133"/>
                      </a:lnTo>
                      <a:lnTo>
                        <a:pt x="1600" y="5198"/>
                      </a:lnTo>
                      <a:lnTo>
                        <a:pt x="1648" y="5254"/>
                      </a:lnTo>
                      <a:lnTo>
                        <a:pt x="1688" y="5300"/>
                      </a:lnTo>
                      <a:lnTo>
                        <a:pt x="1743" y="5364"/>
                      </a:lnTo>
                      <a:lnTo>
                        <a:pt x="1763" y="5386"/>
                      </a:lnTo>
                      <a:lnTo>
                        <a:pt x="1763" y="5386"/>
                      </a:lnTo>
                      <a:lnTo>
                        <a:pt x="1783" y="5364"/>
                      </a:lnTo>
                      <a:lnTo>
                        <a:pt x="1839" y="5300"/>
                      </a:lnTo>
                      <a:lnTo>
                        <a:pt x="1879" y="5254"/>
                      </a:lnTo>
                      <a:lnTo>
                        <a:pt x="1926" y="5198"/>
                      </a:lnTo>
                      <a:lnTo>
                        <a:pt x="1979" y="5133"/>
                      </a:lnTo>
                      <a:lnTo>
                        <a:pt x="2039" y="5061"/>
                      </a:lnTo>
                      <a:lnTo>
                        <a:pt x="2103" y="4979"/>
                      </a:lnTo>
                      <a:lnTo>
                        <a:pt x="2172" y="4891"/>
                      </a:lnTo>
                      <a:lnTo>
                        <a:pt x="2245" y="4795"/>
                      </a:lnTo>
                      <a:lnTo>
                        <a:pt x="2321" y="4693"/>
                      </a:lnTo>
                      <a:lnTo>
                        <a:pt x="2400" y="4583"/>
                      </a:lnTo>
                      <a:lnTo>
                        <a:pt x="2480" y="4468"/>
                      </a:lnTo>
                      <a:lnTo>
                        <a:pt x="2562" y="4347"/>
                      </a:lnTo>
                      <a:lnTo>
                        <a:pt x="2603" y="4285"/>
                      </a:lnTo>
                      <a:lnTo>
                        <a:pt x="2644" y="4222"/>
                      </a:lnTo>
                      <a:lnTo>
                        <a:pt x="2685" y="4157"/>
                      </a:lnTo>
                      <a:lnTo>
                        <a:pt x="2727" y="4092"/>
                      </a:lnTo>
                      <a:lnTo>
                        <a:pt x="2768" y="4025"/>
                      </a:lnTo>
                      <a:lnTo>
                        <a:pt x="2809" y="3957"/>
                      </a:lnTo>
                      <a:lnTo>
                        <a:pt x="2849" y="3888"/>
                      </a:lnTo>
                      <a:lnTo>
                        <a:pt x="2890" y="3818"/>
                      </a:lnTo>
                      <a:lnTo>
                        <a:pt x="2929" y="3748"/>
                      </a:lnTo>
                      <a:lnTo>
                        <a:pt x="2968" y="3675"/>
                      </a:lnTo>
                      <a:lnTo>
                        <a:pt x="3006" y="3604"/>
                      </a:lnTo>
                      <a:lnTo>
                        <a:pt x="3045" y="3531"/>
                      </a:lnTo>
                      <a:lnTo>
                        <a:pt x="3081" y="3457"/>
                      </a:lnTo>
                      <a:lnTo>
                        <a:pt x="3117" y="3383"/>
                      </a:lnTo>
                      <a:lnTo>
                        <a:pt x="3152" y="3307"/>
                      </a:lnTo>
                      <a:lnTo>
                        <a:pt x="3186" y="3233"/>
                      </a:lnTo>
                      <a:lnTo>
                        <a:pt x="3219" y="3156"/>
                      </a:lnTo>
                      <a:lnTo>
                        <a:pt x="3251" y="3080"/>
                      </a:lnTo>
                      <a:lnTo>
                        <a:pt x="3281" y="3004"/>
                      </a:lnTo>
                      <a:lnTo>
                        <a:pt x="3310" y="2926"/>
                      </a:lnTo>
                      <a:lnTo>
                        <a:pt x="3337" y="2850"/>
                      </a:lnTo>
                      <a:lnTo>
                        <a:pt x="3363" y="2772"/>
                      </a:lnTo>
                      <a:lnTo>
                        <a:pt x="3387" y="2694"/>
                      </a:lnTo>
                      <a:lnTo>
                        <a:pt x="3411" y="2616"/>
                      </a:lnTo>
                      <a:lnTo>
                        <a:pt x="3431" y="2539"/>
                      </a:lnTo>
                      <a:lnTo>
                        <a:pt x="3450" y="2460"/>
                      </a:lnTo>
                      <a:lnTo>
                        <a:pt x="3467" y="2383"/>
                      </a:lnTo>
                      <a:lnTo>
                        <a:pt x="3482" y="2305"/>
                      </a:lnTo>
                      <a:lnTo>
                        <a:pt x="3495" y="2228"/>
                      </a:lnTo>
                      <a:lnTo>
                        <a:pt x="3506" y="2150"/>
                      </a:lnTo>
                      <a:lnTo>
                        <a:pt x="3514" y="2073"/>
                      </a:lnTo>
                      <a:lnTo>
                        <a:pt x="3521" y="1997"/>
                      </a:lnTo>
                      <a:lnTo>
                        <a:pt x="3523" y="1958"/>
                      </a:lnTo>
                      <a:lnTo>
                        <a:pt x="3524" y="1920"/>
                      </a:lnTo>
                      <a:lnTo>
                        <a:pt x="3525" y="1882"/>
                      </a:lnTo>
                      <a:lnTo>
                        <a:pt x="3526" y="1844"/>
                      </a:lnTo>
                      <a:lnTo>
                        <a:pt x="3526" y="1844"/>
                      </a:lnTo>
                      <a:lnTo>
                        <a:pt x="3525" y="1805"/>
                      </a:lnTo>
                      <a:lnTo>
                        <a:pt x="3525" y="1805"/>
                      </a:lnTo>
                      <a:lnTo>
                        <a:pt x="3526" y="1763"/>
                      </a:lnTo>
                      <a:lnTo>
                        <a:pt x="3526" y="1763"/>
                      </a:lnTo>
                      <a:close/>
                      <a:moveTo>
                        <a:pt x="1763" y="3869"/>
                      </a:moveTo>
                      <a:lnTo>
                        <a:pt x="1763" y="3869"/>
                      </a:lnTo>
                      <a:lnTo>
                        <a:pt x="1707" y="3868"/>
                      </a:lnTo>
                      <a:lnTo>
                        <a:pt x="1651" y="3864"/>
                      </a:lnTo>
                      <a:lnTo>
                        <a:pt x="1594" y="3859"/>
                      </a:lnTo>
                      <a:lnTo>
                        <a:pt x="1540" y="3851"/>
                      </a:lnTo>
                      <a:lnTo>
                        <a:pt x="1486" y="3841"/>
                      </a:lnTo>
                      <a:lnTo>
                        <a:pt x="1432" y="3829"/>
                      </a:lnTo>
                      <a:lnTo>
                        <a:pt x="1379" y="3816"/>
                      </a:lnTo>
                      <a:lnTo>
                        <a:pt x="1327" y="3800"/>
                      </a:lnTo>
                      <a:lnTo>
                        <a:pt x="1276" y="3783"/>
                      </a:lnTo>
                      <a:lnTo>
                        <a:pt x="1226" y="3764"/>
                      </a:lnTo>
                      <a:lnTo>
                        <a:pt x="1177" y="3742"/>
                      </a:lnTo>
                      <a:lnTo>
                        <a:pt x="1129" y="3720"/>
                      </a:lnTo>
                      <a:lnTo>
                        <a:pt x="1081" y="3695"/>
                      </a:lnTo>
                      <a:lnTo>
                        <a:pt x="1035" y="3668"/>
                      </a:lnTo>
                      <a:lnTo>
                        <a:pt x="990" y="3640"/>
                      </a:lnTo>
                      <a:lnTo>
                        <a:pt x="946" y="3611"/>
                      </a:lnTo>
                      <a:lnTo>
                        <a:pt x="903" y="3580"/>
                      </a:lnTo>
                      <a:lnTo>
                        <a:pt x="861" y="3547"/>
                      </a:lnTo>
                      <a:lnTo>
                        <a:pt x="821" y="3513"/>
                      </a:lnTo>
                      <a:lnTo>
                        <a:pt x="782" y="3476"/>
                      </a:lnTo>
                      <a:lnTo>
                        <a:pt x="744" y="3440"/>
                      </a:lnTo>
                      <a:lnTo>
                        <a:pt x="708" y="3401"/>
                      </a:lnTo>
                      <a:lnTo>
                        <a:pt x="673" y="3362"/>
                      </a:lnTo>
                      <a:lnTo>
                        <a:pt x="640" y="3320"/>
                      </a:lnTo>
                      <a:lnTo>
                        <a:pt x="608" y="3278"/>
                      </a:lnTo>
                      <a:lnTo>
                        <a:pt x="577" y="3235"/>
                      </a:lnTo>
                      <a:lnTo>
                        <a:pt x="549" y="3190"/>
                      </a:lnTo>
                      <a:lnTo>
                        <a:pt x="522" y="3144"/>
                      </a:lnTo>
                      <a:lnTo>
                        <a:pt x="497" y="3097"/>
                      </a:lnTo>
                      <a:lnTo>
                        <a:pt x="473" y="3050"/>
                      </a:lnTo>
                      <a:lnTo>
                        <a:pt x="451" y="3001"/>
                      </a:lnTo>
                      <a:lnTo>
                        <a:pt x="431" y="2951"/>
                      </a:lnTo>
                      <a:lnTo>
                        <a:pt x="431" y="2951"/>
                      </a:lnTo>
                      <a:lnTo>
                        <a:pt x="460" y="2989"/>
                      </a:lnTo>
                      <a:lnTo>
                        <a:pt x="489" y="3027"/>
                      </a:lnTo>
                      <a:lnTo>
                        <a:pt x="520" y="3063"/>
                      </a:lnTo>
                      <a:lnTo>
                        <a:pt x="551" y="3098"/>
                      </a:lnTo>
                      <a:lnTo>
                        <a:pt x="585" y="3133"/>
                      </a:lnTo>
                      <a:lnTo>
                        <a:pt x="618" y="3166"/>
                      </a:lnTo>
                      <a:lnTo>
                        <a:pt x="653" y="3199"/>
                      </a:lnTo>
                      <a:lnTo>
                        <a:pt x="688" y="3231"/>
                      </a:lnTo>
                      <a:lnTo>
                        <a:pt x="724" y="3261"/>
                      </a:lnTo>
                      <a:lnTo>
                        <a:pt x="763" y="3291"/>
                      </a:lnTo>
                      <a:lnTo>
                        <a:pt x="801" y="3319"/>
                      </a:lnTo>
                      <a:lnTo>
                        <a:pt x="840" y="3347"/>
                      </a:lnTo>
                      <a:lnTo>
                        <a:pt x="879" y="3373"/>
                      </a:lnTo>
                      <a:lnTo>
                        <a:pt x="920" y="3398"/>
                      </a:lnTo>
                      <a:lnTo>
                        <a:pt x="962" y="3422"/>
                      </a:lnTo>
                      <a:lnTo>
                        <a:pt x="1004" y="3445"/>
                      </a:lnTo>
                      <a:lnTo>
                        <a:pt x="1047" y="3466"/>
                      </a:lnTo>
                      <a:lnTo>
                        <a:pt x="1090" y="3487"/>
                      </a:lnTo>
                      <a:lnTo>
                        <a:pt x="1135" y="3506"/>
                      </a:lnTo>
                      <a:lnTo>
                        <a:pt x="1180" y="3524"/>
                      </a:lnTo>
                      <a:lnTo>
                        <a:pt x="1225" y="3541"/>
                      </a:lnTo>
                      <a:lnTo>
                        <a:pt x="1271" y="3556"/>
                      </a:lnTo>
                      <a:lnTo>
                        <a:pt x="1319" y="3570"/>
                      </a:lnTo>
                      <a:lnTo>
                        <a:pt x="1366" y="3582"/>
                      </a:lnTo>
                      <a:lnTo>
                        <a:pt x="1414" y="3593"/>
                      </a:lnTo>
                      <a:lnTo>
                        <a:pt x="1463" y="3603"/>
                      </a:lnTo>
                      <a:lnTo>
                        <a:pt x="1512" y="3611"/>
                      </a:lnTo>
                      <a:lnTo>
                        <a:pt x="1561" y="3618"/>
                      </a:lnTo>
                      <a:lnTo>
                        <a:pt x="1610" y="3623"/>
                      </a:lnTo>
                      <a:lnTo>
                        <a:pt x="1662" y="3627"/>
                      </a:lnTo>
                      <a:lnTo>
                        <a:pt x="1712" y="3630"/>
                      </a:lnTo>
                      <a:lnTo>
                        <a:pt x="1763" y="3630"/>
                      </a:lnTo>
                      <a:lnTo>
                        <a:pt x="1763" y="3630"/>
                      </a:lnTo>
                      <a:lnTo>
                        <a:pt x="1815" y="3630"/>
                      </a:lnTo>
                      <a:lnTo>
                        <a:pt x="1865" y="3627"/>
                      </a:lnTo>
                      <a:lnTo>
                        <a:pt x="1915" y="3623"/>
                      </a:lnTo>
                      <a:lnTo>
                        <a:pt x="1965" y="3618"/>
                      </a:lnTo>
                      <a:lnTo>
                        <a:pt x="2015" y="3611"/>
                      </a:lnTo>
                      <a:lnTo>
                        <a:pt x="2064" y="3603"/>
                      </a:lnTo>
                      <a:lnTo>
                        <a:pt x="2112" y="3593"/>
                      </a:lnTo>
                      <a:lnTo>
                        <a:pt x="2161" y="3582"/>
                      </a:lnTo>
                      <a:lnTo>
                        <a:pt x="2208" y="3570"/>
                      </a:lnTo>
                      <a:lnTo>
                        <a:pt x="2255" y="3556"/>
                      </a:lnTo>
                      <a:lnTo>
                        <a:pt x="2301" y="3541"/>
                      </a:lnTo>
                      <a:lnTo>
                        <a:pt x="2347" y="3524"/>
                      </a:lnTo>
                      <a:lnTo>
                        <a:pt x="2392" y="3506"/>
                      </a:lnTo>
                      <a:lnTo>
                        <a:pt x="2436" y="3487"/>
                      </a:lnTo>
                      <a:lnTo>
                        <a:pt x="2479" y="3466"/>
                      </a:lnTo>
                      <a:lnTo>
                        <a:pt x="2523" y="3445"/>
                      </a:lnTo>
                      <a:lnTo>
                        <a:pt x="2565" y="3422"/>
                      </a:lnTo>
                      <a:lnTo>
                        <a:pt x="2606" y="3398"/>
                      </a:lnTo>
                      <a:lnTo>
                        <a:pt x="2647" y="3373"/>
                      </a:lnTo>
                      <a:lnTo>
                        <a:pt x="2687" y="3347"/>
                      </a:lnTo>
                      <a:lnTo>
                        <a:pt x="2726" y="3319"/>
                      </a:lnTo>
                      <a:lnTo>
                        <a:pt x="2764" y="3291"/>
                      </a:lnTo>
                      <a:lnTo>
                        <a:pt x="2801" y="3261"/>
                      </a:lnTo>
                      <a:lnTo>
                        <a:pt x="2838" y="3231"/>
                      </a:lnTo>
                      <a:lnTo>
                        <a:pt x="2874" y="3199"/>
                      </a:lnTo>
                      <a:lnTo>
                        <a:pt x="2909" y="3166"/>
                      </a:lnTo>
                      <a:lnTo>
                        <a:pt x="2942" y="3133"/>
                      </a:lnTo>
                      <a:lnTo>
                        <a:pt x="2975" y="3098"/>
                      </a:lnTo>
                      <a:lnTo>
                        <a:pt x="3006" y="3063"/>
                      </a:lnTo>
                      <a:lnTo>
                        <a:pt x="3038" y="3027"/>
                      </a:lnTo>
                      <a:lnTo>
                        <a:pt x="3067" y="2989"/>
                      </a:lnTo>
                      <a:lnTo>
                        <a:pt x="3096" y="2951"/>
                      </a:lnTo>
                      <a:lnTo>
                        <a:pt x="3096" y="2951"/>
                      </a:lnTo>
                      <a:lnTo>
                        <a:pt x="3076" y="3001"/>
                      </a:lnTo>
                      <a:lnTo>
                        <a:pt x="3054" y="3050"/>
                      </a:lnTo>
                      <a:lnTo>
                        <a:pt x="3029" y="3097"/>
                      </a:lnTo>
                      <a:lnTo>
                        <a:pt x="3004" y="3144"/>
                      </a:lnTo>
                      <a:lnTo>
                        <a:pt x="2977" y="3190"/>
                      </a:lnTo>
                      <a:lnTo>
                        <a:pt x="2949" y="3235"/>
                      </a:lnTo>
                      <a:lnTo>
                        <a:pt x="2918" y="3278"/>
                      </a:lnTo>
                      <a:lnTo>
                        <a:pt x="2887" y="3320"/>
                      </a:lnTo>
                      <a:lnTo>
                        <a:pt x="2853" y="3362"/>
                      </a:lnTo>
                      <a:lnTo>
                        <a:pt x="2818" y="3401"/>
                      </a:lnTo>
                      <a:lnTo>
                        <a:pt x="2782" y="3440"/>
                      </a:lnTo>
                      <a:lnTo>
                        <a:pt x="2744" y="3476"/>
                      </a:lnTo>
                      <a:lnTo>
                        <a:pt x="2706" y="3513"/>
                      </a:lnTo>
                      <a:lnTo>
                        <a:pt x="2665" y="3547"/>
                      </a:lnTo>
                      <a:lnTo>
                        <a:pt x="2623" y="3580"/>
                      </a:lnTo>
                      <a:lnTo>
                        <a:pt x="2581" y="3611"/>
                      </a:lnTo>
                      <a:lnTo>
                        <a:pt x="2537" y="3640"/>
                      </a:lnTo>
                      <a:lnTo>
                        <a:pt x="2491" y="3668"/>
                      </a:lnTo>
                      <a:lnTo>
                        <a:pt x="2445" y="3695"/>
                      </a:lnTo>
                      <a:lnTo>
                        <a:pt x="2398" y="3720"/>
                      </a:lnTo>
                      <a:lnTo>
                        <a:pt x="2350" y="3742"/>
                      </a:lnTo>
                      <a:lnTo>
                        <a:pt x="2300" y="3764"/>
                      </a:lnTo>
                      <a:lnTo>
                        <a:pt x="2250" y="3783"/>
                      </a:lnTo>
                      <a:lnTo>
                        <a:pt x="2199" y="3800"/>
                      </a:lnTo>
                      <a:lnTo>
                        <a:pt x="2147" y="3816"/>
                      </a:lnTo>
                      <a:lnTo>
                        <a:pt x="2094" y="3829"/>
                      </a:lnTo>
                      <a:lnTo>
                        <a:pt x="2041" y="3841"/>
                      </a:lnTo>
                      <a:lnTo>
                        <a:pt x="1987" y="3851"/>
                      </a:lnTo>
                      <a:lnTo>
                        <a:pt x="1932" y="3859"/>
                      </a:lnTo>
                      <a:lnTo>
                        <a:pt x="1876" y="3864"/>
                      </a:lnTo>
                      <a:lnTo>
                        <a:pt x="1820" y="3868"/>
                      </a:lnTo>
                      <a:lnTo>
                        <a:pt x="1763" y="3869"/>
                      </a:lnTo>
                      <a:lnTo>
                        <a:pt x="1763" y="3869"/>
                      </a:lnTo>
                      <a:close/>
                      <a:moveTo>
                        <a:pt x="1763" y="3190"/>
                      </a:moveTo>
                      <a:lnTo>
                        <a:pt x="1763" y="3190"/>
                      </a:lnTo>
                      <a:lnTo>
                        <a:pt x="1726" y="3190"/>
                      </a:lnTo>
                      <a:lnTo>
                        <a:pt x="1690" y="3188"/>
                      </a:lnTo>
                      <a:lnTo>
                        <a:pt x="1654" y="3186"/>
                      </a:lnTo>
                      <a:lnTo>
                        <a:pt x="1617" y="3183"/>
                      </a:lnTo>
                      <a:lnTo>
                        <a:pt x="1581" y="3179"/>
                      </a:lnTo>
                      <a:lnTo>
                        <a:pt x="1546" y="3174"/>
                      </a:lnTo>
                      <a:lnTo>
                        <a:pt x="1511" y="3167"/>
                      </a:lnTo>
                      <a:lnTo>
                        <a:pt x="1476" y="3160"/>
                      </a:lnTo>
                      <a:lnTo>
                        <a:pt x="1441" y="3153"/>
                      </a:lnTo>
                      <a:lnTo>
                        <a:pt x="1407" y="3145"/>
                      </a:lnTo>
                      <a:lnTo>
                        <a:pt x="1373" y="3135"/>
                      </a:lnTo>
                      <a:lnTo>
                        <a:pt x="1339" y="3126"/>
                      </a:lnTo>
                      <a:lnTo>
                        <a:pt x="1306" y="3115"/>
                      </a:lnTo>
                      <a:lnTo>
                        <a:pt x="1272" y="3103"/>
                      </a:lnTo>
                      <a:lnTo>
                        <a:pt x="1240" y="3091"/>
                      </a:lnTo>
                      <a:lnTo>
                        <a:pt x="1208" y="3078"/>
                      </a:lnTo>
                      <a:lnTo>
                        <a:pt x="1176" y="3064"/>
                      </a:lnTo>
                      <a:lnTo>
                        <a:pt x="1145" y="3049"/>
                      </a:lnTo>
                      <a:lnTo>
                        <a:pt x="1114" y="3034"/>
                      </a:lnTo>
                      <a:lnTo>
                        <a:pt x="1083" y="3018"/>
                      </a:lnTo>
                      <a:lnTo>
                        <a:pt x="1053" y="3001"/>
                      </a:lnTo>
                      <a:lnTo>
                        <a:pt x="1024" y="2983"/>
                      </a:lnTo>
                      <a:lnTo>
                        <a:pt x="995" y="2965"/>
                      </a:lnTo>
                      <a:lnTo>
                        <a:pt x="966" y="2946"/>
                      </a:lnTo>
                      <a:lnTo>
                        <a:pt x="938" y="2927"/>
                      </a:lnTo>
                      <a:lnTo>
                        <a:pt x="909" y="2907"/>
                      </a:lnTo>
                      <a:lnTo>
                        <a:pt x="882" y="2886"/>
                      </a:lnTo>
                      <a:lnTo>
                        <a:pt x="856" y="2864"/>
                      </a:lnTo>
                      <a:lnTo>
                        <a:pt x="830" y="2842"/>
                      </a:lnTo>
                      <a:lnTo>
                        <a:pt x="804" y="2819"/>
                      </a:lnTo>
                      <a:lnTo>
                        <a:pt x="780" y="2796"/>
                      </a:lnTo>
                      <a:lnTo>
                        <a:pt x="754" y="2772"/>
                      </a:lnTo>
                      <a:lnTo>
                        <a:pt x="730" y="2748"/>
                      </a:lnTo>
                      <a:lnTo>
                        <a:pt x="707" y="2723"/>
                      </a:lnTo>
                      <a:lnTo>
                        <a:pt x="685" y="2697"/>
                      </a:lnTo>
                      <a:lnTo>
                        <a:pt x="663" y="2671"/>
                      </a:lnTo>
                      <a:lnTo>
                        <a:pt x="641" y="2644"/>
                      </a:lnTo>
                      <a:lnTo>
                        <a:pt x="621" y="2617"/>
                      </a:lnTo>
                      <a:lnTo>
                        <a:pt x="601" y="2589"/>
                      </a:lnTo>
                      <a:lnTo>
                        <a:pt x="581" y="2561"/>
                      </a:lnTo>
                      <a:lnTo>
                        <a:pt x="561" y="2533"/>
                      </a:lnTo>
                      <a:lnTo>
                        <a:pt x="543" y="2504"/>
                      </a:lnTo>
                      <a:lnTo>
                        <a:pt x="526" y="2473"/>
                      </a:lnTo>
                      <a:lnTo>
                        <a:pt x="509" y="2443"/>
                      </a:lnTo>
                      <a:lnTo>
                        <a:pt x="493" y="2413"/>
                      </a:lnTo>
                      <a:lnTo>
                        <a:pt x="478" y="2382"/>
                      </a:lnTo>
                      <a:lnTo>
                        <a:pt x="463" y="2351"/>
                      </a:lnTo>
                      <a:lnTo>
                        <a:pt x="449" y="2318"/>
                      </a:lnTo>
                      <a:lnTo>
                        <a:pt x="436" y="2286"/>
                      </a:lnTo>
                      <a:lnTo>
                        <a:pt x="424" y="2254"/>
                      </a:lnTo>
                      <a:lnTo>
                        <a:pt x="412" y="2221"/>
                      </a:lnTo>
                      <a:lnTo>
                        <a:pt x="401" y="2188"/>
                      </a:lnTo>
                      <a:lnTo>
                        <a:pt x="391" y="2153"/>
                      </a:lnTo>
                      <a:lnTo>
                        <a:pt x="382" y="2120"/>
                      </a:lnTo>
                      <a:lnTo>
                        <a:pt x="373" y="2085"/>
                      </a:lnTo>
                      <a:lnTo>
                        <a:pt x="366" y="2051"/>
                      </a:lnTo>
                      <a:lnTo>
                        <a:pt x="359" y="2016"/>
                      </a:lnTo>
                      <a:lnTo>
                        <a:pt x="353" y="1980"/>
                      </a:lnTo>
                      <a:lnTo>
                        <a:pt x="348" y="1945"/>
                      </a:lnTo>
                      <a:lnTo>
                        <a:pt x="344" y="1909"/>
                      </a:lnTo>
                      <a:lnTo>
                        <a:pt x="341" y="1873"/>
                      </a:lnTo>
                      <a:lnTo>
                        <a:pt x="339" y="1837"/>
                      </a:lnTo>
                      <a:lnTo>
                        <a:pt x="337" y="1800"/>
                      </a:lnTo>
                      <a:lnTo>
                        <a:pt x="337" y="1763"/>
                      </a:lnTo>
                      <a:lnTo>
                        <a:pt x="337" y="1763"/>
                      </a:lnTo>
                      <a:lnTo>
                        <a:pt x="337" y="1727"/>
                      </a:lnTo>
                      <a:lnTo>
                        <a:pt x="339" y="1690"/>
                      </a:lnTo>
                      <a:lnTo>
                        <a:pt x="341" y="1654"/>
                      </a:lnTo>
                      <a:lnTo>
                        <a:pt x="344" y="1617"/>
                      </a:lnTo>
                      <a:lnTo>
                        <a:pt x="348" y="1582"/>
                      </a:lnTo>
                      <a:lnTo>
                        <a:pt x="353" y="1546"/>
                      </a:lnTo>
                      <a:lnTo>
                        <a:pt x="359" y="1511"/>
                      </a:lnTo>
                      <a:lnTo>
                        <a:pt x="366" y="1475"/>
                      </a:lnTo>
                      <a:lnTo>
                        <a:pt x="373" y="1441"/>
                      </a:lnTo>
                      <a:lnTo>
                        <a:pt x="382" y="1407"/>
                      </a:lnTo>
                      <a:lnTo>
                        <a:pt x="391" y="1373"/>
                      </a:lnTo>
                      <a:lnTo>
                        <a:pt x="401" y="1339"/>
                      </a:lnTo>
                      <a:lnTo>
                        <a:pt x="412" y="1305"/>
                      </a:lnTo>
                      <a:lnTo>
                        <a:pt x="424" y="1273"/>
                      </a:lnTo>
                      <a:lnTo>
                        <a:pt x="436" y="1240"/>
                      </a:lnTo>
                      <a:lnTo>
                        <a:pt x="449" y="1208"/>
                      </a:lnTo>
                      <a:lnTo>
                        <a:pt x="463" y="1177"/>
                      </a:lnTo>
                      <a:lnTo>
                        <a:pt x="478" y="1145"/>
                      </a:lnTo>
                      <a:lnTo>
                        <a:pt x="493" y="1114"/>
                      </a:lnTo>
                      <a:lnTo>
                        <a:pt x="509" y="1083"/>
                      </a:lnTo>
                      <a:lnTo>
                        <a:pt x="526" y="1053"/>
                      </a:lnTo>
                      <a:lnTo>
                        <a:pt x="543" y="1024"/>
                      </a:lnTo>
                      <a:lnTo>
                        <a:pt x="561" y="995"/>
                      </a:lnTo>
                      <a:lnTo>
                        <a:pt x="581" y="965"/>
                      </a:lnTo>
                      <a:lnTo>
                        <a:pt x="601" y="937"/>
                      </a:lnTo>
                      <a:lnTo>
                        <a:pt x="621" y="910"/>
                      </a:lnTo>
                      <a:lnTo>
                        <a:pt x="641" y="883"/>
                      </a:lnTo>
                      <a:lnTo>
                        <a:pt x="663" y="856"/>
                      </a:lnTo>
                      <a:lnTo>
                        <a:pt x="685" y="830"/>
                      </a:lnTo>
                      <a:lnTo>
                        <a:pt x="707" y="805"/>
                      </a:lnTo>
                      <a:lnTo>
                        <a:pt x="730" y="779"/>
                      </a:lnTo>
                      <a:lnTo>
                        <a:pt x="754" y="754"/>
                      </a:lnTo>
                      <a:lnTo>
                        <a:pt x="780" y="731"/>
                      </a:lnTo>
                      <a:lnTo>
                        <a:pt x="804" y="707"/>
                      </a:lnTo>
                      <a:lnTo>
                        <a:pt x="830" y="685"/>
                      </a:lnTo>
                      <a:lnTo>
                        <a:pt x="856" y="663"/>
                      </a:lnTo>
                      <a:lnTo>
                        <a:pt x="882" y="642"/>
                      </a:lnTo>
                      <a:lnTo>
                        <a:pt x="909" y="620"/>
                      </a:lnTo>
                      <a:lnTo>
                        <a:pt x="938" y="600"/>
                      </a:lnTo>
                      <a:lnTo>
                        <a:pt x="966" y="580"/>
                      </a:lnTo>
                      <a:lnTo>
                        <a:pt x="995" y="561"/>
                      </a:lnTo>
                      <a:lnTo>
                        <a:pt x="1024" y="543"/>
                      </a:lnTo>
                      <a:lnTo>
                        <a:pt x="1053" y="526"/>
                      </a:lnTo>
                      <a:lnTo>
                        <a:pt x="1083" y="509"/>
                      </a:lnTo>
                      <a:lnTo>
                        <a:pt x="1114" y="493"/>
                      </a:lnTo>
                      <a:lnTo>
                        <a:pt x="1145" y="478"/>
                      </a:lnTo>
                      <a:lnTo>
                        <a:pt x="1176" y="462"/>
                      </a:lnTo>
                      <a:lnTo>
                        <a:pt x="1208" y="449"/>
                      </a:lnTo>
                      <a:lnTo>
                        <a:pt x="1240" y="435"/>
                      </a:lnTo>
                      <a:lnTo>
                        <a:pt x="1272" y="423"/>
                      </a:lnTo>
                      <a:lnTo>
                        <a:pt x="1306" y="412"/>
                      </a:lnTo>
                      <a:lnTo>
                        <a:pt x="1339" y="401"/>
                      </a:lnTo>
                      <a:lnTo>
                        <a:pt x="1373" y="391"/>
                      </a:lnTo>
                      <a:lnTo>
                        <a:pt x="1407" y="382"/>
                      </a:lnTo>
                      <a:lnTo>
                        <a:pt x="1441" y="373"/>
                      </a:lnTo>
                      <a:lnTo>
                        <a:pt x="1476" y="366"/>
                      </a:lnTo>
                      <a:lnTo>
                        <a:pt x="1511" y="359"/>
                      </a:lnTo>
                      <a:lnTo>
                        <a:pt x="1546" y="353"/>
                      </a:lnTo>
                      <a:lnTo>
                        <a:pt x="1581" y="348"/>
                      </a:lnTo>
                      <a:lnTo>
                        <a:pt x="1617" y="344"/>
                      </a:lnTo>
                      <a:lnTo>
                        <a:pt x="1654" y="341"/>
                      </a:lnTo>
                      <a:lnTo>
                        <a:pt x="1690" y="339"/>
                      </a:lnTo>
                      <a:lnTo>
                        <a:pt x="1726" y="338"/>
                      </a:lnTo>
                      <a:lnTo>
                        <a:pt x="1763" y="337"/>
                      </a:lnTo>
                      <a:lnTo>
                        <a:pt x="1763" y="337"/>
                      </a:lnTo>
                      <a:lnTo>
                        <a:pt x="1800" y="338"/>
                      </a:lnTo>
                      <a:lnTo>
                        <a:pt x="1837" y="339"/>
                      </a:lnTo>
                      <a:lnTo>
                        <a:pt x="1873" y="341"/>
                      </a:lnTo>
                      <a:lnTo>
                        <a:pt x="1909" y="344"/>
                      </a:lnTo>
                      <a:lnTo>
                        <a:pt x="1945" y="348"/>
                      </a:lnTo>
                      <a:lnTo>
                        <a:pt x="1980" y="353"/>
                      </a:lnTo>
                      <a:lnTo>
                        <a:pt x="2016" y="359"/>
                      </a:lnTo>
                      <a:lnTo>
                        <a:pt x="2051" y="366"/>
                      </a:lnTo>
                      <a:lnTo>
                        <a:pt x="2085" y="373"/>
                      </a:lnTo>
                      <a:lnTo>
                        <a:pt x="2119" y="382"/>
                      </a:lnTo>
                      <a:lnTo>
                        <a:pt x="2153" y="391"/>
                      </a:lnTo>
                      <a:lnTo>
                        <a:pt x="2188" y="401"/>
                      </a:lnTo>
                      <a:lnTo>
                        <a:pt x="2221" y="412"/>
                      </a:lnTo>
                      <a:lnTo>
                        <a:pt x="2254" y="423"/>
                      </a:lnTo>
                      <a:lnTo>
                        <a:pt x="2286" y="435"/>
                      </a:lnTo>
                      <a:lnTo>
                        <a:pt x="2318" y="449"/>
                      </a:lnTo>
                      <a:lnTo>
                        <a:pt x="2351" y="462"/>
                      </a:lnTo>
                      <a:lnTo>
                        <a:pt x="2382" y="478"/>
                      </a:lnTo>
                      <a:lnTo>
                        <a:pt x="2413" y="493"/>
                      </a:lnTo>
                      <a:lnTo>
                        <a:pt x="2443" y="509"/>
                      </a:lnTo>
                      <a:lnTo>
                        <a:pt x="2473" y="526"/>
                      </a:lnTo>
                      <a:lnTo>
                        <a:pt x="2502" y="543"/>
                      </a:lnTo>
                      <a:lnTo>
                        <a:pt x="2532" y="561"/>
                      </a:lnTo>
                      <a:lnTo>
                        <a:pt x="2561" y="580"/>
                      </a:lnTo>
                      <a:lnTo>
                        <a:pt x="2589" y="600"/>
                      </a:lnTo>
                      <a:lnTo>
                        <a:pt x="2616" y="620"/>
                      </a:lnTo>
                      <a:lnTo>
                        <a:pt x="2643" y="642"/>
                      </a:lnTo>
                      <a:lnTo>
                        <a:pt x="2670" y="663"/>
                      </a:lnTo>
                      <a:lnTo>
                        <a:pt x="2697" y="685"/>
                      </a:lnTo>
                      <a:lnTo>
                        <a:pt x="2722" y="707"/>
                      </a:lnTo>
                      <a:lnTo>
                        <a:pt x="2747" y="731"/>
                      </a:lnTo>
                      <a:lnTo>
                        <a:pt x="2772" y="754"/>
                      </a:lnTo>
                      <a:lnTo>
                        <a:pt x="2795" y="779"/>
                      </a:lnTo>
                      <a:lnTo>
                        <a:pt x="2819" y="805"/>
                      </a:lnTo>
                      <a:lnTo>
                        <a:pt x="2841" y="830"/>
                      </a:lnTo>
                      <a:lnTo>
                        <a:pt x="2864" y="856"/>
                      </a:lnTo>
                      <a:lnTo>
                        <a:pt x="2886" y="883"/>
                      </a:lnTo>
                      <a:lnTo>
                        <a:pt x="2906" y="910"/>
                      </a:lnTo>
                      <a:lnTo>
                        <a:pt x="2926" y="937"/>
                      </a:lnTo>
                      <a:lnTo>
                        <a:pt x="2946" y="965"/>
                      </a:lnTo>
                      <a:lnTo>
                        <a:pt x="2965" y="995"/>
                      </a:lnTo>
                      <a:lnTo>
                        <a:pt x="2983" y="1024"/>
                      </a:lnTo>
                      <a:lnTo>
                        <a:pt x="3000" y="1053"/>
                      </a:lnTo>
                      <a:lnTo>
                        <a:pt x="3017" y="1083"/>
                      </a:lnTo>
                      <a:lnTo>
                        <a:pt x="3033" y="1114"/>
                      </a:lnTo>
                      <a:lnTo>
                        <a:pt x="3049" y="1145"/>
                      </a:lnTo>
                      <a:lnTo>
                        <a:pt x="3064" y="1177"/>
                      </a:lnTo>
                      <a:lnTo>
                        <a:pt x="3078" y="1208"/>
                      </a:lnTo>
                      <a:lnTo>
                        <a:pt x="3091" y="1240"/>
                      </a:lnTo>
                      <a:lnTo>
                        <a:pt x="3103" y="1273"/>
                      </a:lnTo>
                      <a:lnTo>
                        <a:pt x="3115" y="1305"/>
                      </a:lnTo>
                      <a:lnTo>
                        <a:pt x="3125" y="1339"/>
                      </a:lnTo>
                      <a:lnTo>
                        <a:pt x="3135" y="1373"/>
                      </a:lnTo>
                      <a:lnTo>
                        <a:pt x="3144" y="1407"/>
                      </a:lnTo>
                      <a:lnTo>
                        <a:pt x="3153" y="1441"/>
                      </a:lnTo>
                      <a:lnTo>
                        <a:pt x="3160" y="1475"/>
                      </a:lnTo>
                      <a:lnTo>
                        <a:pt x="3167" y="1511"/>
                      </a:lnTo>
                      <a:lnTo>
                        <a:pt x="3173" y="1546"/>
                      </a:lnTo>
                      <a:lnTo>
                        <a:pt x="3178" y="1582"/>
                      </a:lnTo>
                      <a:lnTo>
                        <a:pt x="3182" y="1617"/>
                      </a:lnTo>
                      <a:lnTo>
                        <a:pt x="3185" y="1654"/>
                      </a:lnTo>
                      <a:lnTo>
                        <a:pt x="3187" y="1690"/>
                      </a:lnTo>
                      <a:lnTo>
                        <a:pt x="3189" y="1727"/>
                      </a:lnTo>
                      <a:lnTo>
                        <a:pt x="3189" y="1763"/>
                      </a:lnTo>
                      <a:lnTo>
                        <a:pt x="3189" y="1763"/>
                      </a:lnTo>
                      <a:lnTo>
                        <a:pt x="3189" y="1800"/>
                      </a:lnTo>
                      <a:lnTo>
                        <a:pt x="3187" y="1837"/>
                      </a:lnTo>
                      <a:lnTo>
                        <a:pt x="3185" y="1873"/>
                      </a:lnTo>
                      <a:lnTo>
                        <a:pt x="3182" y="1909"/>
                      </a:lnTo>
                      <a:lnTo>
                        <a:pt x="3178" y="1945"/>
                      </a:lnTo>
                      <a:lnTo>
                        <a:pt x="3173" y="1980"/>
                      </a:lnTo>
                      <a:lnTo>
                        <a:pt x="3167" y="2016"/>
                      </a:lnTo>
                      <a:lnTo>
                        <a:pt x="3160" y="2051"/>
                      </a:lnTo>
                      <a:lnTo>
                        <a:pt x="3153" y="2085"/>
                      </a:lnTo>
                      <a:lnTo>
                        <a:pt x="3144" y="2120"/>
                      </a:lnTo>
                      <a:lnTo>
                        <a:pt x="3135" y="2153"/>
                      </a:lnTo>
                      <a:lnTo>
                        <a:pt x="3125" y="2188"/>
                      </a:lnTo>
                      <a:lnTo>
                        <a:pt x="3115" y="2221"/>
                      </a:lnTo>
                      <a:lnTo>
                        <a:pt x="3103" y="2254"/>
                      </a:lnTo>
                      <a:lnTo>
                        <a:pt x="3091" y="2286"/>
                      </a:lnTo>
                      <a:lnTo>
                        <a:pt x="3078" y="2318"/>
                      </a:lnTo>
                      <a:lnTo>
                        <a:pt x="3064" y="2351"/>
                      </a:lnTo>
                      <a:lnTo>
                        <a:pt x="3049" y="2382"/>
                      </a:lnTo>
                      <a:lnTo>
                        <a:pt x="3033" y="2413"/>
                      </a:lnTo>
                      <a:lnTo>
                        <a:pt x="3017" y="2443"/>
                      </a:lnTo>
                      <a:lnTo>
                        <a:pt x="3000" y="2473"/>
                      </a:lnTo>
                      <a:lnTo>
                        <a:pt x="2983" y="2504"/>
                      </a:lnTo>
                      <a:lnTo>
                        <a:pt x="2965" y="2533"/>
                      </a:lnTo>
                      <a:lnTo>
                        <a:pt x="2946" y="2561"/>
                      </a:lnTo>
                      <a:lnTo>
                        <a:pt x="2926" y="2589"/>
                      </a:lnTo>
                      <a:lnTo>
                        <a:pt x="2906" y="2617"/>
                      </a:lnTo>
                      <a:lnTo>
                        <a:pt x="2886" y="2644"/>
                      </a:lnTo>
                      <a:lnTo>
                        <a:pt x="2864" y="2671"/>
                      </a:lnTo>
                      <a:lnTo>
                        <a:pt x="2841" y="2697"/>
                      </a:lnTo>
                      <a:lnTo>
                        <a:pt x="2819" y="2723"/>
                      </a:lnTo>
                      <a:lnTo>
                        <a:pt x="2795" y="2748"/>
                      </a:lnTo>
                      <a:lnTo>
                        <a:pt x="2772" y="2772"/>
                      </a:lnTo>
                      <a:lnTo>
                        <a:pt x="2747" y="2796"/>
                      </a:lnTo>
                      <a:lnTo>
                        <a:pt x="2722" y="2819"/>
                      </a:lnTo>
                      <a:lnTo>
                        <a:pt x="2697" y="2842"/>
                      </a:lnTo>
                      <a:lnTo>
                        <a:pt x="2670" y="2864"/>
                      </a:lnTo>
                      <a:lnTo>
                        <a:pt x="2643" y="2886"/>
                      </a:lnTo>
                      <a:lnTo>
                        <a:pt x="2616" y="2907"/>
                      </a:lnTo>
                      <a:lnTo>
                        <a:pt x="2589" y="2927"/>
                      </a:lnTo>
                      <a:lnTo>
                        <a:pt x="2561" y="2946"/>
                      </a:lnTo>
                      <a:lnTo>
                        <a:pt x="2532" y="2965"/>
                      </a:lnTo>
                      <a:lnTo>
                        <a:pt x="2502" y="2983"/>
                      </a:lnTo>
                      <a:lnTo>
                        <a:pt x="2473" y="3001"/>
                      </a:lnTo>
                      <a:lnTo>
                        <a:pt x="2443" y="3018"/>
                      </a:lnTo>
                      <a:lnTo>
                        <a:pt x="2413" y="3034"/>
                      </a:lnTo>
                      <a:lnTo>
                        <a:pt x="2382" y="3049"/>
                      </a:lnTo>
                      <a:lnTo>
                        <a:pt x="2351" y="3064"/>
                      </a:lnTo>
                      <a:lnTo>
                        <a:pt x="2318" y="3078"/>
                      </a:lnTo>
                      <a:lnTo>
                        <a:pt x="2286" y="3091"/>
                      </a:lnTo>
                      <a:lnTo>
                        <a:pt x="2254" y="3103"/>
                      </a:lnTo>
                      <a:lnTo>
                        <a:pt x="2221" y="3115"/>
                      </a:lnTo>
                      <a:lnTo>
                        <a:pt x="2188" y="3126"/>
                      </a:lnTo>
                      <a:lnTo>
                        <a:pt x="2153" y="3135"/>
                      </a:lnTo>
                      <a:lnTo>
                        <a:pt x="2119" y="3145"/>
                      </a:lnTo>
                      <a:lnTo>
                        <a:pt x="2085" y="3153"/>
                      </a:lnTo>
                      <a:lnTo>
                        <a:pt x="2051" y="3160"/>
                      </a:lnTo>
                      <a:lnTo>
                        <a:pt x="2016" y="3167"/>
                      </a:lnTo>
                      <a:lnTo>
                        <a:pt x="1980" y="3174"/>
                      </a:lnTo>
                      <a:lnTo>
                        <a:pt x="1945" y="3179"/>
                      </a:lnTo>
                      <a:lnTo>
                        <a:pt x="1909" y="3183"/>
                      </a:lnTo>
                      <a:lnTo>
                        <a:pt x="1873" y="3186"/>
                      </a:lnTo>
                      <a:lnTo>
                        <a:pt x="1837" y="3188"/>
                      </a:lnTo>
                      <a:lnTo>
                        <a:pt x="1800" y="3190"/>
                      </a:lnTo>
                      <a:lnTo>
                        <a:pt x="1763" y="3190"/>
                      </a:lnTo>
                      <a:lnTo>
                        <a:pt x="1763" y="3190"/>
                      </a:lnTo>
                      <a:close/>
                    </a:path>
                  </a:pathLst>
                </a:custGeom>
                <a:solidFill>
                  <a:srgbClr val="00A9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Oval 31"/>
                <p:cNvSpPr/>
                <p:nvPr/>
              </p:nvSpPr>
              <p:spPr>
                <a:xfrm>
                  <a:off x="1253438" y="2780928"/>
                  <a:ext cx="576064" cy="5760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smtClean="0">
                      <a:solidFill>
                        <a:srgbClr val="00A99D"/>
                      </a:solidFill>
                    </a:rPr>
                    <a:t>5</a:t>
                  </a:r>
                  <a:endParaRPr lang="en-US" sz="4400" b="1" dirty="0">
                    <a:solidFill>
                      <a:srgbClr val="00A99D"/>
                    </a:solidFill>
                  </a:endParaRPr>
                </a:p>
              </p:txBody>
            </p:sp>
          </p:grpSp>
        </p:grpSp>
        <p:pic>
          <p:nvPicPr>
            <p:cNvPr id="9222" name="Picture 6" descr="C:\Users\Administrator\Desktop\Kerja Keras terengganu\kategori kump. bidang tugas 3.png"/>
            <p:cNvPicPr>
              <a:picLocks noChangeAspect="1" noChangeArrowheads="1"/>
            </p:cNvPicPr>
            <p:nvPr/>
          </p:nvPicPr>
          <p:blipFill>
            <a:blip r:embed="rId3"/>
            <a:srcRect l="69009" t="59906" r="4149" b="27915"/>
            <a:stretch>
              <a:fillRect/>
            </a:stretch>
          </p:blipFill>
          <p:spPr bwMode="auto">
            <a:xfrm>
              <a:off x="4549597" y="713632"/>
              <a:ext cx="2055040" cy="659270"/>
            </a:xfrm>
            <a:prstGeom prst="rect">
              <a:avLst/>
            </a:prstGeom>
            <a:noFill/>
          </p:spPr>
        </p:pic>
        <p:sp>
          <p:nvSpPr>
            <p:cNvPr id="110" name="Rectangle 1"/>
            <p:cNvSpPr>
              <a:spLocks noChangeArrowheads="1"/>
            </p:cNvSpPr>
            <p:nvPr/>
          </p:nvSpPr>
          <p:spPr bwMode="auto">
            <a:xfrm>
              <a:off x="4529162" y="1306055"/>
              <a:ext cx="2653327" cy="646331"/>
            </a:xfrm>
            <a:prstGeom prst="rect">
              <a:avLst/>
            </a:prstGeom>
            <a:noFill/>
            <a:ln w="9525">
              <a:noFill/>
              <a:miter lim="800000"/>
              <a:headEnd/>
              <a:tailEnd/>
            </a:ln>
          </p:spPr>
          <p:txBody>
            <a:bodyPr wrap="square" anchor="ctr">
              <a:spAutoFit/>
            </a:bodyPr>
            <a:lstStyle/>
            <a:p>
              <a:pPr algn="just" eaLnBrk="0" hangingPunct="0"/>
              <a:r>
                <a:rPr lang="en-US" sz="1200" b="1" dirty="0" smtClean="0">
                  <a:solidFill>
                    <a:srgbClr val="002060"/>
                  </a:solidFill>
                  <a:ea typeface="Calibri" pitchFamily="34" charset="0"/>
                  <a:cs typeface="Arial" pitchFamily="34" charset="0"/>
                </a:rPr>
                <a:t>*</a:t>
              </a:r>
              <a:r>
                <a:rPr lang="en-US" sz="1200" b="1" dirty="0" err="1" smtClean="0">
                  <a:solidFill>
                    <a:srgbClr val="002060"/>
                  </a:solidFill>
                  <a:ea typeface="Calibri" pitchFamily="34" charset="0"/>
                  <a:cs typeface="Arial" pitchFamily="34" charset="0"/>
                </a:rPr>
                <a:t>Jurulatih</a:t>
              </a:r>
              <a:r>
                <a:rPr lang="en-US" sz="1200" b="1" dirty="0" smtClean="0">
                  <a:solidFill>
                    <a:srgbClr val="002060"/>
                  </a:solidFill>
                  <a:ea typeface="Calibri" pitchFamily="34" charset="0"/>
                  <a:cs typeface="Arial" pitchFamily="34" charset="0"/>
                </a:rPr>
                <a:t> </a:t>
              </a:r>
              <a:r>
                <a:rPr lang="en-US" sz="1200" dirty="0" smtClean="0">
                  <a:solidFill>
                    <a:srgbClr val="002060"/>
                  </a:solidFill>
                  <a:latin typeface="Calibri" pitchFamily="34" charset="0"/>
                  <a:ea typeface="Calibri" pitchFamily="34" charset="0"/>
                  <a:cs typeface="Arial" pitchFamily="34" charset="0"/>
                </a:rPr>
                <a:t>–</a:t>
              </a:r>
              <a:r>
                <a:rPr lang="en-US" sz="1200" dirty="0" smtClean="0">
                  <a:solidFill>
                    <a:srgbClr val="002060"/>
                  </a:solidFill>
                  <a:ea typeface="Calibri" pitchFamily="34" charset="0"/>
                  <a:cs typeface="Arial" pitchFamily="34" charset="0"/>
                </a:rPr>
                <a:t> PPP yang </a:t>
              </a:r>
              <a:r>
                <a:rPr lang="en-US" sz="1200" dirty="0" err="1" smtClean="0">
                  <a:solidFill>
                    <a:srgbClr val="002060"/>
                  </a:solidFill>
                  <a:ea typeface="Calibri" pitchFamily="34" charset="0"/>
                  <a:cs typeface="Arial" pitchFamily="34" charset="0"/>
                </a:rPr>
                <a:t>menjalankan</a:t>
              </a:r>
              <a:r>
                <a:rPr lang="en-US" sz="1200" dirty="0" smtClean="0">
                  <a:solidFill>
                    <a:srgbClr val="002060"/>
                  </a:solidFill>
                  <a:ea typeface="Calibri" pitchFamily="34" charset="0"/>
                  <a:cs typeface="Arial" pitchFamily="34" charset="0"/>
                </a:rPr>
                <a:t> </a:t>
              </a:r>
              <a:r>
                <a:rPr lang="en-US" sz="1200" dirty="0" err="1" smtClean="0">
                  <a:solidFill>
                    <a:srgbClr val="002060"/>
                  </a:solidFill>
                  <a:ea typeface="Calibri" pitchFamily="34" charset="0"/>
                  <a:cs typeface="Arial" pitchFamily="34" charset="0"/>
                </a:rPr>
                <a:t>tugass</a:t>
              </a:r>
              <a:r>
                <a:rPr lang="en-US" sz="1200" dirty="0" smtClean="0">
                  <a:solidFill>
                    <a:srgbClr val="002060"/>
                  </a:solidFill>
                  <a:ea typeface="Calibri" pitchFamily="34" charset="0"/>
                  <a:cs typeface="Arial" pitchFamily="34" charset="0"/>
                </a:rPr>
                <a:t> </a:t>
              </a:r>
              <a:r>
                <a:rPr lang="en-US" sz="1200" dirty="0" err="1" smtClean="0">
                  <a:solidFill>
                    <a:srgbClr val="002060"/>
                  </a:solidFill>
                  <a:ea typeface="Calibri" pitchFamily="34" charset="0"/>
                  <a:cs typeface="Arial" pitchFamily="34" charset="0"/>
                </a:rPr>
                <a:t>sepenuh</a:t>
              </a:r>
              <a:r>
                <a:rPr lang="en-US" sz="1200" dirty="0" smtClean="0">
                  <a:solidFill>
                    <a:srgbClr val="002060"/>
                  </a:solidFill>
                  <a:ea typeface="Calibri" pitchFamily="34" charset="0"/>
                  <a:cs typeface="Arial" pitchFamily="34" charset="0"/>
                </a:rPr>
                <a:t> </a:t>
              </a:r>
              <a:r>
                <a:rPr lang="en-US" sz="1200" dirty="0" err="1" smtClean="0">
                  <a:solidFill>
                    <a:srgbClr val="002060"/>
                  </a:solidFill>
                  <a:ea typeface="Calibri" pitchFamily="34" charset="0"/>
                  <a:cs typeface="Arial" pitchFamily="34" charset="0"/>
                </a:rPr>
                <a:t>masa</a:t>
              </a:r>
              <a:r>
                <a:rPr lang="en-US" sz="1200" dirty="0" smtClean="0">
                  <a:solidFill>
                    <a:srgbClr val="002060"/>
                  </a:solidFill>
                  <a:ea typeface="Calibri" pitchFamily="34" charset="0"/>
                  <a:cs typeface="Arial" pitchFamily="34" charset="0"/>
                </a:rPr>
                <a:t> </a:t>
              </a:r>
              <a:r>
                <a:rPr lang="en-US" sz="1200" dirty="0" err="1" smtClean="0">
                  <a:solidFill>
                    <a:srgbClr val="002060"/>
                  </a:solidFill>
                  <a:ea typeface="Calibri" pitchFamily="34" charset="0"/>
                  <a:cs typeface="Arial" pitchFamily="34" charset="0"/>
                </a:rPr>
                <a:t>sebagai</a:t>
              </a:r>
              <a:r>
                <a:rPr lang="en-US" sz="1200" dirty="0" smtClean="0">
                  <a:solidFill>
                    <a:srgbClr val="002060"/>
                  </a:solidFill>
                  <a:ea typeface="Calibri" pitchFamily="34" charset="0"/>
                  <a:cs typeface="Arial" pitchFamily="34" charset="0"/>
                </a:rPr>
                <a:t> </a:t>
              </a:r>
              <a:r>
                <a:rPr lang="en-US" sz="1200" dirty="0" err="1" smtClean="0">
                  <a:solidFill>
                    <a:srgbClr val="002060"/>
                  </a:solidFill>
                  <a:ea typeface="Calibri" pitchFamily="34" charset="0"/>
                  <a:cs typeface="Arial" pitchFamily="34" charset="0"/>
                </a:rPr>
                <a:t>Jurulatih</a:t>
              </a:r>
              <a:r>
                <a:rPr lang="en-US" sz="1200" dirty="0" smtClean="0">
                  <a:solidFill>
                    <a:srgbClr val="002060"/>
                  </a:solidFill>
                  <a:ea typeface="Calibri" pitchFamily="34" charset="0"/>
                  <a:cs typeface="Arial" pitchFamily="34" charset="0"/>
                </a:rPr>
                <a:t> </a:t>
              </a:r>
              <a:r>
                <a:rPr lang="en-US" sz="1200" dirty="0" err="1" smtClean="0">
                  <a:solidFill>
                    <a:srgbClr val="002060"/>
                  </a:solidFill>
                  <a:ea typeface="Calibri" pitchFamily="34" charset="0"/>
                  <a:cs typeface="Arial" pitchFamily="34" charset="0"/>
                </a:rPr>
                <a:t>Sukan</a:t>
              </a:r>
              <a:r>
                <a:rPr lang="en-US" sz="1200" dirty="0" smtClean="0">
                  <a:solidFill>
                    <a:srgbClr val="002060"/>
                  </a:solidFill>
                  <a:ea typeface="Calibri" pitchFamily="34" charset="0"/>
                  <a:cs typeface="Arial" pitchFamily="34" charset="0"/>
                </a:rPr>
                <a:t>/ </a:t>
              </a:r>
              <a:r>
                <a:rPr lang="en-US" sz="1200" dirty="0" err="1" smtClean="0">
                  <a:solidFill>
                    <a:srgbClr val="002060"/>
                  </a:solidFill>
                  <a:ea typeface="Calibri" pitchFamily="34" charset="0"/>
                  <a:cs typeface="Arial" pitchFamily="34" charset="0"/>
                </a:rPr>
                <a:t>Seni</a:t>
              </a:r>
              <a:endParaRPr lang="en-US" sz="1200" dirty="0">
                <a:solidFill>
                  <a:srgbClr val="002060"/>
                </a:solidFill>
                <a:ea typeface="Calibri" pitchFamily="34" charset="0"/>
                <a:cs typeface="Arial" pitchFamily="34" charset="0"/>
              </a:endParaRPr>
            </a:p>
          </p:txBody>
        </p:sp>
        <p:grpSp>
          <p:nvGrpSpPr>
            <p:cNvPr id="9224" name="Group 16"/>
            <p:cNvGrpSpPr/>
            <p:nvPr/>
          </p:nvGrpSpPr>
          <p:grpSpPr>
            <a:xfrm>
              <a:off x="7060286" y="882646"/>
              <a:ext cx="1840089" cy="554690"/>
              <a:chOff x="7060286" y="882646"/>
              <a:chExt cx="1840089" cy="554690"/>
            </a:xfrm>
          </p:grpSpPr>
          <p:sp>
            <p:nvSpPr>
              <p:cNvPr id="140" name="TextBox 139"/>
              <p:cNvSpPr txBox="1"/>
              <p:nvPr/>
            </p:nvSpPr>
            <p:spPr>
              <a:xfrm>
                <a:off x="7060286" y="882646"/>
                <a:ext cx="567357" cy="369332"/>
              </a:xfrm>
              <a:prstGeom prst="rect">
                <a:avLst/>
              </a:prstGeom>
              <a:noFill/>
            </p:spPr>
            <p:txBody>
              <a:bodyPr wrap="square" rtlCol="0">
                <a:spAutoFit/>
              </a:bodyPr>
              <a:lstStyle/>
              <a:p>
                <a:r>
                  <a:rPr lang="en-US" b="1" dirty="0" smtClean="0">
                    <a:solidFill>
                      <a:srgbClr val="FF0000"/>
                    </a:solidFill>
                    <a:latin typeface="Comic Sans MS" pitchFamily="66" charset="0"/>
                  </a:rPr>
                  <a:t>9</a:t>
                </a:r>
                <a:endParaRPr lang="en-US" b="1" dirty="0">
                  <a:solidFill>
                    <a:srgbClr val="FF0000"/>
                  </a:solidFill>
                  <a:latin typeface="Comic Sans MS" pitchFamily="66" charset="0"/>
                </a:endParaRPr>
              </a:p>
            </p:txBody>
          </p:sp>
          <p:sp>
            <p:nvSpPr>
              <p:cNvPr id="141" name="TextBox 140"/>
              <p:cNvSpPr txBox="1"/>
              <p:nvPr/>
            </p:nvSpPr>
            <p:spPr>
              <a:xfrm>
                <a:off x="7329274" y="914116"/>
                <a:ext cx="1571101" cy="523220"/>
              </a:xfrm>
              <a:prstGeom prst="rect">
                <a:avLst/>
              </a:prstGeom>
              <a:noFill/>
            </p:spPr>
            <p:txBody>
              <a:bodyPr wrap="square" rtlCol="0">
                <a:spAutoFit/>
              </a:bodyPr>
              <a:lstStyle/>
              <a:p>
                <a:r>
                  <a:rPr lang="en-US" sz="1400" dirty="0" err="1" smtClean="0">
                    <a:latin typeface="Comic Sans MS" pitchFamily="66" charset="0"/>
                  </a:rPr>
                  <a:t>Jurulatih</a:t>
                </a:r>
                <a:r>
                  <a:rPr lang="en-US" sz="1400" dirty="0" smtClean="0">
                    <a:latin typeface="Comic Sans MS" pitchFamily="66" charset="0"/>
                  </a:rPr>
                  <a:t> </a:t>
                </a:r>
                <a:r>
                  <a:rPr lang="en-US" sz="1400" dirty="0" err="1" smtClean="0">
                    <a:latin typeface="Comic Sans MS" pitchFamily="66" charset="0"/>
                  </a:rPr>
                  <a:t>Sukan</a:t>
                </a:r>
                <a:r>
                  <a:rPr lang="en-US" sz="1400" dirty="0" smtClean="0">
                    <a:latin typeface="Comic Sans MS" pitchFamily="66" charset="0"/>
                  </a:rPr>
                  <a:t>/ </a:t>
                </a:r>
                <a:r>
                  <a:rPr lang="en-US" sz="1400" dirty="0" err="1" smtClean="0">
                    <a:latin typeface="Comic Sans MS" pitchFamily="66" charset="0"/>
                  </a:rPr>
                  <a:t>Seni</a:t>
                </a:r>
                <a:endParaRPr lang="en-US" sz="1400" dirty="0">
                  <a:latin typeface="Comic Sans MS" pitchFamily="66" charset="0"/>
                </a:endParaRPr>
              </a:p>
            </p:txBody>
          </p:sp>
        </p:grpSp>
      </p:grpSp>
      <p:sp>
        <p:nvSpPr>
          <p:cNvPr id="82" name="Rectangle 81"/>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smtClean="0">
                <a:solidFill>
                  <a:schemeClr val="bg1"/>
                </a:solidFill>
                <a:latin typeface="Segoe UI" pitchFamily="34" charset="0"/>
                <a:ea typeface="Segoe UI" pitchFamily="34" charset="0"/>
                <a:cs typeface="Segoe UI" pitchFamily="34" charset="0"/>
              </a:rPr>
              <a:t>KATEGORI KUMPULAN</a:t>
            </a:r>
            <a:endParaRPr lang="en-US" sz="3600" b="1" dirty="0">
              <a:solidFill>
                <a:schemeClr val="bg1"/>
              </a:solidFill>
              <a:latin typeface="Segoe UI" pitchFamily="34" charset="0"/>
              <a:ea typeface="Segoe UI" pitchFamily="34" charset="0"/>
              <a:cs typeface="Segoe UI" pitchFamily="34" charset="0"/>
            </a:endParaRPr>
          </a:p>
        </p:txBody>
      </p:sp>
      <p:sp>
        <p:nvSpPr>
          <p:cNvPr id="77" name="Rectangle 76"/>
          <p:cNvSpPr/>
          <p:nvPr/>
        </p:nvSpPr>
        <p:spPr>
          <a:xfrm>
            <a:off x="272803" y="6004024"/>
            <a:ext cx="859655" cy="282307"/>
          </a:xfrm>
          <a:prstGeom prst="rect">
            <a:avLst/>
          </a:prstGeom>
          <a:noFill/>
          <a:ln w="34925" cmpd="sng">
            <a:solidFill>
              <a:srgbClr val="FF000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Rectangle 77"/>
          <p:cNvSpPr/>
          <p:nvPr/>
        </p:nvSpPr>
        <p:spPr>
          <a:xfrm>
            <a:off x="4014498" y="6201790"/>
            <a:ext cx="1737360" cy="307776"/>
          </a:xfrm>
          <a:prstGeom prst="rect">
            <a:avLst/>
          </a:prstGeom>
          <a:noFill/>
          <a:ln w="34925" cmpd="sng">
            <a:solidFill>
              <a:srgbClr val="FF000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Rectangle 78"/>
          <p:cNvSpPr/>
          <p:nvPr/>
        </p:nvSpPr>
        <p:spPr>
          <a:xfrm>
            <a:off x="7442499" y="1715323"/>
            <a:ext cx="1435824" cy="523220"/>
          </a:xfrm>
          <a:prstGeom prst="rect">
            <a:avLst/>
          </a:prstGeom>
          <a:noFill/>
          <a:ln w="34925" cmpd="sng">
            <a:solidFill>
              <a:srgbClr val="FF000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ectangle 79"/>
          <p:cNvSpPr/>
          <p:nvPr/>
        </p:nvSpPr>
        <p:spPr>
          <a:xfrm>
            <a:off x="1339516" y="1735203"/>
            <a:ext cx="1780934" cy="307777"/>
          </a:xfrm>
          <a:prstGeom prst="rect">
            <a:avLst/>
          </a:prstGeom>
          <a:noFill/>
          <a:ln w="34925" cmpd="sng">
            <a:solidFill>
              <a:srgbClr val="FF000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8638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ox(i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ppt_x"/>
                                          </p:val>
                                        </p:tav>
                                        <p:tav tm="100000">
                                          <p:val>
                                            <p:strVal val="#ppt_x"/>
                                          </p:val>
                                        </p:tav>
                                      </p:tavLst>
                                    </p:anim>
                                    <p:anim calcmode="lin" valueType="num">
                                      <p:cBhvr additive="base">
                                        <p:cTn id="1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 presetClass="entr" presetSubtype="16" fill="hold"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box(in)">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8"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slide(fromLeft)">
                                      <p:cBhvr>
                                        <p:cTn id="23" dur="500"/>
                                        <p:tgtEl>
                                          <p:spTgt spid="21"/>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9217"/>
                                        </p:tgtEl>
                                        <p:attrNameLst>
                                          <p:attrName>style.visibility</p:attrName>
                                        </p:attrNameLst>
                                      </p:cBhvr>
                                      <p:to>
                                        <p:strVal val="visible"/>
                                      </p:to>
                                    </p:set>
                                    <p:animEffect transition="in" filter="wipe(down)">
                                      <p:cBhvr>
                                        <p:cTn id="28" dur="500"/>
                                        <p:tgtEl>
                                          <p:spTgt spid="9217"/>
                                        </p:tgtEl>
                                      </p:cBhvr>
                                    </p:animEffect>
                                  </p:childTnLst>
                                </p:cTn>
                              </p:par>
                            </p:childTnLst>
                          </p:cTn>
                        </p:par>
                      </p:childTnLst>
                    </p:cTn>
                  </p:par>
                  <p:par>
                    <p:cTn id="29" fill="hold">
                      <p:stCondLst>
                        <p:cond delay="indefinite"/>
                      </p:stCondLst>
                      <p:childTnLst>
                        <p:par>
                          <p:cTn id="30" fill="hold">
                            <p:stCondLst>
                              <p:cond delay="0"/>
                            </p:stCondLst>
                            <p:childTnLst>
                              <p:par>
                                <p:cTn id="31" presetID="17" presetClass="entr" presetSubtype="10" fill="hold" grpId="0" nodeType="clickEffect">
                                  <p:stCondLst>
                                    <p:cond delay="0"/>
                                  </p:stCondLst>
                                  <p:childTnLst>
                                    <p:set>
                                      <p:cBhvr>
                                        <p:cTn id="32" dur="1" fill="hold">
                                          <p:stCondLst>
                                            <p:cond delay="0"/>
                                          </p:stCondLst>
                                        </p:cTn>
                                        <p:tgtEl>
                                          <p:spTgt spid="79"/>
                                        </p:tgtEl>
                                        <p:attrNameLst>
                                          <p:attrName>style.visibility</p:attrName>
                                        </p:attrNameLst>
                                      </p:cBhvr>
                                      <p:to>
                                        <p:strVal val="visible"/>
                                      </p:to>
                                    </p:set>
                                    <p:anim calcmode="lin" valueType="num">
                                      <p:cBhvr>
                                        <p:cTn id="33" dur="500" fill="hold"/>
                                        <p:tgtEl>
                                          <p:spTgt spid="79"/>
                                        </p:tgtEl>
                                        <p:attrNameLst>
                                          <p:attrName>ppt_w</p:attrName>
                                        </p:attrNameLst>
                                      </p:cBhvr>
                                      <p:tavLst>
                                        <p:tav tm="0">
                                          <p:val>
                                            <p:fltVal val="0"/>
                                          </p:val>
                                        </p:tav>
                                        <p:tav tm="100000">
                                          <p:val>
                                            <p:strVal val="#ppt_w"/>
                                          </p:val>
                                        </p:tav>
                                      </p:tavLst>
                                    </p:anim>
                                    <p:anim calcmode="lin" valueType="num">
                                      <p:cBhvr>
                                        <p:cTn id="34" dur="500" fill="hold"/>
                                        <p:tgtEl>
                                          <p:spTgt spid="79"/>
                                        </p:tgtEl>
                                        <p:attrNameLst>
                                          <p:attrName>ppt_h</p:attrName>
                                        </p:attrNameLst>
                                      </p:cBhvr>
                                      <p:tavLst>
                                        <p:tav tm="0">
                                          <p:val>
                                            <p:strVal val="#ppt_h"/>
                                          </p:val>
                                        </p:tav>
                                        <p:tav tm="100000">
                                          <p:val>
                                            <p:strVal val="#ppt_h"/>
                                          </p:val>
                                        </p:tav>
                                      </p:tavLst>
                                    </p:anim>
                                  </p:childTnLst>
                                </p:cTn>
                              </p:par>
                              <p:par>
                                <p:cTn id="35" presetID="17" presetClass="entr" presetSubtype="10" fill="hold" grpId="0" nodeType="withEffect">
                                  <p:stCondLst>
                                    <p:cond delay="0"/>
                                  </p:stCondLst>
                                  <p:childTnLst>
                                    <p:set>
                                      <p:cBhvr>
                                        <p:cTn id="36" dur="1" fill="hold">
                                          <p:stCondLst>
                                            <p:cond delay="0"/>
                                          </p:stCondLst>
                                        </p:cTn>
                                        <p:tgtEl>
                                          <p:spTgt spid="78"/>
                                        </p:tgtEl>
                                        <p:attrNameLst>
                                          <p:attrName>style.visibility</p:attrName>
                                        </p:attrNameLst>
                                      </p:cBhvr>
                                      <p:to>
                                        <p:strVal val="visible"/>
                                      </p:to>
                                    </p:set>
                                    <p:anim calcmode="lin" valueType="num">
                                      <p:cBhvr>
                                        <p:cTn id="37" dur="500" fill="hold"/>
                                        <p:tgtEl>
                                          <p:spTgt spid="78"/>
                                        </p:tgtEl>
                                        <p:attrNameLst>
                                          <p:attrName>ppt_w</p:attrName>
                                        </p:attrNameLst>
                                      </p:cBhvr>
                                      <p:tavLst>
                                        <p:tav tm="0">
                                          <p:val>
                                            <p:fltVal val="0"/>
                                          </p:val>
                                        </p:tav>
                                        <p:tav tm="100000">
                                          <p:val>
                                            <p:strVal val="#ppt_w"/>
                                          </p:val>
                                        </p:tav>
                                      </p:tavLst>
                                    </p:anim>
                                    <p:anim calcmode="lin" valueType="num">
                                      <p:cBhvr>
                                        <p:cTn id="38" dur="500" fill="hold"/>
                                        <p:tgtEl>
                                          <p:spTgt spid="78"/>
                                        </p:tgtEl>
                                        <p:attrNameLst>
                                          <p:attrName>ppt_h</p:attrName>
                                        </p:attrNameLst>
                                      </p:cBhvr>
                                      <p:tavLst>
                                        <p:tav tm="0">
                                          <p:val>
                                            <p:strVal val="#ppt_h"/>
                                          </p:val>
                                        </p:tav>
                                        <p:tav tm="100000">
                                          <p:val>
                                            <p:strVal val="#ppt_h"/>
                                          </p:val>
                                        </p:tav>
                                      </p:tavLst>
                                    </p:anim>
                                  </p:childTnLst>
                                </p:cTn>
                              </p:par>
                              <p:par>
                                <p:cTn id="39" presetID="17" presetClass="entr" presetSubtype="10" fill="hold" grpId="0" nodeType="withEffect">
                                  <p:stCondLst>
                                    <p:cond delay="0"/>
                                  </p:stCondLst>
                                  <p:childTnLst>
                                    <p:set>
                                      <p:cBhvr>
                                        <p:cTn id="40" dur="1" fill="hold">
                                          <p:stCondLst>
                                            <p:cond delay="0"/>
                                          </p:stCondLst>
                                        </p:cTn>
                                        <p:tgtEl>
                                          <p:spTgt spid="77"/>
                                        </p:tgtEl>
                                        <p:attrNameLst>
                                          <p:attrName>style.visibility</p:attrName>
                                        </p:attrNameLst>
                                      </p:cBhvr>
                                      <p:to>
                                        <p:strVal val="visible"/>
                                      </p:to>
                                    </p:set>
                                    <p:anim calcmode="lin" valueType="num">
                                      <p:cBhvr>
                                        <p:cTn id="41" dur="500" fill="hold"/>
                                        <p:tgtEl>
                                          <p:spTgt spid="77"/>
                                        </p:tgtEl>
                                        <p:attrNameLst>
                                          <p:attrName>ppt_w</p:attrName>
                                        </p:attrNameLst>
                                      </p:cBhvr>
                                      <p:tavLst>
                                        <p:tav tm="0">
                                          <p:val>
                                            <p:fltVal val="0"/>
                                          </p:val>
                                        </p:tav>
                                        <p:tav tm="100000">
                                          <p:val>
                                            <p:strVal val="#ppt_w"/>
                                          </p:val>
                                        </p:tav>
                                      </p:tavLst>
                                    </p:anim>
                                    <p:anim calcmode="lin" valueType="num">
                                      <p:cBhvr>
                                        <p:cTn id="42" dur="500" fill="hold"/>
                                        <p:tgtEl>
                                          <p:spTgt spid="77"/>
                                        </p:tgtEl>
                                        <p:attrNameLst>
                                          <p:attrName>ppt_h</p:attrName>
                                        </p:attrNameLst>
                                      </p:cBhvr>
                                      <p:tavLst>
                                        <p:tav tm="0">
                                          <p:val>
                                            <p:strVal val="#ppt_h"/>
                                          </p:val>
                                        </p:tav>
                                        <p:tav tm="100000">
                                          <p:val>
                                            <p:strVal val="#ppt_h"/>
                                          </p:val>
                                        </p:tav>
                                      </p:tavLst>
                                    </p:anim>
                                  </p:childTnLst>
                                </p:cTn>
                              </p:par>
                              <p:par>
                                <p:cTn id="43" presetID="17" presetClass="entr" presetSubtype="10" fill="hold" grpId="0" nodeType="withEffect">
                                  <p:stCondLst>
                                    <p:cond delay="0"/>
                                  </p:stCondLst>
                                  <p:childTnLst>
                                    <p:set>
                                      <p:cBhvr>
                                        <p:cTn id="44" dur="1" fill="hold">
                                          <p:stCondLst>
                                            <p:cond delay="0"/>
                                          </p:stCondLst>
                                        </p:cTn>
                                        <p:tgtEl>
                                          <p:spTgt spid="80"/>
                                        </p:tgtEl>
                                        <p:attrNameLst>
                                          <p:attrName>style.visibility</p:attrName>
                                        </p:attrNameLst>
                                      </p:cBhvr>
                                      <p:to>
                                        <p:strVal val="visible"/>
                                      </p:to>
                                    </p:set>
                                    <p:anim calcmode="lin" valueType="num">
                                      <p:cBhvr>
                                        <p:cTn id="45" dur="500" fill="hold"/>
                                        <p:tgtEl>
                                          <p:spTgt spid="80"/>
                                        </p:tgtEl>
                                        <p:attrNameLst>
                                          <p:attrName>ppt_w</p:attrName>
                                        </p:attrNameLst>
                                      </p:cBhvr>
                                      <p:tavLst>
                                        <p:tav tm="0">
                                          <p:val>
                                            <p:fltVal val="0"/>
                                          </p:val>
                                        </p:tav>
                                        <p:tav tm="100000">
                                          <p:val>
                                            <p:strVal val="#ppt_w"/>
                                          </p:val>
                                        </p:tav>
                                      </p:tavLst>
                                    </p:anim>
                                    <p:anim calcmode="lin" valueType="num">
                                      <p:cBhvr>
                                        <p:cTn id="46" dur="500" fill="hold"/>
                                        <p:tgtEl>
                                          <p:spTgt spid="80"/>
                                        </p:tgtEl>
                                        <p:attrNameLst>
                                          <p:attrName>ppt_h</p:attrName>
                                        </p:attrNameLst>
                                      </p:cBhvr>
                                      <p:tavLst>
                                        <p:tav tm="0">
                                          <p:val>
                                            <p:strVal val="#ppt_h"/>
                                          </p:val>
                                        </p:tav>
                                        <p:tav tm="100000">
                                          <p:val>
                                            <p:strVal val="#ppt_h"/>
                                          </p:val>
                                        </p:tav>
                                      </p:tavLst>
                                    </p:anim>
                                  </p:childTnLst>
                                </p:cTn>
                              </p:par>
                              <p:par>
                                <p:cTn id="47" presetID="26" presetClass="emph" presetSubtype="0" fill="hold" grpId="1" nodeType="withEffect">
                                  <p:stCondLst>
                                    <p:cond delay="0"/>
                                  </p:stCondLst>
                                  <p:childTnLst>
                                    <p:animEffect transition="out" filter="fade">
                                      <p:cBhvr>
                                        <p:cTn id="48" dur="2000" tmFilter="0, 0; .2, .5; .8, .5; 1, 0"/>
                                        <p:tgtEl>
                                          <p:spTgt spid="79"/>
                                        </p:tgtEl>
                                      </p:cBhvr>
                                    </p:animEffect>
                                    <p:animScale>
                                      <p:cBhvr>
                                        <p:cTn id="49" dur="1000" autoRev="1" fill="hold"/>
                                        <p:tgtEl>
                                          <p:spTgt spid="79"/>
                                        </p:tgtEl>
                                      </p:cBhvr>
                                      <p:by x="105000" y="105000"/>
                                    </p:animScale>
                                  </p:childTnLst>
                                </p:cTn>
                              </p:par>
                              <p:par>
                                <p:cTn id="50" presetID="26" presetClass="emph" presetSubtype="0" fill="hold" grpId="1" nodeType="withEffect">
                                  <p:stCondLst>
                                    <p:cond delay="0"/>
                                  </p:stCondLst>
                                  <p:childTnLst>
                                    <p:animEffect transition="out" filter="fade">
                                      <p:cBhvr>
                                        <p:cTn id="51" dur="2000" tmFilter="0, 0; .2, .5; .8, .5; 1, 0"/>
                                        <p:tgtEl>
                                          <p:spTgt spid="78"/>
                                        </p:tgtEl>
                                      </p:cBhvr>
                                    </p:animEffect>
                                    <p:animScale>
                                      <p:cBhvr>
                                        <p:cTn id="52" dur="1000" autoRev="1" fill="hold"/>
                                        <p:tgtEl>
                                          <p:spTgt spid="78"/>
                                        </p:tgtEl>
                                      </p:cBhvr>
                                      <p:by x="105000" y="105000"/>
                                    </p:animScale>
                                  </p:childTnLst>
                                </p:cTn>
                              </p:par>
                              <p:par>
                                <p:cTn id="53" presetID="26" presetClass="emph" presetSubtype="0" fill="hold" grpId="1" nodeType="withEffect">
                                  <p:stCondLst>
                                    <p:cond delay="0"/>
                                  </p:stCondLst>
                                  <p:childTnLst>
                                    <p:animEffect transition="out" filter="fade">
                                      <p:cBhvr>
                                        <p:cTn id="54" dur="2000" tmFilter="0, 0; .2, .5; .8, .5; 1, 0"/>
                                        <p:tgtEl>
                                          <p:spTgt spid="77"/>
                                        </p:tgtEl>
                                      </p:cBhvr>
                                    </p:animEffect>
                                    <p:animScale>
                                      <p:cBhvr>
                                        <p:cTn id="55" dur="1000" autoRev="1" fill="hold"/>
                                        <p:tgtEl>
                                          <p:spTgt spid="77"/>
                                        </p:tgtEl>
                                      </p:cBhvr>
                                      <p:by x="105000" y="105000"/>
                                    </p:animScale>
                                  </p:childTnLst>
                                </p:cTn>
                              </p:par>
                              <p:par>
                                <p:cTn id="56" presetID="26" presetClass="emph" presetSubtype="0" fill="hold" grpId="1" nodeType="withEffect">
                                  <p:stCondLst>
                                    <p:cond delay="0"/>
                                  </p:stCondLst>
                                  <p:childTnLst>
                                    <p:animEffect transition="out" filter="fade">
                                      <p:cBhvr>
                                        <p:cTn id="57" dur="2000" tmFilter="0, 0; .2, .5; .8, .5; 1, 0"/>
                                        <p:tgtEl>
                                          <p:spTgt spid="80"/>
                                        </p:tgtEl>
                                      </p:cBhvr>
                                    </p:animEffect>
                                    <p:animScale>
                                      <p:cBhvr>
                                        <p:cTn id="58" dur="1000" autoRev="1" fill="hold"/>
                                        <p:tgtEl>
                                          <p:spTgt spid="8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7" grpId="1" animBg="1"/>
      <p:bldP spid="78" grpId="0" animBg="1"/>
      <p:bldP spid="78" grpId="1" animBg="1"/>
      <p:bldP spid="79" grpId="0" animBg="1"/>
      <p:bldP spid="79" grpId="1" animBg="1"/>
      <p:bldP spid="80" grpId="0" animBg="1"/>
      <p:bldP spid="80"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15</a:t>
            </a:fld>
            <a:endParaRPr lang="en-US"/>
          </a:p>
        </p:txBody>
      </p:sp>
      <p:pic>
        <p:nvPicPr>
          <p:cNvPr id="1027" name="Picture 3" descr="C:\Users\Administrator\Desktop\Kerja Keras terengganu\komponen instrument.png"/>
          <p:cNvPicPr>
            <a:picLocks noChangeAspect="1" noChangeArrowheads="1"/>
          </p:cNvPicPr>
          <p:nvPr/>
        </p:nvPicPr>
        <p:blipFill>
          <a:blip r:embed="rId3"/>
          <a:srcRect t="10948"/>
          <a:stretch>
            <a:fillRect/>
          </a:stretch>
        </p:blipFill>
        <p:spPr bwMode="auto">
          <a:xfrm>
            <a:off x="116217" y="1142690"/>
            <a:ext cx="8960947" cy="5642180"/>
          </a:xfrm>
          <a:prstGeom prst="rect">
            <a:avLst/>
          </a:prstGeom>
          <a:noFill/>
        </p:spPr>
      </p:pic>
      <p:sp>
        <p:nvSpPr>
          <p:cNvPr id="7" name="Rectangle 6"/>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smtClean="0">
                <a:solidFill>
                  <a:schemeClr val="bg1"/>
                </a:solidFill>
                <a:latin typeface="Segoe UI" pitchFamily="34" charset="0"/>
                <a:ea typeface="Segoe UI" pitchFamily="34" charset="0"/>
                <a:cs typeface="Segoe UI" pitchFamily="34" charset="0"/>
              </a:rPr>
              <a:t>KOMPONEN INSTRUMEN</a:t>
            </a:r>
            <a:endParaRPr lang="en-US" sz="3600" b="1" dirty="0">
              <a:solidFill>
                <a:schemeClr val="bg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53758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anim calcmode="lin" valueType="num">
                                      <p:cBhvr>
                                        <p:cTn id="7" dur="1000" fill="hold"/>
                                        <p:tgtEl>
                                          <p:spTgt spid="1027"/>
                                        </p:tgtEl>
                                        <p:attrNameLst>
                                          <p:attrName>ppt_w</p:attrName>
                                        </p:attrNameLst>
                                      </p:cBhvr>
                                      <p:tavLst>
                                        <p:tav tm="0">
                                          <p:val>
                                            <p:strVal val="#ppt_w*0.70"/>
                                          </p:val>
                                        </p:tav>
                                        <p:tav tm="100000">
                                          <p:val>
                                            <p:strVal val="#ppt_w"/>
                                          </p:val>
                                        </p:tav>
                                      </p:tavLst>
                                    </p:anim>
                                    <p:anim calcmode="lin" valueType="num">
                                      <p:cBhvr>
                                        <p:cTn id="8" dur="1000" fill="hold"/>
                                        <p:tgtEl>
                                          <p:spTgt spid="1027"/>
                                        </p:tgtEl>
                                        <p:attrNameLst>
                                          <p:attrName>ppt_h</p:attrName>
                                        </p:attrNameLst>
                                      </p:cBhvr>
                                      <p:tavLst>
                                        <p:tav tm="0">
                                          <p:val>
                                            <p:strVal val="#ppt_h"/>
                                          </p:val>
                                        </p:tav>
                                        <p:tav tm="100000">
                                          <p:val>
                                            <p:strVal val="#ppt_h"/>
                                          </p:val>
                                        </p:tav>
                                      </p:tavLst>
                                    </p:anim>
                                    <p:animEffect transition="in" filter="fade">
                                      <p:cBhvr>
                                        <p:cTn id="9" dur="1000"/>
                                        <p:tgtEl>
                                          <p:spTgt spid="10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16</a:t>
            </a:fld>
            <a:endParaRPr lang="en-US"/>
          </a:p>
        </p:txBody>
      </p:sp>
      <p:pic>
        <p:nvPicPr>
          <p:cNvPr id="28674" name="Picture 2" descr="C:\Users\Administrator\Desktop\Kerja Keras terengganu\Generik+Fungsional+Keberhasilan.png"/>
          <p:cNvPicPr>
            <a:picLocks noChangeAspect="1" noChangeArrowheads="1"/>
          </p:cNvPicPr>
          <p:nvPr/>
        </p:nvPicPr>
        <p:blipFill>
          <a:blip r:embed="rId5"/>
          <a:srcRect l="5613" t="9444" b="7315"/>
          <a:stretch>
            <a:fillRect/>
          </a:stretch>
        </p:blipFill>
        <p:spPr bwMode="auto">
          <a:xfrm>
            <a:off x="400051" y="984582"/>
            <a:ext cx="9154988" cy="5708650"/>
          </a:xfrm>
          <a:prstGeom prst="rect">
            <a:avLst/>
          </a:prstGeom>
          <a:noFill/>
        </p:spPr>
      </p:pic>
      <p:sp>
        <p:nvSpPr>
          <p:cNvPr id="8" name="Oval 11"/>
          <p:cNvSpPr/>
          <p:nvPr/>
        </p:nvSpPr>
        <p:spPr>
          <a:xfrm>
            <a:off x="1951631" y="1305875"/>
            <a:ext cx="4353919" cy="2524835"/>
          </a:xfrm>
          <a:custGeom>
            <a:avLst/>
            <a:gdLst>
              <a:gd name="connsiteX0" fmla="*/ 419100 w 2133600"/>
              <a:gd name="connsiteY0" fmla="*/ 564800 h 2098632"/>
              <a:gd name="connsiteX1" fmla="*/ 1333500 w 2133600"/>
              <a:gd name="connsiteY1" fmla="*/ 564800 h 2098632"/>
              <a:gd name="connsiteX2" fmla="*/ 1333500 w 2133600"/>
              <a:gd name="connsiteY2" fmla="*/ 0 h 2098632"/>
              <a:gd name="connsiteX3" fmla="*/ 2133600 w 2133600"/>
              <a:gd name="connsiteY3" fmla="*/ 1031832 h 2098632"/>
              <a:gd name="connsiteX4" fmla="*/ 1066800 w 2133600"/>
              <a:gd name="connsiteY4" fmla="*/ 2098632 h 2098632"/>
              <a:gd name="connsiteX5" fmla="*/ 0 w 2133600"/>
              <a:gd name="connsiteY5" fmla="*/ 1031832 h 2098632"/>
              <a:gd name="connsiteX6" fmla="*/ 419100 w 2133600"/>
              <a:gd name="connsiteY6" fmla="*/ 185543 h 2098632"/>
              <a:gd name="connsiteX7" fmla="*/ 510540 w 2133600"/>
              <a:gd name="connsiteY7" fmla="*/ 656240 h 2098632"/>
              <a:gd name="connsiteX0" fmla="*/ 419100 w 2133600"/>
              <a:gd name="connsiteY0" fmla="*/ 564800 h 2098632"/>
              <a:gd name="connsiteX1" fmla="*/ 1333500 w 2133600"/>
              <a:gd name="connsiteY1" fmla="*/ 564800 h 2098632"/>
              <a:gd name="connsiteX2" fmla="*/ 1333500 w 2133600"/>
              <a:gd name="connsiteY2" fmla="*/ 0 h 2098632"/>
              <a:gd name="connsiteX3" fmla="*/ 2133600 w 2133600"/>
              <a:gd name="connsiteY3" fmla="*/ 1031832 h 2098632"/>
              <a:gd name="connsiteX4" fmla="*/ 1066800 w 2133600"/>
              <a:gd name="connsiteY4" fmla="*/ 2098632 h 2098632"/>
              <a:gd name="connsiteX5" fmla="*/ 0 w 2133600"/>
              <a:gd name="connsiteY5" fmla="*/ 1031832 h 2098632"/>
              <a:gd name="connsiteX6" fmla="*/ 419100 w 2133600"/>
              <a:gd name="connsiteY6" fmla="*/ 185543 h 2098632"/>
              <a:gd name="connsiteX0" fmla="*/ 1333500 w 2133600"/>
              <a:gd name="connsiteY0" fmla="*/ 564800 h 2098632"/>
              <a:gd name="connsiteX1" fmla="*/ 1333500 w 2133600"/>
              <a:gd name="connsiteY1" fmla="*/ 0 h 2098632"/>
              <a:gd name="connsiteX2" fmla="*/ 2133600 w 2133600"/>
              <a:gd name="connsiteY2" fmla="*/ 1031832 h 2098632"/>
              <a:gd name="connsiteX3" fmla="*/ 1066800 w 2133600"/>
              <a:gd name="connsiteY3" fmla="*/ 2098632 h 2098632"/>
              <a:gd name="connsiteX4" fmla="*/ 0 w 2133600"/>
              <a:gd name="connsiteY4" fmla="*/ 1031832 h 2098632"/>
              <a:gd name="connsiteX5" fmla="*/ 419100 w 2133600"/>
              <a:gd name="connsiteY5" fmla="*/ 185543 h 2098632"/>
              <a:gd name="connsiteX0" fmla="*/ 1333500 w 2133600"/>
              <a:gd name="connsiteY0" fmla="*/ 0 h 2098632"/>
              <a:gd name="connsiteX1" fmla="*/ 2133600 w 2133600"/>
              <a:gd name="connsiteY1" fmla="*/ 1031832 h 2098632"/>
              <a:gd name="connsiteX2" fmla="*/ 1066800 w 2133600"/>
              <a:gd name="connsiteY2" fmla="*/ 2098632 h 2098632"/>
              <a:gd name="connsiteX3" fmla="*/ 0 w 2133600"/>
              <a:gd name="connsiteY3" fmla="*/ 1031832 h 2098632"/>
              <a:gd name="connsiteX4" fmla="*/ 419100 w 2133600"/>
              <a:gd name="connsiteY4" fmla="*/ 185543 h 2098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600" h="2098632">
                <a:moveTo>
                  <a:pt x="1333500" y="0"/>
                </a:moveTo>
                <a:cubicBezTo>
                  <a:pt x="1793780" y="117266"/>
                  <a:pt x="2133600" y="534865"/>
                  <a:pt x="2133600" y="1031832"/>
                </a:cubicBezTo>
                <a:cubicBezTo>
                  <a:pt x="2133600" y="1621009"/>
                  <a:pt x="1655977" y="2098632"/>
                  <a:pt x="1066800" y="2098632"/>
                </a:cubicBezTo>
                <a:cubicBezTo>
                  <a:pt x="477623" y="2098632"/>
                  <a:pt x="0" y="1621009"/>
                  <a:pt x="0" y="1031832"/>
                </a:cubicBezTo>
                <a:cubicBezTo>
                  <a:pt x="0" y="686565"/>
                  <a:pt x="164023" y="379607"/>
                  <a:pt x="419100" y="185543"/>
                </a:cubicBezTo>
              </a:path>
            </a:pathLst>
          </a:custGeom>
          <a:ln w="25400" cap="rnd">
            <a:solidFill>
              <a:srgbClr val="EB4747"/>
            </a:solidFill>
            <a:prstDash val="dash"/>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Oval 34"/>
          <p:cNvSpPr>
            <a:spLocks noChangeArrowheads="1"/>
          </p:cNvSpPr>
          <p:nvPr>
            <p:custDataLst>
              <p:tags r:id="rId1"/>
            </p:custDataLst>
          </p:nvPr>
        </p:nvSpPr>
        <p:spPr bwMode="gray">
          <a:xfrm>
            <a:off x="2778787" y="851232"/>
            <a:ext cx="462228" cy="476800"/>
          </a:xfrm>
          <a:prstGeom prst="ellipse">
            <a:avLst/>
          </a:prstGeom>
          <a:solidFill>
            <a:schemeClr val="folHlink"/>
          </a:solidFill>
          <a:ln w="19050" algn="ctr">
            <a:solidFill>
              <a:schemeClr val="bg1"/>
            </a:solidFill>
            <a:round/>
            <a:headEnd/>
            <a:tailEnd/>
          </a:ln>
          <a:effectLst>
            <a:outerShdw dist="35921" dir="2700000" algn="ctr" rotWithShape="0">
              <a:srgbClr val="808080">
                <a:alpha val="50000"/>
              </a:srgbClr>
            </a:outerShdw>
          </a:effectLst>
        </p:spPr>
        <p:txBody>
          <a:bodyPr wrap="none" lIns="0" tIns="0" rIns="0" bIns="0" anchor="ctr" anchorCtr="1"/>
          <a:lstStyle/>
          <a:p>
            <a:pPr>
              <a:buClrTx/>
              <a:defRPr/>
            </a:pPr>
            <a:r>
              <a:rPr lang="en-US" sz="2400" b="1" dirty="0">
                <a:solidFill>
                  <a:schemeClr val="bg1"/>
                </a:solidFill>
                <a:latin typeface="Arial" pitchFamily="34" charset="0"/>
                <a:ea typeface="MS PGothic" pitchFamily="34" charset="-128"/>
                <a:cs typeface="Arial" pitchFamily="34" charset="0"/>
              </a:rPr>
              <a:t>I</a:t>
            </a:r>
          </a:p>
        </p:txBody>
      </p:sp>
      <p:sp>
        <p:nvSpPr>
          <p:cNvPr id="10" name="Oval 42"/>
          <p:cNvSpPr>
            <a:spLocks noChangeArrowheads="1"/>
          </p:cNvSpPr>
          <p:nvPr>
            <p:custDataLst>
              <p:tags r:id="rId2"/>
            </p:custDataLst>
          </p:nvPr>
        </p:nvSpPr>
        <p:spPr bwMode="gray">
          <a:xfrm>
            <a:off x="2566723" y="4774611"/>
            <a:ext cx="462228" cy="476800"/>
          </a:xfrm>
          <a:prstGeom prst="ellipse">
            <a:avLst/>
          </a:prstGeom>
          <a:solidFill>
            <a:schemeClr val="folHlink"/>
          </a:solidFill>
          <a:ln w="19050" algn="ctr">
            <a:solidFill>
              <a:schemeClr val="bg1"/>
            </a:solidFill>
            <a:round/>
            <a:headEnd/>
            <a:tailEnd/>
          </a:ln>
          <a:effectLst>
            <a:outerShdw dist="35921" dir="2700000" algn="ctr" rotWithShape="0">
              <a:srgbClr val="808080">
                <a:alpha val="50000"/>
              </a:srgbClr>
            </a:outerShdw>
          </a:effectLst>
        </p:spPr>
        <p:txBody>
          <a:bodyPr wrap="none" lIns="0" tIns="0" rIns="0" bIns="0" anchor="ctr" anchorCtr="1"/>
          <a:lstStyle/>
          <a:p>
            <a:pPr>
              <a:buClrTx/>
              <a:defRPr/>
            </a:pPr>
            <a:r>
              <a:rPr lang="en-US" sz="2400" b="1" dirty="0">
                <a:solidFill>
                  <a:schemeClr val="bg1"/>
                </a:solidFill>
                <a:latin typeface="Arial" pitchFamily="34" charset="0"/>
                <a:ea typeface="MS PGothic" pitchFamily="34" charset="-128"/>
                <a:cs typeface="Arial" pitchFamily="34" charset="0"/>
              </a:rPr>
              <a:t>II</a:t>
            </a:r>
          </a:p>
        </p:txBody>
      </p:sp>
      <p:sp>
        <p:nvSpPr>
          <p:cNvPr id="11" name="Rectangle 10"/>
          <p:cNvSpPr/>
          <p:nvPr/>
        </p:nvSpPr>
        <p:spPr>
          <a:xfrm>
            <a:off x="15043" y="243602"/>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smtClean="0">
                <a:solidFill>
                  <a:schemeClr val="bg1"/>
                </a:solidFill>
                <a:latin typeface="Segoe UI" pitchFamily="34" charset="0"/>
                <a:ea typeface="Segoe UI" pitchFamily="34" charset="0"/>
                <a:cs typeface="Segoe UI" pitchFamily="34" charset="0"/>
              </a:rPr>
              <a:t>KERANGKA KOMPONEN PBPPP</a:t>
            </a:r>
            <a:endParaRPr lang="en-US" sz="3600" b="1" dirty="0">
              <a:solidFill>
                <a:schemeClr val="bg1"/>
              </a:solidFill>
              <a:latin typeface="Segoe UI" pitchFamily="34" charset="0"/>
              <a:ea typeface="Segoe UI" pitchFamily="34" charset="0"/>
              <a:cs typeface="Segoe UI" pitchFamily="34" charset="0"/>
            </a:endParaRPr>
          </a:p>
        </p:txBody>
      </p:sp>
      <p:sp>
        <p:nvSpPr>
          <p:cNvPr id="12" name="Rectangle 11"/>
          <p:cNvSpPr/>
          <p:nvPr/>
        </p:nvSpPr>
        <p:spPr>
          <a:xfrm>
            <a:off x="6553200" y="984582"/>
            <a:ext cx="2383766" cy="5708650"/>
          </a:xfrm>
          <a:prstGeom prst="rect">
            <a:avLst/>
          </a:prstGeom>
          <a:noFill/>
          <a:ln w="28575">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ox(in)">
                                      <p:cBhvr>
                                        <p:cTn id="7" dur="500"/>
                                        <p:tgtEl>
                                          <p:spTgt spid="9"/>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ox(in)">
                                      <p:cBhvr>
                                        <p:cTn id="10" dur="500"/>
                                        <p:tgtEl>
                                          <p:spTgt spid="10"/>
                                        </p:tgtEl>
                                      </p:cBhvr>
                                    </p:animEffect>
                                  </p:childTnLst>
                                </p:cTn>
                              </p:par>
                              <p:par>
                                <p:cTn id="11" presetID="4" presetClass="entr" presetSubtype="16" fill="hold" nodeType="withEffect">
                                  <p:stCondLst>
                                    <p:cond delay="0"/>
                                  </p:stCondLst>
                                  <p:childTnLst>
                                    <p:set>
                                      <p:cBhvr>
                                        <p:cTn id="12" dur="1" fill="hold">
                                          <p:stCondLst>
                                            <p:cond delay="0"/>
                                          </p:stCondLst>
                                        </p:cTn>
                                        <p:tgtEl>
                                          <p:spTgt spid="28674"/>
                                        </p:tgtEl>
                                        <p:attrNameLst>
                                          <p:attrName>style.visibility</p:attrName>
                                        </p:attrNameLst>
                                      </p:cBhvr>
                                      <p:to>
                                        <p:strVal val="visible"/>
                                      </p:to>
                                    </p:set>
                                    <p:animEffect transition="in" filter="box(in)">
                                      <p:cBhvr>
                                        <p:cTn id="13" dur="500"/>
                                        <p:tgtEl>
                                          <p:spTgt spid="28674"/>
                                        </p:tgtEl>
                                      </p:cBhvr>
                                    </p:animEffect>
                                  </p:childTnLst>
                                </p:cTn>
                              </p:par>
                              <p:par>
                                <p:cTn id="14" presetID="4" presetClass="entr" presetSubtype="16"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box(in)">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1+#ppt_w/2"/>
                                          </p:val>
                                        </p:tav>
                                        <p:tav tm="100000">
                                          <p:val>
                                            <p:strVal val="#ppt_x"/>
                                          </p:val>
                                        </p:tav>
                                      </p:tavLst>
                                    </p:anim>
                                    <p:anim calcmode="lin" valueType="num">
                                      <p:cBhvr additive="base">
                                        <p:cTn id="22"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252" descr="Kalender"/>
          <p:cNvPicPr>
            <a:picLocks noChangeAspect="1" noChangeArrowheads="1"/>
          </p:cNvPicPr>
          <p:nvPr>
            <p:custDataLst>
              <p:tags r:id="rId1"/>
            </p:custDataLst>
          </p:nvPr>
        </p:nvPicPr>
        <p:blipFill>
          <a:blip r:embed="rId3" cstate="print">
            <a:lum bright="12000"/>
            <a:grayscl/>
          </a:blip>
          <a:srcRect l="39062" t="28300" b="2522"/>
          <a:stretch>
            <a:fillRect/>
          </a:stretch>
        </p:blipFill>
        <p:spPr bwMode="gray">
          <a:xfrm>
            <a:off x="3571860" y="1928803"/>
            <a:ext cx="5572141" cy="4803716"/>
          </a:xfrm>
          <a:prstGeom prst="rect">
            <a:avLst/>
          </a:prstGeom>
          <a:noFill/>
          <a:ln w="9525">
            <a:noFill/>
            <a:miter lim="800000"/>
            <a:headEnd/>
            <a:tailEnd/>
          </a:ln>
        </p:spPr>
      </p:pic>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17</a:t>
            </a:fld>
            <a:endParaRPr lang="en-US" dirty="0"/>
          </a:p>
        </p:txBody>
      </p:sp>
      <p:grpSp>
        <p:nvGrpSpPr>
          <p:cNvPr id="2" name="Group 21"/>
          <p:cNvGrpSpPr/>
          <p:nvPr/>
        </p:nvGrpSpPr>
        <p:grpSpPr>
          <a:xfrm>
            <a:off x="626809" y="1790700"/>
            <a:ext cx="4495799" cy="4000500"/>
            <a:chOff x="626809" y="1790700"/>
            <a:chExt cx="4495799" cy="4000500"/>
          </a:xfrm>
        </p:grpSpPr>
        <p:sp>
          <p:nvSpPr>
            <p:cNvPr id="33" name="Rounded Rectangle 2"/>
            <p:cNvSpPr/>
            <p:nvPr/>
          </p:nvSpPr>
          <p:spPr>
            <a:xfrm>
              <a:off x="626809" y="1790700"/>
              <a:ext cx="4495799" cy="4000500"/>
            </a:xfrm>
            <a:custGeom>
              <a:avLst/>
              <a:gdLst/>
              <a:ahLst/>
              <a:cxnLst/>
              <a:rect l="l" t="t" r="r" b="b"/>
              <a:pathLst>
                <a:path w="4495798" h="4000500">
                  <a:moveTo>
                    <a:pt x="111463" y="0"/>
                  </a:moveTo>
                  <a:lnTo>
                    <a:pt x="3300329" y="0"/>
                  </a:lnTo>
                  <a:cubicBezTo>
                    <a:pt x="3361888" y="0"/>
                    <a:pt x="3411792" y="49904"/>
                    <a:pt x="3411792" y="111463"/>
                  </a:cubicBezTo>
                  <a:lnTo>
                    <a:pt x="3411792" y="1657350"/>
                  </a:lnTo>
                  <a:lnTo>
                    <a:pt x="3924298" y="1657350"/>
                  </a:lnTo>
                  <a:lnTo>
                    <a:pt x="3924298" y="1371600"/>
                  </a:lnTo>
                  <a:lnTo>
                    <a:pt x="4495798" y="1943100"/>
                  </a:lnTo>
                  <a:lnTo>
                    <a:pt x="3924298" y="2514600"/>
                  </a:lnTo>
                  <a:lnTo>
                    <a:pt x="3924298" y="2228850"/>
                  </a:lnTo>
                  <a:lnTo>
                    <a:pt x="3411792" y="2228850"/>
                  </a:lnTo>
                  <a:lnTo>
                    <a:pt x="3411792" y="3889037"/>
                  </a:lnTo>
                  <a:cubicBezTo>
                    <a:pt x="3411792" y="3950596"/>
                    <a:pt x="3361888" y="4000500"/>
                    <a:pt x="3300329" y="4000500"/>
                  </a:cubicBezTo>
                  <a:lnTo>
                    <a:pt x="111463" y="4000500"/>
                  </a:lnTo>
                  <a:cubicBezTo>
                    <a:pt x="49904" y="4000500"/>
                    <a:pt x="0" y="3950596"/>
                    <a:pt x="0" y="3889037"/>
                  </a:cubicBezTo>
                  <a:lnTo>
                    <a:pt x="0" y="111463"/>
                  </a:lnTo>
                  <a:cubicBezTo>
                    <a:pt x="0" y="49904"/>
                    <a:pt x="49904" y="0"/>
                    <a:pt x="111463" y="0"/>
                  </a:cubicBezTo>
                  <a:close/>
                </a:path>
              </a:pathLst>
            </a:custGeom>
            <a:gradFill>
              <a:gsLst>
                <a:gs pos="100000">
                  <a:srgbClr val="0070C0">
                    <a:lumMod val="80000"/>
                  </a:srgbClr>
                </a:gs>
                <a:gs pos="0">
                  <a:srgbClr val="00B0F0"/>
                </a:gs>
              </a:gsLst>
              <a:lin ang="5400000" scaled="0"/>
            </a:gradFill>
            <a:ln w="12700">
              <a:solidFill>
                <a:srgbClr val="00206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34"/>
            <p:cNvGrpSpPr/>
            <p:nvPr/>
          </p:nvGrpSpPr>
          <p:grpSpPr>
            <a:xfrm>
              <a:off x="1285852" y="2071679"/>
              <a:ext cx="859093" cy="1104207"/>
              <a:chOff x="1828800" y="1761923"/>
              <a:chExt cx="859093" cy="1104207"/>
            </a:xfrm>
            <a:effectLst>
              <a:outerShdw blurRad="50800" dist="38100" dir="5400000" algn="t" rotWithShape="0">
                <a:prstClr val="black">
                  <a:alpha val="40000"/>
                </a:prstClr>
              </a:outerShdw>
            </a:effectLst>
          </p:grpSpPr>
          <p:sp>
            <p:nvSpPr>
              <p:cNvPr id="36" name="Rounded Rectangle 35"/>
              <p:cNvSpPr/>
              <p:nvPr/>
            </p:nvSpPr>
            <p:spPr>
              <a:xfrm>
                <a:off x="1828800" y="1918165"/>
                <a:ext cx="859093" cy="947965"/>
              </a:xfrm>
              <a:prstGeom prst="roundRect">
                <a:avLst>
                  <a:gd name="adj" fmla="val 5321"/>
                </a:avLst>
              </a:prstGeom>
              <a:gradFill>
                <a:gsLst>
                  <a:gs pos="100000">
                    <a:schemeClr val="bg1">
                      <a:lumMod val="90000"/>
                    </a:schemeClr>
                  </a:gs>
                  <a:gs pos="37000">
                    <a:schemeClr val="bg1"/>
                  </a:gs>
                  <a:gs pos="0">
                    <a:schemeClr val="bg1">
                      <a:lumMod val="9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6"/>
              <p:cNvSpPr>
                <a:spLocks/>
              </p:cNvSpPr>
              <p:nvPr/>
            </p:nvSpPr>
            <p:spPr bwMode="auto">
              <a:xfrm>
                <a:off x="1929269" y="1761923"/>
                <a:ext cx="658186" cy="236991"/>
              </a:xfrm>
              <a:custGeom>
                <a:avLst/>
                <a:gdLst>
                  <a:gd name="connsiteX0" fmla="*/ 2660650 w 5321300"/>
                  <a:gd name="connsiteY0" fmla="*/ 222250 h 1916113"/>
                  <a:gd name="connsiteX1" fmla="*/ 2238375 w 5321300"/>
                  <a:gd name="connsiteY1" fmla="*/ 644525 h 1916113"/>
                  <a:gd name="connsiteX2" fmla="*/ 2660650 w 5321300"/>
                  <a:gd name="connsiteY2" fmla="*/ 1066800 h 1916113"/>
                  <a:gd name="connsiteX3" fmla="*/ 3082925 w 5321300"/>
                  <a:gd name="connsiteY3" fmla="*/ 644525 h 1916113"/>
                  <a:gd name="connsiteX4" fmla="*/ 2660650 w 5321300"/>
                  <a:gd name="connsiteY4" fmla="*/ 222250 h 1916113"/>
                  <a:gd name="connsiteX5" fmla="*/ 2662525 w 5321300"/>
                  <a:gd name="connsiteY5" fmla="*/ 0 h 1916113"/>
                  <a:gd name="connsiteX6" fmla="*/ 3510033 w 5321300"/>
                  <a:gd name="connsiteY6" fmla="*/ 828691 h 1916113"/>
                  <a:gd name="connsiteX7" fmla="*/ 5321300 w 5321300"/>
                  <a:gd name="connsiteY7" fmla="*/ 1916113 h 1916113"/>
                  <a:gd name="connsiteX8" fmla="*/ 0 w 5321300"/>
                  <a:gd name="connsiteY8" fmla="*/ 1916113 h 1916113"/>
                  <a:gd name="connsiteX9" fmla="*/ 1815017 w 5321300"/>
                  <a:gd name="connsiteY9" fmla="*/ 828691 h 1916113"/>
                  <a:gd name="connsiteX10" fmla="*/ 2662525 w 5321300"/>
                  <a:gd name="connsiteY10" fmla="*/ 0 h 1916113"/>
                  <a:gd name="connsiteX0" fmla="*/ 2660650 w 5321547"/>
                  <a:gd name="connsiteY0" fmla="*/ 222250 h 1916113"/>
                  <a:gd name="connsiteX1" fmla="*/ 2238375 w 5321547"/>
                  <a:gd name="connsiteY1" fmla="*/ 644525 h 1916113"/>
                  <a:gd name="connsiteX2" fmla="*/ 2660650 w 5321547"/>
                  <a:gd name="connsiteY2" fmla="*/ 1066800 h 1916113"/>
                  <a:gd name="connsiteX3" fmla="*/ 3082925 w 5321547"/>
                  <a:gd name="connsiteY3" fmla="*/ 644525 h 1916113"/>
                  <a:gd name="connsiteX4" fmla="*/ 2660650 w 5321547"/>
                  <a:gd name="connsiteY4" fmla="*/ 222250 h 1916113"/>
                  <a:gd name="connsiteX5" fmla="*/ 2662525 w 5321547"/>
                  <a:gd name="connsiteY5" fmla="*/ 0 h 1916113"/>
                  <a:gd name="connsiteX6" fmla="*/ 3510033 w 5321547"/>
                  <a:gd name="connsiteY6" fmla="*/ 828691 h 1916113"/>
                  <a:gd name="connsiteX7" fmla="*/ 5321300 w 5321547"/>
                  <a:gd name="connsiteY7" fmla="*/ 1916113 h 1916113"/>
                  <a:gd name="connsiteX8" fmla="*/ 0 w 5321547"/>
                  <a:gd name="connsiteY8" fmla="*/ 1916113 h 1916113"/>
                  <a:gd name="connsiteX9" fmla="*/ 1815017 w 5321547"/>
                  <a:gd name="connsiteY9" fmla="*/ 828691 h 1916113"/>
                  <a:gd name="connsiteX10" fmla="*/ 2662525 w 5321547"/>
                  <a:gd name="connsiteY10" fmla="*/ 0 h 191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1547" h="1916113">
                    <a:moveTo>
                      <a:pt x="2660650" y="222250"/>
                    </a:moveTo>
                    <a:cubicBezTo>
                      <a:pt x="2427434" y="222250"/>
                      <a:pt x="2238375" y="411309"/>
                      <a:pt x="2238375" y="644525"/>
                    </a:cubicBezTo>
                    <a:cubicBezTo>
                      <a:pt x="2238375" y="877741"/>
                      <a:pt x="2427434" y="1066800"/>
                      <a:pt x="2660650" y="1066800"/>
                    </a:cubicBezTo>
                    <a:cubicBezTo>
                      <a:pt x="2893866" y="1066800"/>
                      <a:pt x="3082925" y="877741"/>
                      <a:pt x="3082925" y="644525"/>
                    </a:cubicBezTo>
                    <a:cubicBezTo>
                      <a:pt x="3082925" y="411309"/>
                      <a:pt x="2893866" y="222250"/>
                      <a:pt x="2660650" y="222250"/>
                    </a:cubicBezTo>
                    <a:close/>
                    <a:moveTo>
                      <a:pt x="2662525" y="0"/>
                    </a:moveTo>
                    <a:cubicBezTo>
                      <a:pt x="3288781" y="0"/>
                      <a:pt x="3386282" y="723698"/>
                      <a:pt x="3510033" y="828691"/>
                    </a:cubicBezTo>
                    <a:cubicBezTo>
                      <a:pt x="3731285" y="1027427"/>
                      <a:pt x="5344478" y="637469"/>
                      <a:pt x="5321300" y="1916113"/>
                    </a:cubicBezTo>
                    <a:lnTo>
                      <a:pt x="0" y="1916113"/>
                    </a:lnTo>
                    <a:cubicBezTo>
                      <a:pt x="0" y="637469"/>
                      <a:pt x="1593765" y="1027427"/>
                      <a:pt x="1815017" y="828691"/>
                    </a:cubicBezTo>
                    <a:cubicBezTo>
                      <a:pt x="1935018" y="723698"/>
                      <a:pt x="2036269" y="0"/>
                      <a:pt x="2662525" y="0"/>
                    </a:cubicBezTo>
                    <a:close/>
                  </a:path>
                </a:pathLst>
              </a:custGeom>
              <a:gradFill>
                <a:gsLst>
                  <a:gs pos="0">
                    <a:schemeClr val="bg1">
                      <a:lumMod val="50000"/>
                    </a:schemeClr>
                  </a:gs>
                  <a:gs pos="86000">
                    <a:schemeClr val="bg1"/>
                  </a:gs>
                  <a:gs pos="72000">
                    <a:schemeClr val="bg1"/>
                  </a:gs>
                  <a:gs pos="55000">
                    <a:schemeClr val="bg1">
                      <a:lumMod val="85000"/>
                    </a:schemeClr>
                  </a:gs>
                  <a:gs pos="31654">
                    <a:schemeClr val="bg1"/>
                  </a:gs>
                  <a:gs pos="39000">
                    <a:schemeClr val="bg1"/>
                  </a:gs>
                  <a:gs pos="100000">
                    <a:schemeClr val="bg1">
                      <a:lumMod val="65000"/>
                    </a:schemeClr>
                  </a:gs>
                </a:gsLst>
                <a:lin ang="5400000" scaled="0"/>
              </a:gradFill>
              <a:ln w="19050">
                <a:solidFill>
                  <a:schemeClr val="bg1">
                    <a:lumMod val="50000"/>
                  </a:schemeClr>
                </a:solidFill>
              </a:ln>
              <a:effectLst/>
            </p:spPr>
            <p:txBody>
              <a:bodyPr vert="horz" wrap="square" lIns="91440" tIns="45720" rIns="91440" bIns="45720" numCol="1" anchor="t" anchorCtr="0" compatLnSpc="1">
                <a:prstTxWarp prst="textNoShape">
                  <a:avLst/>
                </a:prstTxWarp>
              </a:bodyPr>
              <a:lstStyle/>
              <a:p>
                <a:endParaRPr lang="en-US"/>
              </a:p>
            </p:txBody>
          </p:sp>
          <p:sp>
            <p:nvSpPr>
              <p:cNvPr id="38" name="Rounded Rectangle 37"/>
              <p:cNvSpPr/>
              <p:nvPr/>
            </p:nvSpPr>
            <p:spPr>
              <a:xfrm>
                <a:off x="1902860" y="2077974"/>
                <a:ext cx="710974" cy="36818"/>
              </a:xfrm>
              <a:prstGeom prst="roundRect">
                <a:avLst/>
              </a:prstGeom>
              <a:solidFill>
                <a:schemeClr val="bg1">
                  <a:lumMod val="50000"/>
                </a:schemeClr>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ysClr val="window" lastClr="FFFFFF"/>
                  </a:solidFill>
                  <a:effectLst>
                    <a:outerShdw blurRad="50800" dist="38100" dir="5400000" algn="t" rotWithShape="0">
                      <a:prstClr val="black">
                        <a:alpha val="40000"/>
                      </a:prstClr>
                    </a:outerShdw>
                  </a:effectLst>
                  <a:uLnTx/>
                  <a:uFillTx/>
                  <a:latin typeface="Calibri"/>
                  <a:ea typeface="+mn-ea"/>
                  <a:cs typeface="+mn-cs"/>
                </a:endParaRPr>
              </a:p>
            </p:txBody>
          </p:sp>
          <p:sp>
            <p:nvSpPr>
              <p:cNvPr id="39" name="Rounded Rectangle 38"/>
              <p:cNvSpPr/>
              <p:nvPr/>
            </p:nvSpPr>
            <p:spPr>
              <a:xfrm>
                <a:off x="1902860" y="2212438"/>
                <a:ext cx="710974" cy="36818"/>
              </a:xfrm>
              <a:prstGeom prst="roundRect">
                <a:avLst/>
              </a:prstGeom>
              <a:solidFill>
                <a:schemeClr val="bg1">
                  <a:lumMod val="50000"/>
                </a:schemeClr>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ysClr val="window" lastClr="FFFFFF"/>
                  </a:solidFill>
                  <a:effectLst>
                    <a:outerShdw blurRad="50800" dist="38100" dir="5400000" algn="t" rotWithShape="0">
                      <a:prstClr val="black">
                        <a:alpha val="40000"/>
                      </a:prstClr>
                    </a:outerShdw>
                  </a:effectLst>
                  <a:uLnTx/>
                  <a:uFillTx/>
                  <a:latin typeface="Calibri"/>
                  <a:ea typeface="+mn-ea"/>
                  <a:cs typeface="+mn-cs"/>
                </a:endParaRPr>
              </a:p>
            </p:txBody>
          </p:sp>
          <p:sp>
            <p:nvSpPr>
              <p:cNvPr id="40" name="Rounded Rectangle 39"/>
              <p:cNvSpPr/>
              <p:nvPr/>
            </p:nvSpPr>
            <p:spPr>
              <a:xfrm>
                <a:off x="1902860" y="2346902"/>
                <a:ext cx="710974" cy="36818"/>
              </a:xfrm>
              <a:prstGeom prst="roundRect">
                <a:avLst/>
              </a:prstGeom>
              <a:solidFill>
                <a:schemeClr val="bg1">
                  <a:lumMod val="50000"/>
                </a:schemeClr>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ysClr val="window" lastClr="FFFFFF"/>
                  </a:solidFill>
                  <a:effectLst>
                    <a:outerShdw blurRad="50800" dist="38100" dir="5400000" algn="t" rotWithShape="0">
                      <a:prstClr val="black">
                        <a:alpha val="40000"/>
                      </a:prstClr>
                    </a:outerShdw>
                  </a:effectLst>
                  <a:uLnTx/>
                  <a:uFillTx/>
                  <a:latin typeface="Calibri"/>
                  <a:ea typeface="+mn-ea"/>
                  <a:cs typeface="+mn-cs"/>
                </a:endParaRPr>
              </a:p>
            </p:txBody>
          </p:sp>
          <p:sp>
            <p:nvSpPr>
              <p:cNvPr id="41" name="Rounded Rectangle 40"/>
              <p:cNvSpPr/>
              <p:nvPr/>
            </p:nvSpPr>
            <p:spPr>
              <a:xfrm>
                <a:off x="1902860" y="2481366"/>
                <a:ext cx="710974" cy="36818"/>
              </a:xfrm>
              <a:prstGeom prst="roundRect">
                <a:avLst/>
              </a:prstGeom>
              <a:solidFill>
                <a:schemeClr val="bg1">
                  <a:lumMod val="50000"/>
                </a:schemeClr>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ysClr val="window" lastClr="FFFFFF"/>
                  </a:solidFill>
                  <a:effectLst>
                    <a:outerShdw blurRad="50800" dist="38100" dir="5400000" algn="t" rotWithShape="0">
                      <a:prstClr val="black">
                        <a:alpha val="40000"/>
                      </a:prstClr>
                    </a:outerShdw>
                  </a:effectLst>
                  <a:uLnTx/>
                  <a:uFillTx/>
                  <a:latin typeface="Calibri"/>
                  <a:ea typeface="+mn-ea"/>
                  <a:cs typeface="+mn-cs"/>
                </a:endParaRPr>
              </a:p>
            </p:txBody>
          </p:sp>
          <p:sp>
            <p:nvSpPr>
              <p:cNvPr id="42" name="Rounded Rectangle 41"/>
              <p:cNvSpPr/>
              <p:nvPr/>
            </p:nvSpPr>
            <p:spPr>
              <a:xfrm>
                <a:off x="1902860" y="2615830"/>
                <a:ext cx="710974" cy="36818"/>
              </a:xfrm>
              <a:prstGeom prst="roundRect">
                <a:avLst/>
              </a:prstGeom>
              <a:solidFill>
                <a:schemeClr val="bg1">
                  <a:lumMod val="50000"/>
                </a:schemeClr>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ysClr val="window" lastClr="FFFFFF"/>
                  </a:solidFill>
                  <a:effectLst>
                    <a:outerShdw blurRad="50800" dist="38100" dir="5400000" algn="t" rotWithShape="0">
                      <a:prstClr val="black">
                        <a:alpha val="40000"/>
                      </a:prstClr>
                    </a:outerShdw>
                  </a:effectLst>
                  <a:uLnTx/>
                  <a:uFillTx/>
                  <a:latin typeface="Calibri"/>
                  <a:ea typeface="+mn-ea"/>
                  <a:cs typeface="+mn-cs"/>
                </a:endParaRPr>
              </a:p>
            </p:txBody>
          </p:sp>
          <p:sp>
            <p:nvSpPr>
              <p:cNvPr id="43" name="Rounded Rectangle 42"/>
              <p:cNvSpPr/>
              <p:nvPr/>
            </p:nvSpPr>
            <p:spPr>
              <a:xfrm>
                <a:off x="1902860" y="2750293"/>
                <a:ext cx="710974" cy="36818"/>
              </a:xfrm>
              <a:prstGeom prst="roundRect">
                <a:avLst/>
              </a:prstGeom>
              <a:solidFill>
                <a:schemeClr val="bg1">
                  <a:lumMod val="50000"/>
                </a:schemeClr>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ysClr val="window" lastClr="FFFFFF"/>
                  </a:solidFill>
                  <a:effectLst>
                    <a:outerShdw blurRad="50800" dist="38100" dir="5400000" algn="t" rotWithShape="0">
                      <a:prstClr val="black">
                        <a:alpha val="40000"/>
                      </a:prstClr>
                    </a:outerShdw>
                  </a:effectLst>
                  <a:uLnTx/>
                  <a:uFillTx/>
                  <a:latin typeface="Calibri"/>
                  <a:ea typeface="+mn-ea"/>
                  <a:cs typeface="+mn-cs"/>
                </a:endParaRPr>
              </a:p>
            </p:txBody>
          </p:sp>
        </p:grpSp>
        <p:pic>
          <p:nvPicPr>
            <p:cNvPr id="44" name="Picture 12" descr="http://www.shef.ac.uk/polopoly_fs/1.157394!/image/google_calendar.png"/>
            <p:cNvPicPr>
              <a:picLocks noChangeAspect="1" noChangeArrowheads="1"/>
            </p:cNvPicPr>
            <p:nvPr/>
          </p:nvPicPr>
          <p:blipFill>
            <a:blip r:embed="rId4" cstate="print"/>
            <a:srcRect/>
            <a:stretch>
              <a:fillRect/>
            </a:stretch>
          </p:blipFill>
          <p:spPr bwMode="auto">
            <a:xfrm>
              <a:off x="2357423" y="2000241"/>
              <a:ext cx="1214437" cy="1214437"/>
            </a:xfrm>
            <a:prstGeom prst="rect">
              <a:avLst/>
            </a:prstGeom>
            <a:noFill/>
            <a:ln w="9525">
              <a:noFill/>
              <a:miter lim="800000"/>
              <a:headEnd/>
              <a:tailEnd/>
            </a:ln>
          </p:spPr>
        </p:pic>
        <p:sp>
          <p:nvSpPr>
            <p:cNvPr id="46" name="TextBox 45"/>
            <p:cNvSpPr txBox="1"/>
            <p:nvPr/>
          </p:nvSpPr>
          <p:spPr>
            <a:xfrm>
              <a:off x="857225" y="3429001"/>
              <a:ext cx="3109913" cy="2246769"/>
            </a:xfrm>
            <a:prstGeom prst="rect">
              <a:avLst/>
            </a:prstGeom>
            <a:noFill/>
          </p:spPr>
          <p:txBody>
            <a:bodyPr>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273050" indent="-273050" fontAlgn="auto">
                <a:spcBef>
                  <a:spcPts val="0"/>
                </a:spcBef>
                <a:spcAft>
                  <a:spcPts val="0"/>
                </a:spcAft>
                <a:buClr>
                  <a:srgbClr val="FF0000"/>
                </a:buClr>
                <a:buFont typeface="Wingdings" pitchFamily="2" charset="2"/>
                <a:buChar char="ü"/>
                <a:defRPr/>
              </a:pPr>
              <a:r>
                <a:rPr lang="en-US" dirty="0" err="1" smtClean="0">
                  <a:solidFill>
                    <a:schemeClr val="bg1"/>
                  </a:solidFill>
                  <a:effectLst>
                    <a:outerShdw blurRad="38100" dist="38100" dir="2700000" algn="tl">
                      <a:srgbClr val="000000">
                        <a:alpha val="43137"/>
                      </a:srgbClr>
                    </a:outerShdw>
                  </a:effectLst>
                </a:rPr>
                <a:t>Dilaksanakan</a:t>
              </a:r>
              <a:r>
                <a:rPr lang="en-US" dirty="0" smtClean="0">
                  <a:solidFill>
                    <a:schemeClr val="bg1"/>
                  </a:solidFill>
                  <a:effectLst>
                    <a:outerShdw blurRad="38100" dist="38100" dir="2700000" algn="tl">
                      <a:srgbClr val="000000">
                        <a:alpha val="43137"/>
                      </a:srgbClr>
                    </a:outerShdw>
                  </a:effectLst>
                </a:rPr>
                <a:t> </a:t>
              </a:r>
              <a:r>
                <a:rPr lang="en-US" dirty="0" err="1" smtClean="0">
                  <a:solidFill>
                    <a:schemeClr val="bg1"/>
                  </a:solidFill>
                  <a:effectLst>
                    <a:outerShdw blurRad="38100" dist="38100" dir="2700000" algn="tl">
                      <a:srgbClr val="000000">
                        <a:alpha val="43137"/>
                      </a:srgbClr>
                    </a:outerShdw>
                  </a:effectLst>
                </a:rPr>
                <a:t>secara</a:t>
              </a:r>
              <a:r>
                <a:rPr lang="en-US" dirty="0" smtClean="0">
                  <a:solidFill>
                    <a:schemeClr val="bg1"/>
                  </a:solidFill>
                  <a:effectLst>
                    <a:outerShdw blurRad="38100" dist="38100" dir="2700000" algn="tl">
                      <a:srgbClr val="000000">
                        <a:alpha val="43137"/>
                      </a:srgbClr>
                    </a:outerShdw>
                  </a:effectLst>
                </a:rPr>
                <a:t> </a:t>
              </a:r>
              <a:r>
                <a:rPr lang="en-US" dirty="0" err="1" smtClean="0">
                  <a:solidFill>
                    <a:schemeClr val="bg1"/>
                  </a:solidFill>
                  <a:effectLst>
                    <a:outerShdw blurRad="38100" dist="38100" dir="2700000" algn="tl">
                      <a:srgbClr val="000000">
                        <a:alpha val="43137"/>
                      </a:srgbClr>
                    </a:outerShdw>
                  </a:effectLst>
                </a:rPr>
                <a:t>berterusan</a:t>
              </a:r>
              <a:r>
                <a:rPr lang="en-US" dirty="0" smtClean="0">
                  <a:solidFill>
                    <a:schemeClr val="bg1"/>
                  </a:solidFill>
                  <a:effectLst>
                    <a:outerShdw blurRad="38100" dist="38100" dir="2700000" algn="tl">
                      <a:srgbClr val="000000">
                        <a:alpha val="43137"/>
                      </a:srgbClr>
                    </a:outerShdw>
                  </a:effectLst>
                </a:rPr>
                <a:t> </a:t>
              </a:r>
              <a:r>
                <a:rPr lang="en-US" dirty="0" err="1" smtClean="0">
                  <a:solidFill>
                    <a:schemeClr val="bg1"/>
                  </a:solidFill>
                  <a:effectLst>
                    <a:outerShdw blurRad="38100" dist="38100" dir="2700000" algn="tl">
                      <a:srgbClr val="000000">
                        <a:alpha val="43137"/>
                      </a:srgbClr>
                    </a:outerShdw>
                  </a:effectLst>
                </a:rPr>
                <a:t>dalam</a:t>
              </a:r>
              <a:r>
                <a:rPr lang="en-US" dirty="0" smtClean="0">
                  <a:solidFill>
                    <a:schemeClr val="bg1"/>
                  </a:solidFill>
                  <a:effectLst>
                    <a:outerShdw blurRad="38100" dist="38100" dir="2700000" algn="tl">
                      <a:srgbClr val="000000">
                        <a:alpha val="43137"/>
                      </a:srgbClr>
                    </a:outerShdw>
                  </a:effectLst>
                </a:rPr>
                <a:t> </a:t>
              </a:r>
              <a:r>
                <a:rPr lang="en-US" dirty="0" err="1" smtClean="0">
                  <a:solidFill>
                    <a:schemeClr val="bg1"/>
                  </a:solidFill>
                  <a:effectLst>
                    <a:outerShdw blurRad="38100" dist="38100" dir="2700000" algn="tl">
                      <a:srgbClr val="000000">
                        <a:alpha val="43137"/>
                      </a:srgbClr>
                    </a:outerShdw>
                  </a:effectLst>
                </a:rPr>
                <a:t>tempoh</a:t>
              </a:r>
              <a:r>
                <a:rPr lang="en-US" dirty="0" smtClean="0">
                  <a:solidFill>
                    <a:schemeClr val="bg1"/>
                  </a:solidFill>
                  <a:effectLst>
                    <a:outerShdw blurRad="38100" dist="38100" dir="2700000" algn="tl">
                      <a:srgbClr val="000000">
                        <a:alpha val="43137"/>
                      </a:srgbClr>
                    </a:outerShdw>
                  </a:effectLst>
                </a:rPr>
                <a:t> 1 </a:t>
              </a:r>
              <a:r>
                <a:rPr lang="en-US" dirty="0" err="1" smtClean="0">
                  <a:solidFill>
                    <a:schemeClr val="bg1"/>
                  </a:solidFill>
                  <a:effectLst>
                    <a:outerShdw blurRad="38100" dist="38100" dir="2700000" algn="tl">
                      <a:srgbClr val="000000">
                        <a:alpha val="43137"/>
                      </a:srgbClr>
                    </a:outerShdw>
                  </a:effectLst>
                </a:rPr>
                <a:t>tahun</a:t>
              </a:r>
              <a:endParaRPr lang="en-US" dirty="0" smtClean="0">
                <a:solidFill>
                  <a:schemeClr val="bg1"/>
                </a:solidFill>
                <a:effectLst>
                  <a:outerShdw blurRad="38100" dist="38100" dir="2700000" algn="tl">
                    <a:srgbClr val="000000">
                      <a:alpha val="43137"/>
                    </a:srgbClr>
                  </a:outerShdw>
                </a:effectLst>
              </a:endParaRPr>
            </a:p>
            <a:p>
              <a:pPr marL="273050" indent="-273050" fontAlgn="auto">
                <a:spcBef>
                  <a:spcPts val="0"/>
                </a:spcBef>
                <a:spcAft>
                  <a:spcPts val="0"/>
                </a:spcAft>
                <a:buClr>
                  <a:srgbClr val="FF0000"/>
                </a:buClr>
                <a:defRPr/>
              </a:pPr>
              <a:endParaRPr lang="en-US" dirty="0" smtClean="0">
                <a:solidFill>
                  <a:schemeClr val="bg1"/>
                </a:solidFill>
                <a:effectLst>
                  <a:outerShdw blurRad="38100" dist="38100" dir="2700000" algn="tl">
                    <a:srgbClr val="000000">
                      <a:alpha val="43137"/>
                    </a:srgbClr>
                  </a:outerShdw>
                </a:effectLst>
              </a:endParaRPr>
            </a:p>
            <a:p>
              <a:pPr marL="273050" indent="-273050" fontAlgn="auto">
                <a:spcBef>
                  <a:spcPts val="0"/>
                </a:spcBef>
                <a:spcAft>
                  <a:spcPts val="0"/>
                </a:spcAft>
                <a:buClr>
                  <a:srgbClr val="FF0000"/>
                </a:buClr>
                <a:buFont typeface="Wingdings" pitchFamily="2" charset="2"/>
                <a:buChar char="ü"/>
                <a:defRPr/>
              </a:pPr>
              <a:r>
                <a:rPr lang="en-US" dirty="0" err="1" smtClean="0">
                  <a:solidFill>
                    <a:schemeClr val="bg1"/>
                  </a:solidFill>
                  <a:effectLst>
                    <a:outerShdw blurRad="38100" dist="38100" dir="2700000" algn="tl">
                      <a:srgbClr val="000000">
                        <a:alpha val="43137"/>
                      </a:srgbClr>
                    </a:outerShdw>
                  </a:effectLst>
                </a:rPr>
                <a:t>Penilaian</a:t>
              </a:r>
              <a:r>
                <a:rPr lang="en-US" dirty="0" smtClean="0">
                  <a:solidFill>
                    <a:schemeClr val="bg1"/>
                  </a:solidFill>
                  <a:effectLst>
                    <a:outerShdw blurRad="38100" dist="38100" dir="2700000" algn="tl">
                      <a:srgbClr val="000000">
                        <a:alpha val="43137"/>
                      </a:srgbClr>
                    </a:outerShdw>
                  </a:effectLst>
                </a:rPr>
                <a:t> </a:t>
              </a:r>
              <a:r>
                <a:rPr lang="en-US" dirty="0" err="1" smtClean="0">
                  <a:solidFill>
                    <a:schemeClr val="bg1"/>
                  </a:solidFill>
                  <a:effectLst>
                    <a:outerShdw blurRad="38100" dist="38100" dir="2700000" algn="tl">
                      <a:srgbClr val="000000">
                        <a:alpha val="43137"/>
                      </a:srgbClr>
                    </a:outerShdw>
                  </a:effectLst>
                </a:rPr>
                <a:t>sekurang-kurangnya</a:t>
              </a:r>
              <a:r>
                <a:rPr lang="en-US" dirty="0" smtClean="0">
                  <a:solidFill>
                    <a:schemeClr val="bg1"/>
                  </a:solidFill>
                  <a:effectLst>
                    <a:outerShdw blurRad="38100" dist="38100" dir="2700000" algn="tl">
                      <a:srgbClr val="000000">
                        <a:alpha val="43137"/>
                      </a:srgbClr>
                    </a:outerShdw>
                  </a:effectLst>
                </a:rPr>
                <a:t> 2 kali </a:t>
              </a:r>
              <a:r>
                <a:rPr lang="en-US" dirty="0" err="1" smtClean="0">
                  <a:solidFill>
                    <a:schemeClr val="bg1"/>
                  </a:solidFill>
                  <a:effectLst>
                    <a:outerShdw blurRad="38100" dist="38100" dir="2700000" algn="tl">
                      <a:srgbClr val="000000">
                        <a:alpha val="43137"/>
                      </a:srgbClr>
                    </a:outerShdw>
                  </a:effectLst>
                </a:rPr>
                <a:t>setahun</a:t>
              </a:r>
              <a:endParaRPr lang="en-US" dirty="0">
                <a:solidFill>
                  <a:schemeClr val="bg1"/>
                </a:solidFill>
                <a:effectLst>
                  <a:outerShdw blurRad="38100" dist="38100" dir="2700000" algn="tl">
                    <a:srgbClr val="000000">
                      <a:alpha val="43137"/>
                    </a:srgbClr>
                  </a:outerShdw>
                </a:effectLst>
              </a:endParaRPr>
            </a:p>
          </p:txBody>
        </p:sp>
      </p:grpSp>
      <p:grpSp>
        <p:nvGrpSpPr>
          <p:cNvPr id="6" name="Group 22"/>
          <p:cNvGrpSpPr/>
          <p:nvPr/>
        </p:nvGrpSpPr>
        <p:grpSpPr>
          <a:xfrm>
            <a:off x="5166851" y="1790700"/>
            <a:ext cx="3411792" cy="4000500"/>
            <a:chOff x="5166851" y="1790700"/>
            <a:chExt cx="3411792" cy="4000500"/>
          </a:xfrm>
        </p:grpSpPr>
        <p:sp>
          <p:nvSpPr>
            <p:cNvPr id="34" name="Rounded Rectangle 33"/>
            <p:cNvSpPr/>
            <p:nvPr/>
          </p:nvSpPr>
          <p:spPr>
            <a:xfrm>
              <a:off x="5166851" y="1790700"/>
              <a:ext cx="3411792" cy="4000500"/>
            </a:xfrm>
            <a:prstGeom prst="roundRect">
              <a:avLst>
                <a:gd name="adj" fmla="val 3267"/>
              </a:avLst>
            </a:prstGeom>
            <a:gradFill>
              <a:gsLst>
                <a:gs pos="100000">
                  <a:schemeClr val="bg1">
                    <a:lumMod val="85000"/>
                  </a:schemeClr>
                </a:gs>
                <a:gs pos="71000">
                  <a:srgbClr val="F6F6F6"/>
                </a:gs>
                <a:gs pos="44000">
                  <a:srgbClr val="FBFBFB"/>
                </a:gs>
                <a:gs pos="0">
                  <a:schemeClr val="bg1"/>
                </a:gs>
              </a:gsLst>
              <a:lin ang="5400000" scaled="0"/>
            </a:gradFill>
            <a:ln w="12700">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Picture 2" descr="http://cerifinaction.files.wordpress.com/2012/06/online-surveys.jpg"/>
            <p:cNvPicPr>
              <a:picLocks noChangeAspect="1" noChangeArrowheads="1"/>
            </p:cNvPicPr>
            <p:nvPr/>
          </p:nvPicPr>
          <p:blipFill>
            <a:blip r:embed="rId5" cstate="print"/>
            <a:srcRect/>
            <a:stretch>
              <a:fillRect/>
            </a:stretch>
          </p:blipFill>
          <p:spPr bwMode="auto">
            <a:xfrm>
              <a:off x="6286512" y="1928802"/>
              <a:ext cx="1357323" cy="1696404"/>
            </a:xfrm>
            <a:prstGeom prst="rect">
              <a:avLst/>
            </a:prstGeom>
            <a:noFill/>
            <a:ln w="9525">
              <a:noFill/>
              <a:miter lim="800000"/>
              <a:headEnd/>
              <a:tailEnd/>
            </a:ln>
          </p:spPr>
        </p:pic>
        <p:sp>
          <p:nvSpPr>
            <p:cNvPr id="47" name="TextBox 66"/>
            <p:cNvSpPr txBox="1">
              <a:spLocks noChangeArrowheads="1"/>
            </p:cNvSpPr>
            <p:nvPr/>
          </p:nvSpPr>
          <p:spPr bwMode="auto">
            <a:xfrm>
              <a:off x="5318126" y="3819526"/>
              <a:ext cx="3109913" cy="1323439"/>
            </a:xfrm>
            <a:prstGeom prst="rect">
              <a:avLst/>
            </a:prstGeom>
            <a:noFill/>
            <a:ln w="9525">
              <a:noFill/>
              <a:miter lim="800000"/>
              <a:headEnd/>
              <a:tailEnd/>
            </a:ln>
          </p:spPr>
          <p:txBody>
            <a:bodyPr>
              <a:spAutoFit/>
            </a:bodyPr>
            <a:lstStyle/>
            <a:p>
              <a:pPr algn="ctr"/>
              <a:r>
                <a:rPr lang="en-US" sz="2000" dirty="0" err="1">
                  <a:solidFill>
                    <a:srgbClr val="595959"/>
                  </a:solidFill>
                  <a:latin typeface="Arial" pitchFamily="34" charset="0"/>
                </a:rPr>
                <a:t>Pegawai</a:t>
              </a:r>
              <a:r>
                <a:rPr lang="en-US" sz="2000" dirty="0">
                  <a:solidFill>
                    <a:srgbClr val="595959"/>
                  </a:solidFill>
                  <a:latin typeface="Arial" pitchFamily="34" charset="0"/>
                </a:rPr>
                <a:t> </a:t>
              </a:r>
              <a:r>
                <a:rPr lang="en-US" sz="2000" dirty="0" err="1">
                  <a:solidFill>
                    <a:srgbClr val="595959"/>
                  </a:solidFill>
                  <a:latin typeface="Arial" pitchFamily="34" charset="0"/>
                </a:rPr>
                <a:t>Penilai</a:t>
              </a:r>
              <a:r>
                <a:rPr lang="en-US" sz="2000" dirty="0">
                  <a:solidFill>
                    <a:srgbClr val="595959"/>
                  </a:solidFill>
                  <a:latin typeface="Arial" pitchFamily="34" charset="0"/>
                </a:rPr>
                <a:t> </a:t>
              </a:r>
              <a:r>
                <a:rPr lang="en-US" sz="2000" dirty="0" err="1">
                  <a:solidFill>
                    <a:srgbClr val="595959"/>
                  </a:solidFill>
                  <a:latin typeface="Arial" pitchFamily="34" charset="0"/>
                </a:rPr>
                <a:t>mestilah</a:t>
              </a:r>
              <a:r>
                <a:rPr lang="en-US" sz="2000" dirty="0">
                  <a:solidFill>
                    <a:srgbClr val="595959"/>
                  </a:solidFill>
                  <a:latin typeface="Arial" pitchFamily="34" charset="0"/>
                </a:rPr>
                <a:t> </a:t>
              </a:r>
              <a:r>
                <a:rPr lang="en-US" sz="2000" dirty="0" err="1">
                  <a:solidFill>
                    <a:srgbClr val="595959"/>
                  </a:solidFill>
                  <a:latin typeface="Arial" pitchFamily="34" charset="0"/>
                </a:rPr>
                <a:t>melengkapkan</a:t>
              </a:r>
              <a:r>
                <a:rPr lang="en-US" sz="2000" dirty="0">
                  <a:solidFill>
                    <a:srgbClr val="595959"/>
                  </a:solidFill>
                  <a:latin typeface="Arial" pitchFamily="34" charset="0"/>
                </a:rPr>
                <a:t> </a:t>
              </a:r>
              <a:r>
                <a:rPr lang="en-US" sz="2000" dirty="0" err="1">
                  <a:solidFill>
                    <a:srgbClr val="595959"/>
                  </a:solidFill>
                  <a:latin typeface="Arial" pitchFamily="34" charset="0"/>
                </a:rPr>
                <a:t>penilaian</a:t>
              </a:r>
              <a:r>
                <a:rPr lang="en-US" sz="2000" dirty="0">
                  <a:solidFill>
                    <a:srgbClr val="595959"/>
                  </a:solidFill>
                  <a:latin typeface="Arial" pitchFamily="34" charset="0"/>
                </a:rPr>
                <a:t> </a:t>
              </a:r>
              <a:r>
                <a:rPr lang="en-US" sz="2000" dirty="0" err="1">
                  <a:solidFill>
                    <a:srgbClr val="595959"/>
                  </a:solidFill>
                  <a:latin typeface="Arial" pitchFamily="34" charset="0"/>
                </a:rPr>
                <a:t>dan</a:t>
              </a:r>
              <a:r>
                <a:rPr lang="en-US" sz="2000" dirty="0">
                  <a:solidFill>
                    <a:srgbClr val="595959"/>
                  </a:solidFill>
                  <a:latin typeface="Arial" pitchFamily="34" charset="0"/>
                </a:rPr>
                <a:t> </a:t>
              </a:r>
              <a:r>
                <a:rPr lang="en-US" sz="2000" dirty="0" err="1">
                  <a:solidFill>
                    <a:srgbClr val="595959"/>
                  </a:solidFill>
                  <a:latin typeface="Arial" pitchFamily="34" charset="0"/>
                </a:rPr>
                <a:t>menghantar</a:t>
              </a:r>
              <a:r>
                <a:rPr lang="en-US" sz="2000" dirty="0">
                  <a:solidFill>
                    <a:srgbClr val="595959"/>
                  </a:solidFill>
                  <a:latin typeface="Arial" pitchFamily="34" charset="0"/>
                </a:rPr>
                <a:t> </a:t>
              </a:r>
              <a:r>
                <a:rPr lang="en-US" sz="2000" dirty="0" err="1">
                  <a:solidFill>
                    <a:srgbClr val="595959"/>
                  </a:solidFill>
                  <a:latin typeface="Arial" pitchFamily="34" charset="0"/>
                </a:rPr>
                <a:t>skor</a:t>
              </a:r>
              <a:r>
                <a:rPr lang="en-US" sz="2000" dirty="0">
                  <a:solidFill>
                    <a:srgbClr val="595959"/>
                  </a:solidFill>
                  <a:latin typeface="Arial" pitchFamily="34" charset="0"/>
                </a:rPr>
                <a:t> </a:t>
              </a:r>
              <a:r>
                <a:rPr lang="en-US" sz="2000" dirty="0" err="1">
                  <a:solidFill>
                    <a:srgbClr val="595959"/>
                  </a:solidFill>
                  <a:latin typeface="Arial" pitchFamily="34" charset="0"/>
                </a:rPr>
                <a:t>akhir</a:t>
              </a:r>
              <a:r>
                <a:rPr lang="en-US" sz="2000" dirty="0">
                  <a:solidFill>
                    <a:srgbClr val="595959"/>
                  </a:solidFill>
                  <a:latin typeface="Arial" pitchFamily="34" charset="0"/>
                </a:rPr>
                <a:t> </a:t>
              </a:r>
              <a:r>
                <a:rPr lang="en-US" sz="2000" dirty="0" err="1">
                  <a:solidFill>
                    <a:srgbClr val="595959"/>
                  </a:solidFill>
                  <a:latin typeface="Arial" pitchFamily="34" charset="0"/>
                </a:rPr>
                <a:t>penilaian</a:t>
              </a:r>
              <a:endParaRPr lang="en-US" sz="2000" dirty="0">
                <a:solidFill>
                  <a:srgbClr val="595959"/>
                </a:solidFill>
                <a:latin typeface="Arial" pitchFamily="34" charset="0"/>
              </a:endParaRPr>
            </a:p>
          </p:txBody>
        </p:sp>
      </p:grpSp>
      <p:sp>
        <p:nvSpPr>
          <p:cNvPr id="21" name="Rectangle 20"/>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smtClean="0">
                <a:solidFill>
                  <a:schemeClr val="bg1"/>
                </a:solidFill>
                <a:latin typeface="Segoe UI" pitchFamily="34" charset="0"/>
                <a:ea typeface="Segoe UI" pitchFamily="34" charset="0"/>
                <a:cs typeface="Segoe UI" pitchFamily="34" charset="0"/>
              </a:rPr>
              <a:t>TEMPOH PENILAIAN</a:t>
            </a:r>
            <a:endParaRPr lang="en-US" sz="36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ox(in)">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18</a:t>
            </a:fld>
            <a:endParaRPr lang="en-US"/>
          </a:p>
        </p:txBody>
      </p:sp>
      <p:sp>
        <p:nvSpPr>
          <p:cNvPr id="11" name="Content Placeholder 2"/>
          <p:cNvSpPr txBox="1">
            <a:spLocks noChangeArrowheads="1"/>
          </p:cNvSpPr>
          <p:nvPr/>
        </p:nvSpPr>
        <p:spPr bwMode="auto">
          <a:xfrm>
            <a:off x="1699753" y="1529257"/>
            <a:ext cx="6334315" cy="342900"/>
          </a:xfrm>
          <a:prstGeom prst="rect">
            <a:avLst/>
          </a:prstGeom>
          <a:noFill/>
          <a:ln w="9525">
            <a:noFill/>
            <a:miter lim="800000"/>
            <a:headEnd/>
            <a:tailEnd/>
          </a:ln>
        </p:spPr>
        <p:txBody>
          <a:bodyPr/>
          <a:lstStyle/>
          <a:p>
            <a:pPr lvl="0">
              <a:spcBef>
                <a:spcPct val="0"/>
              </a:spcBef>
              <a:defRPr/>
            </a:pPr>
            <a:r>
              <a:rPr lang="en-US" sz="3200" b="1" dirty="0" smtClean="0">
                <a:solidFill>
                  <a:srgbClr val="0070C0"/>
                </a:solidFill>
                <a:hlinkClick r:id="rId2"/>
              </a:rPr>
              <a:t>http://apps8.moe.gov.my/smg/10/</a:t>
            </a:r>
            <a:endParaRPr lang="en-US" sz="3200" b="1" dirty="0" smtClean="0">
              <a:solidFill>
                <a:srgbClr val="0070C0"/>
              </a:solidFill>
            </a:endParaRPr>
          </a:p>
          <a:p>
            <a:endParaRPr lang="en-US" sz="3200" dirty="0">
              <a:solidFill>
                <a:srgbClr val="404040"/>
              </a:solidFill>
              <a:ea typeface="PMingLiU"/>
              <a:cs typeface="PMingLiU"/>
            </a:endParaRPr>
          </a:p>
        </p:txBody>
      </p:sp>
      <p:pic>
        <p:nvPicPr>
          <p:cNvPr id="22" name="Picture 2" descr="C:\Documents and Settings\dalida.nordin\Desktop\3r.png"/>
          <p:cNvPicPr>
            <a:picLocks noChangeAspect="1" noChangeArrowheads="1"/>
          </p:cNvPicPr>
          <p:nvPr/>
        </p:nvPicPr>
        <p:blipFill>
          <a:blip r:embed="rId3" cstate="print"/>
          <a:srcRect/>
          <a:stretch>
            <a:fillRect/>
          </a:stretch>
        </p:blipFill>
        <p:spPr bwMode="auto">
          <a:xfrm flipH="1" flipV="1">
            <a:off x="6010275" y="2292200"/>
            <a:ext cx="311800" cy="311803"/>
          </a:xfrm>
          <a:prstGeom prst="rect">
            <a:avLst/>
          </a:prstGeom>
          <a:noFill/>
          <a:ln w="9525">
            <a:noFill/>
            <a:miter lim="800000"/>
            <a:headEnd/>
            <a:tailEnd/>
          </a:ln>
        </p:spPr>
      </p:pic>
      <p:pic>
        <p:nvPicPr>
          <p:cNvPr id="23" name="Picture 3" descr="C:\Documents and Settings\dalida.nordin\Desktop\q.png"/>
          <p:cNvPicPr>
            <a:picLocks noChangeAspect="1" noChangeArrowheads="1"/>
          </p:cNvPicPr>
          <p:nvPr/>
        </p:nvPicPr>
        <p:blipFill>
          <a:blip r:embed="rId4" cstate="print"/>
          <a:srcRect/>
          <a:stretch>
            <a:fillRect/>
          </a:stretch>
        </p:blipFill>
        <p:spPr bwMode="auto">
          <a:xfrm flipV="1">
            <a:off x="5950161" y="2604003"/>
            <a:ext cx="311800" cy="311803"/>
          </a:xfrm>
          <a:prstGeom prst="rect">
            <a:avLst/>
          </a:prstGeom>
          <a:noFill/>
          <a:ln w="9525">
            <a:noFill/>
            <a:miter lim="800000"/>
            <a:headEnd/>
            <a:tailEnd/>
          </a:ln>
        </p:spPr>
      </p:pic>
      <p:pic>
        <p:nvPicPr>
          <p:cNvPr id="24" name="Picture 5" descr="http://files.softicons.com/download/application-icons/browsers-icons-by-morcha-design/png/256/IE.png"/>
          <p:cNvPicPr>
            <a:picLocks noChangeAspect="1" noChangeArrowheads="1"/>
          </p:cNvPicPr>
          <p:nvPr/>
        </p:nvPicPr>
        <p:blipFill>
          <a:blip r:embed="rId5" cstate="print"/>
          <a:srcRect/>
          <a:stretch>
            <a:fillRect/>
          </a:stretch>
        </p:blipFill>
        <p:spPr bwMode="auto">
          <a:xfrm flipV="1">
            <a:off x="5735847" y="2389689"/>
            <a:ext cx="278015" cy="278015"/>
          </a:xfrm>
          <a:prstGeom prst="rect">
            <a:avLst/>
          </a:prstGeom>
          <a:noFill/>
          <a:ln w="9525">
            <a:noFill/>
            <a:miter lim="800000"/>
            <a:headEnd/>
            <a:tailEnd/>
          </a:ln>
        </p:spPr>
      </p:pic>
      <p:pic>
        <p:nvPicPr>
          <p:cNvPr id="25" name="Picture 8" descr="http://37prime.com/news/wp-content/uploads/2010/06/safari_icon.png"/>
          <p:cNvPicPr>
            <a:picLocks noChangeAspect="1" noChangeArrowheads="1"/>
          </p:cNvPicPr>
          <p:nvPr/>
        </p:nvPicPr>
        <p:blipFill>
          <a:blip r:embed="rId6" cstate="print"/>
          <a:srcRect/>
          <a:stretch>
            <a:fillRect/>
          </a:stretch>
        </p:blipFill>
        <p:spPr bwMode="auto">
          <a:xfrm flipV="1">
            <a:off x="5450097" y="2604002"/>
            <a:ext cx="350775" cy="350778"/>
          </a:xfrm>
          <a:prstGeom prst="rect">
            <a:avLst/>
          </a:prstGeom>
          <a:noFill/>
          <a:ln w="9525">
            <a:noFill/>
            <a:miter lim="800000"/>
            <a:headEnd/>
            <a:tailEnd/>
          </a:ln>
        </p:spPr>
      </p:pic>
      <p:grpSp>
        <p:nvGrpSpPr>
          <p:cNvPr id="2" name="Group 94"/>
          <p:cNvGrpSpPr/>
          <p:nvPr/>
        </p:nvGrpSpPr>
        <p:grpSpPr>
          <a:xfrm>
            <a:off x="-18118" y="2250948"/>
            <a:ext cx="5962044" cy="4547186"/>
            <a:chOff x="2557182" y="1556792"/>
            <a:chExt cx="6586818" cy="5033368"/>
          </a:xfrm>
        </p:grpSpPr>
        <p:grpSp>
          <p:nvGrpSpPr>
            <p:cNvPr id="3" name="Groupe 84"/>
            <p:cNvGrpSpPr/>
            <p:nvPr/>
          </p:nvGrpSpPr>
          <p:grpSpPr>
            <a:xfrm rot="21403743">
              <a:off x="2724804" y="1556792"/>
              <a:ext cx="5996601" cy="4990872"/>
              <a:chOff x="1556073" y="1407716"/>
              <a:chExt cx="5996601" cy="4990872"/>
            </a:xfrm>
          </p:grpSpPr>
          <p:sp>
            <p:nvSpPr>
              <p:cNvPr id="30" name="Freeform 62"/>
              <p:cNvSpPr>
                <a:spLocks/>
              </p:cNvSpPr>
              <p:nvPr/>
            </p:nvSpPr>
            <p:spPr bwMode="auto">
              <a:xfrm>
                <a:off x="1556073" y="1407716"/>
                <a:ext cx="5996601" cy="4990872"/>
              </a:xfrm>
              <a:custGeom>
                <a:avLst/>
                <a:gdLst>
                  <a:gd name="T0" fmla="*/ 750 w 5080"/>
                  <a:gd name="T1" fmla="*/ 4226 h 4228"/>
                  <a:gd name="T2" fmla="*/ 702 w 5080"/>
                  <a:gd name="T3" fmla="*/ 4228 h 4228"/>
                  <a:gd name="T4" fmla="*/ 654 w 5080"/>
                  <a:gd name="T5" fmla="*/ 4222 h 4228"/>
                  <a:gd name="T6" fmla="*/ 610 w 5080"/>
                  <a:gd name="T7" fmla="*/ 4206 h 4228"/>
                  <a:gd name="T8" fmla="*/ 568 w 5080"/>
                  <a:gd name="T9" fmla="*/ 4180 h 4228"/>
                  <a:gd name="T10" fmla="*/ 534 w 5080"/>
                  <a:gd name="T11" fmla="*/ 4150 h 4228"/>
                  <a:gd name="T12" fmla="*/ 504 w 5080"/>
                  <a:gd name="T13" fmla="*/ 4112 h 4228"/>
                  <a:gd name="T14" fmla="*/ 484 w 5080"/>
                  <a:gd name="T15" fmla="*/ 4068 h 4228"/>
                  <a:gd name="T16" fmla="*/ 472 w 5080"/>
                  <a:gd name="T17" fmla="*/ 4020 h 4228"/>
                  <a:gd name="T18" fmla="*/ 2 w 5080"/>
                  <a:gd name="T19" fmla="*/ 916 h 4228"/>
                  <a:gd name="T20" fmla="*/ 0 w 5080"/>
                  <a:gd name="T21" fmla="*/ 862 h 4228"/>
                  <a:gd name="T22" fmla="*/ 6 w 5080"/>
                  <a:gd name="T23" fmla="*/ 812 h 4228"/>
                  <a:gd name="T24" fmla="*/ 22 w 5080"/>
                  <a:gd name="T25" fmla="*/ 764 h 4228"/>
                  <a:gd name="T26" fmla="*/ 46 w 5080"/>
                  <a:gd name="T27" fmla="*/ 724 h 4228"/>
                  <a:gd name="T28" fmla="*/ 78 w 5080"/>
                  <a:gd name="T29" fmla="*/ 688 h 4228"/>
                  <a:gd name="T30" fmla="*/ 116 w 5080"/>
                  <a:gd name="T31" fmla="*/ 658 h 4228"/>
                  <a:gd name="T32" fmla="*/ 160 w 5080"/>
                  <a:gd name="T33" fmla="*/ 638 h 4228"/>
                  <a:gd name="T34" fmla="*/ 208 w 5080"/>
                  <a:gd name="T35" fmla="*/ 624 h 4228"/>
                  <a:gd name="T36" fmla="*/ 4328 w 5080"/>
                  <a:gd name="T37" fmla="*/ 2 h 4228"/>
                  <a:gd name="T38" fmla="*/ 4378 w 5080"/>
                  <a:gd name="T39" fmla="*/ 0 h 4228"/>
                  <a:gd name="T40" fmla="*/ 4426 w 5080"/>
                  <a:gd name="T41" fmla="*/ 8 h 4228"/>
                  <a:gd name="T42" fmla="*/ 4470 w 5080"/>
                  <a:gd name="T43" fmla="*/ 24 h 4228"/>
                  <a:gd name="T44" fmla="*/ 4510 w 5080"/>
                  <a:gd name="T45" fmla="*/ 48 h 4228"/>
                  <a:gd name="T46" fmla="*/ 4546 w 5080"/>
                  <a:gd name="T47" fmla="*/ 80 h 4228"/>
                  <a:gd name="T48" fmla="*/ 4574 w 5080"/>
                  <a:gd name="T49" fmla="*/ 118 h 4228"/>
                  <a:gd name="T50" fmla="*/ 4596 w 5080"/>
                  <a:gd name="T51" fmla="*/ 160 h 4228"/>
                  <a:gd name="T52" fmla="*/ 4608 w 5080"/>
                  <a:gd name="T53" fmla="*/ 208 h 4228"/>
                  <a:gd name="T54" fmla="*/ 5078 w 5080"/>
                  <a:gd name="T55" fmla="*/ 3324 h 4228"/>
                  <a:gd name="T56" fmla="*/ 5080 w 5080"/>
                  <a:gd name="T57" fmla="*/ 3374 h 4228"/>
                  <a:gd name="T58" fmla="*/ 5074 w 5080"/>
                  <a:gd name="T59" fmla="*/ 3422 h 4228"/>
                  <a:gd name="T60" fmla="*/ 5058 w 5080"/>
                  <a:gd name="T61" fmla="*/ 3466 h 4228"/>
                  <a:gd name="T62" fmla="*/ 5034 w 5080"/>
                  <a:gd name="T63" fmla="*/ 3508 h 4228"/>
                  <a:gd name="T64" fmla="*/ 5002 w 5080"/>
                  <a:gd name="T65" fmla="*/ 3542 h 4228"/>
                  <a:gd name="T66" fmla="*/ 4964 w 5080"/>
                  <a:gd name="T67" fmla="*/ 3570 h 4228"/>
                  <a:gd name="T68" fmla="*/ 4920 w 5080"/>
                  <a:gd name="T69" fmla="*/ 3592 h 4228"/>
                  <a:gd name="T70" fmla="*/ 4872 w 5080"/>
                  <a:gd name="T71" fmla="*/ 3604 h 4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80" h="4228">
                    <a:moveTo>
                      <a:pt x="750" y="4226"/>
                    </a:moveTo>
                    <a:lnTo>
                      <a:pt x="750" y="4226"/>
                    </a:lnTo>
                    <a:lnTo>
                      <a:pt x="726" y="4228"/>
                    </a:lnTo>
                    <a:lnTo>
                      <a:pt x="702" y="4228"/>
                    </a:lnTo>
                    <a:lnTo>
                      <a:pt x="678" y="4226"/>
                    </a:lnTo>
                    <a:lnTo>
                      <a:pt x="654" y="4222"/>
                    </a:lnTo>
                    <a:lnTo>
                      <a:pt x="630" y="4214"/>
                    </a:lnTo>
                    <a:lnTo>
                      <a:pt x="610" y="4206"/>
                    </a:lnTo>
                    <a:lnTo>
                      <a:pt x="588" y="4194"/>
                    </a:lnTo>
                    <a:lnTo>
                      <a:pt x="568" y="4180"/>
                    </a:lnTo>
                    <a:lnTo>
                      <a:pt x="550" y="4166"/>
                    </a:lnTo>
                    <a:lnTo>
                      <a:pt x="534" y="4150"/>
                    </a:lnTo>
                    <a:lnTo>
                      <a:pt x="518" y="4132"/>
                    </a:lnTo>
                    <a:lnTo>
                      <a:pt x="504" y="4112"/>
                    </a:lnTo>
                    <a:lnTo>
                      <a:pt x="494" y="4090"/>
                    </a:lnTo>
                    <a:lnTo>
                      <a:pt x="484" y="4068"/>
                    </a:lnTo>
                    <a:lnTo>
                      <a:pt x="476" y="4044"/>
                    </a:lnTo>
                    <a:lnTo>
                      <a:pt x="472" y="4020"/>
                    </a:lnTo>
                    <a:lnTo>
                      <a:pt x="2" y="916"/>
                    </a:lnTo>
                    <a:lnTo>
                      <a:pt x="2" y="916"/>
                    </a:lnTo>
                    <a:lnTo>
                      <a:pt x="0" y="888"/>
                    </a:lnTo>
                    <a:lnTo>
                      <a:pt x="0" y="862"/>
                    </a:lnTo>
                    <a:lnTo>
                      <a:pt x="2" y="836"/>
                    </a:lnTo>
                    <a:lnTo>
                      <a:pt x="6" y="812"/>
                    </a:lnTo>
                    <a:lnTo>
                      <a:pt x="14" y="788"/>
                    </a:lnTo>
                    <a:lnTo>
                      <a:pt x="22" y="764"/>
                    </a:lnTo>
                    <a:lnTo>
                      <a:pt x="34" y="744"/>
                    </a:lnTo>
                    <a:lnTo>
                      <a:pt x="46" y="724"/>
                    </a:lnTo>
                    <a:lnTo>
                      <a:pt x="62" y="704"/>
                    </a:lnTo>
                    <a:lnTo>
                      <a:pt x="78" y="688"/>
                    </a:lnTo>
                    <a:lnTo>
                      <a:pt x="96" y="672"/>
                    </a:lnTo>
                    <a:lnTo>
                      <a:pt x="116" y="658"/>
                    </a:lnTo>
                    <a:lnTo>
                      <a:pt x="136" y="646"/>
                    </a:lnTo>
                    <a:lnTo>
                      <a:pt x="160" y="638"/>
                    </a:lnTo>
                    <a:lnTo>
                      <a:pt x="182" y="630"/>
                    </a:lnTo>
                    <a:lnTo>
                      <a:pt x="208" y="624"/>
                    </a:lnTo>
                    <a:lnTo>
                      <a:pt x="4328" y="2"/>
                    </a:lnTo>
                    <a:lnTo>
                      <a:pt x="4328" y="2"/>
                    </a:lnTo>
                    <a:lnTo>
                      <a:pt x="4354" y="0"/>
                    </a:lnTo>
                    <a:lnTo>
                      <a:pt x="4378" y="0"/>
                    </a:lnTo>
                    <a:lnTo>
                      <a:pt x="4402" y="2"/>
                    </a:lnTo>
                    <a:lnTo>
                      <a:pt x="4426" y="8"/>
                    </a:lnTo>
                    <a:lnTo>
                      <a:pt x="4448" y="14"/>
                    </a:lnTo>
                    <a:lnTo>
                      <a:pt x="4470" y="24"/>
                    </a:lnTo>
                    <a:lnTo>
                      <a:pt x="4492" y="36"/>
                    </a:lnTo>
                    <a:lnTo>
                      <a:pt x="4510" y="48"/>
                    </a:lnTo>
                    <a:lnTo>
                      <a:pt x="4530" y="64"/>
                    </a:lnTo>
                    <a:lnTo>
                      <a:pt x="4546" y="80"/>
                    </a:lnTo>
                    <a:lnTo>
                      <a:pt x="4562" y="98"/>
                    </a:lnTo>
                    <a:lnTo>
                      <a:pt x="4574" y="118"/>
                    </a:lnTo>
                    <a:lnTo>
                      <a:pt x="4586" y="138"/>
                    </a:lnTo>
                    <a:lnTo>
                      <a:pt x="4596" y="160"/>
                    </a:lnTo>
                    <a:lnTo>
                      <a:pt x="4602" y="184"/>
                    </a:lnTo>
                    <a:lnTo>
                      <a:pt x="4608" y="208"/>
                    </a:lnTo>
                    <a:lnTo>
                      <a:pt x="5078" y="3324"/>
                    </a:lnTo>
                    <a:lnTo>
                      <a:pt x="5078" y="3324"/>
                    </a:lnTo>
                    <a:lnTo>
                      <a:pt x="5080" y="3350"/>
                    </a:lnTo>
                    <a:lnTo>
                      <a:pt x="5080" y="3374"/>
                    </a:lnTo>
                    <a:lnTo>
                      <a:pt x="5078" y="3398"/>
                    </a:lnTo>
                    <a:lnTo>
                      <a:pt x="5074" y="3422"/>
                    </a:lnTo>
                    <a:lnTo>
                      <a:pt x="5066" y="3444"/>
                    </a:lnTo>
                    <a:lnTo>
                      <a:pt x="5058" y="3466"/>
                    </a:lnTo>
                    <a:lnTo>
                      <a:pt x="5046" y="3488"/>
                    </a:lnTo>
                    <a:lnTo>
                      <a:pt x="5034" y="3508"/>
                    </a:lnTo>
                    <a:lnTo>
                      <a:pt x="5018" y="3526"/>
                    </a:lnTo>
                    <a:lnTo>
                      <a:pt x="5002" y="3542"/>
                    </a:lnTo>
                    <a:lnTo>
                      <a:pt x="4984" y="3558"/>
                    </a:lnTo>
                    <a:lnTo>
                      <a:pt x="4964" y="3570"/>
                    </a:lnTo>
                    <a:lnTo>
                      <a:pt x="4942" y="3582"/>
                    </a:lnTo>
                    <a:lnTo>
                      <a:pt x="4920" y="3592"/>
                    </a:lnTo>
                    <a:lnTo>
                      <a:pt x="4898" y="3600"/>
                    </a:lnTo>
                    <a:lnTo>
                      <a:pt x="4872" y="3604"/>
                    </a:lnTo>
                    <a:lnTo>
                      <a:pt x="750" y="4226"/>
                    </a:lnTo>
                    <a:close/>
                  </a:path>
                </a:pathLst>
              </a:custGeom>
              <a:solidFill>
                <a:srgbClr val="8E90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63"/>
              <p:cNvSpPr>
                <a:spLocks/>
              </p:cNvSpPr>
              <p:nvPr/>
            </p:nvSpPr>
            <p:spPr bwMode="auto">
              <a:xfrm>
                <a:off x="1556073" y="1407716"/>
                <a:ext cx="5996601" cy="4990872"/>
              </a:xfrm>
              <a:custGeom>
                <a:avLst/>
                <a:gdLst>
                  <a:gd name="T0" fmla="*/ 750 w 5080"/>
                  <a:gd name="T1" fmla="*/ 4226 h 4228"/>
                  <a:gd name="T2" fmla="*/ 702 w 5080"/>
                  <a:gd name="T3" fmla="*/ 4228 h 4228"/>
                  <a:gd name="T4" fmla="*/ 654 w 5080"/>
                  <a:gd name="T5" fmla="*/ 4222 h 4228"/>
                  <a:gd name="T6" fmla="*/ 610 w 5080"/>
                  <a:gd name="T7" fmla="*/ 4206 h 4228"/>
                  <a:gd name="T8" fmla="*/ 568 w 5080"/>
                  <a:gd name="T9" fmla="*/ 4180 h 4228"/>
                  <a:gd name="T10" fmla="*/ 534 w 5080"/>
                  <a:gd name="T11" fmla="*/ 4150 h 4228"/>
                  <a:gd name="T12" fmla="*/ 504 w 5080"/>
                  <a:gd name="T13" fmla="*/ 4112 h 4228"/>
                  <a:gd name="T14" fmla="*/ 484 w 5080"/>
                  <a:gd name="T15" fmla="*/ 4068 h 4228"/>
                  <a:gd name="T16" fmla="*/ 472 w 5080"/>
                  <a:gd name="T17" fmla="*/ 4020 h 4228"/>
                  <a:gd name="T18" fmla="*/ 2 w 5080"/>
                  <a:gd name="T19" fmla="*/ 916 h 4228"/>
                  <a:gd name="T20" fmla="*/ 0 w 5080"/>
                  <a:gd name="T21" fmla="*/ 862 h 4228"/>
                  <a:gd name="T22" fmla="*/ 6 w 5080"/>
                  <a:gd name="T23" fmla="*/ 812 h 4228"/>
                  <a:gd name="T24" fmla="*/ 22 w 5080"/>
                  <a:gd name="T25" fmla="*/ 764 h 4228"/>
                  <a:gd name="T26" fmla="*/ 46 w 5080"/>
                  <a:gd name="T27" fmla="*/ 724 h 4228"/>
                  <a:gd name="T28" fmla="*/ 78 w 5080"/>
                  <a:gd name="T29" fmla="*/ 688 h 4228"/>
                  <a:gd name="T30" fmla="*/ 116 w 5080"/>
                  <a:gd name="T31" fmla="*/ 658 h 4228"/>
                  <a:gd name="T32" fmla="*/ 160 w 5080"/>
                  <a:gd name="T33" fmla="*/ 638 h 4228"/>
                  <a:gd name="T34" fmla="*/ 208 w 5080"/>
                  <a:gd name="T35" fmla="*/ 624 h 4228"/>
                  <a:gd name="T36" fmla="*/ 4328 w 5080"/>
                  <a:gd name="T37" fmla="*/ 2 h 4228"/>
                  <a:gd name="T38" fmla="*/ 4378 w 5080"/>
                  <a:gd name="T39" fmla="*/ 0 h 4228"/>
                  <a:gd name="T40" fmla="*/ 4426 w 5080"/>
                  <a:gd name="T41" fmla="*/ 8 h 4228"/>
                  <a:gd name="T42" fmla="*/ 4470 w 5080"/>
                  <a:gd name="T43" fmla="*/ 24 h 4228"/>
                  <a:gd name="T44" fmla="*/ 4510 w 5080"/>
                  <a:gd name="T45" fmla="*/ 48 h 4228"/>
                  <a:gd name="T46" fmla="*/ 4546 w 5080"/>
                  <a:gd name="T47" fmla="*/ 80 h 4228"/>
                  <a:gd name="T48" fmla="*/ 4574 w 5080"/>
                  <a:gd name="T49" fmla="*/ 118 h 4228"/>
                  <a:gd name="T50" fmla="*/ 4596 w 5080"/>
                  <a:gd name="T51" fmla="*/ 160 h 4228"/>
                  <a:gd name="T52" fmla="*/ 4608 w 5080"/>
                  <a:gd name="T53" fmla="*/ 208 h 4228"/>
                  <a:gd name="T54" fmla="*/ 5078 w 5080"/>
                  <a:gd name="T55" fmla="*/ 3324 h 4228"/>
                  <a:gd name="T56" fmla="*/ 5080 w 5080"/>
                  <a:gd name="T57" fmla="*/ 3374 h 4228"/>
                  <a:gd name="T58" fmla="*/ 5074 w 5080"/>
                  <a:gd name="T59" fmla="*/ 3422 h 4228"/>
                  <a:gd name="T60" fmla="*/ 5058 w 5080"/>
                  <a:gd name="T61" fmla="*/ 3466 h 4228"/>
                  <a:gd name="T62" fmla="*/ 5034 w 5080"/>
                  <a:gd name="T63" fmla="*/ 3508 h 4228"/>
                  <a:gd name="T64" fmla="*/ 5002 w 5080"/>
                  <a:gd name="T65" fmla="*/ 3542 h 4228"/>
                  <a:gd name="T66" fmla="*/ 4964 w 5080"/>
                  <a:gd name="T67" fmla="*/ 3570 h 4228"/>
                  <a:gd name="T68" fmla="*/ 4920 w 5080"/>
                  <a:gd name="T69" fmla="*/ 3592 h 4228"/>
                  <a:gd name="T70" fmla="*/ 4872 w 5080"/>
                  <a:gd name="T71" fmla="*/ 3604 h 4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80" h="4228">
                    <a:moveTo>
                      <a:pt x="750" y="4226"/>
                    </a:moveTo>
                    <a:lnTo>
                      <a:pt x="750" y="4226"/>
                    </a:lnTo>
                    <a:lnTo>
                      <a:pt x="726" y="4228"/>
                    </a:lnTo>
                    <a:lnTo>
                      <a:pt x="702" y="4228"/>
                    </a:lnTo>
                    <a:lnTo>
                      <a:pt x="678" y="4226"/>
                    </a:lnTo>
                    <a:lnTo>
                      <a:pt x="654" y="4222"/>
                    </a:lnTo>
                    <a:lnTo>
                      <a:pt x="630" y="4214"/>
                    </a:lnTo>
                    <a:lnTo>
                      <a:pt x="610" y="4206"/>
                    </a:lnTo>
                    <a:lnTo>
                      <a:pt x="588" y="4194"/>
                    </a:lnTo>
                    <a:lnTo>
                      <a:pt x="568" y="4180"/>
                    </a:lnTo>
                    <a:lnTo>
                      <a:pt x="550" y="4166"/>
                    </a:lnTo>
                    <a:lnTo>
                      <a:pt x="534" y="4150"/>
                    </a:lnTo>
                    <a:lnTo>
                      <a:pt x="518" y="4132"/>
                    </a:lnTo>
                    <a:lnTo>
                      <a:pt x="504" y="4112"/>
                    </a:lnTo>
                    <a:lnTo>
                      <a:pt x="494" y="4090"/>
                    </a:lnTo>
                    <a:lnTo>
                      <a:pt x="484" y="4068"/>
                    </a:lnTo>
                    <a:lnTo>
                      <a:pt x="476" y="4044"/>
                    </a:lnTo>
                    <a:lnTo>
                      <a:pt x="472" y="4020"/>
                    </a:lnTo>
                    <a:lnTo>
                      <a:pt x="2" y="916"/>
                    </a:lnTo>
                    <a:lnTo>
                      <a:pt x="2" y="916"/>
                    </a:lnTo>
                    <a:lnTo>
                      <a:pt x="0" y="888"/>
                    </a:lnTo>
                    <a:lnTo>
                      <a:pt x="0" y="862"/>
                    </a:lnTo>
                    <a:lnTo>
                      <a:pt x="2" y="836"/>
                    </a:lnTo>
                    <a:lnTo>
                      <a:pt x="6" y="812"/>
                    </a:lnTo>
                    <a:lnTo>
                      <a:pt x="14" y="788"/>
                    </a:lnTo>
                    <a:lnTo>
                      <a:pt x="22" y="764"/>
                    </a:lnTo>
                    <a:lnTo>
                      <a:pt x="34" y="744"/>
                    </a:lnTo>
                    <a:lnTo>
                      <a:pt x="46" y="724"/>
                    </a:lnTo>
                    <a:lnTo>
                      <a:pt x="62" y="704"/>
                    </a:lnTo>
                    <a:lnTo>
                      <a:pt x="78" y="688"/>
                    </a:lnTo>
                    <a:lnTo>
                      <a:pt x="96" y="672"/>
                    </a:lnTo>
                    <a:lnTo>
                      <a:pt x="116" y="658"/>
                    </a:lnTo>
                    <a:lnTo>
                      <a:pt x="136" y="646"/>
                    </a:lnTo>
                    <a:lnTo>
                      <a:pt x="160" y="638"/>
                    </a:lnTo>
                    <a:lnTo>
                      <a:pt x="182" y="630"/>
                    </a:lnTo>
                    <a:lnTo>
                      <a:pt x="208" y="624"/>
                    </a:lnTo>
                    <a:lnTo>
                      <a:pt x="4328" y="2"/>
                    </a:lnTo>
                    <a:lnTo>
                      <a:pt x="4328" y="2"/>
                    </a:lnTo>
                    <a:lnTo>
                      <a:pt x="4354" y="0"/>
                    </a:lnTo>
                    <a:lnTo>
                      <a:pt x="4378" y="0"/>
                    </a:lnTo>
                    <a:lnTo>
                      <a:pt x="4402" y="2"/>
                    </a:lnTo>
                    <a:lnTo>
                      <a:pt x="4426" y="8"/>
                    </a:lnTo>
                    <a:lnTo>
                      <a:pt x="4448" y="14"/>
                    </a:lnTo>
                    <a:lnTo>
                      <a:pt x="4470" y="24"/>
                    </a:lnTo>
                    <a:lnTo>
                      <a:pt x="4492" y="36"/>
                    </a:lnTo>
                    <a:lnTo>
                      <a:pt x="4510" y="48"/>
                    </a:lnTo>
                    <a:lnTo>
                      <a:pt x="4530" y="64"/>
                    </a:lnTo>
                    <a:lnTo>
                      <a:pt x="4546" y="80"/>
                    </a:lnTo>
                    <a:lnTo>
                      <a:pt x="4562" y="98"/>
                    </a:lnTo>
                    <a:lnTo>
                      <a:pt x="4574" y="118"/>
                    </a:lnTo>
                    <a:lnTo>
                      <a:pt x="4586" y="138"/>
                    </a:lnTo>
                    <a:lnTo>
                      <a:pt x="4596" y="160"/>
                    </a:lnTo>
                    <a:lnTo>
                      <a:pt x="4602" y="184"/>
                    </a:lnTo>
                    <a:lnTo>
                      <a:pt x="4608" y="208"/>
                    </a:lnTo>
                    <a:lnTo>
                      <a:pt x="5078" y="3324"/>
                    </a:lnTo>
                    <a:lnTo>
                      <a:pt x="5078" y="3324"/>
                    </a:lnTo>
                    <a:lnTo>
                      <a:pt x="5080" y="3350"/>
                    </a:lnTo>
                    <a:lnTo>
                      <a:pt x="5080" y="3374"/>
                    </a:lnTo>
                    <a:lnTo>
                      <a:pt x="5078" y="3398"/>
                    </a:lnTo>
                    <a:lnTo>
                      <a:pt x="5074" y="3422"/>
                    </a:lnTo>
                    <a:lnTo>
                      <a:pt x="5066" y="3444"/>
                    </a:lnTo>
                    <a:lnTo>
                      <a:pt x="5058" y="3466"/>
                    </a:lnTo>
                    <a:lnTo>
                      <a:pt x="5046" y="3488"/>
                    </a:lnTo>
                    <a:lnTo>
                      <a:pt x="5034" y="3508"/>
                    </a:lnTo>
                    <a:lnTo>
                      <a:pt x="5018" y="3526"/>
                    </a:lnTo>
                    <a:lnTo>
                      <a:pt x="5002" y="3542"/>
                    </a:lnTo>
                    <a:lnTo>
                      <a:pt x="4984" y="3558"/>
                    </a:lnTo>
                    <a:lnTo>
                      <a:pt x="4964" y="3570"/>
                    </a:lnTo>
                    <a:lnTo>
                      <a:pt x="4942" y="3582"/>
                    </a:lnTo>
                    <a:lnTo>
                      <a:pt x="4920" y="3592"/>
                    </a:lnTo>
                    <a:lnTo>
                      <a:pt x="4898" y="3600"/>
                    </a:lnTo>
                    <a:lnTo>
                      <a:pt x="4872" y="3604"/>
                    </a:lnTo>
                    <a:lnTo>
                      <a:pt x="750" y="42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64"/>
              <p:cNvSpPr>
                <a:spLocks/>
              </p:cNvSpPr>
              <p:nvPr/>
            </p:nvSpPr>
            <p:spPr bwMode="auto">
              <a:xfrm>
                <a:off x="1589125" y="1445490"/>
                <a:ext cx="5923414" cy="4917685"/>
              </a:xfrm>
              <a:custGeom>
                <a:avLst/>
                <a:gdLst>
                  <a:gd name="T0" fmla="*/ 716 w 5018"/>
                  <a:gd name="T1" fmla="*/ 4164 h 4166"/>
                  <a:gd name="T2" fmla="*/ 672 w 5018"/>
                  <a:gd name="T3" fmla="*/ 4166 h 4166"/>
                  <a:gd name="T4" fmla="*/ 632 w 5018"/>
                  <a:gd name="T5" fmla="*/ 4160 h 4166"/>
                  <a:gd name="T6" fmla="*/ 592 w 5018"/>
                  <a:gd name="T7" fmla="*/ 4146 h 4166"/>
                  <a:gd name="T8" fmla="*/ 558 w 5018"/>
                  <a:gd name="T9" fmla="*/ 4124 h 4166"/>
                  <a:gd name="T10" fmla="*/ 528 w 5018"/>
                  <a:gd name="T11" fmla="*/ 4096 h 4166"/>
                  <a:gd name="T12" fmla="*/ 502 w 5018"/>
                  <a:gd name="T13" fmla="*/ 4064 h 4166"/>
                  <a:gd name="T14" fmla="*/ 484 w 5018"/>
                  <a:gd name="T15" fmla="*/ 4026 h 4166"/>
                  <a:gd name="T16" fmla="*/ 474 w 5018"/>
                  <a:gd name="T17" fmla="*/ 3984 h 4166"/>
                  <a:gd name="T18" fmla="*/ 2 w 5018"/>
                  <a:gd name="T19" fmla="*/ 866 h 4166"/>
                  <a:gd name="T20" fmla="*/ 0 w 5018"/>
                  <a:gd name="T21" fmla="*/ 824 h 4166"/>
                  <a:gd name="T22" fmla="*/ 6 w 5018"/>
                  <a:gd name="T23" fmla="*/ 782 h 4166"/>
                  <a:gd name="T24" fmla="*/ 20 w 5018"/>
                  <a:gd name="T25" fmla="*/ 744 h 4166"/>
                  <a:gd name="T26" fmla="*/ 42 w 5018"/>
                  <a:gd name="T27" fmla="*/ 708 h 4166"/>
                  <a:gd name="T28" fmla="*/ 70 w 5018"/>
                  <a:gd name="T29" fmla="*/ 678 h 4166"/>
                  <a:gd name="T30" fmla="*/ 102 w 5018"/>
                  <a:gd name="T31" fmla="*/ 654 h 4166"/>
                  <a:gd name="T32" fmla="*/ 140 w 5018"/>
                  <a:gd name="T33" fmla="*/ 636 h 4166"/>
                  <a:gd name="T34" fmla="*/ 182 w 5018"/>
                  <a:gd name="T35" fmla="*/ 624 h 4166"/>
                  <a:gd name="T36" fmla="*/ 4304 w 5018"/>
                  <a:gd name="T37" fmla="*/ 2 h 4166"/>
                  <a:gd name="T38" fmla="*/ 4346 w 5018"/>
                  <a:gd name="T39" fmla="*/ 0 h 4166"/>
                  <a:gd name="T40" fmla="*/ 4388 w 5018"/>
                  <a:gd name="T41" fmla="*/ 6 h 4166"/>
                  <a:gd name="T42" fmla="*/ 4426 w 5018"/>
                  <a:gd name="T43" fmla="*/ 20 h 4166"/>
                  <a:gd name="T44" fmla="*/ 4460 w 5018"/>
                  <a:gd name="T45" fmla="*/ 42 h 4166"/>
                  <a:gd name="T46" fmla="*/ 4492 w 5018"/>
                  <a:gd name="T47" fmla="*/ 70 h 4166"/>
                  <a:gd name="T48" fmla="*/ 4516 w 5018"/>
                  <a:gd name="T49" fmla="*/ 102 h 4166"/>
                  <a:gd name="T50" fmla="*/ 4534 w 5018"/>
                  <a:gd name="T51" fmla="*/ 140 h 4166"/>
                  <a:gd name="T52" fmla="*/ 4546 w 5018"/>
                  <a:gd name="T53" fmla="*/ 180 h 4166"/>
                  <a:gd name="T54" fmla="*/ 5016 w 5018"/>
                  <a:gd name="T55" fmla="*/ 3300 h 4166"/>
                  <a:gd name="T56" fmla="*/ 5018 w 5018"/>
                  <a:gd name="T57" fmla="*/ 3342 h 4166"/>
                  <a:gd name="T58" fmla="*/ 5012 w 5018"/>
                  <a:gd name="T59" fmla="*/ 3384 h 4166"/>
                  <a:gd name="T60" fmla="*/ 4998 w 5018"/>
                  <a:gd name="T61" fmla="*/ 3422 h 4166"/>
                  <a:gd name="T62" fmla="*/ 4976 w 5018"/>
                  <a:gd name="T63" fmla="*/ 3456 h 4166"/>
                  <a:gd name="T64" fmla="*/ 4950 w 5018"/>
                  <a:gd name="T65" fmla="*/ 3488 h 4166"/>
                  <a:gd name="T66" fmla="*/ 4916 w 5018"/>
                  <a:gd name="T67" fmla="*/ 3512 h 4166"/>
                  <a:gd name="T68" fmla="*/ 4878 w 5018"/>
                  <a:gd name="T69" fmla="*/ 3530 h 4166"/>
                  <a:gd name="T70" fmla="*/ 4838 w 5018"/>
                  <a:gd name="T71" fmla="*/ 3542 h 4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18" h="4166">
                    <a:moveTo>
                      <a:pt x="716" y="4164"/>
                    </a:moveTo>
                    <a:lnTo>
                      <a:pt x="716" y="4164"/>
                    </a:lnTo>
                    <a:lnTo>
                      <a:pt x="694" y="4166"/>
                    </a:lnTo>
                    <a:lnTo>
                      <a:pt x="672" y="4166"/>
                    </a:lnTo>
                    <a:lnTo>
                      <a:pt x="652" y="4164"/>
                    </a:lnTo>
                    <a:lnTo>
                      <a:pt x="632" y="4160"/>
                    </a:lnTo>
                    <a:lnTo>
                      <a:pt x="612" y="4154"/>
                    </a:lnTo>
                    <a:lnTo>
                      <a:pt x="592" y="4146"/>
                    </a:lnTo>
                    <a:lnTo>
                      <a:pt x="574" y="4136"/>
                    </a:lnTo>
                    <a:lnTo>
                      <a:pt x="558" y="4124"/>
                    </a:lnTo>
                    <a:lnTo>
                      <a:pt x="542" y="4112"/>
                    </a:lnTo>
                    <a:lnTo>
                      <a:pt x="528" y="4096"/>
                    </a:lnTo>
                    <a:lnTo>
                      <a:pt x="514" y="4082"/>
                    </a:lnTo>
                    <a:lnTo>
                      <a:pt x="502" y="4064"/>
                    </a:lnTo>
                    <a:lnTo>
                      <a:pt x="492" y="4046"/>
                    </a:lnTo>
                    <a:lnTo>
                      <a:pt x="484" y="4026"/>
                    </a:lnTo>
                    <a:lnTo>
                      <a:pt x="478" y="4006"/>
                    </a:lnTo>
                    <a:lnTo>
                      <a:pt x="474" y="3984"/>
                    </a:lnTo>
                    <a:lnTo>
                      <a:pt x="2" y="866"/>
                    </a:lnTo>
                    <a:lnTo>
                      <a:pt x="2" y="866"/>
                    </a:lnTo>
                    <a:lnTo>
                      <a:pt x="0" y="846"/>
                    </a:lnTo>
                    <a:lnTo>
                      <a:pt x="0" y="824"/>
                    </a:lnTo>
                    <a:lnTo>
                      <a:pt x="2" y="802"/>
                    </a:lnTo>
                    <a:lnTo>
                      <a:pt x="6" y="782"/>
                    </a:lnTo>
                    <a:lnTo>
                      <a:pt x="12" y="762"/>
                    </a:lnTo>
                    <a:lnTo>
                      <a:pt x="20" y="744"/>
                    </a:lnTo>
                    <a:lnTo>
                      <a:pt x="30" y="726"/>
                    </a:lnTo>
                    <a:lnTo>
                      <a:pt x="42" y="708"/>
                    </a:lnTo>
                    <a:lnTo>
                      <a:pt x="54" y="694"/>
                    </a:lnTo>
                    <a:lnTo>
                      <a:pt x="70" y="678"/>
                    </a:lnTo>
                    <a:lnTo>
                      <a:pt x="84" y="666"/>
                    </a:lnTo>
                    <a:lnTo>
                      <a:pt x="102" y="654"/>
                    </a:lnTo>
                    <a:lnTo>
                      <a:pt x="120" y="644"/>
                    </a:lnTo>
                    <a:lnTo>
                      <a:pt x="140" y="636"/>
                    </a:lnTo>
                    <a:lnTo>
                      <a:pt x="160" y="630"/>
                    </a:lnTo>
                    <a:lnTo>
                      <a:pt x="182" y="624"/>
                    </a:lnTo>
                    <a:lnTo>
                      <a:pt x="4304" y="2"/>
                    </a:lnTo>
                    <a:lnTo>
                      <a:pt x="4304" y="2"/>
                    </a:lnTo>
                    <a:lnTo>
                      <a:pt x="4324" y="0"/>
                    </a:lnTo>
                    <a:lnTo>
                      <a:pt x="4346" y="0"/>
                    </a:lnTo>
                    <a:lnTo>
                      <a:pt x="4366" y="2"/>
                    </a:lnTo>
                    <a:lnTo>
                      <a:pt x="4388" y="6"/>
                    </a:lnTo>
                    <a:lnTo>
                      <a:pt x="4406" y="12"/>
                    </a:lnTo>
                    <a:lnTo>
                      <a:pt x="4426" y="20"/>
                    </a:lnTo>
                    <a:lnTo>
                      <a:pt x="4444" y="30"/>
                    </a:lnTo>
                    <a:lnTo>
                      <a:pt x="4460" y="42"/>
                    </a:lnTo>
                    <a:lnTo>
                      <a:pt x="4476" y="54"/>
                    </a:lnTo>
                    <a:lnTo>
                      <a:pt x="4492" y="70"/>
                    </a:lnTo>
                    <a:lnTo>
                      <a:pt x="4504" y="84"/>
                    </a:lnTo>
                    <a:lnTo>
                      <a:pt x="4516" y="102"/>
                    </a:lnTo>
                    <a:lnTo>
                      <a:pt x="4526" y="120"/>
                    </a:lnTo>
                    <a:lnTo>
                      <a:pt x="4534" y="140"/>
                    </a:lnTo>
                    <a:lnTo>
                      <a:pt x="4540" y="160"/>
                    </a:lnTo>
                    <a:lnTo>
                      <a:pt x="4546" y="180"/>
                    </a:lnTo>
                    <a:lnTo>
                      <a:pt x="5016" y="3300"/>
                    </a:lnTo>
                    <a:lnTo>
                      <a:pt x="5016" y="3300"/>
                    </a:lnTo>
                    <a:lnTo>
                      <a:pt x="5018" y="3320"/>
                    </a:lnTo>
                    <a:lnTo>
                      <a:pt x="5018" y="3342"/>
                    </a:lnTo>
                    <a:lnTo>
                      <a:pt x="5016" y="3362"/>
                    </a:lnTo>
                    <a:lnTo>
                      <a:pt x="5012" y="3384"/>
                    </a:lnTo>
                    <a:lnTo>
                      <a:pt x="5006" y="3402"/>
                    </a:lnTo>
                    <a:lnTo>
                      <a:pt x="4998" y="3422"/>
                    </a:lnTo>
                    <a:lnTo>
                      <a:pt x="4988" y="3440"/>
                    </a:lnTo>
                    <a:lnTo>
                      <a:pt x="4976" y="3456"/>
                    </a:lnTo>
                    <a:lnTo>
                      <a:pt x="4964" y="3472"/>
                    </a:lnTo>
                    <a:lnTo>
                      <a:pt x="4950" y="3488"/>
                    </a:lnTo>
                    <a:lnTo>
                      <a:pt x="4934" y="3500"/>
                    </a:lnTo>
                    <a:lnTo>
                      <a:pt x="4916" y="3512"/>
                    </a:lnTo>
                    <a:lnTo>
                      <a:pt x="4898" y="3522"/>
                    </a:lnTo>
                    <a:lnTo>
                      <a:pt x="4878" y="3530"/>
                    </a:lnTo>
                    <a:lnTo>
                      <a:pt x="4858" y="3536"/>
                    </a:lnTo>
                    <a:lnTo>
                      <a:pt x="4838" y="3542"/>
                    </a:lnTo>
                    <a:lnTo>
                      <a:pt x="716" y="4164"/>
                    </a:lnTo>
                    <a:close/>
                  </a:path>
                </a:pathLst>
              </a:custGeom>
              <a:solidFill>
                <a:srgbClr val="2123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65"/>
              <p:cNvSpPr>
                <a:spLocks/>
              </p:cNvSpPr>
              <p:nvPr/>
            </p:nvSpPr>
            <p:spPr bwMode="auto">
              <a:xfrm>
                <a:off x="1589125" y="1445490"/>
                <a:ext cx="5923414" cy="4917685"/>
              </a:xfrm>
              <a:custGeom>
                <a:avLst/>
                <a:gdLst>
                  <a:gd name="T0" fmla="*/ 716 w 5018"/>
                  <a:gd name="T1" fmla="*/ 4164 h 4166"/>
                  <a:gd name="T2" fmla="*/ 672 w 5018"/>
                  <a:gd name="T3" fmla="*/ 4166 h 4166"/>
                  <a:gd name="T4" fmla="*/ 632 w 5018"/>
                  <a:gd name="T5" fmla="*/ 4160 h 4166"/>
                  <a:gd name="T6" fmla="*/ 592 w 5018"/>
                  <a:gd name="T7" fmla="*/ 4146 h 4166"/>
                  <a:gd name="T8" fmla="*/ 558 w 5018"/>
                  <a:gd name="T9" fmla="*/ 4124 h 4166"/>
                  <a:gd name="T10" fmla="*/ 528 w 5018"/>
                  <a:gd name="T11" fmla="*/ 4096 h 4166"/>
                  <a:gd name="T12" fmla="*/ 502 w 5018"/>
                  <a:gd name="T13" fmla="*/ 4064 h 4166"/>
                  <a:gd name="T14" fmla="*/ 484 w 5018"/>
                  <a:gd name="T15" fmla="*/ 4026 h 4166"/>
                  <a:gd name="T16" fmla="*/ 474 w 5018"/>
                  <a:gd name="T17" fmla="*/ 3984 h 4166"/>
                  <a:gd name="T18" fmla="*/ 2 w 5018"/>
                  <a:gd name="T19" fmla="*/ 866 h 4166"/>
                  <a:gd name="T20" fmla="*/ 0 w 5018"/>
                  <a:gd name="T21" fmla="*/ 824 h 4166"/>
                  <a:gd name="T22" fmla="*/ 6 w 5018"/>
                  <a:gd name="T23" fmla="*/ 782 h 4166"/>
                  <a:gd name="T24" fmla="*/ 20 w 5018"/>
                  <a:gd name="T25" fmla="*/ 744 h 4166"/>
                  <a:gd name="T26" fmla="*/ 42 w 5018"/>
                  <a:gd name="T27" fmla="*/ 708 h 4166"/>
                  <a:gd name="T28" fmla="*/ 70 w 5018"/>
                  <a:gd name="T29" fmla="*/ 678 h 4166"/>
                  <a:gd name="T30" fmla="*/ 102 w 5018"/>
                  <a:gd name="T31" fmla="*/ 654 h 4166"/>
                  <a:gd name="T32" fmla="*/ 140 w 5018"/>
                  <a:gd name="T33" fmla="*/ 636 h 4166"/>
                  <a:gd name="T34" fmla="*/ 182 w 5018"/>
                  <a:gd name="T35" fmla="*/ 624 h 4166"/>
                  <a:gd name="T36" fmla="*/ 4304 w 5018"/>
                  <a:gd name="T37" fmla="*/ 2 h 4166"/>
                  <a:gd name="T38" fmla="*/ 4346 w 5018"/>
                  <a:gd name="T39" fmla="*/ 0 h 4166"/>
                  <a:gd name="T40" fmla="*/ 4388 w 5018"/>
                  <a:gd name="T41" fmla="*/ 6 h 4166"/>
                  <a:gd name="T42" fmla="*/ 4426 w 5018"/>
                  <a:gd name="T43" fmla="*/ 20 h 4166"/>
                  <a:gd name="T44" fmla="*/ 4460 w 5018"/>
                  <a:gd name="T45" fmla="*/ 42 h 4166"/>
                  <a:gd name="T46" fmla="*/ 4492 w 5018"/>
                  <a:gd name="T47" fmla="*/ 70 h 4166"/>
                  <a:gd name="T48" fmla="*/ 4516 w 5018"/>
                  <a:gd name="T49" fmla="*/ 102 h 4166"/>
                  <a:gd name="T50" fmla="*/ 4534 w 5018"/>
                  <a:gd name="T51" fmla="*/ 140 h 4166"/>
                  <a:gd name="T52" fmla="*/ 4546 w 5018"/>
                  <a:gd name="T53" fmla="*/ 180 h 4166"/>
                  <a:gd name="T54" fmla="*/ 5016 w 5018"/>
                  <a:gd name="T55" fmla="*/ 3300 h 4166"/>
                  <a:gd name="T56" fmla="*/ 5018 w 5018"/>
                  <a:gd name="T57" fmla="*/ 3342 h 4166"/>
                  <a:gd name="T58" fmla="*/ 5012 w 5018"/>
                  <a:gd name="T59" fmla="*/ 3384 h 4166"/>
                  <a:gd name="T60" fmla="*/ 4998 w 5018"/>
                  <a:gd name="T61" fmla="*/ 3422 h 4166"/>
                  <a:gd name="T62" fmla="*/ 4976 w 5018"/>
                  <a:gd name="T63" fmla="*/ 3456 h 4166"/>
                  <a:gd name="T64" fmla="*/ 4950 w 5018"/>
                  <a:gd name="T65" fmla="*/ 3488 h 4166"/>
                  <a:gd name="T66" fmla="*/ 4916 w 5018"/>
                  <a:gd name="T67" fmla="*/ 3512 h 4166"/>
                  <a:gd name="T68" fmla="*/ 4878 w 5018"/>
                  <a:gd name="T69" fmla="*/ 3530 h 4166"/>
                  <a:gd name="T70" fmla="*/ 4838 w 5018"/>
                  <a:gd name="T71" fmla="*/ 3542 h 4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18" h="4166">
                    <a:moveTo>
                      <a:pt x="716" y="4164"/>
                    </a:moveTo>
                    <a:lnTo>
                      <a:pt x="716" y="4164"/>
                    </a:lnTo>
                    <a:lnTo>
                      <a:pt x="694" y="4166"/>
                    </a:lnTo>
                    <a:lnTo>
                      <a:pt x="672" y="4166"/>
                    </a:lnTo>
                    <a:lnTo>
                      <a:pt x="652" y="4164"/>
                    </a:lnTo>
                    <a:lnTo>
                      <a:pt x="632" y="4160"/>
                    </a:lnTo>
                    <a:lnTo>
                      <a:pt x="612" y="4154"/>
                    </a:lnTo>
                    <a:lnTo>
                      <a:pt x="592" y="4146"/>
                    </a:lnTo>
                    <a:lnTo>
                      <a:pt x="574" y="4136"/>
                    </a:lnTo>
                    <a:lnTo>
                      <a:pt x="558" y="4124"/>
                    </a:lnTo>
                    <a:lnTo>
                      <a:pt x="542" y="4112"/>
                    </a:lnTo>
                    <a:lnTo>
                      <a:pt x="528" y="4096"/>
                    </a:lnTo>
                    <a:lnTo>
                      <a:pt x="514" y="4082"/>
                    </a:lnTo>
                    <a:lnTo>
                      <a:pt x="502" y="4064"/>
                    </a:lnTo>
                    <a:lnTo>
                      <a:pt x="492" y="4046"/>
                    </a:lnTo>
                    <a:lnTo>
                      <a:pt x="484" y="4026"/>
                    </a:lnTo>
                    <a:lnTo>
                      <a:pt x="478" y="4006"/>
                    </a:lnTo>
                    <a:lnTo>
                      <a:pt x="474" y="3984"/>
                    </a:lnTo>
                    <a:lnTo>
                      <a:pt x="2" y="866"/>
                    </a:lnTo>
                    <a:lnTo>
                      <a:pt x="2" y="866"/>
                    </a:lnTo>
                    <a:lnTo>
                      <a:pt x="0" y="846"/>
                    </a:lnTo>
                    <a:lnTo>
                      <a:pt x="0" y="824"/>
                    </a:lnTo>
                    <a:lnTo>
                      <a:pt x="2" y="802"/>
                    </a:lnTo>
                    <a:lnTo>
                      <a:pt x="6" y="782"/>
                    </a:lnTo>
                    <a:lnTo>
                      <a:pt x="12" y="762"/>
                    </a:lnTo>
                    <a:lnTo>
                      <a:pt x="20" y="744"/>
                    </a:lnTo>
                    <a:lnTo>
                      <a:pt x="30" y="726"/>
                    </a:lnTo>
                    <a:lnTo>
                      <a:pt x="42" y="708"/>
                    </a:lnTo>
                    <a:lnTo>
                      <a:pt x="54" y="694"/>
                    </a:lnTo>
                    <a:lnTo>
                      <a:pt x="70" y="678"/>
                    </a:lnTo>
                    <a:lnTo>
                      <a:pt x="84" y="666"/>
                    </a:lnTo>
                    <a:lnTo>
                      <a:pt x="102" y="654"/>
                    </a:lnTo>
                    <a:lnTo>
                      <a:pt x="120" y="644"/>
                    </a:lnTo>
                    <a:lnTo>
                      <a:pt x="140" y="636"/>
                    </a:lnTo>
                    <a:lnTo>
                      <a:pt x="160" y="630"/>
                    </a:lnTo>
                    <a:lnTo>
                      <a:pt x="182" y="624"/>
                    </a:lnTo>
                    <a:lnTo>
                      <a:pt x="4304" y="2"/>
                    </a:lnTo>
                    <a:lnTo>
                      <a:pt x="4304" y="2"/>
                    </a:lnTo>
                    <a:lnTo>
                      <a:pt x="4324" y="0"/>
                    </a:lnTo>
                    <a:lnTo>
                      <a:pt x="4346" y="0"/>
                    </a:lnTo>
                    <a:lnTo>
                      <a:pt x="4366" y="2"/>
                    </a:lnTo>
                    <a:lnTo>
                      <a:pt x="4388" y="6"/>
                    </a:lnTo>
                    <a:lnTo>
                      <a:pt x="4406" y="12"/>
                    </a:lnTo>
                    <a:lnTo>
                      <a:pt x="4426" y="20"/>
                    </a:lnTo>
                    <a:lnTo>
                      <a:pt x="4444" y="30"/>
                    </a:lnTo>
                    <a:lnTo>
                      <a:pt x="4460" y="42"/>
                    </a:lnTo>
                    <a:lnTo>
                      <a:pt x="4476" y="54"/>
                    </a:lnTo>
                    <a:lnTo>
                      <a:pt x="4492" y="70"/>
                    </a:lnTo>
                    <a:lnTo>
                      <a:pt x="4504" y="84"/>
                    </a:lnTo>
                    <a:lnTo>
                      <a:pt x="4516" y="102"/>
                    </a:lnTo>
                    <a:lnTo>
                      <a:pt x="4526" y="120"/>
                    </a:lnTo>
                    <a:lnTo>
                      <a:pt x="4534" y="140"/>
                    </a:lnTo>
                    <a:lnTo>
                      <a:pt x="4540" y="160"/>
                    </a:lnTo>
                    <a:lnTo>
                      <a:pt x="4546" y="180"/>
                    </a:lnTo>
                    <a:lnTo>
                      <a:pt x="5016" y="3300"/>
                    </a:lnTo>
                    <a:lnTo>
                      <a:pt x="5016" y="3300"/>
                    </a:lnTo>
                    <a:lnTo>
                      <a:pt x="5018" y="3320"/>
                    </a:lnTo>
                    <a:lnTo>
                      <a:pt x="5018" y="3342"/>
                    </a:lnTo>
                    <a:lnTo>
                      <a:pt x="5016" y="3362"/>
                    </a:lnTo>
                    <a:lnTo>
                      <a:pt x="5012" y="3384"/>
                    </a:lnTo>
                    <a:lnTo>
                      <a:pt x="5006" y="3402"/>
                    </a:lnTo>
                    <a:lnTo>
                      <a:pt x="4998" y="3422"/>
                    </a:lnTo>
                    <a:lnTo>
                      <a:pt x="4988" y="3440"/>
                    </a:lnTo>
                    <a:lnTo>
                      <a:pt x="4976" y="3456"/>
                    </a:lnTo>
                    <a:lnTo>
                      <a:pt x="4964" y="3472"/>
                    </a:lnTo>
                    <a:lnTo>
                      <a:pt x="4950" y="3488"/>
                    </a:lnTo>
                    <a:lnTo>
                      <a:pt x="4934" y="3500"/>
                    </a:lnTo>
                    <a:lnTo>
                      <a:pt x="4916" y="3512"/>
                    </a:lnTo>
                    <a:lnTo>
                      <a:pt x="4898" y="3522"/>
                    </a:lnTo>
                    <a:lnTo>
                      <a:pt x="4878" y="3530"/>
                    </a:lnTo>
                    <a:lnTo>
                      <a:pt x="4858" y="3536"/>
                    </a:lnTo>
                    <a:lnTo>
                      <a:pt x="4838" y="3542"/>
                    </a:lnTo>
                    <a:lnTo>
                      <a:pt x="716" y="41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66"/>
              <p:cNvSpPr>
                <a:spLocks/>
              </p:cNvSpPr>
              <p:nvPr/>
            </p:nvSpPr>
            <p:spPr bwMode="auto">
              <a:xfrm>
                <a:off x="1612733" y="1464377"/>
                <a:ext cx="5873836" cy="4868107"/>
              </a:xfrm>
              <a:custGeom>
                <a:avLst/>
                <a:gdLst>
                  <a:gd name="T0" fmla="*/ 690 w 4976"/>
                  <a:gd name="T1" fmla="*/ 4122 h 4124"/>
                  <a:gd name="T2" fmla="*/ 652 w 4976"/>
                  <a:gd name="T3" fmla="*/ 4124 h 4124"/>
                  <a:gd name="T4" fmla="*/ 614 w 4976"/>
                  <a:gd name="T5" fmla="*/ 4118 h 4124"/>
                  <a:gd name="T6" fmla="*/ 580 w 4976"/>
                  <a:gd name="T7" fmla="*/ 4106 h 4124"/>
                  <a:gd name="T8" fmla="*/ 548 w 4976"/>
                  <a:gd name="T9" fmla="*/ 4086 h 4124"/>
                  <a:gd name="T10" fmla="*/ 520 w 4976"/>
                  <a:gd name="T11" fmla="*/ 4062 h 4124"/>
                  <a:gd name="T12" fmla="*/ 498 w 4976"/>
                  <a:gd name="T13" fmla="*/ 4032 h 4124"/>
                  <a:gd name="T14" fmla="*/ 482 w 4976"/>
                  <a:gd name="T15" fmla="*/ 3998 h 4124"/>
                  <a:gd name="T16" fmla="*/ 472 w 4976"/>
                  <a:gd name="T17" fmla="*/ 3962 h 4124"/>
                  <a:gd name="T18" fmla="*/ 2 w 4976"/>
                  <a:gd name="T19" fmla="*/ 842 h 4124"/>
                  <a:gd name="T20" fmla="*/ 0 w 4976"/>
                  <a:gd name="T21" fmla="*/ 804 h 4124"/>
                  <a:gd name="T22" fmla="*/ 6 w 4976"/>
                  <a:gd name="T23" fmla="*/ 766 h 4124"/>
                  <a:gd name="T24" fmla="*/ 18 w 4976"/>
                  <a:gd name="T25" fmla="*/ 732 h 4124"/>
                  <a:gd name="T26" fmla="*/ 38 w 4976"/>
                  <a:gd name="T27" fmla="*/ 700 h 4124"/>
                  <a:gd name="T28" fmla="*/ 62 w 4976"/>
                  <a:gd name="T29" fmla="*/ 672 h 4124"/>
                  <a:gd name="T30" fmla="*/ 90 w 4976"/>
                  <a:gd name="T31" fmla="*/ 650 h 4124"/>
                  <a:gd name="T32" fmla="*/ 124 w 4976"/>
                  <a:gd name="T33" fmla="*/ 634 h 4124"/>
                  <a:gd name="T34" fmla="*/ 162 w 4976"/>
                  <a:gd name="T35" fmla="*/ 624 h 4124"/>
                  <a:gd name="T36" fmla="*/ 4288 w 4976"/>
                  <a:gd name="T37" fmla="*/ 2 h 4124"/>
                  <a:gd name="T38" fmla="*/ 4326 w 4976"/>
                  <a:gd name="T39" fmla="*/ 0 h 4124"/>
                  <a:gd name="T40" fmla="*/ 4362 w 4976"/>
                  <a:gd name="T41" fmla="*/ 6 h 4124"/>
                  <a:gd name="T42" fmla="*/ 4398 w 4976"/>
                  <a:gd name="T43" fmla="*/ 18 h 4124"/>
                  <a:gd name="T44" fmla="*/ 4428 w 4976"/>
                  <a:gd name="T45" fmla="*/ 38 h 4124"/>
                  <a:gd name="T46" fmla="*/ 4456 w 4976"/>
                  <a:gd name="T47" fmla="*/ 62 h 4124"/>
                  <a:gd name="T48" fmla="*/ 4478 w 4976"/>
                  <a:gd name="T49" fmla="*/ 90 h 4124"/>
                  <a:gd name="T50" fmla="*/ 4494 w 4976"/>
                  <a:gd name="T51" fmla="*/ 124 h 4124"/>
                  <a:gd name="T52" fmla="*/ 4504 w 4976"/>
                  <a:gd name="T53" fmla="*/ 162 h 4124"/>
                  <a:gd name="T54" fmla="*/ 4976 w 4976"/>
                  <a:gd name="T55" fmla="*/ 3282 h 4124"/>
                  <a:gd name="T56" fmla="*/ 4976 w 4976"/>
                  <a:gd name="T57" fmla="*/ 3320 h 4124"/>
                  <a:gd name="T58" fmla="*/ 4972 w 4976"/>
                  <a:gd name="T59" fmla="*/ 3358 h 4124"/>
                  <a:gd name="T60" fmla="*/ 4958 w 4976"/>
                  <a:gd name="T61" fmla="*/ 3392 h 4124"/>
                  <a:gd name="T62" fmla="*/ 4940 w 4976"/>
                  <a:gd name="T63" fmla="*/ 3424 h 4124"/>
                  <a:gd name="T64" fmla="*/ 4916 w 4976"/>
                  <a:gd name="T65" fmla="*/ 3450 h 4124"/>
                  <a:gd name="T66" fmla="*/ 4886 w 4976"/>
                  <a:gd name="T67" fmla="*/ 3474 h 4124"/>
                  <a:gd name="T68" fmla="*/ 4852 w 4976"/>
                  <a:gd name="T69" fmla="*/ 3490 h 4124"/>
                  <a:gd name="T70" fmla="*/ 4816 w 4976"/>
                  <a:gd name="T71" fmla="*/ 3498 h 4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76" h="4124">
                    <a:moveTo>
                      <a:pt x="690" y="4122"/>
                    </a:moveTo>
                    <a:lnTo>
                      <a:pt x="690" y="4122"/>
                    </a:lnTo>
                    <a:lnTo>
                      <a:pt x="670" y="4124"/>
                    </a:lnTo>
                    <a:lnTo>
                      <a:pt x="652" y="4124"/>
                    </a:lnTo>
                    <a:lnTo>
                      <a:pt x="632" y="4122"/>
                    </a:lnTo>
                    <a:lnTo>
                      <a:pt x="614" y="4118"/>
                    </a:lnTo>
                    <a:lnTo>
                      <a:pt x="596" y="4112"/>
                    </a:lnTo>
                    <a:lnTo>
                      <a:pt x="580" y="4106"/>
                    </a:lnTo>
                    <a:lnTo>
                      <a:pt x="564" y="4096"/>
                    </a:lnTo>
                    <a:lnTo>
                      <a:pt x="548" y="4086"/>
                    </a:lnTo>
                    <a:lnTo>
                      <a:pt x="534" y="4074"/>
                    </a:lnTo>
                    <a:lnTo>
                      <a:pt x="520" y="4062"/>
                    </a:lnTo>
                    <a:lnTo>
                      <a:pt x="510" y="4048"/>
                    </a:lnTo>
                    <a:lnTo>
                      <a:pt x="498" y="4032"/>
                    </a:lnTo>
                    <a:lnTo>
                      <a:pt x="490" y="4016"/>
                    </a:lnTo>
                    <a:lnTo>
                      <a:pt x="482" y="3998"/>
                    </a:lnTo>
                    <a:lnTo>
                      <a:pt x="476" y="3980"/>
                    </a:lnTo>
                    <a:lnTo>
                      <a:pt x="472" y="3962"/>
                    </a:lnTo>
                    <a:lnTo>
                      <a:pt x="2" y="842"/>
                    </a:lnTo>
                    <a:lnTo>
                      <a:pt x="2" y="842"/>
                    </a:lnTo>
                    <a:lnTo>
                      <a:pt x="0" y="822"/>
                    </a:lnTo>
                    <a:lnTo>
                      <a:pt x="0" y="804"/>
                    </a:lnTo>
                    <a:lnTo>
                      <a:pt x="2" y="784"/>
                    </a:lnTo>
                    <a:lnTo>
                      <a:pt x="6" y="766"/>
                    </a:lnTo>
                    <a:lnTo>
                      <a:pt x="12" y="748"/>
                    </a:lnTo>
                    <a:lnTo>
                      <a:pt x="18" y="732"/>
                    </a:lnTo>
                    <a:lnTo>
                      <a:pt x="26" y="716"/>
                    </a:lnTo>
                    <a:lnTo>
                      <a:pt x="38" y="700"/>
                    </a:lnTo>
                    <a:lnTo>
                      <a:pt x="48" y="686"/>
                    </a:lnTo>
                    <a:lnTo>
                      <a:pt x="62" y="672"/>
                    </a:lnTo>
                    <a:lnTo>
                      <a:pt x="76" y="662"/>
                    </a:lnTo>
                    <a:lnTo>
                      <a:pt x="90" y="650"/>
                    </a:lnTo>
                    <a:lnTo>
                      <a:pt x="108" y="642"/>
                    </a:lnTo>
                    <a:lnTo>
                      <a:pt x="124" y="634"/>
                    </a:lnTo>
                    <a:lnTo>
                      <a:pt x="142" y="628"/>
                    </a:lnTo>
                    <a:lnTo>
                      <a:pt x="162" y="624"/>
                    </a:lnTo>
                    <a:lnTo>
                      <a:pt x="4288" y="2"/>
                    </a:lnTo>
                    <a:lnTo>
                      <a:pt x="4288" y="2"/>
                    </a:lnTo>
                    <a:lnTo>
                      <a:pt x="4306" y="0"/>
                    </a:lnTo>
                    <a:lnTo>
                      <a:pt x="4326" y="0"/>
                    </a:lnTo>
                    <a:lnTo>
                      <a:pt x="4344" y="2"/>
                    </a:lnTo>
                    <a:lnTo>
                      <a:pt x="4362" y="6"/>
                    </a:lnTo>
                    <a:lnTo>
                      <a:pt x="4380" y="12"/>
                    </a:lnTo>
                    <a:lnTo>
                      <a:pt x="4398" y="18"/>
                    </a:lnTo>
                    <a:lnTo>
                      <a:pt x="4414" y="28"/>
                    </a:lnTo>
                    <a:lnTo>
                      <a:pt x="4428" y="38"/>
                    </a:lnTo>
                    <a:lnTo>
                      <a:pt x="4442" y="48"/>
                    </a:lnTo>
                    <a:lnTo>
                      <a:pt x="4456" y="62"/>
                    </a:lnTo>
                    <a:lnTo>
                      <a:pt x="4468" y="76"/>
                    </a:lnTo>
                    <a:lnTo>
                      <a:pt x="4478" y="90"/>
                    </a:lnTo>
                    <a:lnTo>
                      <a:pt x="4488" y="108"/>
                    </a:lnTo>
                    <a:lnTo>
                      <a:pt x="4494" y="124"/>
                    </a:lnTo>
                    <a:lnTo>
                      <a:pt x="4500" y="142"/>
                    </a:lnTo>
                    <a:lnTo>
                      <a:pt x="4504" y="162"/>
                    </a:lnTo>
                    <a:lnTo>
                      <a:pt x="4976" y="3282"/>
                    </a:lnTo>
                    <a:lnTo>
                      <a:pt x="4976" y="3282"/>
                    </a:lnTo>
                    <a:lnTo>
                      <a:pt x="4976" y="3302"/>
                    </a:lnTo>
                    <a:lnTo>
                      <a:pt x="4976" y="3320"/>
                    </a:lnTo>
                    <a:lnTo>
                      <a:pt x="4974" y="3340"/>
                    </a:lnTo>
                    <a:lnTo>
                      <a:pt x="4972" y="3358"/>
                    </a:lnTo>
                    <a:lnTo>
                      <a:pt x="4966" y="3376"/>
                    </a:lnTo>
                    <a:lnTo>
                      <a:pt x="4958" y="3392"/>
                    </a:lnTo>
                    <a:lnTo>
                      <a:pt x="4950" y="3408"/>
                    </a:lnTo>
                    <a:lnTo>
                      <a:pt x="4940" y="3424"/>
                    </a:lnTo>
                    <a:lnTo>
                      <a:pt x="4928" y="3438"/>
                    </a:lnTo>
                    <a:lnTo>
                      <a:pt x="4916" y="3450"/>
                    </a:lnTo>
                    <a:lnTo>
                      <a:pt x="4902" y="3462"/>
                    </a:lnTo>
                    <a:lnTo>
                      <a:pt x="4886" y="3474"/>
                    </a:lnTo>
                    <a:lnTo>
                      <a:pt x="4870" y="3482"/>
                    </a:lnTo>
                    <a:lnTo>
                      <a:pt x="4852" y="3490"/>
                    </a:lnTo>
                    <a:lnTo>
                      <a:pt x="4834" y="3496"/>
                    </a:lnTo>
                    <a:lnTo>
                      <a:pt x="4816" y="3498"/>
                    </a:lnTo>
                    <a:lnTo>
                      <a:pt x="690" y="4122"/>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67"/>
              <p:cNvSpPr>
                <a:spLocks/>
              </p:cNvSpPr>
              <p:nvPr/>
            </p:nvSpPr>
            <p:spPr bwMode="auto">
              <a:xfrm>
                <a:off x="1612733" y="1464377"/>
                <a:ext cx="5873836" cy="4868107"/>
              </a:xfrm>
              <a:custGeom>
                <a:avLst/>
                <a:gdLst>
                  <a:gd name="T0" fmla="*/ 690 w 4976"/>
                  <a:gd name="T1" fmla="*/ 4122 h 4124"/>
                  <a:gd name="T2" fmla="*/ 652 w 4976"/>
                  <a:gd name="T3" fmla="*/ 4124 h 4124"/>
                  <a:gd name="T4" fmla="*/ 614 w 4976"/>
                  <a:gd name="T5" fmla="*/ 4118 h 4124"/>
                  <a:gd name="T6" fmla="*/ 580 w 4976"/>
                  <a:gd name="T7" fmla="*/ 4106 h 4124"/>
                  <a:gd name="T8" fmla="*/ 548 w 4976"/>
                  <a:gd name="T9" fmla="*/ 4086 h 4124"/>
                  <a:gd name="T10" fmla="*/ 520 w 4976"/>
                  <a:gd name="T11" fmla="*/ 4062 h 4124"/>
                  <a:gd name="T12" fmla="*/ 498 w 4976"/>
                  <a:gd name="T13" fmla="*/ 4032 h 4124"/>
                  <a:gd name="T14" fmla="*/ 482 w 4976"/>
                  <a:gd name="T15" fmla="*/ 3998 h 4124"/>
                  <a:gd name="T16" fmla="*/ 472 w 4976"/>
                  <a:gd name="T17" fmla="*/ 3962 h 4124"/>
                  <a:gd name="T18" fmla="*/ 2 w 4976"/>
                  <a:gd name="T19" fmla="*/ 842 h 4124"/>
                  <a:gd name="T20" fmla="*/ 0 w 4976"/>
                  <a:gd name="T21" fmla="*/ 804 h 4124"/>
                  <a:gd name="T22" fmla="*/ 6 w 4976"/>
                  <a:gd name="T23" fmla="*/ 766 h 4124"/>
                  <a:gd name="T24" fmla="*/ 18 w 4976"/>
                  <a:gd name="T25" fmla="*/ 732 h 4124"/>
                  <a:gd name="T26" fmla="*/ 38 w 4976"/>
                  <a:gd name="T27" fmla="*/ 700 h 4124"/>
                  <a:gd name="T28" fmla="*/ 62 w 4976"/>
                  <a:gd name="T29" fmla="*/ 672 h 4124"/>
                  <a:gd name="T30" fmla="*/ 90 w 4976"/>
                  <a:gd name="T31" fmla="*/ 650 h 4124"/>
                  <a:gd name="T32" fmla="*/ 124 w 4976"/>
                  <a:gd name="T33" fmla="*/ 634 h 4124"/>
                  <a:gd name="T34" fmla="*/ 162 w 4976"/>
                  <a:gd name="T35" fmla="*/ 624 h 4124"/>
                  <a:gd name="T36" fmla="*/ 4288 w 4976"/>
                  <a:gd name="T37" fmla="*/ 2 h 4124"/>
                  <a:gd name="T38" fmla="*/ 4326 w 4976"/>
                  <a:gd name="T39" fmla="*/ 0 h 4124"/>
                  <a:gd name="T40" fmla="*/ 4362 w 4976"/>
                  <a:gd name="T41" fmla="*/ 6 h 4124"/>
                  <a:gd name="T42" fmla="*/ 4398 w 4976"/>
                  <a:gd name="T43" fmla="*/ 18 h 4124"/>
                  <a:gd name="T44" fmla="*/ 4428 w 4976"/>
                  <a:gd name="T45" fmla="*/ 38 h 4124"/>
                  <a:gd name="T46" fmla="*/ 4456 w 4976"/>
                  <a:gd name="T47" fmla="*/ 62 h 4124"/>
                  <a:gd name="T48" fmla="*/ 4478 w 4976"/>
                  <a:gd name="T49" fmla="*/ 90 h 4124"/>
                  <a:gd name="T50" fmla="*/ 4494 w 4976"/>
                  <a:gd name="T51" fmla="*/ 124 h 4124"/>
                  <a:gd name="T52" fmla="*/ 4504 w 4976"/>
                  <a:gd name="T53" fmla="*/ 162 h 4124"/>
                  <a:gd name="T54" fmla="*/ 4976 w 4976"/>
                  <a:gd name="T55" fmla="*/ 3282 h 4124"/>
                  <a:gd name="T56" fmla="*/ 4976 w 4976"/>
                  <a:gd name="T57" fmla="*/ 3320 h 4124"/>
                  <a:gd name="T58" fmla="*/ 4972 w 4976"/>
                  <a:gd name="T59" fmla="*/ 3358 h 4124"/>
                  <a:gd name="T60" fmla="*/ 4958 w 4976"/>
                  <a:gd name="T61" fmla="*/ 3392 h 4124"/>
                  <a:gd name="T62" fmla="*/ 4940 w 4976"/>
                  <a:gd name="T63" fmla="*/ 3424 h 4124"/>
                  <a:gd name="T64" fmla="*/ 4916 w 4976"/>
                  <a:gd name="T65" fmla="*/ 3450 h 4124"/>
                  <a:gd name="T66" fmla="*/ 4886 w 4976"/>
                  <a:gd name="T67" fmla="*/ 3474 h 4124"/>
                  <a:gd name="T68" fmla="*/ 4852 w 4976"/>
                  <a:gd name="T69" fmla="*/ 3490 h 4124"/>
                  <a:gd name="T70" fmla="*/ 4816 w 4976"/>
                  <a:gd name="T71" fmla="*/ 3498 h 4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76" h="4124">
                    <a:moveTo>
                      <a:pt x="690" y="4122"/>
                    </a:moveTo>
                    <a:lnTo>
                      <a:pt x="690" y="4122"/>
                    </a:lnTo>
                    <a:lnTo>
                      <a:pt x="670" y="4124"/>
                    </a:lnTo>
                    <a:lnTo>
                      <a:pt x="652" y="4124"/>
                    </a:lnTo>
                    <a:lnTo>
                      <a:pt x="632" y="4122"/>
                    </a:lnTo>
                    <a:lnTo>
                      <a:pt x="614" y="4118"/>
                    </a:lnTo>
                    <a:lnTo>
                      <a:pt x="596" y="4112"/>
                    </a:lnTo>
                    <a:lnTo>
                      <a:pt x="580" y="4106"/>
                    </a:lnTo>
                    <a:lnTo>
                      <a:pt x="564" y="4096"/>
                    </a:lnTo>
                    <a:lnTo>
                      <a:pt x="548" y="4086"/>
                    </a:lnTo>
                    <a:lnTo>
                      <a:pt x="534" y="4074"/>
                    </a:lnTo>
                    <a:lnTo>
                      <a:pt x="520" y="4062"/>
                    </a:lnTo>
                    <a:lnTo>
                      <a:pt x="510" y="4048"/>
                    </a:lnTo>
                    <a:lnTo>
                      <a:pt x="498" y="4032"/>
                    </a:lnTo>
                    <a:lnTo>
                      <a:pt x="490" y="4016"/>
                    </a:lnTo>
                    <a:lnTo>
                      <a:pt x="482" y="3998"/>
                    </a:lnTo>
                    <a:lnTo>
                      <a:pt x="476" y="3980"/>
                    </a:lnTo>
                    <a:lnTo>
                      <a:pt x="472" y="3962"/>
                    </a:lnTo>
                    <a:lnTo>
                      <a:pt x="2" y="842"/>
                    </a:lnTo>
                    <a:lnTo>
                      <a:pt x="2" y="842"/>
                    </a:lnTo>
                    <a:lnTo>
                      <a:pt x="0" y="822"/>
                    </a:lnTo>
                    <a:lnTo>
                      <a:pt x="0" y="804"/>
                    </a:lnTo>
                    <a:lnTo>
                      <a:pt x="2" y="784"/>
                    </a:lnTo>
                    <a:lnTo>
                      <a:pt x="6" y="766"/>
                    </a:lnTo>
                    <a:lnTo>
                      <a:pt x="12" y="748"/>
                    </a:lnTo>
                    <a:lnTo>
                      <a:pt x="18" y="732"/>
                    </a:lnTo>
                    <a:lnTo>
                      <a:pt x="26" y="716"/>
                    </a:lnTo>
                    <a:lnTo>
                      <a:pt x="38" y="700"/>
                    </a:lnTo>
                    <a:lnTo>
                      <a:pt x="48" y="686"/>
                    </a:lnTo>
                    <a:lnTo>
                      <a:pt x="62" y="672"/>
                    </a:lnTo>
                    <a:lnTo>
                      <a:pt x="76" y="662"/>
                    </a:lnTo>
                    <a:lnTo>
                      <a:pt x="90" y="650"/>
                    </a:lnTo>
                    <a:lnTo>
                      <a:pt x="108" y="642"/>
                    </a:lnTo>
                    <a:lnTo>
                      <a:pt x="124" y="634"/>
                    </a:lnTo>
                    <a:lnTo>
                      <a:pt x="142" y="628"/>
                    </a:lnTo>
                    <a:lnTo>
                      <a:pt x="162" y="624"/>
                    </a:lnTo>
                    <a:lnTo>
                      <a:pt x="4288" y="2"/>
                    </a:lnTo>
                    <a:lnTo>
                      <a:pt x="4288" y="2"/>
                    </a:lnTo>
                    <a:lnTo>
                      <a:pt x="4306" y="0"/>
                    </a:lnTo>
                    <a:lnTo>
                      <a:pt x="4326" y="0"/>
                    </a:lnTo>
                    <a:lnTo>
                      <a:pt x="4344" y="2"/>
                    </a:lnTo>
                    <a:lnTo>
                      <a:pt x="4362" y="6"/>
                    </a:lnTo>
                    <a:lnTo>
                      <a:pt x="4380" y="12"/>
                    </a:lnTo>
                    <a:lnTo>
                      <a:pt x="4398" y="18"/>
                    </a:lnTo>
                    <a:lnTo>
                      <a:pt x="4414" y="28"/>
                    </a:lnTo>
                    <a:lnTo>
                      <a:pt x="4428" y="38"/>
                    </a:lnTo>
                    <a:lnTo>
                      <a:pt x="4442" y="48"/>
                    </a:lnTo>
                    <a:lnTo>
                      <a:pt x="4456" y="62"/>
                    </a:lnTo>
                    <a:lnTo>
                      <a:pt x="4468" y="76"/>
                    </a:lnTo>
                    <a:lnTo>
                      <a:pt x="4478" y="90"/>
                    </a:lnTo>
                    <a:lnTo>
                      <a:pt x="4488" y="108"/>
                    </a:lnTo>
                    <a:lnTo>
                      <a:pt x="4494" y="124"/>
                    </a:lnTo>
                    <a:lnTo>
                      <a:pt x="4500" y="142"/>
                    </a:lnTo>
                    <a:lnTo>
                      <a:pt x="4504" y="162"/>
                    </a:lnTo>
                    <a:lnTo>
                      <a:pt x="4976" y="3282"/>
                    </a:lnTo>
                    <a:lnTo>
                      <a:pt x="4976" y="3282"/>
                    </a:lnTo>
                    <a:lnTo>
                      <a:pt x="4976" y="3302"/>
                    </a:lnTo>
                    <a:lnTo>
                      <a:pt x="4976" y="3320"/>
                    </a:lnTo>
                    <a:lnTo>
                      <a:pt x="4974" y="3340"/>
                    </a:lnTo>
                    <a:lnTo>
                      <a:pt x="4972" y="3358"/>
                    </a:lnTo>
                    <a:lnTo>
                      <a:pt x="4966" y="3376"/>
                    </a:lnTo>
                    <a:lnTo>
                      <a:pt x="4958" y="3392"/>
                    </a:lnTo>
                    <a:lnTo>
                      <a:pt x="4950" y="3408"/>
                    </a:lnTo>
                    <a:lnTo>
                      <a:pt x="4940" y="3424"/>
                    </a:lnTo>
                    <a:lnTo>
                      <a:pt x="4928" y="3438"/>
                    </a:lnTo>
                    <a:lnTo>
                      <a:pt x="4916" y="3450"/>
                    </a:lnTo>
                    <a:lnTo>
                      <a:pt x="4902" y="3462"/>
                    </a:lnTo>
                    <a:lnTo>
                      <a:pt x="4886" y="3474"/>
                    </a:lnTo>
                    <a:lnTo>
                      <a:pt x="4870" y="3482"/>
                    </a:lnTo>
                    <a:lnTo>
                      <a:pt x="4852" y="3490"/>
                    </a:lnTo>
                    <a:lnTo>
                      <a:pt x="4834" y="3496"/>
                    </a:lnTo>
                    <a:lnTo>
                      <a:pt x="4816" y="3498"/>
                    </a:lnTo>
                    <a:lnTo>
                      <a:pt x="690" y="41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68"/>
              <p:cNvSpPr>
                <a:spLocks/>
              </p:cNvSpPr>
              <p:nvPr/>
            </p:nvSpPr>
            <p:spPr bwMode="auto">
              <a:xfrm>
                <a:off x="1608012" y="1459655"/>
                <a:ext cx="5885641" cy="4875190"/>
              </a:xfrm>
              <a:custGeom>
                <a:avLst/>
                <a:gdLst>
                  <a:gd name="T0" fmla="*/ 694 w 4986"/>
                  <a:gd name="T1" fmla="*/ 4128 h 4130"/>
                  <a:gd name="T2" fmla="*/ 654 w 4986"/>
                  <a:gd name="T3" fmla="*/ 4130 h 4130"/>
                  <a:gd name="T4" fmla="*/ 616 w 4986"/>
                  <a:gd name="T5" fmla="*/ 4126 h 4130"/>
                  <a:gd name="T6" fmla="*/ 582 w 4986"/>
                  <a:gd name="T7" fmla="*/ 4112 h 4130"/>
                  <a:gd name="T8" fmla="*/ 550 w 4986"/>
                  <a:gd name="T9" fmla="*/ 4092 h 4130"/>
                  <a:gd name="T10" fmla="*/ 522 w 4986"/>
                  <a:gd name="T11" fmla="*/ 4068 h 4130"/>
                  <a:gd name="T12" fmla="*/ 500 w 4986"/>
                  <a:gd name="T13" fmla="*/ 4038 h 4130"/>
                  <a:gd name="T14" fmla="*/ 482 w 4986"/>
                  <a:gd name="T15" fmla="*/ 4004 h 4130"/>
                  <a:gd name="T16" fmla="*/ 472 w 4986"/>
                  <a:gd name="T17" fmla="*/ 3966 h 4130"/>
                  <a:gd name="T18" fmla="*/ 2 w 4986"/>
                  <a:gd name="T19" fmla="*/ 846 h 4130"/>
                  <a:gd name="T20" fmla="*/ 0 w 4986"/>
                  <a:gd name="T21" fmla="*/ 808 h 4130"/>
                  <a:gd name="T22" fmla="*/ 6 w 4986"/>
                  <a:gd name="T23" fmla="*/ 770 h 4130"/>
                  <a:gd name="T24" fmla="*/ 18 w 4986"/>
                  <a:gd name="T25" fmla="*/ 734 h 4130"/>
                  <a:gd name="T26" fmla="*/ 38 w 4986"/>
                  <a:gd name="T27" fmla="*/ 702 h 4130"/>
                  <a:gd name="T28" fmla="*/ 62 w 4986"/>
                  <a:gd name="T29" fmla="*/ 674 h 4130"/>
                  <a:gd name="T30" fmla="*/ 92 w 4986"/>
                  <a:gd name="T31" fmla="*/ 652 h 4130"/>
                  <a:gd name="T32" fmla="*/ 126 w 4986"/>
                  <a:gd name="T33" fmla="*/ 636 h 4130"/>
                  <a:gd name="T34" fmla="*/ 164 w 4986"/>
                  <a:gd name="T35" fmla="*/ 626 h 4130"/>
                  <a:gd name="T36" fmla="*/ 4292 w 4986"/>
                  <a:gd name="T37" fmla="*/ 2 h 4130"/>
                  <a:gd name="T38" fmla="*/ 4330 w 4986"/>
                  <a:gd name="T39" fmla="*/ 0 h 4130"/>
                  <a:gd name="T40" fmla="*/ 4368 w 4986"/>
                  <a:gd name="T41" fmla="*/ 6 h 4130"/>
                  <a:gd name="T42" fmla="*/ 4404 w 4986"/>
                  <a:gd name="T43" fmla="*/ 20 h 4130"/>
                  <a:gd name="T44" fmla="*/ 4436 w 4986"/>
                  <a:gd name="T45" fmla="*/ 38 h 4130"/>
                  <a:gd name="T46" fmla="*/ 4464 w 4986"/>
                  <a:gd name="T47" fmla="*/ 64 h 4130"/>
                  <a:gd name="T48" fmla="*/ 4486 w 4986"/>
                  <a:gd name="T49" fmla="*/ 94 h 4130"/>
                  <a:gd name="T50" fmla="*/ 4502 w 4986"/>
                  <a:gd name="T51" fmla="*/ 128 h 4130"/>
                  <a:gd name="T52" fmla="*/ 4512 w 4986"/>
                  <a:gd name="T53" fmla="*/ 166 h 4130"/>
                  <a:gd name="T54" fmla="*/ 4984 w 4986"/>
                  <a:gd name="T55" fmla="*/ 3284 h 4130"/>
                  <a:gd name="T56" fmla="*/ 4984 w 4986"/>
                  <a:gd name="T57" fmla="*/ 3324 h 4130"/>
                  <a:gd name="T58" fmla="*/ 4980 w 4986"/>
                  <a:gd name="T59" fmla="*/ 3362 h 4130"/>
                  <a:gd name="T60" fmla="*/ 4966 w 4986"/>
                  <a:gd name="T61" fmla="*/ 3398 h 4130"/>
                  <a:gd name="T62" fmla="*/ 4948 w 4986"/>
                  <a:gd name="T63" fmla="*/ 3430 h 4130"/>
                  <a:gd name="T64" fmla="*/ 4922 w 4986"/>
                  <a:gd name="T65" fmla="*/ 3456 h 4130"/>
                  <a:gd name="T66" fmla="*/ 4892 w 4986"/>
                  <a:gd name="T67" fmla="*/ 3480 h 4130"/>
                  <a:gd name="T68" fmla="*/ 4858 w 4986"/>
                  <a:gd name="T69" fmla="*/ 3496 h 4130"/>
                  <a:gd name="T70" fmla="*/ 4820 w 4986"/>
                  <a:gd name="T71" fmla="*/ 3506 h 4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86" h="4130">
                    <a:moveTo>
                      <a:pt x="694" y="4128"/>
                    </a:moveTo>
                    <a:lnTo>
                      <a:pt x="694" y="4128"/>
                    </a:lnTo>
                    <a:lnTo>
                      <a:pt x="674" y="4130"/>
                    </a:lnTo>
                    <a:lnTo>
                      <a:pt x="654" y="4130"/>
                    </a:lnTo>
                    <a:lnTo>
                      <a:pt x="636" y="4128"/>
                    </a:lnTo>
                    <a:lnTo>
                      <a:pt x="616" y="4126"/>
                    </a:lnTo>
                    <a:lnTo>
                      <a:pt x="598" y="4120"/>
                    </a:lnTo>
                    <a:lnTo>
                      <a:pt x="582" y="4112"/>
                    </a:lnTo>
                    <a:lnTo>
                      <a:pt x="566" y="4104"/>
                    </a:lnTo>
                    <a:lnTo>
                      <a:pt x="550" y="4092"/>
                    </a:lnTo>
                    <a:lnTo>
                      <a:pt x="536" y="4082"/>
                    </a:lnTo>
                    <a:lnTo>
                      <a:pt x="522" y="4068"/>
                    </a:lnTo>
                    <a:lnTo>
                      <a:pt x="510" y="4054"/>
                    </a:lnTo>
                    <a:lnTo>
                      <a:pt x="500" y="4038"/>
                    </a:lnTo>
                    <a:lnTo>
                      <a:pt x="490" y="4022"/>
                    </a:lnTo>
                    <a:lnTo>
                      <a:pt x="482" y="4004"/>
                    </a:lnTo>
                    <a:lnTo>
                      <a:pt x="476" y="3986"/>
                    </a:lnTo>
                    <a:lnTo>
                      <a:pt x="472" y="3966"/>
                    </a:lnTo>
                    <a:lnTo>
                      <a:pt x="2" y="846"/>
                    </a:lnTo>
                    <a:lnTo>
                      <a:pt x="2" y="846"/>
                    </a:lnTo>
                    <a:lnTo>
                      <a:pt x="0" y="826"/>
                    </a:lnTo>
                    <a:lnTo>
                      <a:pt x="0" y="808"/>
                    </a:lnTo>
                    <a:lnTo>
                      <a:pt x="2" y="788"/>
                    </a:lnTo>
                    <a:lnTo>
                      <a:pt x="6" y="770"/>
                    </a:lnTo>
                    <a:lnTo>
                      <a:pt x="12" y="752"/>
                    </a:lnTo>
                    <a:lnTo>
                      <a:pt x="18" y="734"/>
                    </a:lnTo>
                    <a:lnTo>
                      <a:pt x="28" y="718"/>
                    </a:lnTo>
                    <a:lnTo>
                      <a:pt x="38" y="702"/>
                    </a:lnTo>
                    <a:lnTo>
                      <a:pt x="50" y="688"/>
                    </a:lnTo>
                    <a:lnTo>
                      <a:pt x="62" y="674"/>
                    </a:lnTo>
                    <a:lnTo>
                      <a:pt x="78" y="662"/>
                    </a:lnTo>
                    <a:lnTo>
                      <a:pt x="92" y="652"/>
                    </a:lnTo>
                    <a:lnTo>
                      <a:pt x="110" y="642"/>
                    </a:lnTo>
                    <a:lnTo>
                      <a:pt x="126" y="636"/>
                    </a:lnTo>
                    <a:lnTo>
                      <a:pt x="146" y="630"/>
                    </a:lnTo>
                    <a:lnTo>
                      <a:pt x="164" y="626"/>
                    </a:lnTo>
                    <a:lnTo>
                      <a:pt x="4292" y="2"/>
                    </a:lnTo>
                    <a:lnTo>
                      <a:pt x="4292" y="2"/>
                    </a:lnTo>
                    <a:lnTo>
                      <a:pt x="4310" y="0"/>
                    </a:lnTo>
                    <a:lnTo>
                      <a:pt x="4330" y="0"/>
                    </a:lnTo>
                    <a:lnTo>
                      <a:pt x="4350" y="2"/>
                    </a:lnTo>
                    <a:lnTo>
                      <a:pt x="4368" y="6"/>
                    </a:lnTo>
                    <a:lnTo>
                      <a:pt x="4386" y="12"/>
                    </a:lnTo>
                    <a:lnTo>
                      <a:pt x="4404" y="20"/>
                    </a:lnTo>
                    <a:lnTo>
                      <a:pt x="4420" y="28"/>
                    </a:lnTo>
                    <a:lnTo>
                      <a:pt x="4436" y="38"/>
                    </a:lnTo>
                    <a:lnTo>
                      <a:pt x="4450" y="50"/>
                    </a:lnTo>
                    <a:lnTo>
                      <a:pt x="4464" y="64"/>
                    </a:lnTo>
                    <a:lnTo>
                      <a:pt x="4476" y="78"/>
                    </a:lnTo>
                    <a:lnTo>
                      <a:pt x="4486" y="94"/>
                    </a:lnTo>
                    <a:lnTo>
                      <a:pt x="4494" y="110"/>
                    </a:lnTo>
                    <a:lnTo>
                      <a:pt x="4502" y="128"/>
                    </a:lnTo>
                    <a:lnTo>
                      <a:pt x="4508" y="146"/>
                    </a:lnTo>
                    <a:lnTo>
                      <a:pt x="4512" y="166"/>
                    </a:lnTo>
                    <a:lnTo>
                      <a:pt x="4984" y="3284"/>
                    </a:lnTo>
                    <a:lnTo>
                      <a:pt x="4984" y="3284"/>
                    </a:lnTo>
                    <a:lnTo>
                      <a:pt x="4986" y="3304"/>
                    </a:lnTo>
                    <a:lnTo>
                      <a:pt x="4984" y="3324"/>
                    </a:lnTo>
                    <a:lnTo>
                      <a:pt x="4982" y="3344"/>
                    </a:lnTo>
                    <a:lnTo>
                      <a:pt x="4980" y="3362"/>
                    </a:lnTo>
                    <a:lnTo>
                      <a:pt x="4974" y="3380"/>
                    </a:lnTo>
                    <a:lnTo>
                      <a:pt x="4966" y="3398"/>
                    </a:lnTo>
                    <a:lnTo>
                      <a:pt x="4958" y="3414"/>
                    </a:lnTo>
                    <a:lnTo>
                      <a:pt x="4948" y="3430"/>
                    </a:lnTo>
                    <a:lnTo>
                      <a:pt x="4936" y="3444"/>
                    </a:lnTo>
                    <a:lnTo>
                      <a:pt x="4922" y="3456"/>
                    </a:lnTo>
                    <a:lnTo>
                      <a:pt x="4908" y="3468"/>
                    </a:lnTo>
                    <a:lnTo>
                      <a:pt x="4892" y="3480"/>
                    </a:lnTo>
                    <a:lnTo>
                      <a:pt x="4876" y="3488"/>
                    </a:lnTo>
                    <a:lnTo>
                      <a:pt x="4858" y="3496"/>
                    </a:lnTo>
                    <a:lnTo>
                      <a:pt x="4840" y="3502"/>
                    </a:lnTo>
                    <a:lnTo>
                      <a:pt x="4820" y="3506"/>
                    </a:lnTo>
                    <a:lnTo>
                      <a:pt x="694" y="41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69"/>
              <p:cNvSpPr>
                <a:spLocks/>
              </p:cNvSpPr>
              <p:nvPr/>
            </p:nvSpPr>
            <p:spPr bwMode="auto">
              <a:xfrm>
                <a:off x="1608012" y="1459655"/>
                <a:ext cx="5885641" cy="4875190"/>
              </a:xfrm>
              <a:custGeom>
                <a:avLst/>
                <a:gdLst>
                  <a:gd name="T0" fmla="*/ 694 w 4986"/>
                  <a:gd name="T1" fmla="*/ 4128 h 4130"/>
                  <a:gd name="T2" fmla="*/ 654 w 4986"/>
                  <a:gd name="T3" fmla="*/ 4130 h 4130"/>
                  <a:gd name="T4" fmla="*/ 616 w 4986"/>
                  <a:gd name="T5" fmla="*/ 4126 h 4130"/>
                  <a:gd name="T6" fmla="*/ 582 w 4986"/>
                  <a:gd name="T7" fmla="*/ 4112 h 4130"/>
                  <a:gd name="T8" fmla="*/ 550 w 4986"/>
                  <a:gd name="T9" fmla="*/ 4092 h 4130"/>
                  <a:gd name="T10" fmla="*/ 522 w 4986"/>
                  <a:gd name="T11" fmla="*/ 4068 h 4130"/>
                  <a:gd name="T12" fmla="*/ 500 w 4986"/>
                  <a:gd name="T13" fmla="*/ 4038 h 4130"/>
                  <a:gd name="T14" fmla="*/ 482 w 4986"/>
                  <a:gd name="T15" fmla="*/ 4004 h 4130"/>
                  <a:gd name="T16" fmla="*/ 472 w 4986"/>
                  <a:gd name="T17" fmla="*/ 3966 h 4130"/>
                  <a:gd name="T18" fmla="*/ 2 w 4986"/>
                  <a:gd name="T19" fmla="*/ 846 h 4130"/>
                  <a:gd name="T20" fmla="*/ 0 w 4986"/>
                  <a:gd name="T21" fmla="*/ 808 h 4130"/>
                  <a:gd name="T22" fmla="*/ 6 w 4986"/>
                  <a:gd name="T23" fmla="*/ 770 h 4130"/>
                  <a:gd name="T24" fmla="*/ 18 w 4986"/>
                  <a:gd name="T25" fmla="*/ 734 h 4130"/>
                  <a:gd name="T26" fmla="*/ 38 w 4986"/>
                  <a:gd name="T27" fmla="*/ 702 h 4130"/>
                  <a:gd name="T28" fmla="*/ 62 w 4986"/>
                  <a:gd name="T29" fmla="*/ 674 h 4130"/>
                  <a:gd name="T30" fmla="*/ 92 w 4986"/>
                  <a:gd name="T31" fmla="*/ 652 h 4130"/>
                  <a:gd name="T32" fmla="*/ 126 w 4986"/>
                  <a:gd name="T33" fmla="*/ 636 h 4130"/>
                  <a:gd name="T34" fmla="*/ 164 w 4986"/>
                  <a:gd name="T35" fmla="*/ 626 h 4130"/>
                  <a:gd name="T36" fmla="*/ 4292 w 4986"/>
                  <a:gd name="T37" fmla="*/ 2 h 4130"/>
                  <a:gd name="T38" fmla="*/ 4330 w 4986"/>
                  <a:gd name="T39" fmla="*/ 0 h 4130"/>
                  <a:gd name="T40" fmla="*/ 4368 w 4986"/>
                  <a:gd name="T41" fmla="*/ 6 h 4130"/>
                  <a:gd name="T42" fmla="*/ 4404 w 4986"/>
                  <a:gd name="T43" fmla="*/ 20 h 4130"/>
                  <a:gd name="T44" fmla="*/ 4436 w 4986"/>
                  <a:gd name="T45" fmla="*/ 38 h 4130"/>
                  <a:gd name="T46" fmla="*/ 4464 w 4986"/>
                  <a:gd name="T47" fmla="*/ 64 h 4130"/>
                  <a:gd name="T48" fmla="*/ 4486 w 4986"/>
                  <a:gd name="T49" fmla="*/ 94 h 4130"/>
                  <a:gd name="T50" fmla="*/ 4502 w 4986"/>
                  <a:gd name="T51" fmla="*/ 128 h 4130"/>
                  <a:gd name="T52" fmla="*/ 4512 w 4986"/>
                  <a:gd name="T53" fmla="*/ 166 h 4130"/>
                  <a:gd name="T54" fmla="*/ 4984 w 4986"/>
                  <a:gd name="T55" fmla="*/ 3284 h 4130"/>
                  <a:gd name="T56" fmla="*/ 4984 w 4986"/>
                  <a:gd name="T57" fmla="*/ 3324 h 4130"/>
                  <a:gd name="T58" fmla="*/ 4980 w 4986"/>
                  <a:gd name="T59" fmla="*/ 3362 h 4130"/>
                  <a:gd name="T60" fmla="*/ 4966 w 4986"/>
                  <a:gd name="T61" fmla="*/ 3398 h 4130"/>
                  <a:gd name="T62" fmla="*/ 4948 w 4986"/>
                  <a:gd name="T63" fmla="*/ 3430 h 4130"/>
                  <a:gd name="T64" fmla="*/ 4922 w 4986"/>
                  <a:gd name="T65" fmla="*/ 3456 h 4130"/>
                  <a:gd name="T66" fmla="*/ 4892 w 4986"/>
                  <a:gd name="T67" fmla="*/ 3480 h 4130"/>
                  <a:gd name="T68" fmla="*/ 4858 w 4986"/>
                  <a:gd name="T69" fmla="*/ 3496 h 4130"/>
                  <a:gd name="T70" fmla="*/ 4820 w 4986"/>
                  <a:gd name="T71" fmla="*/ 3506 h 4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86" h="4130">
                    <a:moveTo>
                      <a:pt x="694" y="4128"/>
                    </a:moveTo>
                    <a:lnTo>
                      <a:pt x="694" y="4128"/>
                    </a:lnTo>
                    <a:lnTo>
                      <a:pt x="674" y="4130"/>
                    </a:lnTo>
                    <a:lnTo>
                      <a:pt x="654" y="4130"/>
                    </a:lnTo>
                    <a:lnTo>
                      <a:pt x="636" y="4128"/>
                    </a:lnTo>
                    <a:lnTo>
                      <a:pt x="616" y="4126"/>
                    </a:lnTo>
                    <a:lnTo>
                      <a:pt x="598" y="4120"/>
                    </a:lnTo>
                    <a:lnTo>
                      <a:pt x="582" y="4112"/>
                    </a:lnTo>
                    <a:lnTo>
                      <a:pt x="566" y="4104"/>
                    </a:lnTo>
                    <a:lnTo>
                      <a:pt x="550" y="4092"/>
                    </a:lnTo>
                    <a:lnTo>
                      <a:pt x="536" y="4082"/>
                    </a:lnTo>
                    <a:lnTo>
                      <a:pt x="522" y="4068"/>
                    </a:lnTo>
                    <a:lnTo>
                      <a:pt x="510" y="4054"/>
                    </a:lnTo>
                    <a:lnTo>
                      <a:pt x="500" y="4038"/>
                    </a:lnTo>
                    <a:lnTo>
                      <a:pt x="490" y="4022"/>
                    </a:lnTo>
                    <a:lnTo>
                      <a:pt x="482" y="4004"/>
                    </a:lnTo>
                    <a:lnTo>
                      <a:pt x="476" y="3986"/>
                    </a:lnTo>
                    <a:lnTo>
                      <a:pt x="472" y="3966"/>
                    </a:lnTo>
                    <a:lnTo>
                      <a:pt x="2" y="846"/>
                    </a:lnTo>
                    <a:lnTo>
                      <a:pt x="2" y="846"/>
                    </a:lnTo>
                    <a:lnTo>
                      <a:pt x="0" y="826"/>
                    </a:lnTo>
                    <a:lnTo>
                      <a:pt x="0" y="808"/>
                    </a:lnTo>
                    <a:lnTo>
                      <a:pt x="2" y="788"/>
                    </a:lnTo>
                    <a:lnTo>
                      <a:pt x="6" y="770"/>
                    </a:lnTo>
                    <a:lnTo>
                      <a:pt x="12" y="752"/>
                    </a:lnTo>
                    <a:lnTo>
                      <a:pt x="18" y="734"/>
                    </a:lnTo>
                    <a:lnTo>
                      <a:pt x="28" y="718"/>
                    </a:lnTo>
                    <a:lnTo>
                      <a:pt x="38" y="702"/>
                    </a:lnTo>
                    <a:lnTo>
                      <a:pt x="50" y="688"/>
                    </a:lnTo>
                    <a:lnTo>
                      <a:pt x="62" y="674"/>
                    </a:lnTo>
                    <a:lnTo>
                      <a:pt x="78" y="662"/>
                    </a:lnTo>
                    <a:lnTo>
                      <a:pt x="92" y="652"/>
                    </a:lnTo>
                    <a:lnTo>
                      <a:pt x="110" y="642"/>
                    </a:lnTo>
                    <a:lnTo>
                      <a:pt x="126" y="636"/>
                    </a:lnTo>
                    <a:lnTo>
                      <a:pt x="146" y="630"/>
                    </a:lnTo>
                    <a:lnTo>
                      <a:pt x="164" y="626"/>
                    </a:lnTo>
                    <a:lnTo>
                      <a:pt x="4292" y="2"/>
                    </a:lnTo>
                    <a:lnTo>
                      <a:pt x="4292" y="2"/>
                    </a:lnTo>
                    <a:lnTo>
                      <a:pt x="4310" y="0"/>
                    </a:lnTo>
                    <a:lnTo>
                      <a:pt x="4330" y="0"/>
                    </a:lnTo>
                    <a:lnTo>
                      <a:pt x="4350" y="2"/>
                    </a:lnTo>
                    <a:lnTo>
                      <a:pt x="4368" y="6"/>
                    </a:lnTo>
                    <a:lnTo>
                      <a:pt x="4386" y="12"/>
                    </a:lnTo>
                    <a:lnTo>
                      <a:pt x="4404" y="20"/>
                    </a:lnTo>
                    <a:lnTo>
                      <a:pt x="4420" y="28"/>
                    </a:lnTo>
                    <a:lnTo>
                      <a:pt x="4436" y="38"/>
                    </a:lnTo>
                    <a:lnTo>
                      <a:pt x="4450" y="50"/>
                    </a:lnTo>
                    <a:lnTo>
                      <a:pt x="4464" y="64"/>
                    </a:lnTo>
                    <a:lnTo>
                      <a:pt x="4476" y="78"/>
                    </a:lnTo>
                    <a:lnTo>
                      <a:pt x="4486" y="94"/>
                    </a:lnTo>
                    <a:lnTo>
                      <a:pt x="4494" y="110"/>
                    </a:lnTo>
                    <a:lnTo>
                      <a:pt x="4502" y="128"/>
                    </a:lnTo>
                    <a:lnTo>
                      <a:pt x="4508" y="146"/>
                    </a:lnTo>
                    <a:lnTo>
                      <a:pt x="4512" y="166"/>
                    </a:lnTo>
                    <a:lnTo>
                      <a:pt x="4984" y="3284"/>
                    </a:lnTo>
                    <a:lnTo>
                      <a:pt x="4984" y="3284"/>
                    </a:lnTo>
                    <a:lnTo>
                      <a:pt x="4986" y="3304"/>
                    </a:lnTo>
                    <a:lnTo>
                      <a:pt x="4984" y="3324"/>
                    </a:lnTo>
                    <a:lnTo>
                      <a:pt x="4982" y="3344"/>
                    </a:lnTo>
                    <a:lnTo>
                      <a:pt x="4980" y="3362"/>
                    </a:lnTo>
                    <a:lnTo>
                      <a:pt x="4974" y="3380"/>
                    </a:lnTo>
                    <a:lnTo>
                      <a:pt x="4966" y="3398"/>
                    </a:lnTo>
                    <a:lnTo>
                      <a:pt x="4958" y="3414"/>
                    </a:lnTo>
                    <a:lnTo>
                      <a:pt x="4948" y="3430"/>
                    </a:lnTo>
                    <a:lnTo>
                      <a:pt x="4936" y="3444"/>
                    </a:lnTo>
                    <a:lnTo>
                      <a:pt x="4922" y="3456"/>
                    </a:lnTo>
                    <a:lnTo>
                      <a:pt x="4908" y="3468"/>
                    </a:lnTo>
                    <a:lnTo>
                      <a:pt x="4892" y="3480"/>
                    </a:lnTo>
                    <a:lnTo>
                      <a:pt x="4876" y="3488"/>
                    </a:lnTo>
                    <a:lnTo>
                      <a:pt x="4858" y="3496"/>
                    </a:lnTo>
                    <a:lnTo>
                      <a:pt x="4840" y="3502"/>
                    </a:lnTo>
                    <a:lnTo>
                      <a:pt x="4820" y="3506"/>
                    </a:lnTo>
                    <a:lnTo>
                      <a:pt x="694" y="41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pic>
            <p:nvPicPr>
              <p:cNvPr id="38" name="Picture 7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43255" y="4151043"/>
                <a:ext cx="283304" cy="283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Freeform 80"/>
              <p:cNvSpPr>
                <a:spLocks/>
              </p:cNvSpPr>
              <p:nvPr/>
            </p:nvSpPr>
            <p:spPr bwMode="auto">
              <a:xfrm>
                <a:off x="2106154" y="2012098"/>
                <a:ext cx="4886994" cy="3876543"/>
              </a:xfrm>
              <a:custGeom>
                <a:avLst/>
                <a:gdLst>
                  <a:gd name="T0" fmla="*/ 3730 w 4140"/>
                  <a:gd name="T1" fmla="*/ 0 h 3284"/>
                  <a:gd name="T2" fmla="*/ 0 w 4140"/>
                  <a:gd name="T3" fmla="*/ 562 h 3284"/>
                  <a:gd name="T4" fmla="*/ 412 w 4140"/>
                  <a:gd name="T5" fmla="*/ 3284 h 3284"/>
                  <a:gd name="T6" fmla="*/ 4140 w 4140"/>
                  <a:gd name="T7" fmla="*/ 2722 h 3284"/>
                  <a:gd name="T8" fmla="*/ 3730 w 4140"/>
                  <a:gd name="T9" fmla="*/ 0 h 3284"/>
                </a:gdLst>
                <a:ahLst/>
                <a:cxnLst>
                  <a:cxn ang="0">
                    <a:pos x="T0" y="T1"/>
                  </a:cxn>
                  <a:cxn ang="0">
                    <a:pos x="T2" y="T3"/>
                  </a:cxn>
                  <a:cxn ang="0">
                    <a:pos x="T4" y="T5"/>
                  </a:cxn>
                  <a:cxn ang="0">
                    <a:pos x="T6" y="T7"/>
                  </a:cxn>
                  <a:cxn ang="0">
                    <a:pos x="T8" y="T9"/>
                  </a:cxn>
                </a:cxnLst>
                <a:rect l="0" t="0" r="r" b="b"/>
                <a:pathLst>
                  <a:path w="4140" h="3284">
                    <a:moveTo>
                      <a:pt x="3730" y="0"/>
                    </a:moveTo>
                    <a:lnTo>
                      <a:pt x="0" y="562"/>
                    </a:lnTo>
                    <a:lnTo>
                      <a:pt x="412" y="3284"/>
                    </a:lnTo>
                    <a:lnTo>
                      <a:pt x="4140" y="2722"/>
                    </a:lnTo>
                    <a:lnTo>
                      <a:pt x="3730" y="0"/>
                    </a:lnTo>
                    <a:close/>
                  </a:path>
                </a:pathLst>
              </a:custGeom>
              <a:solidFill>
                <a:srgbClr val="4E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81"/>
              <p:cNvSpPr>
                <a:spLocks/>
              </p:cNvSpPr>
              <p:nvPr/>
            </p:nvSpPr>
            <p:spPr bwMode="auto">
              <a:xfrm>
                <a:off x="2106154" y="2012098"/>
                <a:ext cx="4886994" cy="3876543"/>
              </a:xfrm>
              <a:custGeom>
                <a:avLst/>
                <a:gdLst>
                  <a:gd name="T0" fmla="*/ 3730 w 4140"/>
                  <a:gd name="T1" fmla="*/ 0 h 3284"/>
                  <a:gd name="T2" fmla="*/ 0 w 4140"/>
                  <a:gd name="T3" fmla="*/ 562 h 3284"/>
                  <a:gd name="T4" fmla="*/ 412 w 4140"/>
                  <a:gd name="T5" fmla="*/ 3284 h 3284"/>
                  <a:gd name="T6" fmla="*/ 4140 w 4140"/>
                  <a:gd name="T7" fmla="*/ 2722 h 3284"/>
                  <a:gd name="T8" fmla="*/ 3730 w 4140"/>
                  <a:gd name="T9" fmla="*/ 0 h 3284"/>
                </a:gdLst>
                <a:ahLst/>
                <a:cxnLst>
                  <a:cxn ang="0">
                    <a:pos x="T0" y="T1"/>
                  </a:cxn>
                  <a:cxn ang="0">
                    <a:pos x="T2" y="T3"/>
                  </a:cxn>
                  <a:cxn ang="0">
                    <a:pos x="T4" y="T5"/>
                  </a:cxn>
                  <a:cxn ang="0">
                    <a:pos x="T6" y="T7"/>
                  </a:cxn>
                  <a:cxn ang="0">
                    <a:pos x="T8" y="T9"/>
                  </a:cxn>
                </a:cxnLst>
                <a:rect l="0" t="0" r="r" b="b"/>
                <a:pathLst>
                  <a:path w="4140" h="3284">
                    <a:moveTo>
                      <a:pt x="3730" y="0"/>
                    </a:moveTo>
                    <a:lnTo>
                      <a:pt x="0" y="562"/>
                    </a:lnTo>
                    <a:lnTo>
                      <a:pt x="412" y="3284"/>
                    </a:lnTo>
                    <a:lnTo>
                      <a:pt x="4140" y="2722"/>
                    </a:lnTo>
                    <a:lnTo>
                      <a:pt x="3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82"/>
              <p:cNvSpPr>
                <a:spLocks/>
              </p:cNvSpPr>
              <p:nvPr/>
            </p:nvSpPr>
            <p:spPr bwMode="auto">
              <a:xfrm>
                <a:off x="2082546" y="1901137"/>
                <a:ext cx="4447873" cy="776725"/>
              </a:xfrm>
              <a:custGeom>
                <a:avLst/>
                <a:gdLst>
                  <a:gd name="T0" fmla="*/ 3754 w 3768"/>
                  <a:gd name="T1" fmla="*/ 0 h 658"/>
                  <a:gd name="T2" fmla="*/ 0 w 3768"/>
                  <a:gd name="T3" fmla="*/ 566 h 658"/>
                  <a:gd name="T4" fmla="*/ 14 w 3768"/>
                  <a:gd name="T5" fmla="*/ 658 h 658"/>
                  <a:gd name="T6" fmla="*/ 20 w 3768"/>
                  <a:gd name="T7" fmla="*/ 656 h 658"/>
                  <a:gd name="T8" fmla="*/ 8 w 3768"/>
                  <a:gd name="T9" fmla="*/ 570 h 658"/>
                  <a:gd name="T10" fmla="*/ 3736 w 3768"/>
                  <a:gd name="T11" fmla="*/ 8 h 658"/>
                  <a:gd name="T12" fmla="*/ 3750 w 3768"/>
                  <a:gd name="T13" fmla="*/ 94 h 658"/>
                  <a:gd name="T14" fmla="*/ 3768 w 3768"/>
                  <a:gd name="T15" fmla="*/ 90 h 658"/>
                  <a:gd name="T16" fmla="*/ 3754 w 3768"/>
                  <a:gd name="T17"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8" h="658">
                    <a:moveTo>
                      <a:pt x="3754" y="0"/>
                    </a:moveTo>
                    <a:lnTo>
                      <a:pt x="0" y="566"/>
                    </a:lnTo>
                    <a:lnTo>
                      <a:pt x="14" y="658"/>
                    </a:lnTo>
                    <a:lnTo>
                      <a:pt x="20" y="656"/>
                    </a:lnTo>
                    <a:lnTo>
                      <a:pt x="8" y="570"/>
                    </a:lnTo>
                    <a:lnTo>
                      <a:pt x="3736" y="8"/>
                    </a:lnTo>
                    <a:lnTo>
                      <a:pt x="3750" y="94"/>
                    </a:lnTo>
                    <a:lnTo>
                      <a:pt x="3768" y="90"/>
                    </a:lnTo>
                    <a:lnTo>
                      <a:pt x="37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83"/>
              <p:cNvSpPr>
                <a:spLocks/>
              </p:cNvSpPr>
              <p:nvPr/>
            </p:nvSpPr>
            <p:spPr bwMode="auto">
              <a:xfrm>
                <a:off x="2082546" y="1901137"/>
                <a:ext cx="4447873" cy="776725"/>
              </a:xfrm>
              <a:custGeom>
                <a:avLst/>
                <a:gdLst>
                  <a:gd name="T0" fmla="*/ 3754 w 3768"/>
                  <a:gd name="T1" fmla="*/ 0 h 658"/>
                  <a:gd name="T2" fmla="*/ 0 w 3768"/>
                  <a:gd name="T3" fmla="*/ 566 h 658"/>
                  <a:gd name="T4" fmla="*/ 14 w 3768"/>
                  <a:gd name="T5" fmla="*/ 658 h 658"/>
                  <a:gd name="T6" fmla="*/ 20 w 3768"/>
                  <a:gd name="T7" fmla="*/ 656 h 658"/>
                  <a:gd name="T8" fmla="*/ 8 w 3768"/>
                  <a:gd name="T9" fmla="*/ 570 h 658"/>
                  <a:gd name="T10" fmla="*/ 3736 w 3768"/>
                  <a:gd name="T11" fmla="*/ 8 h 658"/>
                  <a:gd name="T12" fmla="*/ 3750 w 3768"/>
                  <a:gd name="T13" fmla="*/ 94 h 658"/>
                  <a:gd name="T14" fmla="*/ 3768 w 3768"/>
                  <a:gd name="T15" fmla="*/ 90 h 658"/>
                  <a:gd name="T16" fmla="*/ 3754 w 3768"/>
                  <a:gd name="T17"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8" h="658">
                    <a:moveTo>
                      <a:pt x="3754" y="0"/>
                    </a:moveTo>
                    <a:lnTo>
                      <a:pt x="0" y="566"/>
                    </a:lnTo>
                    <a:lnTo>
                      <a:pt x="14" y="658"/>
                    </a:lnTo>
                    <a:lnTo>
                      <a:pt x="20" y="656"/>
                    </a:lnTo>
                    <a:lnTo>
                      <a:pt x="8" y="570"/>
                    </a:lnTo>
                    <a:lnTo>
                      <a:pt x="3736" y="8"/>
                    </a:lnTo>
                    <a:lnTo>
                      <a:pt x="3750" y="94"/>
                    </a:lnTo>
                    <a:lnTo>
                      <a:pt x="3768" y="90"/>
                    </a:lnTo>
                    <a:lnTo>
                      <a:pt x="37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84"/>
              <p:cNvSpPr>
                <a:spLocks/>
              </p:cNvSpPr>
              <p:nvPr/>
            </p:nvSpPr>
            <p:spPr bwMode="auto">
              <a:xfrm>
                <a:off x="2091989" y="1910581"/>
                <a:ext cx="4417182" cy="764921"/>
              </a:xfrm>
              <a:custGeom>
                <a:avLst/>
                <a:gdLst>
                  <a:gd name="T0" fmla="*/ 3728 w 3742"/>
                  <a:gd name="T1" fmla="*/ 0 h 648"/>
                  <a:gd name="T2" fmla="*/ 0 w 3742"/>
                  <a:gd name="T3" fmla="*/ 562 h 648"/>
                  <a:gd name="T4" fmla="*/ 12 w 3742"/>
                  <a:gd name="T5" fmla="*/ 648 h 648"/>
                  <a:gd name="T6" fmla="*/ 3742 w 3742"/>
                  <a:gd name="T7" fmla="*/ 86 h 648"/>
                  <a:gd name="T8" fmla="*/ 3728 w 3742"/>
                  <a:gd name="T9" fmla="*/ 0 h 648"/>
                </a:gdLst>
                <a:ahLst/>
                <a:cxnLst>
                  <a:cxn ang="0">
                    <a:pos x="T0" y="T1"/>
                  </a:cxn>
                  <a:cxn ang="0">
                    <a:pos x="T2" y="T3"/>
                  </a:cxn>
                  <a:cxn ang="0">
                    <a:pos x="T4" y="T5"/>
                  </a:cxn>
                  <a:cxn ang="0">
                    <a:pos x="T6" y="T7"/>
                  </a:cxn>
                  <a:cxn ang="0">
                    <a:pos x="T8" y="T9"/>
                  </a:cxn>
                </a:cxnLst>
                <a:rect l="0" t="0" r="r" b="b"/>
                <a:pathLst>
                  <a:path w="3742" h="648">
                    <a:moveTo>
                      <a:pt x="3728" y="0"/>
                    </a:moveTo>
                    <a:lnTo>
                      <a:pt x="0" y="562"/>
                    </a:lnTo>
                    <a:lnTo>
                      <a:pt x="12" y="648"/>
                    </a:lnTo>
                    <a:lnTo>
                      <a:pt x="3742" y="86"/>
                    </a:lnTo>
                    <a:lnTo>
                      <a:pt x="3728" y="0"/>
                    </a:lnTo>
                    <a:close/>
                  </a:path>
                </a:pathLst>
              </a:custGeom>
              <a:solidFill>
                <a:srgbClr val="2D14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85"/>
              <p:cNvSpPr>
                <a:spLocks/>
              </p:cNvSpPr>
              <p:nvPr/>
            </p:nvSpPr>
            <p:spPr bwMode="auto">
              <a:xfrm>
                <a:off x="2091989" y="1910581"/>
                <a:ext cx="4417182" cy="764921"/>
              </a:xfrm>
              <a:custGeom>
                <a:avLst/>
                <a:gdLst>
                  <a:gd name="T0" fmla="*/ 3728 w 3742"/>
                  <a:gd name="T1" fmla="*/ 0 h 648"/>
                  <a:gd name="T2" fmla="*/ 0 w 3742"/>
                  <a:gd name="T3" fmla="*/ 562 h 648"/>
                  <a:gd name="T4" fmla="*/ 12 w 3742"/>
                  <a:gd name="T5" fmla="*/ 648 h 648"/>
                  <a:gd name="T6" fmla="*/ 3742 w 3742"/>
                  <a:gd name="T7" fmla="*/ 86 h 648"/>
                  <a:gd name="T8" fmla="*/ 3728 w 3742"/>
                  <a:gd name="T9" fmla="*/ 0 h 648"/>
                </a:gdLst>
                <a:ahLst/>
                <a:cxnLst>
                  <a:cxn ang="0">
                    <a:pos x="T0" y="T1"/>
                  </a:cxn>
                  <a:cxn ang="0">
                    <a:pos x="T2" y="T3"/>
                  </a:cxn>
                  <a:cxn ang="0">
                    <a:pos x="T4" y="T5"/>
                  </a:cxn>
                  <a:cxn ang="0">
                    <a:pos x="T6" y="T7"/>
                  </a:cxn>
                  <a:cxn ang="0">
                    <a:pos x="T8" y="T9"/>
                  </a:cxn>
                </a:cxnLst>
                <a:rect l="0" t="0" r="r" b="b"/>
                <a:pathLst>
                  <a:path w="3742" h="648">
                    <a:moveTo>
                      <a:pt x="3728" y="0"/>
                    </a:moveTo>
                    <a:lnTo>
                      <a:pt x="0" y="562"/>
                    </a:lnTo>
                    <a:lnTo>
                      <a:pt x="12" y="648"/>
                    </a:lnTo>
                    <a:lnTo>
                      <a:pt x="3742" y="86"/>
                    </a:lnTo>
                    <a:lnTo>
                      <a:pt x="37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Rectangle 86"/>
              <p:cNvSpPr>
                <a:spLocks noChangeArrowheads="1"/>
              </p:cNvSpPr>
              <p:nvPr/>
            </p:nvSpPr>
            <p:spPr bwMode="auto">
              <a:xfrm rot="21060000">
                <a:off x="2116764" y="2567992"/>
                <a:ext cx="148762" cy="85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888787"/>
                    </a:solidFill>
                    <a:effectLst/>
                    <a:latin typeface="Helvetica Neue" charset="0"/>
                    <a:cs typeface="Arial" pitchFamily="34" charset="0"/>
                  </a:rPr>
                  <a:t>iPa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6" name="Rectangle 87"/>
              <p:cNvSpPr>
                <a:spLocks noChangeArrowheads="1"/>
              </p:cNvSpPr>
              <p:nvPr/>
            </p:nvSpPr>
            <p:spPr bwMode="auto">
              <a:xfrm rot="21060000">
                <a:off x="4184278" y="2242192"/>
                <a:ext cx="308152" cy="85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BFBEBE"/>
                    </a:solidFill>
                    <a:effectLst/>
                    <a:latin typeface="Helvetica Neue" charset="0"/>
                    <a:cs typeface="Arial" pitchFamily="34" charset="0"/>
                  </a:rPr>
                  <a:t>10:20 AM</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7" name="Freeform 88"/>
              <p:cNvSpPr>
                <a:spLocks/>
              </p:cNvSpPr>
              <p:nvPr/>
            </p:nvSpPr>
            <p:spPr bwMode="auto">
              <a:xfrm>
                <a:off x="6322662" y="1962520"/>
                <a:ext cx="16526" cy="40135"/>
              </a:xfrm>
              <a:custGeom>
                <a:avLst/>
                <a:gdLst>
                  <a:gd name="T0" fmla="*/ 4 w 14"/>
                  <a:gd name="T1" fmla="*/ 34 h 34"/>
                  <a:gd name="T2" fmla="*/ 14 w 14"/>
                  <a:gd name="T3" fmla="*/ 32 h 34"/>
                  <a:gd name="T4" fmla="*/ 8 w 14"/>
                  <a:gd name="T5" fmla="*/ 0 h 34"/>
                  <a:gd name="T6" fmla="*/ 0 w 14"/>
                  <a:gd name="T7" fmla="*/ 2 h 34"/>
                  <a:gd name="T8" fmla="*/ 4 w 14"/>
                  <a:gd name="T9" fmla="*/ 34 h 34"/>
                </a:gdLst>
                <a:ahLst/>
                <a:cxnLst>
                  <a:cxn ang="0">
                    <a:pos x="T0" y="T1"/>
                  </a:cxn>
                  <a:cxn ang="0">
                    <a:pos x="T2" y="T3"/>
                  </a:cxn>
                  <a:cxn ang="0">
                    <a:pos x="T4" y="T5"/>
                  </a:cxn>
                  <a:cxn ang="0">
                    <a:pos x="T6" y="T7"/>
                  </a:cxn>
                  <a:cxn ang="0">
                    <a:pos x="T8" y="T9"/>
                  </a:cxn>
                </a:cxnLst>
                <a:rect l="0" t="0" r="r" b="b"/>
                <a:pathLst>
                  <a:path w="14" h="34">
                    <a:moveTo>
                      <a:pt x="4" y="34"/>
                    </a:moveTo>
                    <a:lnTo>
                      <a:pt x="14" y="32"/>
                    </a:lnTo>
                    <a:lnTo>
                      <a:pt x="8" y="0"/>
                    </a:lnTo>
                    <a:lnTo>
                      <a:pt x="0" y="2"/>
                    </a:lnTo>
                    <a:lnTo>
                      <a:pt x="4" y="34"/>
                    </a:lnTo>
                    <a:close/>
                  </a:path>
                </a:pathLst>
              </a:custGeom>
              <a:solidFill>
                <a:srgbClr val="88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89"/>
              <p:cNvSpPr>
                <a:spLocks/>
              </p:cNvSpPr>
              <p:nvPr/>
            </p:nvSpPr>
            <p:spPr bwMode="auto">
              <a:xfrm>
                <a:off x="6308497" y="1974324"/>
                <a:ext cx="16526" cy="30691"/>
              </a:xfrm>
              <a:custGeom>
                <a:avLst/>
                <a:gdLst>
                  <a:gd name="T0" fmla="*/ 4 w 14"/>
                  <a:gd name="T1" fmla="*/ 26 h 26"/>
                  <a:gd name="T2" fmla="*/ 14 w 14"/>
                  <a:gd name="T3" fmla="*/ 24 h 26"/>
                  <a:gd name="T4" fmla="*/ 10 w 14"/>
                  <a:gd name="T5" fmla="*/ 0 h 26"/>
                  <a:gd name="T6" fmla="*/ 0 w 14"/>
                  <a:gd name="T7" fmla="*/ 0 h 26"/>
                  <a:gd name="T8" fmla="*/ 4 w 14"/>
                  <a:gd name="T9" fmla="*/ 26 h 26"/>
                </a:gdLst>
                <a:ahLst/>
                <a:cxnLst>
                  <a:cxn ang="0">
                    <a:pos x="T0" y="T1"/>
                  </a:cxn>
                  <a:cxn ang="0">
                    <a:pos x="T2" y="T3"/>
                  </a:cxn>
                  <a:cxn ang="0">
                    <a:pos x="T4" y="T5"/>
                  </a:cxn>
                  <a:cxn ang="0">
                    <a:pos x="T6" y="T7"/>
                  </a:cxn>
                  <a:cxn ang="0">
                    <a:pos x="T8" y="T9"/>
                  </a:cxn>
                </a:cxnLst>
                <a:rect l="0" t="0" r="r" b="b"/>
                <a:pathLst>
                  <a:path w="14" h="26">
                    <a:moveTo>
                      <a:pt x="4" y="26"/>
                    </a:moveTo>
                    <a:lnTo>
                      <a:pt x="14" y="24"/>
                    </a:lnTo>
                    <a:lnTo>
                      <a:pt x="10" y="0"/>
                    </a:lnTo>
                    <a:lnTo>
                      <a:pt x="0" y="0"/>
                    </a:lnTo>
                    <a:lnTo>
                      <a:pt x="4" y="26"/>
                    </a:lnTo>
                    <a:close/>
                  </a:path>
                </a:pathLst>
              </a:custGeom>
              <a:solidFill>
                <a:srgbClr val="88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90"/>
              <p:cNvSpPr>
                <a:spLocks/>
              </p:cNvSpPr>
              <p:nvPr/>
            </p:nvSpPr>
            <p:spPr bwMode="auto">
              <a:xfrm>
                <a:off x="6294332" y="1983768"/>
                <a:ext cx="14165" cy="23609"/>
              </a:xfrm>
              <a:custGeom>
                <a:avLst/>
                <a:gdLst>
                  <a:gd name="T0" fmla="*/ 4 w 12"/>
                  <a:gd name="T1" fmla="*/ 20 h 20"/>
                  <a:gd name="T2" fmla="*/ 12 w 12"/>
                  <a:gd name="T3" fmla="*/ 18 h 20"/>
                  <a:gd name="T4" fmla="*/ 10 w 12"/>
                  <a:gd name="T5" fmla="*/ 0 h 20"/>
                  <a:gd name="T6" fmla="*/ 0 w 12"/>
                  <a:gd name="T7" fmla="*/ 0 h 20"/>
                  <a:gd name="T8" fmla="*/ 4 w 12"/>
                  <a:gd name="T9" fmla="*/ 20 h 20"/>
                </a:gdLst>
                <a:ahLst/>
                <a:cxnLst>
                  <a:cxn ang="0">
                    <a:pos x="T0" y="T1"/>
                  </a:cxn>
                  <a:cxn ang="0">
                    <a:pos x="T2" y="T3"/>
                  </a:cxn>
                  <a:cxn ang="0">
                    <a:pos x="T4" y="T5"/>
                  </a:cxn>
                  <a:cxn ang="0">
                    <a:pos x="T6" y="T7"/>
                  </a:cxn>
                  <a:cxn ang="0">
                    <a:pos x="T8" y="T9"/>
                  </a:cxn>
                </a:cxnLst>
                <a:rect l="0" t="0" r="r" b="b"/>
                <a:pathLst>
                  <a:path w="12" h="20">
                    <a:moveTo>
                      <a:pt x="4" y="20"/>
                    </a:moveTo>
                    <a:lnTo>
                      <a:pt x="12" y="18"/>
                    </a:lnTo>
                    <a:lnTo>
                      <a:pt x="10" y="0"/>
                    </a:lnTo>
                    <a:lnTo>
                      <a:pt x="0" y="0"/>
                    </a:lnTo>
                    <a:lnTo>
                      <a:pt x="4" y="20"/>
                    </a:lnTo>
                    <a:close/>
                  </a:path>
                </a:pathLst>
              </a:custGeom>
              <a:solidFill>
                <a:srgbClr val="88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91"/>
              <p:cNvSpPr>
                <a:spLocks/>
              </p:cNvSpPr>
              <p:nvPr/>
            </p:nvSpPr>
            <p:spPr bwMode="auto">
              <a:xfrm>
                <a:off x="6282528" y="1993211"/>
                <a:ext cx="11804" cy="16526"/>
              </a:xfrm>
              <a:custGeom>
                <a:avLst/>
                <a:gdLst>
                  <a:gd name="T0" fmla="*/ 0 w 10"/>
                  <a:gd name="T1" fmla="*/ 14 h 14"/>
                  <a:gd name="T2" fmla="*/ 10 w 10"/>
                  <a:gd name="T3" fmla="*/ 12 h 14"/>
                  <a:gd name="T4" fmla="*/ 8 w 10"/>
                  <a:gd name="T5" fmla="*/ 0 h 14"/>
                  <a:gd name="T6" fmla="*/ 0 w 10"/>
                  <a:gd name="T7" fmla="*/ 0 h 14"/>
                  <a:gd name="T8" fmla="*/ 0 w 10"/>
                  <a:gd name="T9" fmla="*/ 14 h 14"/>
                </a:gdLst>
                <a:ahLst/>
                <a:cxnLst>
                  <a:cxn ang="0">
                    <a:pos x="T0" y="T1"/>
                  </a:cxn>
                  <a:cxn ang="0">
                    <a:pos x="T2" y="T3"/>
                  </a:cxn>
                  <a:cxn ang="0">
                    <a:pos x="T4" y="T5"/>
                  </a:cxn>
                  <a:cxn ang="0">
                    <a:pos x="T6" y="T7"/>
                  </a:cxn>
                  <a:cxn ang="0">
                    <a:pos x="T8" y="T9"/>
                  </a:cxn>
                </a:cxnLst>
                <a:rect l="0" t="0" r="r" b="b"/>
                <a:pathLst>
                  <a:path w="10" h="14">
                    <a:moveTo>
                      <a:pt x="0" y="14"/>
                    </a:moveTo>
                    <a:lnTo>
                      <a:pt x="10" y="12"/>
                    </a:lnTo>
                    <a:lnTo>
                      <a:pt x="8" y="0"/>
                    </a:lnTo>
                    <a:lnTo>
                      <a:pt x="0" y="0"/>
                    </a:lnTo>
                    <a:lnTo>
                      <a:pt x="0" y="14"/>
                    </a:lnTo>
                    <a:close/>
                  </a:path>
                </a:pathLst>
              </a:custGeom>
              <a:solidFill>
                <a:srgbClr val="88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92"/>
              <p:cNvSpPr>
                <a:spLocks/>
              </p:cNvSpPr>
              <p:nvPr/>
            </p:nvSpPr>
            <p:spPr bwMode="auto">
              <a:xfrm>
                <a:off x="6268362" y="2002655"/>
                <a:ext cx="11804" cy="7083"/>
              </a:xfrm>
              <a:custGeom>
                <a:avLst/>
                <a:gdLst>
                  <a:gd name="T0" fmla="*/ 0 w 10"/>
                  <a:gd name="T1" fmla="*/ 6 h 6"/>
                  <a:gd name="T2" fmla="*/ 10 w 10"/>
                  <a:gd name="T3" fmla="*/ 6 h 6"/>
                  <a:gd name="T4" fmla="*/ 8 w 10"/>
                  <a:gd name="T5" fmla="*/ 0 h 6"/>
                  <a:gd name="T6" fmla="*/ 0 w 10"/>
                  <a:gd name="T7" fmla="*/ 0 h 6"/>
                  <a:gd name="T8" fmla="*/ 0 w 10"/>
                  <a:gd name="T9" fmla="*/ 6 h 6"/>
                </a:gdLst>
                <a:ahLst/>
                <a:cxnLst>
                  <a:cxn ang="0">
                    <a:pos x="T0" y="T1"/>
                  </a:cxn>
                  <a:cxn ang="0">
                    <a:pos x="T2" y="T3"/>
                  </a:cxn>
                  <a:cxn ang="0">
                    <a:pos x="T4" y="T5"/>
                  </a:cxn>
                  <a:cxn ang="0">
                    <a:pos x="T6" y="T7"/>
                  </a:cxn>
                  <a:cxn ang="0">
                    <a:pos x="T8" y="T9"/>
                  </a:cxn>
                </a:cxnLst>
                <a:rect l="0" t="0" r="r" b="b"/>
                <a:pathLst>
                  <a:path w="10" h="6">
                    <a:moveTo>
                      <a:pt x="0" y="6"/>
                    </a:moveTo>
                    <a:lnTo>
                      <a:pt x="10" y="6"/>
                    </a:lnTo>
                    <a:lnTo>
                      <a:pt x="8" y="0"/>
                    </a:lnTo>
                    <a:lnTo>
                      <a:pt x="0" y="0"/>
                    </a:lnTo>
                    <a:lnTo>
                      <a:pt x="0" y="6"/>
                    </a:lnTo>
                    <a:close/>
                  </a:path>
                </a:pathLst>
              </a:custGeom>
              <a:solidFill>
                <a:srgbClr val="88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93"/>
              <p:cNvSpPr>
                <a:spLocks noEditPoints="1"/>
              </p:cNvSpPr>
              <p:nvPr/>
            </p:nvSpPr>
            <p:spPr bwMode="auto">
              <a:xfrm>
                <a:off x="6372241" y="1948355"/>
                <a:ext cx="73187" cy="44856"/>
              </a:xfrm>
              <a:custGeom>
                <a:avLst/>
                <a:gdLst>
                  <a:gd name="T0" fmla="*/ 56 w 62"/>
                  <a:gd name="T1" fmla="*/ 0 h 38"/>
                  <a:gd name="T2" fmla="*/ 56 w 62"/>
                  <a:gd name="T3" fmla="*/ 0 h 38"/>
                  <a:gd name="T4" fmla="*/ 58 w 62"/>
                  <a:gd name="T5" fmla="*/ 0 h 38"/>
                  <a:gd name="T6" fmla="*/ 58 w 62"/>
                  <a:gd name="T7" fmla="*/ 2 h 38"/>
                  <a:gd name="T8" fmla="*/ 62 w 62"/>
                  <a:gd name="T9" fmla="*/ 28 h 38"/>
                  <a:gd name="T10" fmla="*/ 62 w 62"/>
                  <a:gd name="T11" fmla="*/ 28 h 38"/>
                  <a:gd name="T12" fmla="*/ 62 w 62"/>
                  <a:gd name="T13" fmla="*/ 30 h 38"/>
                  <a:gd name="T14" fmla="*/ 60 w 62"/>
                  <a:gd name="T15" fmla="*/ 30 h 38"/>
                  <a:gd name="T16" fmla="*/ 6 w 62"/>
                  <a:gd name="T17" fmla="*/ 38 h 38"/>
                  <a:gd name="T18" fmla="*/ 6 w 62"/>
                  <a:gd name="T19" fmla="*/ 38 h 38"/>
                  <a:gd name="T20" fmla="*/ 4 w 62"/>
                  <a:gd name="T21" fmla="*/ 38 h 38"/>
                  <a:gd name="T22" fmla="*/ 2 w 62"/>
                  <a:gd name="T23" fmla="*/ 36 h 38"/>
                  <a:gd name="T24" fmla="*/ 0 w 62"/>
                  <a:gd name="T25" fmla="*/ 12 h 38"/>
                  <a:gd name="T26" fmla="*/ 0 w 62"/>
                  <a:gd name="T27" fmla="*/ 12 h 38"/>
                  <a:gd name="T28" fmla="*/ 0 w 62"/>
                  <a:gd name="T29" fmla="*/ 8 h 38"/>
                  <a:gd name="T30" fmla="*/ 2 w 62"/>
                  <a:gd name="T31" fmla="*/ 8 h 38"/>
                  <a:gd name="T32" fmla="*/ 56 w 62"/>
                  <a:gd name="T33" fmla="*/ 0 h 38"/>
                  <a:gd name="T34" fmla="*/ 56 w 62"/>
                  <a:gd name="T35" fmla="*/ 2 h 38"/>
                  <a:gd name="T36" fmla="*/ 56 w 62"/>
                  <a:gd name="T37" fmla="*/ 2 h 38"/>
                  <a:gd name="T38" fmla="*/ 2 w 62"/>
                  <a:gd name="T39" fmla="*/ 10 h 38"/>
                  <a:gd name="T40" fmla="*/ 6 w 62"/>
                  <a:gd name="T41" fmla="*/ 36 h 38"/>
                  <a:gd name="T42" fmla="*/ 60 w 62"/>
                  <a:gd name="T43" fmla="*/ 28 h 38"/>
                  <a:gd name="T44" fmla="*/ 56 w 62"/>
                  <a:gd name="T45"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38">
                    <a:moveTo>
                      <a:pt x="56" y="0"/>
                    </a:moveTo>
                    <a:lnTo>
                      <a:pt x="56" y="0"/>
                    </a:lnTo>
                    <a:lnTo>
                      <a:pt x="58" y="0"/>
                    </a:lnTo>
                    <a:lnTo>
                      <a:pt x="58" y="2"/>
                    </a:lnTo>
                    <a:lnTo>
                      <a:pt x="62" y="28"/>
                    </a:lnTo>
                    <a:lnTo>
                      <a:pt x="62" y="28"/>
                    </a:lnTo>
                    <a:lnTo>
                      <a:pt x="62" y="30"/>
                    </a:lnTo>
                    <a:lnTo>
                      <a:pt x="60" y="30"/>
                    </a:lnTo>
                    <a:lnTo>
                      <a:pt x="6" y="38"/>
                    </a:lnTo>
                    <a:lnTo>
                      <a:pt x="6" y="38"/>
                    </a:lnTo>
                    <a:lnTo>
                      <a:pt x="4" y="38"/>
                    </a:lnTo>
                    <a:lnTo>
                      <a:pt x="2" y="36"/>
                    </a:lnTo>
                    <a:lnTo>
                      <a:pt x="0" y="12"/>
                    </a:lnTo>
                    <a:lnTo>
                      <a:pt x="0" y="12"/>
                    </a:lnTo>
                    <a:lnTo>
                      <a:pt x="0" y="8"/>
                    </a:lnTo>
                    <a:lnTo>
                      <a:pt x="2" y="8"/>
                    </a:lnTo>
                    <a:lnTo>
                      <a:pt x="56" y="0"/>
                    </a:lnTo>
                    <a:close/>
                    <a:moveTo>
                      <a:pt x="56" y="2"/>
                    </a:moveTo>
                    <a:lnTo>
                      <a:pt x="56" y="2"/>
                    </a:lnTo>
                    <a:lnTo>
                      <a:pt x="2" y="10"/>
                    </a:lnTo>
                    <a:lnTo>
                      <a:pt x="6" y="36"/>
                    </a:lnTo>
                    <a:lnTo>
                      <a:pt x="60" y="28"/>
                    </a:lnTo>
                    <a:lnTo>
                      <a:pt x="56" y="2"/>
                    </a:lnTo>
                    <a:close/>
                  </a:path>
                </a:pathLst>
              </a:custGeom>
              <a:solidFill>
                <a:srgbClr val="BF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94"/>
              <p:cNvSpPr>
                <a:spLocks/>
              </p:cNvSpPr>
              <p:nvPr/>
            </p:nvSpPr>
            <p:spPr bwMode="auto">
              <a:xfrm>
                <a:off x="6372241" y="1948355"/>
                <a:ext cx="73187" cy="44856"/>
              </a:xfrm>
              <a:custGeom>
                <a:avLst/>
                <a:gdLst>
                  <a:gd name="T0" fmla="*/ 56 w 62"/>
                  <a:gd name="T1" fmla="*/ 0 h 38"/>
                  <a:gd name="T2" fmla="*/ 56 w 62"/>
                  <a:gd name="T3" fmla="*/ 0 h 38"/>
                  <a:gd name="T4" fmla="*/ 58 w 62"/>
                  <a:gd name="T5" fmla="*/ 0 h 38"/>
                  <a:gd name="T6" fmla="*/ 58 w 62"/>
                  <a:gd name="T7" fmla="*/ 2 h 38"/>
                  <a:gd name="T8" fmla="*/ 62 w 62"/>
                  <a:gd name="T9" fmla="*/ 28 h 38"/>
                  <a:gd name="T10" fmla="*/ 62 w 62"/>
                  <a:gd name="T11" fmla="*/ 28 h 38"/>
                  <a:gd name="T12" fmla="*/ 62 w 62"/>
                  <a:gd name="T13" fmla="*/ 30 h 38"/>
                  <a:gd name="T14" fmla="*/ 60 w 62"/>
                  <a:gd name="T15" fmla="*/ 30 h 38"/>
                  <a:gd name="T16" fmla="*/ 6 w 62"/>
                  <a:gd name="T17" fmla="*/ 38 h 38"/>
                  <a:gd name="T18" fmla="*/ 6 w 62"/>
                  <a:gd name="T19" fmla="*/ 38 h 38"/>
                  <a:gd name="T20" fmla="*/ 4 w 62"/>
                  <a:gd name="T21" fmla="*/ 38 h 38"/>
                  <a:gd name="T22" fmla="*/ 2 w 62"/>
                  <a:gd name="T23" fmla="*/ 36 h 38"/>
                  <a:gd name="T24" fmla="*/ 0 w 62"/>
                  <a:gd name="T25" fmla="*/ 12 h 38"/>
                  <a:gd name="T26" fmla="*/ 0 w 62"/>
                  <a:gd name="T27" fmla="*/ 12 h 38"/>
                  <a:gd name="T28" fmla="*/ 0 w 62"/>
                  <a:gd name="T29" fmla="*/ 8 h 38"/>
                  <a:gd name="T30" fmla="*/ 2 w 62"/>
                  <a:gd name="T31" fmla="*/ 8 h 38"/>
                  <a:gd name="T32" fmla="*/ 56 w 62"/>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38">
                    <a:moveTo>
                      <a:pt x="56" y="0"/>
                    </a:moveTo>
                    <a:lnTo>
                      <a:pt x="56" y="0"/>
                    </a:lnTo>
                    <a:lnTo>
                      <a:pt x="58" y="0"/>
                    </a:lnTo>
                    <a:lnTo>
                      <a:pt x="58" y="2"/>
                    </a:lnTo>
                    <a:lnTo>
                      <a:pt x="62" y="28"/>
                    </a:lnTo>
                    <a:lnTo>
                      <a:pt x="62" y="28"/>
                    </a:lnTo>
                    <a:lnTo>
                      <a:pt x="62" y="30"/>
                    </a:lnTo>
                    <a:lnTo>
                      <a:pt x="60" y="30"/>
                    </a:lnTo>
                    <a:lnTo>
                      <a:pt x="6" y="38"/>
                    </a:lnTo>
                    <a:lnTo>
                      <a:pt x="6" y="38"/>
                    </a:lnTo>
                    <a:lnTo>
                      <a:pt x="4" y="38"/>
                    </a:lnTo>
                    <a:lnTo>
                      <a:pt x="2" y="36"/>
                    </a:lnTo>
                    <a:lnTo>
                      <a:pt x="0" y="12"/>
                    </a:lnTo>
                    <a:lnTo>
                      <a:pt x="0" y="12"/>
                    </a:lnTo>
                    <a:lnTo>
                      <a:pt x="0" y="8"/>
                    </a:lnTo>
                    <a:lnTo>
                      <a:pt x="2" y="8"/>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95"/>
              <p:cNvSpPr>
                <a:spLocks/>
              </p:cNvSpPr>
              <p:nvPr/>
            </p:nvSpPr>
            <p:spPr bwMode="auto">
              <a:xfrm>
                <a:off x="6374601" y="1950716"/>
                <a:ext cx="68465" cy="40135"/>
              </a:xfrm>
              <a:custGeom>
                <a:avLst/>
                <a:gdLst>
                  <a:gd name="T0" fmla="*/ 54 w 58"/>
                  <a:gd name="T1" fmla="*/ 0 h 34"/>
                  <a:gd name="T2" fmla="*/ 54 w 58"/>
                  <a:gd name="T3" fmla="*/ 0 h 34"/>
                  <a:gd name="T4" fmla="*/ 0 w 58"/>
                  <a:gd name="T5" fmla="*/ 8 h 34"/>
                  <a:gd name="T6" fmla="*/ 4 w 58"/>
                  <a:gd name="T7" fmla="*/ 34 h 34"/>
                  <a:gd name="T8" fmla="*/ 58 w 58"/>
                  <a:gd name="T9" fmla="*/ 26 h 34"/>
                  <a:gd name="T10" fmla="*/ 54 w 58"/>
                  <a:gd name="T11" fmla="*/ 0 h 34"/>
                </a:gdLst>
                <a:ahLst/>
                <a:cxnLst>
                  <a:cxn ang="0">
                    <a:pos x="T0" y="T1"/>
                  </a:cxn>
                  <a:cxn ang="0">
                    <a:pos x="T2" y="T3"/>
                  </a:cxn>
                  <a:cxn ang="0">
                    <a:pos x="T4" y="T5"/>
                  </a:cxn>
                  <a:cxn ang="0">
                    <a:pos x="T6" y="T7"/>
                  </a:cxn>
                  <a:cxn ang="0">
                    <a:pos x="T8" y="T9"/>
                  </a:cxn>
                  <a:cxn ang="0">
                    <a:pos x="T10" y="T11"/>
                  </a:cxn>
                </a:cxnLst>
                <a:rect l="0" t="0" r="r" b="b"/>
                <a:pathLst>
                  <a:path w="58" h="34">
                    <a:moveTo>
                      <a:pt x="54" y="0"/>
                    </a:moveTo>
                    <a:lnTo>
                      <a:pt x="54" y="0"/>
                    </a:lnTo>
                    <a:lnTo>
                      <a:pt x="0" y="8"/>
                    </a:lnTo>
                    <a:lnTo>
                      <a:pt x="4" y="34"/>
                    </a:lnTo>
                    <a:lnTo>
                      <a:pt x="58" y="26"/>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96"/>
              <p:cNvSpPr>
                <a:spLocks/>
              </p:cNvSpPr>
              <p:nvPr/>
            </p:nvSpPr>
            <p:spPr bwMode="auto">
              <a:xfrm>
                <a:off x="6379323" y="1955437"/>
                <a:ext cx="59022" cy="30691"/>
              </a:xfrm>
              <a:custGeom>
                <a:avLst/>
                <a:gdLst>
                  <a:gd name="T0" fmla="*/ 46 w 50"/>
                  <a:gd name="T1" fmla="*/ 0 h 26"/>
                  <a:gd name="T2" fmla="*/ 46 w 50"/>
                  <a:gd name="T3" fmla="*/ 0 h 26"/>
                  <a:gd name="T4" fmla="*/ 0 w 50"/>
                  <a:gd name="T5" fmla="*/ 8 h 26"/>
                  <a:gd name="T6" fmla="*/ 2 w 50"/>
                  <a:gd name="T7" fmla="*/ 26 h 26"/>
                  <a:gd name="T8" fmla="*/ 50 w 50"/>
                  <a:gd name="T9" fmla="*/ 20 h 26"/>
                  <a:gd name="T10" fmla="*/ 46 w 50"/>
                  <a:gd name="T11" fmla="*/ 0 h 26"/>
                </a:gdLst>
                <a:ahLst/>
                <a:cxnLst>
                  <a:cxn ang="0">
                    <a:pos x="T0" y="T1"/>
                  </a:cxn>
                  <a:cxn ang="0">
                    <a:pos x="T2" y="T3"/>
                  </a:cxn>
                  <a:cxn ang="0">
                    <a:pos x="T4" y="T5"/>
                  </a:cxn>
                  <a:cxn ang="0">
                    <a:pos x="T6" y="T7"/>
                  </a:cxn>
                  <a:cxn ang="0">
                    <a:pos x="T8" y="T9"/>
                  </a:cxn>
                  <a:cxn ang="0">
                    <a:pos x="T10" y="T11"/>
                  </a:cxn>
                </a:cxnLst>
                <a:rect l="0" t="0" r="r" b="b"/>
                <a:pathLst>
                  <a:path w="50" h="26">
                    <a:moveTo>
                      <a:pt x="46" y="0"/>
                    </a:moveTo>
                    <a:lnTo>
                      <a:pt x="46" y="0"/>
                    </a:lnTo>
                    <a:lnTo>
                      <a:pt x="0" y="8"/>
                    </a:lnTo>
                    <a:lnTo>
                      <a:pt x="2" y="26"/>
                    </a:lnTo>
                    <a:lnTo>
                      <a:pt x="50" y="20"/>
                    </a:lnTo>
                    <a:lnTo>
                      <a:pt x="46" y="0"/>
                    </a:lnTo>
                    <a:close/>
                  </a:path>
                </a:pathLst>
              </a:custGeom>
              <a:solidFill>
                <a:srgbClr val="BF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97"/>
              <p:cNvSpPr>
                <a:spLocks/>
              </p:cNvSpPr>
              <p:nvPr/>
            </p:nvSpPr>
            <p:spPr bwMode="auto">
              <a:xfrm>
                <a:off x="6443067" y="1957798"/>
                <a:ext cx="9443" cy="14165"/>
              </a:xfrm>
              <a:custGeom>
                <a:avLst/>
                <a:gdLst>
                  <a:gd name="T0" fmla="*/ 2 w 8"/>
                  <a:gd name="T1" fmla="*/ 0 h 12"/>
                  <a:gd name="T2" fmla="*/ 0 w 8"/>
                  <a:gd name="T3" fmla="*/ 0 h 12"/>
                  <a:gd name="T4" fmla="*/ 0 w 8"/>
                  <a:gd name="T5" fmla="*/ 4 h 12"/>
                  <a:gd name="T6" fmla="*/ 4 w 8"/>
                  <a:gd name="T7" fmla="*/ 4 h 12"/>
                  <a:gd name="T8" fmla="*/ 4 w 8"/>
                  <a:gd name="T9" fmla="*/ 10 h 12"/>
                  <a:gd name="T10" fmla="*/ 2 w 8"/>
                  <a:gd name="T11" fmla="*/ 10 h 12"/>
                  <a:gd name="T12" fmla="*/ 2 w 8"/>
                  <a:gd name="T13" fmla="*/ 12 h 12"/>
                  <a:gd name="T14" fmla="*/ 4 w 8"/>
                  <a:gd name="T15" fmla="*/ 12 h 12"/>
                  <a:gd name="T16" fmla="*/ 4 w 8"/>
                  <a:gd name="T17" fmla="*/ 12 h 12"/>
                  <a:gd name="T18" fmla="*/ 6 w 8"/>
                  <a:gd name="T19" fmla="*/ 12 h 12"/>
                  <a:gd name="T20" fmla="*/ 8 w 8"/>
                  <a:gd name="T21" fmla="*/ 8 h 12"/>
                  <a:gd name="T22" fmla="*/ 6 w 8"/>
                  <a:gd name="T23" fmla="*/ 2 h 12"/>
                  <a:gd name="T24" fmla="*/ 6 w 8"/>
                  <a:gd name="T25" fmla="*/ 2 h 12"/>
                  <a:gd name="T26" fmla="*/ 6 w 8"/>
                  <a:gd name="T27" fmla="*/ 0 h 12"/>
                  <a:gd name="T28" fmla="*/ 2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2" y="0"/>
                    </a:moveTo>
                    <a:lnTo>
                      <a:pt x="0" y="0"/>
                    </a:lnTo>
                    <a:lnTo>
                      <a:pt x="0" y="4"/>
                    </a:lnTo>
                    <a:lnTo>
                      <a:pt x="4" y="4"/>
                    </a:lnTo>
                    <a:lnTo>
                      <a:pt x="4" y="10"/>
                    </a:lnTo>
                    <a:lnTo>
                      <a:pt x="2" y="10"/>
                    </a:lnTo>
                    <a:lnTo>
                      <a:pt x="2" y="12"/>
                    </a:lnTo>
                    <a:lnTo>
                      <a:pt x="4" y="12"/>
                    </a:lnTo>
                    <a:lnTo>
                      <a:pt x="4" y="12"/>
                    </a:lnTo>
                    <a:lnTo>
                      <a:pt x="6" y="12"/>
                    </a:lnTo>
                    <a:lnTo>
                      <a:pt x="8" y="8"/>
                    </a:lnTo>
                    <a:lnTo>
                      <a:pt x="6" y="2"/>
                    </a:lnTo>
                    <a:lnTo>
                      <a:pt x="6" y="2"/>
                    </a:lnTo>
                    <a:lnTo>
                      <a:pt x="6" y="0"/>
                    </a:lnTo>
                    <a:lnTo>
                      <a:pt x="2" y="0"/>
                    </a:lnTo>
                    <a:close/>
                  </a:path>
                </a:pathLst>
              </a:custGeom>
              <a:solidFill>
                <a:srgbClr val="BF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7" name="Freeform 98"/>
              <p:cNvSpPr>
                <a:spLocks/>
              </p:cNvSpPr>
              <p:nvPr/>
            </p:nvSpPr>
            <p:spPr bwMode="auto">
              <a:xfrm>
                <a:off x="6443067" y="1957798"/>
                <a:ext cx="9443" cy="14165"/>
              </a:xfrm>
              <a:custGeom>
                <a:avLst/>
                <a:gdLst>
                  <a:gd name="T0" fmla="*/ 2 w 8"/>
                  <a:gd name="T1" fmla="*/ 0 h 12"/>
                  <a:gd name="T2" fmla="*/ 0 w 8"/>
                  <a:gd name="T3" fmla="*/ 0 h 12"/>
                  <a:gd name="T4" fmla="*/ 0 w 8"/>
                  <a:gd name="T5" fmla="*/ 4 h 12"/>
                  <a:gd name="T6" fmla="*/ 4 w 8"/>
                  <a:gd name="T7" fmla="*/ 4 h 12"/>
                  <a:gd name="T8" fmla="*/ 4 w 8"/>
                  <a:gd name="T9" fmla="*/ 10 h 12"/>
                  <a:gd name="T10" fmla="*/ 2 w 8"/>
                  <a:gd name="T11" fmla="*/ 10 h 12"/>
                  <a:gd name="T12" fmla="*/ 2 w 8"/>
                  <a:gd name="T13" fmla="*/ 12 h 12"/>
                  <a:gd name="T14" fmla="*/ 4 w 8"/>
                  <a:gd name="T15" fmla="*/ 12 h 12"/>
                  <a:gd name="T16" fmla="*/ 4 w 8"/>
                  <a:gd name="T17" fmla="*/ 12 h 12"/>
                  <a:gd name="T18" fmla="*/ 6 w 8"/>
                  <a:gd name="T19" fmla="*/ 12 h 12"/>
                  <a:gd name="T20" fmla="*/ 8 w 8"/>
                  <a:gd name="T21" fmla="*/ 8 h 12"/>
                  <a:gd name="T22" fmla="*/ 6 w 8"/>
                  <a:gd name="T23" fmla="*/ 2 h 12"/>
                  <a:gd name="T24" fmla="*/ 6 w 8"/>
                  <a:gd name="T25" fmla="*/ 2 h 12"/>
                  <a:gd name="T26" fmla="*/ 6 w 8"/>
                  <a:gd name="T27" fmla="*/ 0 h 12"/>
                  <a:gd name="T28" fmla="*/ 2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2" y="0"/>
                    </a:moveTo>
                    <a:lnTo>
                      <a:pt x="0" y="0"/>
                    </a:lnTo>
                    <a:lnTo>
                      <a:pt x="0" y="4"/>
                    </a:lnTo>
                    <a:lnTo>
                      <a:pt x="4" y="4"/>
                    </a:lnTo>
                    <a:lnTo>
                      <a:pt x="4" y="10"/>
                    </a:lnTo>
                    <a:lnTo>
                      <a:pt x="2" y="10"/>
                    </a:lnTo>
                    <a:lnTo>
                      <a:pt x="2" y="12"/>
                    </a:lnTo>
                    <a:lnTo>
                      <a:pt x="4" y="12"/>
                    </a:lnTo>
                    <a:lnTo>
                      <a:pt x="4" y="12"/>
                    </a:lnTo>
                    <a:lnTo>
                      <a:pt x="6" y="12"/>
                    </a:lnTo>
                    <a:lnTo>
                      <a:pt x="8" y="8"/>
                    </a:lnTo>
                    <a:lnTo>
                      <a:pt x="6" y="2"/>
                    </a:lnTo>
                    <a:lnTo>
                      <a:pt x="6" y="2"/>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8" name="Freeform 99"/>
              <p:cNvSpPr>
                <a:spLocks/>
              </p:cNvSpPr>
              <p:nvPr/>
            </p:nvSpPr>
            <p:spPr bwMode="auto">
              <a:xfrm>
                <a:off x="2313911" y="2599954"/>
                <a:ext cx="23609" cy="14165"/>
              </a:xfrm>
              <a:custGeom>
                <a:avLst/>
                <a:gdLst>
                  <a:gd name="T0" fmla="*/ 10 w 20"/>
                  <a:gd name="T1" fmla="*/ 0 h 12"/>
                  <a:gd name="T2" fmla="*/ 10 w 20"/>
                  <a:gd name="T3" fmla="*/ 0 h 12"/>
                  <a:gd name="T4" fmla="*/ 6 w 20"/>
                  <a:gd name="T5" fmla="*/ 2 h 12"/>
                  <a:gd name="T6" fmla="*/ 2 w 20"/>
                  <a:gd name="T7" fmla="*/ 4 h 12"/>
                  <a:gd name="T8" fmla="*/ 0 w 20"/>
                  <a:gd name="T9" fmla="*/ 6 h 12"/>
                  <a:gd name="T10" fmla="*/ 8 w 20"/>
                  <a:gd name="T11" fmla="*/ 12 h 12"/>
                  <a:gd name="T12" fmla="*/ 16 w 20"/>
                  <a:gd name="T13" fmla="*/ 10 h 12"/>
                  <a:gd name="T14" fmla="*/ 20 w 20"/>
                  <a:gd name="T15" fmla="*/ 4 h 12"/>
                  <a:gd name="T16" fmla="*/ 20 w 20"/>
                  <a:gd name="T17" fmla="*/ 4 h 12"/>
                  <a:gd name="T18" fmla="*/ 18 w 20"/>
                  <a:gd name="T19" fmla="*/ 2 h 12"/>
                  <a:gd name="T20" fmla="*/ 14 w 20"/>
                  <a:gd name="T21" fmla="*/ 0 h 12"/>
                  <a:gd name="T22" fmla="*/ 10 w 20"/>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2">
                    <a:moveTo>
                      <a:pt x="10" y="0"/>
                    </a:moveTo>
                    <a:lnTo>
                      <a:pt x="10" y="0"/>
                    </a:lnTo>
                    <a:lnTo>
                      <a:pt x="6" y="2"/>
                    </a:lnTo>
                    <a:lnTo>
                      <a:pt x="2" y="4"/>
                    </a:lnTo>
                    <a:lnTo>
                      <a:pt x="0" y="6"/>
                    </a:lnTo>
                    <a:lnTo>
                      <a:pt x="8" y="12"/>
                    </a:lnTo>
                    <a:lnTo>
                      <a:pt x="16" y="10"/>
                    </a:lnTo>
                    <a:lnTo>
                      <a:pt x="20" y="4"/>
                    </a:lnTo>
                    <a:lnTo>
                      <a:pt x="20" y="4"/>
                    </a:lnTo>
                    <a:lnTo>
                      <a:pt x="18" y="2"/>
                    </a:lnTo>
                    <a:lnTo>
                      <a:pt x="14" y="0"/>
                    </a:lnTo>
                    <a:lnTo>
                      <a:pt x="10" y="0"/>
                    </a:lnTo>
                    <a:close/>
                  </a:path>
                </a:pathLst>
              </a:custGeom>
              <a:solidFill>
                <a:srgbClr val="BF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9" name="Freeform 100"/>
              <p:cNvSpPr>
                <a:spLocks/>
              </p:cNvSpPr>
              <p:nvPr/>
            </p:nvSpPr>
            <p:spPr bwMode="auto">
              <a:xfrm>
                <a:off x="2313911" y="2599954"/>
                <a:ext cx="23609" cy="14165"/>
              </a:xfrm>
              <a:custGeom>
                <a:avLst/>
                <a:gdLst>
                  <a:gd name="T0" fmla="*/ 10 w 20"/>
                  <a:gd name="T1" fmla="*/ 0 h 12"/>
                  <a:gd name="T2" fmla="*/ 10 w 20"/>
                  <a:gd name="T3" fmla="*/ 0 h 12"/>
                  <a:gd name="T4" fmla="*/ 6 w 20"/>
                  <a:gd name="T5" fmla="*/ 2 h 12"/>
                  <a:gd name="T6" fmla="*/ 2 w 20"/>
                  <a:gd name="T7" fmla="*/ 4 h 12"/>
                  <a:gd name="T8" fmla="*/ 0 w 20"/>
                  <a:gd name="T9" fmla="*/ 6 h 12"/>
                  <a:gd name="T10" fmla="*/ 8 w 20"/>
                  <a:gd name="T11" fmla="*/ 12 h 12"/>
                  <a:gd name="T12" fmla="*/ 16 w 20"/>
                  <a:gd name="T13" fmla="*/ 10 h 12"/>
                  <a:gd name="T14" fmla="*/ 20 w 20"/>
                  <a:gd name="T15" fmla="*/ 4 h 12"/>
                  <a:gd name="T16" fmla="*/ 20 w 20"/>
                  <a:gd name="T17" fmla="*/ 4 h 12"/>
                  <a:gd name="T18" fmla="*/ 18 w 20"/>
                  <a:gd name="T19" fmla="*/ 2 h 12"/>
                  <a:gd name="T20" fmla="*/ 14 w 20"/>
                  <a:gd name="T21" fmla="*/ 0 h 12"/>
                  <a:gd name="T22" fmla="*/ 10 w 20"/>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2">
                    <a:moveTo>
                      <a:pt x="10" y="0"/>
                    </a:moveTo>
                    <a:lnTo>
                      <a:pt x="10" y="0"/>
                    </a:lnTo>
                    <a:lnTo>
                      <a:pt x="6" y="2"/>
                    </a:lnTo>
                    <a:lnTo>
                      <a:pt x="2" y="4"/>
                    </a:lnTo>
                    <a:lnTo>
                      <a:pt x="0" y="6"/>
                    </a:lnTo>
                    <a:lnTo>
                      <a:pt x="8" y="12"/>
                    </a:lnTo>
                    <a:lnTo>
                      <a:pt x="16" y="10"/>
                    </a:lnTo>
                    <a:lnTo>
                      <a:pt x="20" y="4"/>
                    </a:lnTo>
                    <a:lnTo>
                      <a:pt x="20" y="4"/>
                    </a:lnTo>
                    <a:lnTo>
                      <a:pt x="18" y="2"/>
                    </a:lnTo>
                    <a:lnTo>
                      <a:pt x="14"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0" name="Freeform 101"/>
              <p:cNvSpPr>
                <a:spLocks/>
              </p:cNvSpPr>
              <p:nvPr/>
            </p:nvSpPr>
            <p:spPr bwMode="auto">
              <a:xfrm>
                <a:off x="2283219" y="2562180"/>
                <a:ext cx="77909" cy="28330"/>
              </a:xfrm>
              <a:custGeom>
                <a:avLst/>
                <a:gdLst>
                  <a:gd name="T0" fmla="*/ 30 w 66"/>
                  <a:gd name="T1" fmla="*/ 0 h 24"/>
                  <a:gd name="T2" fmla="*/ 30 w 66"/>
                  <a:gd name="T3" fmla="*/ 0 h 24"/>
                  <a:gd name="T4" fmla="*/ 20 w 66"/>
                  <a:gd name="T5" fmla="*/ 4 h 24"/>
                  <a:gd name="T6" fmla="*/ 10 w 66"/>
                  <a:gd name="T7" fmla="*/ 10 h 24"/>
                  <a:gd name="T8" fmla="*/ 4 w 66"/>
                  <a:gd name="T9" fmla="*/ 14 h 24"/>
                  <a:gd name="T10" fmla="*/ 0 w 66"/>
                  <a:gd name="T11" fmla="*/ 20 h 24"/>
                  <a:gd name="T12" fmla="*/ 8 w 66"/>
                  <a:gd name="T13" fmla="*/ 24 h 24"/>
                  <a:gd name="T14" fmla="*/ 8 w 66"/>
                  <a:gd name="T15" fmla="*/ 24 h 24"/>
                  <a:gd name="T16" fmla="*/ 8 w 66"/>
                  <a:gd name="T17" fmla="*/ 22 h 24"/>
                  <a:gd name="T18" fmla="*/ 8 w 66"/>
                  <a:gd name="T19" fmla="*/ 22 h 24"/>
                  <a:gd name="T20" fmla="*/ 18 w 66"/>
                  <a:gd name="T21" fmla="*/ 14 h 24"/>
                  <a:gd name="T22" fmla="*/ 24 w 66"/>
                  <a:gd name="T23" fmla="*/ 10 h 24"/>
                  <a:gd name="T24" fmla="*/ 32 w 66"/>
                  <a:gd name="T25" fmla="*/ 8 h 24"/>
                  <a:gd name="T26" fmla="*/ 32 w 66"/>
                  <a:gd name="T27" fmla="*/ 8 h 24"/>
                  <a:gd name="T28" fmla="*/ 44 w 66"/>
                  <a:gd name="T29" fmla="*/ 8 h 24"/>
                  <a:gd name="T30" fmla="*/ 52 w 66"/>
                  <a:gd name="T31" fmla="*/ 12 h 24"/>
                  <a:gd name="T32" fmla="*/ 52 w 66"/>
                  <a:gd name="T33" fmla="*/ 12 h 24"/>
                  <a:gd name="T34" fmla="*/ 60 w 66"/>
                  <a:gd name="T35" fmla="*/ 14 h 24"/>
                  <a:gd name="T36" fmla="*/ 60 w 66"/>
                  <a:gd name="T37" fmla="*/ 14 h 24"/>
                  <a:gd name="T38" fmla="*/ 60 w 66"/>
                  <a:gd name="T39" fmla="*/ 16 h 24"/>
                  <a:gd name="T40" fmla="*/ 66 w 66"/>
                  <a:gd name="T41" fmla="*/ 10 h 24"/>
                  <a:gd name="T42" fmla="*/ 66 w 66"/>
                  <a:gd name="T43" fmla="*/ 10 h 24"/>
                  <a:gd name="T44" fmla="*/ 62 w 66"/>
                  <a:gd name="T45" fmla="*/ 6 h 24"/>
                  <a:gd name="T46" fmla="*/ 54 w 66"/>
                  <a:gd name="T47" fmla="*/ 2 h 24"/>
                  <a:gd name="T48" fmla="*/ 44 w 66"/>
                  <a:gd name="T49" fmla="*/ 0 h 24"/>
                  <a:gd name="T50" fmla="*/ 30 w 66"/>
                  <a:gd name="T5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24">
                    <a:moveTo>
                      <a:pt x="30" y="0"/>
                    </a:moveTo>
                    <a:lnTo>
                      <a:pt x="30" y="0"/>
                    </a:lnTo>
                    <a:lnTo>
                      <a:pt x="20" y="4"/>
                    </a:lnTo>
                    <a:lnTo>
                      <a:pt x="10" y="10"/>
                    </a:lnTo>
                    <a:lnTo>
                      <a:pt x="4" y="14"/>
                    </a:lnTo>
                    <a:lnTo>
                      <a:pt x="0" y="20"/>
                    </a:lnTo>
                    <a:lnTo>
                      <a:pt x="8" y="24"/>
                    </a:lnTo>
                    <a:lnTo>
                      <a:pt x="8" y="24"/>
                    </a:lnTo>
                    <a:lnTo>
                      <a:pt x="8" y="22"/>
                    </a:lnTo>
                    <a:lnTo>
                      <a:pt x="8" y="22"/>
                    </a:lnTo>
                    <a:lnTo>
                      <a:pt x="18" y="14"/>
                    </a:lnTo>
                    <a:lnTo>
                      <a:pt x="24" y="10"/>
                    </a:lnTo>
                    <a:lnTo>
                      <a:pt x="32" y="8"/>
                    </a:lnTo>
                    <a:lnTo>
                      <a:pt x="32" y="8"/>
                    </a:lnTo>
                    <a:lnTo>
                      <a:pt x="44" y="8"/>
                    </a:lnTo>
                    <a:lnTo>
                      <a:pt x="52" y="12"/>
                    </a:lnTo>
                    <a:lnTo>
                      <a:pt x="52" y="12"/>
                    </a:lnTo>
                    <a:lnTo>
                      <a:pt x="60" y="14"/>
                    </a:lnTo>
                    <a:lnTo>
                      <a:pt x="60" y="14"/>
                    </a:lnTo>
                    <a:lnTo>
                      <a:pt x="60" y="16"/>
                    </a:lnTo>
                    <a:lnTo>
                      <a:pt x="66" y="10"/>
                    </a:lnTo>
                    <a:lnTo>
                      <a:pt x="66" y="10"/>
                    </a:lnTo>
                    <a:lnTo>
                      <a:pt x="62" y="6"/>
                    </a:lnTo>
                    <a:lnTo>
                      <a:pt x="54" y="2"/>
                    </a:lnTo>
                    <a:lnTo>
                      <a:pt x="44" y="0"/>
                    </a:lnTo>
                    <a:lnTo>
                      <a:pt x="30" y="0"/>
                    </a:lnTo>
                    <a:close/>
                  </a:path>
                </a:pathLst>
              </a:custGeom>
              <a:solidFill>
                <a:srgbClr val="88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1" name="Freeform 102"/>
              <p:cNvSpPr>
                <a:spLocks/>
              </p:cNvSpPr>
              <p:nvPr/>
            </p:nvSpPr>
            <p:spPr bwMode="auto">
              <a:xfrm>
                <a:off x="2283219" y="2562180"/>
                <a:ext cx="77909" cy="28330"/>
              </a:xfrm>
              <a:custGeom>
                <a:avLst/>
                <a:gdLst>
                  <a:gd name="T0" fmla="*/ 30 w 66"/>
                  <a:gd name="T1" fmla="*/ 0 h 24"/>
                  <a:gd name="T2" fmla="*/ 30 w 66"/>
                  <a:gd name="T3" fmla="*/ 0 h 24"/>
                  <a:gd name="T4" fmla="*/ 20 w 66"/>
                  <a:gd name="T5" fmla="*/ 4 h 24"/>
                  <a:gd name="T6" fmla="*/ 10 w 66"/>
                  <a:gd name="T7" fmla="*/ 10 h 24"/>
                  <a:gd name="T8" fmla="*/ 4 w 66"/>
                  <a:gd name="T9" fmla="*/ 14 h 24"/>
                  <a:gd name="T10" fmla="*/ 0 w 66"/>
                  <a:gd name="T11" fmla="*/ 20 h 24"/>
                  <a:gd name="T12" fmla="*/ 8 w 66"/>
                  <a:gd name="T13" fmla="*/ 24 h 24"/>
                  <a:gd name="T14" fmla="*/ 8 w 66"/>
                  <a:gd name="T15" fmla="*/ 24 h 24"/>
                  <a:gd name="T16" fmla="*/ 8 w 66"/>
                  <a:gd name="T17" fmla="*/ 22 h 24"/>
                  <a:gd name="T18" fmla="*/ 8 w 66"/>
                  <a:gd name="T19" fmla="*/ 22 h 24"/>
                  <a:gd name="T20" fmla="*/ 18 w 66"/>
                  <a:gd name="T21" fmla="*/ 14 h 24"/>
                  <a:gd name="T22" fmla="*/ 24 w 66"/>
                  <a:gd name="T23" fmla="*/ 10 h 24"/>
                  <a:gd name="T24" fmla="*/ 32 w 66"/>
                  <a:gd name="T25" fmla="*/ 8 h 24"/>
                  <a:gd name="T26" fmla="*/ 32 w 66"/>
                  <a:gd name="T27" fmla="*/ 8 h 24"/>
                  <a:gd name="T28" fmla="*/ 44 w 66"/>
                  <a:gd name="T29" fmla="*/ 8 h 24"/>
                  <a:gd name="T30" fmla="*/ 52 w 66"/>
                  <a:gd name="T31" fmla="*/ 12 h 24"/>
                  <a:gd name="T32" fmla="*/ 52 w 66"/>
                  <a:gd name="T33" fmla="*/ 12 h 24"/>
                  <a:gd name="T34" fmla="*/ 60 w 66"/>
                  <a:gd name="T35" fmla="*/ 14 h 24"/>
                  <a:gd name="T36" fmla="*/ 60 w 66"/>
                  <a:gd name="T37" fmla="*/ 14 h 24"/>
                  <a:gd name="T38" fmla="*/ 60 w 66"/>
                  <a:gd name="T39" fmla="*/ 16 h 24"/>
                  <a:gd name="T40" fmla="*/ 66 w 66"/>
                  <a:gd name="T41" fmla="*/ 10 h 24"/>
                  <a:gd name="T42" fmla="*/ 66 w 66"/>
                  <a:gd name="T43" fmla="*/ 10 h 24"/>
                  <a:gd name="T44" fmla="*/ 62 w 66"/>
                  <a:gd name="T45" fmla="*/ 6 h 24"/>
                  <a:gd name="T46" fmla="*/ 54 w 66"/>
                  <a:gd name="T47" fmla="*/ 2 h 24"/>
                  <a:gd name="T48" fmla="*/ 44 w 66"/>
                  <a:gd name="T49" fmla="*/ 0 h 24"/>
                  <a:gd name="T50" fmla="*/ 30 w 66"/>
                  <a:gd name="T5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24">
                    <a:moveTo>
                      <a:pt x="30" y="0"/>
                    </a:moveTo>
                    <a:lnTo>
                      <a:pt x="30" y="0"/>
                    </a:lnTo>
                    <a:lnTo>
                      <a:pt x="20" y="4"/>
                    </a:lnTo>
                    <a:lnTo>
                      <a:pt x="10" y="10"/>
                    </a:lnTo>
                    <a:lnTo>
                      <a:pt x="4" y="14"/>
                    </a:lnTo>
                    <a:lnTo>
                      <a:pt x="0" y="20"/>
                    </a:lnTo>
                    <a:lnTo>
                      <a:pt x="8" y="24"/>
                    </a:lnTo>
                    <a:lnTo>
                      <a:pt x="8" y="24"/>
                    </a:lnTo>
                    <a:lnTo>
                      <a:pt x="8" y="22"/>
                    </a:lnTo>
                    <a:lnTo>
                      <a:pt x="8" y="22"/>
                    </a:lnTo>
                    <a:lnTo>
                      <a:pt x="18" y="14"/>
                    </a:lnTo>
                    <a:lnTo>
                      <a:pt x="24" y="10"/>
                    </a:lnTo>
                    <a:lnTo>
                      <a:pt x="32" y="8"/>
                    </a:lnTo>
                    <a:lnTo>
                      <a:pt x="32" y="8"/>
                    </a:lnTo>
                    <a:lnTo>
                      <a:pt x="44" y="8"/>
                    </a:lnTo>
                    <a:lnTo>
                      <a:pt x="52" y="12"/>
                    </a:lnTo>
                    <a:lnTo>
                      <a:pt x="52" y="12"/>
                    </a:lnTo>
                    <a:lnTo>
                      <a:pt x="60" y="14"/>
                    </a:lnTo>
                    <a:lnTo>
                      <a:pt x="60" y="14"/>
                    </a:lnTo>
                    <a:lnTo>
                      <a:pt x="60" y="16"/>
                    </a:lnTo>
                    <a:lnTo>
                      <a:pt x="66" y="10"/>
                    </a:lnTo>
                    <a:lnTo>
                      <a:pt x="66" y="10"/>
                    </a:lnTo>
                    <a:lnTo>
                      <a:pt x="62" y="6"/>
                    </a:lnTo>
                    <a:lnTo>
                      <a:pt x="54" y="2"/>
                    </a:lnTo>
                    <a:lnTo>
                      <a:pt x="44" y="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2" name="Freeform 103"/>
              <p:cNvSpPr>
                <a:spLocks/>
              </p:cNvSpPr>
              <p:nvPr/>
            </p:nvSpPr>
            <p:spPr bwMode="auto">
              <a:xfrm>
                <a:off x="2299746" y="2581067"/>
                <a:ext cx="49578" cy="21248"/>
              </a:xfrm>
              <a:custGeom>
                <a:avLst/>
                <a:gdLst>
                  <a:gd name="T0" fmla="*/ 20 w 42"/>
                  <a:gd name="T1" fmla="*/ 0 h 18"/>
                  <a:gd name="T2" fmla="*/ 20 w 42"/>
                  <a:gd name="T3" fmla="*/ 0 h 18"/>
                  <a:gd name="T4" fmla="*/ 12 w 42"/>
                  <a:gd name="T5" fmla="*/ 2 h 18"/>
                  <a:gd name="T6" fmla="*/ 6 w 42"/>
                  <a:gd name="T7" fmla="*/ 8 h 18"/>
                  <a:gd name="T8" fmla="*/ 0 w 42"/>
                  <a:gd name="T9" fmla="*/ 14 h 18"/>
                  <a:gd name="T10" fmla="*/ 8 w 42"/>
                  <a:gd name="T11" fmla="*/ 18 h 18"/>
                  <a:gd name="T12" fmla="*/ 8 w 42"/>
                  <a:gd name="T13" fmla="*/ 18 h 18"/>
                  <a:gd name="T14" fmla="*/ 12 w 42"/>
                  <a:gd name="T15" fmla="*/ 14 h 18"/>
                  <a:gd name="T16" fmla="*/ 16 w 42"/>
                  <a:gd name="T17" fmla="*/ 10 h 18"/>
                  <a:gd name="T18" fmla="*/ 20 w 42"/>
                  <a:gd name="T19" fmla="*/ 8 h 18"/>
                  <a:gd name="T20" fmla="*/ 20 w 42"/>
                  <a:gd name="T21" fmla="*/ 8 h 18"/>
                  <a:gd name="T22" fmla="*/ 26 w 42"/>
                  <a:gd name="T23" fmla="*/ 8 h 18"/>
                  <a:gd name="T24" fmla="*/ 32 w 42"/>
                  <a:gd name="T25" fmla="*/ 10 h 18"/>
                  <a:gd name="T26" fmla="*/ 36 w 42"/>
                  <a:gd name="T27" fmla="*/ 14 h 18"/>
                  <a:gd name="T28" fmla="*/ 42 w 42"/>
                  <a:gd name="T29" fmla="*/ 8 h 18"/>
                  <a:gd name="T30" fmla="*/ 42 w 42"/>
                  <a:gd name="T31" fmla="*/ 8 h 18"/>
                  <a:gd name="T32" fmla="*/ 34 w 42"/>
                  <a:gd name="T33" fmla="*/ 2 h 18"/>
                  <a:gd name="T34" fmla="*/ 28 w 42"/>
                  <a:gd name="T35" fmla="*/ 0 h 18"/>
                  <a:gd name="T36" fmla="*/ 20 w 42"/>
                  <a:gd name="T3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18">
                    <a:moveTo>
                      <a:pt x="20" y="0"/>
                    </a:moveTo>
                    <a:lnTo>
                      <a:pt x="20" y="0"/>
                    </a:lnTo>
                    <a:lnTo>
                      <a:pt x="12" y="2"/>
                    </a:lnTo>
                    <a:lnTo>
                      <a:pt x="6" y="8"/>
                    </a:lnTo>
                    <a:lnTo>
                      <a:pt x="0" y="14"/>
                    </a:lnTo>
                    <a:lnTo>
                      <a:pt x="8" y="18"/>
                    </a:lnTo>
                    <a:lnTo>
                      <a:pt x="8" y="18"/>
                    </a:lnTo>
                    <a:lnTo>
                      <a:pt x="12" y="14"/>
                    </a:lnTo>
                    <a:lnTo>
                      <a:pt x="16" y="10"/>
                    </a:lnTo>
                    <a:lnTo>
                      <a:pt x="20" y="8"/>
                    </a:lnTo>
                    <a:lnTo>
                      <a:pt x="20" y="8"/>
                    </a:lnTo>
                    <a:lnTo>
                      <a:pt x="26" y="8"/>
                    </a:lnTo>
                    <a:lnTo>
                      <a:pt x="32" y="10"/>
                    </a:lnTo>
                    <a:lnTo>
                      <a:pt x="36" y="14"/>
                    </a:lnTo>
                    <a:lnTo>
                      <a:pt x="42" y="8"/>
                    </a:lnTo>
                    <a:lnTo>
                      <a:pt x="42" y="8"/>
                    </a:lnTo>
                    <a:lnTo>
                      <a:pt x="34" y="2"/>
                    </a:lnTo>
                    <a:lnTo>
                      <a:pt x="28" y="0"/>
                    </a:lnTo>
                    <a:lnTo>
                      <a:pt x="20" y="0"/>
                    </a:lnTo>
                    <a:close/>
                  </a:path>
                </a:pathLst>
              </a:custGeom>
              <a:solidFill>
                <a:srgbClr val="BF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3" name="Freeform 104"/>
              <p:cNvSpPr>
                <a:spLocks/>
              </p:cNvSpPr>
              <p:nvPr/>
            </p:nvSpPr>
            <p:spPr bwMode="auto">
              <a:xfrm>
                <a:off x="2299746" y="2581067"/>
                <a:ext cx="49578" cy="21248"/>
              </a:xfrm>
              <a:custGeom>
                <a:avLst/>
                <a:gdLst>
                  <a:gd name="T0" fmla="*/ 20 w 42"/>
                  <a:gd name="T1" fmla="*/ 0 h 18"/>
                  <a:gd name="T2" fmla="*/ 20 w 42"/>
                  <a:gd name="T3" fmla="*/ 0 h 18"/>
                  <a:gd name="T4" fmla="*/ 12 w 42"/>
                  <a:gd name="T5" fmla="*/ 2 h 18"/>
                  <a:gd name="T6" fmla="*/ 6 w 42"/>
                  <a:gd name="T7" fmla="*/ 8 h 18"/>
                  <a:gd name="T8" fmla="*/ 0 w 42"/>
                  <a:gd name="T9" fmla="*/ 14 h 18"/>
                  <a:gd name="T10" fmla="*/ 8 w 42"/>
                  <a:gd name="T11" fmla="*/ 18 h 18"/>
                  <a:gd name="T12" fmla="*/ 8 w 42"/>
                  <a:gd name="T13" fmla="*/ 18 h 18"/>
                  <a:gd name="T14" fmla="*/ 12 w 42"/>
                  <a:gd name="T15" fmla="*/ 14 h 18"/>
                  <a:gd name="T16" fmla="*/ 16 w 42"/>
                  <a:gd name="T17" fmla="*/ 10 h 18"/>
                  <a:gd name="T18" fmla="*/ 20 w 42"/>
                  <a:gd name="T19" fmla="*/ 8 h 18"/>
                  <a:gd name="T20" fmla="*/ 20 w 42"/>
                  <a:gd name="T21" fmla="*/ 8 h 18"/>
                  <a:gd name="T22" fmla="*/ 26 w 42"/>
                  <a:gd name="T23" fmla="*/ 8 h 18"/>
                  <a:gd name="T24" fmla="*/ 32 w 42"/>
                  <a:gd name="T25" fmla="*/ 10 h 18"/>
                  <a:gd name="T26" fmla="*/ 36 w 42"/>
                  <a:gd name="T27" fmla="*/ 14 h 18"/>
                  <a:gd name="T28" fmla="*/ 42 w 42"/>
                  <a:gd name="T29" fmla="*/ 8 h 18"/>
                  <a:gd name="T30" fmla="*/ 42 w 42"/>
                  <a:gd name="T31" fmla="*/ 8 h 18"/>
                  <a:gd name="T32" fmla="*/ 34 w 42"/>
                  <a:gd name="T33" fmla="*/ 2 h 18"/>
                  <a:gd name="T34" fmla="*/ 28 w 42"/>
                  <a:gd name="T35" fmla="*/ 0 h 18"/>
                  <a:gd name="T36" fmla="*/ 20 w 42"/>
                  <a:gd name="T3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18">
                    <a:moveTo>
                      <a:pt x="20" y="0"/>
                    </a:moveTo>
                    <a:lnTo>
                      <a:pt x="20" y="0"/>
                    </a:lnTo>
                    <a:lnTo>
                      <a:pt x="12" y="2"/>
                    </a:lnTo>
                    <a:lnTo>
                      <a:pt x="6" y="8"/>
                    </a:lnTo>
                    <a:lnTo>
                      <a:pt x="0" y="14"/>
                    </a:lnTo>
                    <a:lnTo>
                      <a:pt x="8" y="18"/>
                    </a:lnTo>
                    <a:lnTo>
                      <a:pt x="8" y="18"/>
                    </a:lnTo>
                    <a:lnTo>
                      <a:pt x="12" y="14"/>
                    </a:lnTo>
                    <a:lnTo>
                      <a:pt x="16" y="10"/>
                    </a:lnTo>
                    <a:lnTo>
                      <a:pt x="20" y="8"/>
                    </a:lnTo>
                    <a:lnTo>
                      <a:pt x="20" y="8"/>
                    </a:lnTo>
                    <a:lnTo>
                      <a:pt x="26" y="8"/>
                    </a:lnTo>
                    <a:lnTo>
                      <a:pt x="32" y="10"/>
                    </a:lnTo>
                    <a:lnTo>
                      <a:pt x="36" y="14"/>
                    </a:lnTo>
                    <a:lnTo>
                      <a:pt x="42" y="8"/>
                    </a:lnTo>
                    <a:lnTo>
                      <a:pt x="42" y="8"/>
                    </a:lnTo>
                    <a:lnTo>
                      <a:pt x="34" y="2"/>
                    </a:lnTo>
                    <a:lnTo>
                      <a:pt x="28" y="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4" name="Freeform 105"/>
              <p:cNvSpPr>
                <a:spLocks noEditPoints="1"/>
              </p:cNvSpPr>
              <p:nvPr/>
            </p:nvSpPr>
            <p:spPr bwMode="auto">
              <a:xfrm>
                <a:off x="6150319" y="1981407"/>
                <a:ext cx="80269" cy="47217"/>
              </a:xfrm>
              <a:custGeom>
                <a:avLst/>
                <a:gdLst>
                  <a:gd name="T0" fmla="*/ 64 w 68"/>
                  <a:gd name="T1" fmla="*/ 8 h 40"/>
                  <a:gd name="T2" fmla="*/ 60 w 68"/>
                  <a:gd name="T3" fmla="*/ 8 h 40"/>
                  <a:gd name="T4" fmla="*/ 60 w 68"/>
                  <a:gd name="T5" fmla="*/ 2 h 40"/>
                  <a:gd name="T6" fmla="*/ 60 w 68"/>
                  <a:gd name="T7" fmla="*/ 2 h 40"/>
                  <a:gd name="T8" fmla="*/ 58 w 68"/>
                  <a:gd name="T9" fmla="*/ 0 h 40"/>
                  <a:gd name="T10" fmla="*/ 56 w 68"/>
                  <a:gd name="T11" fmla="*/ 0 h 40"/>
                  <a:gd name="T12" fmla="*/ 4 w 68"/>
                  <a:gd name="T13" fmla="*/ 8 h 40"/>
                  <a:gd name="T14" fmla="*/ 4 w 68"/>
                  <a:gd name="T15" fmla="*/ 8 h 40"/>
                  <a:gd name="T16" fmla="*/ 2 w 68"/>
                  <a:gd name="T17" fmla="*/ 10 h 40"/>
                  <a:gd name="T18" fmla="*/ 0 w 68"/>
                  <a:gd name="T19" fmla="*/ 12 h 40"/>
                  <a:gd name="T20" fmla="*/ 4 w 68"/>
                  <a:gd name="T21" fmla="*/ 36 h 40"/>
                  <a:gd name="T22" fmla="*/ 4 w 68"/>
                  <a:gd name="T23" fmla="*/ 36 h 40"/>
                  <a:gd name="T24" fmla="*/ 6 w 68"/>
                  <a:gd name="T25" fmla="*/ 38 h 40"/>
                  <a:gd name="T26" fmla="*/ 8 w 68"/>
                  <a:gd name="T27" fmla="*/ 40 h 40"/>
                  <a:gd name="T28" fmla="*/ 62 w 68"/>
                  <a:gd name="T29" fmla="*/ 32 h 40"/>
                  <a:gd name="T30" fmla="*/ 62 w 68"/>
                  <a:gd name="T31" fmla="*/ 32 h 40"/>
                  <a:gd name="T32" fmla="*/ 64 w 68"/>
                  <a:gd name="T33" fmla="*/ 30 h 40"/>
                  <a:gd name="T34" fmla="*/ 64 w 68"/>
                  <a:gd name="T35" fmla="*/ 28 h 40"/>
                  <a:gd name="T36" fmla="*/ 62 w 68"/>
                  <a:gd name="T37" fmla="*/ 22 h 40"/>
                  <a:gd name="T38" fmla="*/ 66 w 68"/>
                  <a:gd name="T39" fmla="*/ 20 h 40"/>
                  <a:gd name="T40" fmla="*/ 66 w 68"/>
                  <a:gd name="T41" fmla="*/ 20 h 40"/>
                  <a:gd name="T42" fmla="*/ 68 w 68"/>
                  <a:gd name="T43" fmla="*/ 20 h 40"/>
                  <a:gd name="T44" fmla="*/ 68 w 68"/>
                  <a:gd name="T45" fmla="*/ 18 h 40"/>
                  <a:gd name="T46" fmla="*/ 68 w 68"/>
                  <a:gd name="T47" fmla="*/ 12 h 40"/>
                  <a:gd name="T48" fmla="*/ 68 w 68"/>
                  <a:gd name="T49" fmla="*/ 12 h 40"/>
                  <a:gd name="T50" fmla="*/ 66 w 68"/>
                  <a:gd name="T51" fmla="*/ 8 h 40"/>
                  <a:gd name="T52" fmla="*/ 64 w 68"/>
                  <a:gd name="T53" fmla="*/ 8 h 40"/>
                  <a:gd name="T54" fmla="*/ 50 w 68"/>
                  <a:gd name="T55" fmla="*/ 14 h 40"/>
                  <a:gd name="T56" fmla="*/ 44 w 68"/>
                  <a:gd name="T57" fmla="*/ 14 h 40"/>
                  <a:gd name="T58" fmla="*/ 44 w 68"/>
                  <a:gd name="T59" fmla="*/ 20 h 40"/>
                  <a:gd name="T60" fmla="*/ 50 w 68"/>
                  <a:gd name="T61" fmla="*/ 20 h 40"/>
                  <a:gd name="T62" fmla="*/ 52 w 68"/>
                  <a:gd name="T63" fmla="*/ 24 h 40"/>
                  <a:gd name="T64" fmla="*/ 46 w 68"/>
                  <a:gd name="T65" fmla="*/ 24 h 40"/>
                  <a:gd name="T66" fmla="*/ 46 w 68"/>
                  <a:gd name="T67" fmla="*/ 28 h 40"/>
                  <a:gd name="T68" fmla="*/ 36 w 68"/>
                  <a:gd name="T69" fmla="*/ 28 h 40"/>
                  <a:gd name="T70" fmla="*/ 36 w 68"/>
                  <a:gd name="T71" fmla="*/ 28 h 40"/>
                  <a:gd name="T72" fmla="*/ 30 w 68"/>
                  <a:gd name="T73" fmla="*/ 28 h 40"/>
                  <a:gd name="T74" fmla="*/ 26 w 68"/>
                  <a:gd name="T75" fmla="*/ 24 h 40"/>
                  <a:gd name="T76" fmla="*/ 14 w 68"/>
                  <a:gd name="T77" fmla="*/ 26 h 40"/>
                  <a:gd name="T78" fmla="*/ 12 w 68"/>
                  <a:gd name="T79" fmla="*/ 20 h 40"/>
                  <a:gd name="T80" fmla="*/ 26 w 68"/>
                  <a:gd name="T81" fmla="*/ 18 h 40"/>
                  <a:gd name="T82" fmla="*/ 26 w 68"/>
                  <a:gd name="T83" fmla="*/ 18 h 40"/>
                  <a:gd name="T84" fmla="*/ 28 w 68"/>
                  <a:gd name="T85" fmla="*/ 12 h 40"/>
                  <a:gd name="T86" fmla="*/ 34 w 68"/>
                  <a:gd name="T87" fmla="*/ 10 h 40"/>
                  <a:gd name="T88" fmla="*/ 42 w 68"/>
                  <a:gd name="T89" fmla="*/ 8 h 40"/>
                  <a:gd name="T90" fmla="*/ 44 w 68"/>
                  <a:gd name="T91" fmla="*/ 12 h 40"/>
                  <a:gd name="T92" fmla="*/ 50 w 68"/>
                  <a:gd name="T93" fmla="*/ 10 h 40"/>
                  <a:gd name="T94" fmla="*/ 50 w 68"/>
                  <a:gd name="T95" fmla="*/ 14 h 40"/>
                  <a:gd name="T96" fmla="*/ 66 w 68"/>
                  <a:gd name="T97" fmla="*/ 18 h 40"/>
                  <a:gd name="T98" fmla="*/ 62 w 68"/>
                  <a:gd name="T99" fmla="*/ 18 h 40"/>
                  <a:gd name="T100" fmla="*/ 62 w 68"/>
                  <a:gd name="T101" fmla="*/ 12 h 40"/>
                  <a:gd name="T102" fmla="*/ 64 w 68"/>
                  <a:gd name="T103" fmla="*/ 12 h 40"/>
                  <a:gd name="T104" fmla="*/ 66 w 68"/>
                  <a:gd name="T105" fmla="*/ 1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40">
                    <a:moveTo>
                      <a:pt x="64" y="8"/>
                    </a:moveTo>
                    <a:lnTo>
                      <a:pt x="60" y="8"/>
                    </a:lnTo>
                    <a:lnTo>
                      <a:pt x="60" y="2"/>
                    </a:lnTo>
                    <a:lnTo>
                      <a:pt x="60" y="2"/>
                    </a:lnTo>
                    <a:lnTo>
                      <a:pt x="58" y="0"/>
                    </a:lnTo>
                    <a:lnTo>
                      <a:pt x="56" y="0"/>
                    </a:lnTo>
                    <a:lnTo>
                      <a:pt x="4" y="8"/>
                    </a:lnTo>
                    <a:lnTo>
                      <a:pt x="4" y="8"/>
                    </a:lnTo>
                    <a:lnTo>
                      <a:pt x="2" y="10"/>
                    </a:lnTo>
                    <a:lnTo>
                      <a:pt x="0" y="12"/>
                    </a:lnTo>
                    <a:lnTo>
                      <a:pt x="4" y="36"/>
                    </a:lnTo>
                    <a:lnTo>
                      <a:pt x="4" y="36"/>
                    </a:lnTo>
                    <a:lnTo>
                      <a:pt x="6" y="38"/>
                    </a:lnTo>
                    <a:lnTo>
                      <a:pt x="8" y="40"/>
                    </a:lnTo>
                    <a:lnTo>
                      <a:pt x="62" y="32"/>
                    </a:lnTo>
                    <a:lnTo>
                      <a:pt x="62" y="32"/>
                    </a:lnTo>
                    <a:lnTo>
                      <a:pt x="64" y="30"/>
                    </a:lnTo>
                    <a:lnTo>
                      <a:pt x="64" y="28"/>
                    </a:lnTo>
                    <a:lnTo>
                      <a:pt x="62" y="22"/>
                    </a:lnTo>
                    <a:lnTo>
                      <a:pt x="66" y="20"/>
                    </a:lnTo>
                    <a:lnTo>
                      <a:pt x="66" y="20"/>
                    </a:lnTo>
                    <a:lnTo>
                      <a:pt x="68" y="20"/>
                    </a:lnTo>
                    <a:lnTo>
                      <a:pt x="68" y="18"/>
                    </a:lnTo>
                    <a:lnTo>
                      <a:pt x="68" y="12"/>
                    </a:lnTo>
                    <a:lnTo>
                      <a:pt x="68" y="12"/>
                    </a:lnTo>
                    <a:lnTo>
                      <a:pt x="66" y="8"/>
                    </a:lnTo>
                    <a:lnTo>
                      <a:pt x="64" y="8"/>
                    </a:lnTo>
                    <a:close/>
                    <a:moveTo>
                      <a:pt x="50" y="14"/>
                    </a:moveTo>
                    <a:lnTo>
                      <a:pt x="44" y="14"/>
                    </a:lnTo>
                    <a:lnTo>
                      <a:pt x="44" y="20"/>
                    </a:lnTo>
                    <a:lnTo>
                      <a:pt x="50" y="20"/>
                    </a:lnTo>
                    <a:lnTo>
                      <a:pt x="52" y="24"/>
                    </a:lnTo>
                    <a:lnTo>
                      <a:pt x="46" y="24"/>
                    </a:lnTo>
                    <a:lnTo>
                      <a:pt x="46" y="28"/>
                    </a:lnTo>
                    <a:lnTo>
                      <a:pt x="36" y="28"/>
                    </a:lnTo>
                    <a:lnTo>
                      <a:pt x="36" y="28"/>
                    </a:lnTo>
                    <a:lnTo>
                      <a:pt x="30" y="28"/>
                    </a:lnTo>
                    <a:lnTo>
                      <a:pt x="26" y="24"/>
                    </a:lnTo>
                    <a:lnTo>
                      <a:pt x="14" y="26"/>
                    </a:lnTo>
                    <a:lnTo>
                      <a:pt x="12" y="20"/>
                    </a:lnTo>
                    <a:lnTo>
                      <a:pt x="26" y="18"/>
                    </a:lnTo>
                    <a:lnTo>
                      <a:pt x="26" y="18"/>
                    </a:lnTo>
                    <a:lnTo>
                      <a:pt x="28" y="12"/>
                    </a:lnTo>
                    <a:lnTo>
                      <a:pt x="34" y="10"/>
                    </a:lnTo>
                    <a:lnTo>
                      <a:pt x="42" y="8"/>
                    </a:lnTo>
                    <a:lnTo>
                      <a:pt x="44" y="12"/>
                    </a:lnTo>
                    <a:lnTo>
                      <a:pt x="50" y="10"/>
                    </a:lnTo>
                    <a:lnTo>
                      <a:pt x="50" y="14"/>
                    </a:lnTo>
                    <a:close/>
                    <a:moveTo>
                      <a:pt x="66" y="18"/>
                    </a:moveTo>
                    <a:lnTo>
                      <a:pt x="62" y="18"/>
                    </a:lnTo>
                    <a:lnTo>
                      <a:pt x="62" y="12"/>
                    </a:lnTo>
                    <a:lnTo>
                      <a:pt x="64" y="12"/>
                    </a:lnTo>
                    <a:lnTo>
                      <a:pt x="66" y="18"/>
                    </a:lnTo>
                    <a:close/>
                  </a:path>
                </a:pathLst>
              </a:custGeom>
              <a:solidFill>
                <a:srgbClr val="88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5" name="Freeform 106"/>
              <p:cNvSpPr>
                <a:spLocks/>
              </p:cNvSpPr>
              <p:nvPr/>
            </p:nvSpPr>
            <p:spPr bwMode="auto">
              <a:xfrm>
                <a:off x="6150319" y="1981407"/>
                <a:ext cx="80269" cy="47217"/>
              </a:xfrm>
              <a:custGeom>
                <a:avLst/>
                <a:gdLst>
                  <a:gd name="T0" fmla="*/ 64 w 68"/>
                  <a:gd name="T1" fmla="*/ 8 h 40"/>
                  <a:gd name="T2" fmla="*/ 60 w 68"/>
                  <a:gd name="T3" fmla="*/ 8 h 40"/>
                  <a:gd name="T4" fmla="*/ 60 w 68"/>
                  <a:gd name="T5" fmla="*/ 2 h 40"/>
                  <a:gd name="T6" fmla="*/ 60 w 68"/>
                  <a:gd name="T7" fmla="*/ 2 h 40"/>
                  <a:gd name="T8" fmla="*/ 58 w 68"/>
                  <a:gd name="T9" fmla="*/ 0 h 40"/>
                  <a:gd name="T10" fmla="*/ 56 w 68"/>
                  <a:gd name="T11" fmla="*/ 0 h 40"/>
                  <a:gd name="T12" fmla="*/ 4 w 68"/>
                  <a:gd name="T13" fmla="*/ 8 h 40"/>
                  <a:gd name="T14" fmla="*/ 4 w 68"/>
                  <a:gd name="T15" fmla="*/ 8 h 40"/>
                  <a:gd name="T16" fmla="*/ 2 w 68"/>
                  <a:gd name="T17" fmla="*/ 10 h 40"/>
                  <a:gd name="T18" fmla="*/ 0 w 68"/>
                  <a:gd name="T19" fmla="*/ 12 h 40"/>
                  <a:gd name="T20" fmla="*/ 4 w 68"/>
                  <a:gd name="T21" fmla="*/ 36 h 40"/>
                  <a:gd name="T22" fmla="*/ 4 w 68"/>
                  <a:gd name="T23" fmla="*/ 36 h 40"/>
                  <a:gd name="T24" fmla="*/ 6 w 68"/>
                  <a:gd name="T25" fmla="*/ 38 h 40"/>
                  <a:gd name="T26" fmla="*/ 8 w 68"/>
                  <a:gd name="T27" fmla="*/ 40 h 40"/>
                  <a:gd name="T28" fmla="*/ 62 w 68"/>
                  <a:gd name="T29" fmla="*/ 32 h 40"/>
                  <a:gd name="T30" fmla="*/ 62 w 68"/>
                  <a:gd name="T31" fmla="*/ 32 h 40"/>
                  <a:gd name="T32" fmla="*/ 64 w 68"/>
                  <a:gd name="T33" fmla="*/ 30 h 40"/>
                  <a:gd name="T34" fmla="*/ 64 w 68"/>
                  <a:gd name="T35" fmla="*/ 28 h 40"/>
                  <a:gd name="T36" fmla="*/ 62 w 68"/>
                  <a:gd name="T37" fmla="*/ 22 h 40"/>
                  <a:gd name="T38" fmla="*/ 66 w 68"/>
                  <a:gd name="T39" fmla="*/ 20 h 40"/>
                  <a:gd name="T40" fmla="*/ 66 w 68"/>
                  <a:gd name="T41" fmla="*/ 20 h 40"/>
                  <a:gd name="T42" fmla="*/ 68 w 68"/>
                  <a:gd name="T43" fmla="*/ 20 h 40"/>
                  <a:gd name="T44" fmla="*/ 68 w 68"/>
                  <a:gd name="T45" fmla="*/ 18 h 40"/>
                  <a:gd name="T46" fmla="*/ 68 w 68"/>
                  <a:gd name="T47" fmla="*/ 12 h 40"/>
                  <a:gd name="T48" fmla="*/ 68 w 68"/>
                  <a:gd name="T49" fmla="*/ 12 h 40"/>
                  <a:gd name="T50" fmla="*/ 66 w 68"/>
                  <a:gd name="T51" fmla="*/ 8 h 40"/>
                  <a:gd name="T52" fmla="*/ 64 w 68"/>
                  <a:gd name="T5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40">
                    <a:moveTo>
                      <a:pt x="64" y="8"/>
                    </a:moveTo>
                    <a:lnTo>
                      <a:pt x="60" y="8"/>
                    </a:lnTo>
                    <a:lnTo>
                      <a:pt x="60" y="2"/>
                    </a:lnTo>
                    <a:lnTo>
                      <a:pt x="60" y="2"/>
                    </a:lnTo>
                    <a:lnTo>
                      <a:pt x="58" y="0"/>
                    </a:lnTo>
                    <a:lnTo>
                      <a:pt x="56" y="0"/>
                    </a:lnTo>
                    <a:lnTo>
                      <a:pt x="4" y="8"/>
                    </a:lnTo>
                    <a:lnTo>
                      <a:pt x="4" y="8"/>
                    </a:lnTo>
                    <a:lnTo>
                      <a:pt x="2" y="10"/>
                    </a:lnTo>
                    <a:lnTo>
                      <a:pt x="0" y="12"/>
                    </a:lnTo>
                    <a:lnTo>
                      <a:pt x="4" y="36"/>
                    </a:lnTo>
                    <a:lnTo>
                      <a:pt x="4" y="36"/>
                    </a:lnTo>
                    <a:lnTo>
                      <a:pt x="6" y="38"/>
                    </a:lnTo>
                    <a:lnTo>
                      <a:pt x="8" y="40"/>
                    </a:lnTo>
                    <a:lnTo>
                      <a:pt x="62" y="32"/>
                    </a:lnTo>
                    <a:lnTo>
                      <a:pt x="62" y="32"/>
                    </a:lnTo>
                    <a:lnTo>
                      <a:pt x="64" y="30"/>
                    </a:lnTo>
                    <a:lnTo>
                      <a:pt x="64" y="28"/>
                    </a:lnTo>
                    <a:lnTo>
                      <a:pt x="62" y="22"/>
                    </a:lnTo>
                    <a:lnTo>
                      <a:pt x="66" y="20"/>
                    </a:lnTo>
                    <a:lnTo>
                      <a:pt x="66" y="20"/>
                    </a:lnTo>
                    <a:lnTo>
                      <a:pt x="68" y="20"/>
                    </a:lnTo>
                    <a:lnTo>
                      <a:pt x="68" y="18"/>
                    </a:lnTo>
                    <a:lnTo>
                      <a:pt x="68" y="12"/>
                    </a:lnTo>
                    <a:lnTo>
                      <a:pt x="68" y="12"/>
                    </a:lnTo>
                    <a:lnTo>
                      <a:pt x="66" y="8"/>
                    </a:lnTo>
                    <a:lnTo>
                      <a:pt x="64"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6" name="Freeform 107"/>
              <p:cNvSpPr>
                <a:spLocks/>
              </p:cNvSpPr>
              <p:nvPr/>
            </p:nvSpPr>
            <p:spPr bwMode="auto">
              <a:xfrm>
                <a:off x="6164484" y="1990850"/>
                <a:ext cx="47217" cy="23609"/>
              </a:xfrm>
              <a:custGeom>
                <a:avLst/>
                <a:gdLst>
                  <a:gd name="T0" fmla="*/ 38 w 40"/>
                  <a:gd name="T1" fmla="*/ 6 h 20"/>
                  <a:gd name="T2" fmla="*/ 32 w 40"/>
                  <a:gd name="T3" fmla="*/ 6 h 20"/>
                  <a:gd name="T4" fmla="*/ 32 w 40"/>
                  <a:gd name="T5" fmla="*/ 12 h 20"/>
                  <a:gd name="T6" fmla="*/ 38 w 40"/>
                  <a:gd name="T7" fmla="*/ 12 h 20"/>
                  <a:gd name="T8" fmla="*/ 40 w 40"/>
                  <a:gd name="T9" fmla="*/ 16 h 20"/>
                  <a:gd name="T10" fmla="*/ 34 w 40"/>
                  <a:gd name="T11" fmla="*/ 16 h 20"/>
                  <a:gd name="T12" fmla="*/ 34 w 40"/>
                  <a:gd name="T13" fmla="*/ 20 h 20"/>
                  <a:gd name="T14" fmla="*/ 24 w 40"/>
                  <a:gd name="T15" fmla="*/ 20 h 20"/>
                  <a:gd name="T16" fmla="*/ 24 w 40"/>
                  <a:gd name="T17" fmla="*/ 20 h 20"/>
                  <a:gd name="T18" fmla="*/ 18 w 40"/>
                  <a:gd name="T19" fmla="*/ 20 h 20"/>
                  <a:gd name="T20" fmla="*/ 14 w 40"/>
                  <a:gd name="T21" fmla="*/ 16 h 20"/>
                  <a:gd name="T22" fmla="*/ 2 w 40"/>
                  <a:gd name="T23" fmla="*/ 18 h 20"/>
                  <a:gd name="T24" fmla="*/ 0 w 40"/>
                  <a:gd name="T25" fmla="*/ 12 h 20"/>
                  <a:gd name="T26" fmla="*/ 14 w 40"/>
                  <a:gd name="T27" fmla="*/ 10 h 20"/>
                  <a:gd name="T28" fmla="*/ 14 w 40"/>
                  <a:gd name="T29" fmla="*/ 10 h 20"/>
                  <a:gd name="T30" fmla="*/ 16 w 40"/>
                  <a:gd name="T31" fmla="*/ 4 h 20"/>
                  <a:gd name="T32" fmla="*/ 22 w 40"/>
                  <a:gd name="T33" fmla="*/ 2 h 20"/>
                  <a:gd name="T34" fmla="*/ 30 w 40"/>
                  <a:gd name="T35" fmla="*/ 0 h 20"/>
                  <a:gd name="T36" fmla="*/ 32 w 40"/>
                  <a:gd name="T37" fmla="*/ 4 h 20"/>
                  <a:gd name="T38" fmla="*/ 38 w 40"/>
                  <a:gd name="T39" fmla="*/ 2 h 20"/>
                  <a:gd name="T40" fmla="*/ 38 w 40"/>
                  <a:gd name="T41"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0">
                    <a:moveTo>
                      <a:pt x="38" y="6"/>
                    </a:moveTo>
                    <a:lnTo>
                      <a:pt x="32" y="6"/>
                    </a:lnTo>
                    <a:lnTo>
                      <a:pt x="32" y="12"/>
                    </a:lnTo>
                    <a:lnTo>
                      <a:pt x="38" y="12"/>
                    </a:lnTo>
                    <a:lnTo>
                      <a:pt x="40" y="16"/>
                    </a:lnTo>
                    <a:lnTo>
                      <a:pt x="34" y="16"/>
                    </a:lnTo>
                    <a:lnTo>
                      <a:pt x="34" y="20"/>
                    </a:lnTo>
                    <a:lnTo>
                      <a:pt x="24" y="20"/>
                    </a:lnTo>
                    <a:lnTo>
                      <a:pt x="24" y="20"/>
                    </a:lnTo>
                    <a:lnTo>
                      <a:pt x="18" y="20"/>
                    </a:lnTo>
                    <a:lnTo>
                      <a:pt x="14" y="16"/>
                    </a:lnTo>
                    <a:lnTo>
                      <a:pt x="2" y="18"/>
                    </a:lnTo>
                    <a:lnTo>
                      <a:pt x="0" y="12"/>
                    </a:lnTo>
                    <a:lnTo>
                      <a:pt x="14" y="10"/>
                    </a:lnTo>
                    <a:lnTo>
                      <a:pt x="14" y="10"/>
                    </a:lnTo>
                    <a:lnTo>
                      <a:pt x="16" y="4"/>
                    </a:lnTo>
                    <a:lnTo>
                      <a:pt x="22" y="2"/>
                    </a:lnTo>
                    <a:lnTo>
                      <a:pt x="30" y="0"/>
                    </a:lnTo>
                    <a:lnTo>
                      <a:pt x="32" y="4"/>
                    </a:lnTo>
                    <a:lnTo>
                      <a:pt x="38" y="2"/>
                    </a:lnTo>
                    <a:lnTo>
                      <a:pt x="3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7" name="Freeform 108"/>
              <p:cNvSpPr>
                <a:spLocks/>
              </p:cNvSpPr>
              <p:nvPr/>
            </p:nvSpPr>
            <p:spPr bwMode="auto">
              <a:xfrm>
                <a:off x="6223506" y="1995572"/>
                <a:ext cx="4722" cy="7083"/>
              </a:xfrm>
              <a:custGeom>
                <a:avLst/>
                <a:gdLst>
                  <a:gd name="T0" fmla="*/ 4 w 4"/>
                  <a:gd name="T1" fmla="*/ 6 h 6"/>
                  <a:gd name="T2" fmla="*/ 0 w 4"/>
                  <a:gd name="T3" fmla="*/ 6 h 6"/>
                  <a:gd name="T4" fmla="*/ 0 w 4"/>
                  <a:gd name="T5" fmla="*/ 0 h 6"/>
                  <a:gd name="T6" fmla="*/ 2 w 4"/>
                  <a:gd name="T7" fmla="*/ 0 h 6"/>
                  <a:gd name="T8" fmla="*/ 4 w 4"/>
                  <a:gd name="T9" fmla="*/ 6 h 6"/>
                </a:gdLst>
                <a:ahLst/>
                <a:cxnLst>
                  <a:cxn ang="0">
                    <a:pos x="T0" y="T1"/>
                  </a:cxn>
                  <a:cxn ang="0">
                    <a:pos x="T2" y="T3"/>
                  </a:cxn>
                  <a:cxn ang="0">
                    <a:pos x="T4" y="T5"/>
                  </a:cxn>
                  <a:cxn ang="0">
                    <a:pos x="T6" y="T7"/>
                  </a:cxn>
                  <a:cxn ang="0">
                    <a:pos x="T8" y="T9"/>
                  </a:cxn>
                </a:cxnLst>
                <a:rect l="0" t="0" r="r" b="b"/>
                <a:pathLst>
                  <a:path w="4" h="6">
                    <a:moveTo>
                      <a:pt x="4" y="6"/>
                    </a:moveTo>
                    <a:lnTo>
                      <a:pt x="0" y="6"/>
                    </a:lnTo>
                    <a:lnTo>
                      <a:pt x="0" y="0"/>
                    </a:lnTo>
                    <a:lnTo>
                      <a:pt x="2" y="0"/>
                    </a:lnTo>
                    <a:lnTo>
                      <a:pt x="4"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8" name="Freeform 109"/>
              <p:cNvSpPr>
                <a:spLocks noEditPoints="1"/>
              </p:cNvSpPr>
              <p:nvPr/>
            </p:nvSpPr>
            <p:spPr bwMode="auto">
              <a:xfrm>
                <a:off x="6096019" y="1986129"/>
                <a:ext cx="33052" cy="54300"/>
              </a:xfrm>
              <a:custGeom>
                <a:avLst/>
                <a:gdLst>
                  <a:gd name="T0" fmla="*/ 28 w 28"/>
                  <a:gd name="T1" fmla="*/ 30 h 46"/>
                  <a:gd name="T2" fmla="*/ 16 w 28"/>
                  <a:gd name="T3" fmla="*/ 22 h 46"/>
                  <a:gd name="T4" fmla="*/ 24 w 28"/>
                  <a:gd name="T5" fmla="*/ 12 h 46"/>
                  <a:gd name="T6" fmla="*/ 8 w 28"/>
                  <a:gd name="T7" fmla="*/ 0 h 46"/>
                  <a:gd name="T8" fmla="*/ 12 w 28"/>
                  <a:gd name="T9" fmla="*/ 18 h 46"/>
                  <a:gd name="T10" fmla="*/ 2 w 28"/>
                  <a:gd name="T11" fmla="*/ 12 h 46"/>
                  <a:gd name="T12" fmla="*/ 0 w 28"/>
                  <a:gd name="T13" fmla="*/ 16 h 46"/>
                  <a:gd name="T14" fmla="*/ 10 w 28"/>
                  <a:gd name="T15" fmla="*/ 24 h 46"/>
                  <a:gd name="T16" fmla="*/ 2 w 28"/>
                  <a:gd name="T17" fmla="*/ 34 h 46"/>
                  <a:gd name="T18" fmla="*/ 6 w 28"/>
                  <a:gd name="T19" fmla="*/ 38 h 46"/>
                  <a:gd name="T20" fmla="*/ 12 w 28"/>
                  <a:gd name="T21" fmla="*/ 28 h 46"/>
                  <a:gd name="T22" fmla="*/ 16 w 28"/>
                  <a:gd name="T23" fmla="*/ 46 h 46"/>
                  <a:gd name="T24" fmla="*/ 28 w 28"/>
                  <a:gd name="T25" fmla="*/ 30 h 46"/>
                  <a:gd name="T26" fmla="*/ 14 w 28"/>
                  <a:gd name="T27" fmla="*/ 8 h 46"/>
                  <a:gd name="T28" fmla="*/ 20 w 28"/>
                  <a:gd name="T29" fmla="*/ 12 h 46"/>
                  <a:gd name="T30" fmla="*/ 14 w 28"/>
                  <a:gd name="T31" fmla="*/ 18 h 46"/>
                  <a:gd name="T32" fmla="*/ 14 w 28"/>
                  <a:gd name="T33" fmla="*/ 8 h 46"/>
                  <a:gd name="T34" fmla="*/ 16 w 28"/>
                  <a:gd name="T35" fmla="*/ 28 h 46"/>
                  <a:gd name="T36" fmla="*/ 22 w 28"/>
                  <a:gd name="T37" fmla="*/ 32 h 46"/>
                  <a:gd name="T38" fmla="*/ 18 w 28"/>
                  <a:gd name="T39" fmla="*/ 36 h 46"/>
                  <a:gd name="T40" fmla="*/ 16 w 28"/>
                  <a:gd name="T41"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46">
                    <a:moveTo>
                      <a:pt x="28" y="30"/>
                    </a:moveTo>
                    <a:lnTo>
                      <a:pt x="16" y="22"/>
                    </a:lnTo>
                    <a:lnTo>
                      <a:pt x="24" y="12"/>
                    </a:lnTo>
                    <a:lnTo>
                      <a:pt x="8" y="0"/>
                    </a:lnTo>
                    <a:lnTo>
                      <a:pt x="12" y="18"/>
                    </a:lnTo>
                    <a:lnTo>
                      <a:pt x="2" y="12"/>
                    </a:lnTo>
                    <a:lnTo>
                      <a:pt x="0" y="16"/>
                    </a:lnTo>
                    <a:lnTo>
                      <a:pt x="10" y="24"/>
                    </a:lnTo>
                    <a:lnTo>
                      <a:pt x="2" y="34"/>
                    </a:lnTo>
                    <a:lnTo>
                      <a:pt x="6" y="38"/>
                    </a:lnTo>
                    <a:lnTo>
                      <a:pt x="12" y="28"/>
                    </a:lnTo>
                    <a:lnTo>
                      <a:pt x="16" y="46"/>
                    </a:lnTo>
                    <a:lnTo>
                      <a:pt x="28" y="30"/>
                    </a:lnTo>
                    <a:close/>
                    <a:moveTo>
                      <a:pt x="14" y="8"/>
                    </a:moveTo>
                    <a:lnTo>
                      <a:pt x="20" y="12"/>
                    </a:lnTo>
                    <a:lnTo>
                      <a:pt x="14" y="18"/>
                    </a:lnTo>
                    <a:lnTo>
                      <a:pt x="14" y="8"/>
                    </a:lnTo>
                    <a:close/>
                    <a:moveTo>
                      <a:pt x="16" y="28"/>
                    </a:moveTo>
                    <a:lnTo>
                      <a:pt x="22" y="32"/>
                    </a:lnTo>
                    <a:lnTo>
                      <a:pt x="18" y="36"/>
                    </a:lnTo>
                    <a:lnTo>
                      <a:pt x="16" y="28"/>
                    </a:lnTo>
                    <a:close/>
                  </a:path>
                </a:pathLst>
              </a:custGeom>
              <a:solidFill>
                <a:srgbClr val="88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9" name="Freeform 110"/>
              <p:cNvSpPr>
                <a:spLocks noEditPoints="1"/>
              </p:cNvSpPr>
              <p:nvPr/>
            </p:nvSpPr>
            <p:spPr bwMode="auto">
              <a:xfrm>
                <a:off x="4457578" y="2241102"/>
                <a:ext cx="40135" cy="49578"/>
              </a:xfrm>
              <a:custGeom>
                <a:avLst/>
                <a:gdLst>
                  <a:gd name="T0" fmla="*/ 28 w 34"/>
                  <a:gd name="T1" fmla="*/ 16 h 42"/>
                  <a:gd name="T2" fmla="*/ 26 w 34"/>
                  <a:gd name="T3" fmla="*/ 10 h 42"/>
                  <a:gd name="T4" fmla="*/ 26 w 34"/>
                  <a:gd name="T5" fmla="*/ 10 h 42"/>
                  <a:gd name="T6" fmla="*/ 24 w 34"/>
                  <a:gd name="T7" fmla="*/ 6 h 42"/>
                  <a:gd name="T8" fmla="*/ 22 w 34"/>
                  <a:gd name="T9" fmla="*/ 2 h 42"/>
                  <a:gd name="T10" fmla="*/ 18 w 34"/>
                  <a:gd name="T11" fmla="*/ 0 h 42"/>
                  <a:gd name="T12" fmla="*/ 14 w 34"/>
                  <a:gd name="T13" fmla="*/ 0 h 42"/>
                  <a:gd name="T14" fmla="*/ 14 w 34"/>
                  <a:gd name="T15" fmla="*/ 0 h 42"/>
                  <a:gd name="T16" fmla="*/ 8 w 34"/>
                  <a:gd name="T17" fmla="*/ 2 h 42"/>
                  <a:gd name="T18" fmla="*/ 6 w 34"/>
                  <a:gd name="T19" fmla="*/ 4 h 42"/>
                  <a:gd name="T20" fmla="*/ 4 w 34"/>
                  <a:gd name="T21" fmla="*/ 8 h 42"/>
                  <a:gd name="T22" fmla="*/ 4 w 34"/>
                  <a:gd name="T23" fmla="*/ 14 h 42"/>
                  <a:gd name="T24" fmla="*/ 4 w 34"/>
                  <a:gd name="T25" fmla="*/ 20 h 42"/>
                  <a:gd name="T26" fmla="*/ 0 w 34"/>
                  <a:gd name="T27" fmla="*/ 20 h 42"/>
                  <a:gd name="T28" fmla="*/ 4 w 34"/>
                  <a:gd name="T29" fmla="*/ 42 h 42"/>
                  <a:gd name="T30" fmla="*/ 34 w 34"/>
                  <a:gd name="T31" fmla="*/ 38 h 42"/>
                  <a:gd name="T32" fmla="*/ 32 w 34"/>
                  <a:gd name="T33" fmla="*/ 16 h 42"/>
                  <a:gd name="T34" fmla="*/ 28 w 34"/>
                  <a:gd name="T35" fmla="*/ 16 h 42"/>
                  <a:gd name="T36" fmla="*/ 8 w 34"/>
                  <a:gd name="T37" fmla="*/ 12 h 42"/>
                  <a:gd name="T38" fmla="*/ 8 w 34"/>
                  <a:gd name="T39" fmla="*/ 12 h 42"/>
                  <a:gd name="T40" fmla="*/ 10 w 34"/>
                  <a:gd name="T41" fmla="*/ 8 h 42"/>
                  <a:gd name="T42" fmla="*/ 14 w 34"/>
                  <a:gd name="T43" fmla="*/ 4 h 42"/>
                  <a:gd name="T44" fmla="*/ 14 w 34"/>
                  <a:gd name="T45" fmla="*/ 4 h 42"/>
                  <a:gd name="T46" fmla="*/ 18 w 34"/>
                  <a:gd name="T47" fmla="*/ 6 h 42"/>
                  <a:gd name="T48" fmla="*/ 22 w 34"/>
                  <a:gd name="T49" fmla="*/ 10 h 42"/>
                  <a:gd name="T50" fmla="*/ 22 w 34"/>
                  <a:gd name="T51" fmla="*/ 16 h 42"/>
                  <a:gd name="T52" fmla="*/ 8 w 34"/>
                  <a:gd name="T53" fmla="*/ 18 h 42"/>
                  <a:gd name="T54" fmla="*/ 8 w 34"/>
                  <a:gd name="T55"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42">
                    <a:moveTo>
                      <a:pt x="28" y="16"/>
                    </a:moveTo>
                    <a:lnTo>
                      <a:pt x="26" y="10"/>
                    </a:lnTo>
                    <a:lnTo>
                      <a:pt x="26" y="10"/>
                    </a:lnTo>
                    <a:lnTo>
                      <a:pt x="24" y="6"/>
                    </a:lnTo>
                    <a:lnTo>
                      <a:pt x="22" y="2"/>
                    </a:lnTo>
                    <a:lnTo>
                      <a:pt x="18" y="0"/>
                    </a:lnTo>
                    <a:lnTo>
                      <a:pt x="14" y="0"/>
                    </a:lnTo>
                    <a:lnTo>
                      <a:pt x="14" y="0"/>
                    </a:lnTo>
                    <a:lnTo>
                      <a:pt x="8" y="2"/>
                    </a:lnTo>
                    <a:lnTo>
                      <a:pt x="6" y="4"/>
                    </a:lnTo>
                    <a:lnTo>
                      <a:pt x="4" y="8"/>
                    </a:lnTo>
                    <a:lnTo>
                      <a:pt x="4" y="14"/>
                    </a:lnTo>
                    <a:lnTo>
                      <a:pt x="4" y="20"/>
                    </a:lnTo>
                    <a:lnTo>
                      <a:pt x="0" y="20"/>
                    </a:lnTo>
                    <a:lnTo>
                      <a:pt x="4" y="42"/>
                    </a:lnTo>
                    <a:lnTo>
                      <a:pt x="34" y="38"/>
                    </a:lnTo>
                    <a:lnTo>
                      <a:pt x="32" y="16"/>
                    </a:lnTo>
                    <a:lnTo>
                      <a:pt x="28" y="16"/>
                    </a:lnTo>
                    <a:close/>
                    <a:moveTo>
                      <a:pt x="8" y="12"/>
                    </a:moveTo>
                    <a:lnTo>
                      <a:pt x="8" y="12"/>
                    </a:lnTo>
                    <a:lnTo>
                      <a:pt x="10" y="8"/>
                    </a:lnTo>
                    <a:lnTo>
                      <a:pt x="14" y="4"/>
                    </a:lnTo>
                    <a:lnTo>
                      <a:pt x="14" y="4"/>
                    </a:lnTo>
                    <a:lnTo>
                      <a:pt x="18" y="6"/>
                    </a:lnTo>
                    <a:lnTo>
                      <a:pt x="22" y="10"/>
                    </a:lnTo>
                    <a:lnTo>
                      <a:pt x="22" y="16"/>
                    </a:lnTo>
                    <a:lnTo>
                      <a:pt x="8" y="18"/>
                    </a:lnTo>
                    <a:lnTo>
                      <a:pt x="8" y="12"/>
                    </a:lnTo>
                    <a:close/>
                  </a:path>
                </a:pathLst>
              </a:custGeom>
              <a:solidFill>
                <a:srgbClr val="88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pic>
            <p:nvPicPr>
              <p:cNvPr id="70" name="Picture 1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09359" y="4217148"/>
                <a:ext cx="148735" cy="148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 name="Picture 2" descr="C:\Documents and Settings\dalida.nordin\Desktop\bpm\120614 TH Hotel Kedah\LANTIKAN JKUASA SEKOLAH\1.png"/>
            <p:cNvPicPr>
              <a:picLocks noChangeAspect="1" noChangeArrowheads="1"/>
            </p:cNvPicPr>
            <p:nvPr/>
          </p:nvPicPr>
          <p:blipFill>
            <a:blip r:embed="rId9" cstate="print">
              <a:lum/>
            </a:blip>
            <a:srcRect/>
            <a:stretch>
              <a:fillRect/>
            </a:stretch>
          </p:blipFill>
          <p:spPr bwMode="auto">
            <a:xfrm rot="20852387">
              <a:off x="3501853" y="2538825"/>
              <a:ext cx="4403923" cy="3193379"/>
            </a:xfrm>
            <a:prstGeom prst="rect">
              <a:avLst/>
            </a:prstGeom>
            <a:noFill/>
          </p:spPr>
        </p:pic>
        <p:grpSp>
          <p:nvGrpSpPr>
            <p:cNvPr id="6" name="Groupe 81"/>
            <p:cNvGrpSpPr/>
            <p:nvPr/>
          </p:nvGrpSpPr>
          <p:grpSpPr>
            <a:xfrm>
              <a:off x="7441815" y="2260331"/>
              <a:ext cx="1702185" cy="4008752"/>
              <a:chOff x="6273084" y="2111255"/>
              <a:chExt cx="1702185" cy="4008752"/>
            </a:xfrm>
          </p:grpSpPr>
          <p:sp>
            <p:nvSpPr>
              <p:cNvPr id="73" name="Freeform 112"/>
              <p:cNvSpPr>
                <a:spLocks/>
              </p:cNvSpPr>
              <p:nvPr/>
            </p:nvSpPr>
            <p:spPr bwMode="auto">
              <a:xfrm>
                <a:off x="6273084" y="2111255"/>
                <a:ext cx="1702185" cy="4008752"/>
              </a:xfrm>
              <a:custGeom>
                <a:avLst/>
                <a:gdLst>
                  <a:gd name="T0" fmla="*/ 1390 w 1442"/>
                  <a:gd name="T1" fmla="*/ 1352 h 3396"/>
                  <a:gd name="T2" fmla="*/ 1340 w 1442"/>
                  <a:gd name="T3" fmla="*/ 1170 h 3396"/>
                  <a:gd name="T4" fmla="*/ 1320 w 1442"/>
                  <a:gd name="T5" fmla="*/ 1070 h 3396"/>
                  <a:gd name="T6" fmla="*/ 1298 w 1442"/>
                  <a:gd name="T7" fmla="*/ 1010 h 3396"/>
                  <a:gd name="T8" fmla="*/ 1230 w 1442"/>
                  <a:gd name="T9" fmla="*/ 866 h 3396"/>
                  <a:gd name="T10" fmla="*/ 1206 w 1442"/>
                  <a:gd name="T11" fmla="*/ 786 h 3396"/>
                  <a:gd name="T12" fmla="*/ 1204 w 1442"/>
                  <a:gd name="T13" fmla="*/ 742 h 3396"/>
                  <a:gd name="T14" fmla="*/ 1188 w 1442"/>
                  <a:gd name="T15" fmla="*/ 614 h 3396"/>
                  <a:gd name="T16" fmla="*/ 1170 w 1442"/>
                  <a:gd name="T17" fmla="*/ 576 h 3396"/>
                  <a:gd name="T18" fmla="*/ 1088 w 1442"/>
                  <a:gd name="T19" fmla="*/ 490 h 3396"/>
                  <a:gd name="T20" fmla="*/ 896 w 1442"/>
                  <a:gd name="T21" fmla="*/ 270 h 3396"/>
                  <a:gd name="T22" fmla="*/ 670 w 1442"/>
                  <a:gd name="T23" fmla="*/ 0 h 3396"/>
                  <a:gd name="T24" fmla="*/ 732 w 1442"/>
                  <a:gd name="T25" fmla="*/ 418 h 3396"/>
                  <a:gd name="T26" fmla="*/ 768 w 1442"/>
                  <a:gd name="T27" fmla="*/ 658 h 3396"/>
                  <a:gd name="T28" fmla="*/ 774 w 1442"/>
                  <a:gd name="T29" fmla="*/ 720 h 3396"/>
                  <a:gd name="T30" fmla="*/ 770 w 1442"/>
                  <a:gd name="T31" fmla="*/ 808 h 3396"/>
                  <a:gd name="T32" fmla="*/ 720 w 1442"/>
                  <a:gd name="T33" fmla="*/ 746 h 3396"/>
                  <a:gd name="T34" fmla="*/ 696 w 1442"/>
                  <a:gd name="T35" fmla="*/ 710 h 3396"/>
                  <a:gd name="T36" fmla="*/ 620 w 1442"/>
                  <a:gd name="T37" fmla="*/ 612 h 3396"/>
                  <a:gd name="T38" fmla="*/ 486 w 1442"/>
                  <a:gd name="T39" fmla="*/ 472 h 3396"/>
                  <a:gd name="T40" fmla="*/ 428 w 1442"/>
                  <a:gd name="T41" fmla="*/ 418 h 3396"/>
                  <a:gd name="T42" fmla="*/ 316 w 1442"/>
                  <a:gd name="T43" fmla="*/ 326 h 3396"/>
                  <a:gd name="T44" fmla="*/ 260 w 1442"/>
                  <a:gd name="T45" fmla="*/ 298 h 3396"/>
                  <a:gd name="T46" fmla="*/ 220 w 1442"/>
                  <a:gd name="T47" fmla="*/ 296 h 3396"/>
                  <a:gd name="T48" fmla="*/ 190 w 1442"/>
                  <a:gd name="T49" fmla="*/ 276 h 3396"/>
                  <a:gd name="T50" fmla="*/ 130 w 1442"/>
                  <a:gd name="T51" fmla="*/ 250 h 3396"/>
                  <a:gd name="T52" fmla="*/ 90 w 1442"/>
                  <a:gd name="T53" fmla="*/ 246 h 3396"/>
                  <a:gd name="T54" fmla="*/ 52 w 1442"/>
                  <a:gd name="T55" fmla="*/ 258 h 3396"/>
                  <a:gd name="T56" fmla="*/ 32 w 1442"/>
                  <a:gd name="T57" fmla="*/ 276 h 3396"/>
                  <a:gd name="T58" fmla="*/ 12 w 1442"/>
                  <a:gd name="T59" fmla="*/ 310 h 3396"/>
                  <a:gd name="T60" fmla="*/ 2 w 1442"/>
                  <a:gd name="T61" fmla="*/ 352 h 3396"/>
                  <a:gd name="T62" fmla="*/ 2 w 1442"/>
                  <a:gd name="T63" fmla="*/ 398 h 3396"/>
                  <a:gd name="T64" fmla="*/ 18 w 1442"/>
                  <a:gd name="T65" fmla="*/ 446 h 3396"/>
                  <a:gd name="T66" fmla="*/ 46 w 1442"/>
                  <a:gd name="T67" fmla="*/ 494 h 3396"/>
                  <a:gd name="T68" fmla="*/ 64 w 1442"/>
                  <a:gd name="T69" fmla="*/ 546 h 3396"/>
                  <a:gd name="T70" fmla="*/ 106 w 1442"/>
                  <a:gd name="T71" fmla="*/ 620 h 3396"/>
                  <a:gd name="T72" fmla="*/ 246 w 1442"/>
                  <a:gd name="T73" fmla="*/ 798 h 3396"/>
                  <a:gd name="T74" fmla="*/ 400 w 1442"/>
                  <a:gd name="T75" fmla="*/ 990 h 3396"/>
                  <a:gd name="T76" fmla="*/ 528 w 1442"/>
                  <a:gd name="T77" fmla="*/ 1186 h 3396"/>
                  <a:gd name="T78" fmla="*/ 630 w 1442"/>
                  <a:gd name="T79" fmla="*/ 1366 h 3396"/>
                  <a:gd name="T80" fmla="*/ 628 w 1442"/>
                  <a:gd name="T81" fmla="*/ 1384 h 3396"/>
                  <a:gd name="T82" fmla="*/ 614 w 1442"/>
                  <a:gd name="T83" fmla="*/ 1440 h 3396"/>
                  <a:gd name="T84" fmla="*/ 608 w 1442"/>
                  <a:gd name="T85" fmla="*/ 1496 h 3396"/>
                  <a:gd name="T86" fmla="*/ 592 w 1442"/>
                  <a:gd name="T87" fmla="*/ 1566 h 3396"/>
                  <a:gd name="T88" fmla="*/ 580 w 1442"/>
                  <a:gd name="T89" fmla="*/ 1604 h 3396"/>
                  <a:gd name="T90" fmla="*/ 582 w 1442"/>
                  <a:gd name="T91" fmla="*/ 1720 h 3396"/>
                  <a:gd name="T92" fmla="*/ 588 w 1442"/>
                  <a:gd name="T93" fmla="*/ 1766 h 3396"/>
                  <a:gd name="T94" fmla="*/ 614 w 1442"/>
                  <a:gd name="T95" fmla="*/ 1904 h 3396"/>
                  <a:gd name="T96" fmla="*/ 638 w 1442"/>
                  <a:gd name="T97" fmla="*/ 1980 h 3396"/>
                  <a:gd name="T98" fmla="*/ 664 w 1442"/>
                  <a:gd name="T99" fmla="*/ 2026 h 3396"/>
                  <a:gd name="T100" fmla="*/ 752 w 1442"/>
                  <a:gd name="T101" fmla="*/ 2140 h 3396"/>
                  <a:gd name="T102" fmla="*/ 822 w 1442"/>
                  <a:gd name="T103" fmla="*/ 2210 h 3396"/>
                  <a:gd name="T104" fmla="*/ 862 w 1442"/>
                  <a:gd name="T105" fmla="*/ 2256 h 3396"/>
                  <a:gd name="T106" fmla="*/ 1014 w 1442"/>
                  <a:gd name="T107" fmla="*/ 2464 h 3396"/>
                  <a:gd name="T108" fmla="*/ 1146 w 1442"/>
                  <a:gd name="T109" fmla="*/ 2660 h 3396"/>
                  <a:gd name="T110" fmla="*/ 1198 w 1442"/>
                  <a:gd name="T111" fmla="*/ 2762 h 3396"/>
                  <a:gd name="T112" fmla="*/ 1272 w 1442"/>
                  <a:gd name="T113" fmla="*/ 2906 h 3396"/>
                  <a:gd name="T114" fmla="*/ 1314 w 1442"/>
                  <a:gd name="T115" fmla="*/ 3006 h 3396"/>
                  <a:gd name="T116" fmla="*/ 1442 w 1442"/>
                  <a:gd name="T117" fmla="*/ 3396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42" h="3396">
                    <a:moveTo>
                      <a:pt x="1442" y="1480"/>
                    </a:moveTo>
                    <a:lnTo>
                      <a:pt x="1442" y="1480"/>
                    </a:lnTo>
                    <a:lnTo>
                      <a:pt x="1390" y="1352"/>
                    </a:lnTo>
                    <a:lnTo>
                      <a:pt x="1354" y="1258"/>
                    </a:lnTo>
                    <a:lnTo>
                      <a:pt x="1354" y="1258"/>
                    </a:lnTo>
                    <a:lnTo>
                      <a:pt x="1340" y="1170"/>
                    </a:lnTo>
                    <a:lnTo>
                      <a:pt x="1330" y="1112"/>
                    </a:lnTo>
                    <a:lnTo>
                      <a:pt x="1320" y="1070"/>
                    </a:lnTo>
                    <a:lnTo>
                      <a:pt x="1320" y="1070"/>
                    </a:lnTo>
                    <a:lnTo>
                      <a:pt x="1310" y="1044"/>
                    </a:lnTo>
                    <a:lnTo>
                      <a:pt x="1298" y="1010"/>
                    </a:lnTo>
                    <a:lnTo>
                      <a:pt x="1298" y="1010"/>
                    </a:lnTo>
                    <a:lnTo>
                      <a:pt x="1278" y="966"/>
                    </a:lnTo>
                    <a:lnTo>
                      <a:pt x="1246" y="900"/>
                    </a:lnTo>
                    <a:lnTo>
                      <a:pt x="1230" y="866"/>
                    </a:lnTo>
                    <a:lnTo>
                      <a:pt x="1218" y="832"/>
                    </a:lnTo>
                    <a:lnTo>
                      <a:pt x="1208" y="800"/>
                    </a:lnTo>
                    <a:lnTo>
                      <a:pt x="1206" y="786"/>
                    </a:lnTo>
                    <a:lnTo>
                      <a:pt x="1204" y="776"/>
                    </a:lnTo>
                    <a:lnTo>
                      <a:pt x="1204" y="776"/>
                    </a:lnTo>
                    <a:lnTo>
                      <a:pt x="1204" y="742"/>
                    </a:lnTo>
                    <a:lnTo>
                      <a:pt x="1200" y="710"/>
                    </a:lnTo>
                    <a:lnTo>
                      <a:pt x="1194" y="654"/>
                    </a:lnTo>
                    <a:lnTo>
                      <a:pt x="1188" y="614"/>
                    </a:lnTo>
                    <a:lnTo>
                      <a:pt x="1184" y="600"/>
                    </a:lnTo>
                    <a:lnTo>
                      <a:pt x="1184" y="600"/>
                    </a:lnTo>
                    <a:lnTo>
                      <a:pt x="1170" y="576"/>
                    </a:lnTo>
                    <a:lnTo>
                      <a:pt x="1150" y="552"/>
                    </a:lnTo>
                    <a:lnTo>
                      <a:pt x="1124" y="524"/>
                    </a:lnTo>
                    <a:lnTo>
                      <a:pt x="1088" y="490"/>
                    </a:lnTo>
                    <a:lnTo>
                      <a:pt x="1088" y="490"/>
                    </a:lnTo>
                    <a:lnTo>
                      <a:pt x="1022" y="416"/>
                    </a:lnTo>
                    <a:lnTo>
                      <a:pt x="896" y="270"/>
                    </a:lnTo>
                    <a:lnTo>
                      <a:pt x="772" y="126"/>
                    </a:lnTo>
                    <a:lnTo>
                      <a:pt x="716" y="62"/>
                    </a:lnTo>
                    <a:lnTo>
                      <a:pt x="670" y="0"/>
                    </a:lnTo>
                    <a:lnTo>
                      <a:pt x="676" y="60"/>
                    </a:lnTo>
                    <a:lnTo>
                      <a:pt x="732" y="418"/>
                    </a:lnTo>
                    <a:lnTo>
                      <a:pt x="732" y="418"/>
                    </a:lnTo>
                    <a:lnTo>
                      <a:pt x="740" y="472"/>
                    </a:lnTo>
                    <a:lnTo>
                      <a:pt x="754" y="564"/>
                    </a:lnTo>
                    <a:lnTo>
                      <a:pt x="768" y="658"/>
                    </a:lnTo>
                    <a:lnTo>
                      <a:pt x="772" y="694"/>
                    </a:lnTo>
                    <a:lnTo>
                      <a:pt x="774" y="720"/>
                    </a:lnTo>
                    <a:lnTo>
                      <a:pt x="774" y="720"/>
                    </a:lnTo>
                    <a:lnTo>
                      <a:pt x="774" y="762"/>
                    </a:lnTo>
                    <a:lnTo>
                      <a:pt x="770" y="808"/>
                    </a:lnTo>
                    <a:lnTo>
                      <a:pt x="770" y="808"/>
                    </a:lnTo>
                    <a:lnTo>
                      <a:pt x="728" y="756"/>
                    </a:lnTo>
                    <a:lnTo>
                      <a:pt x="728" y="756"/>
                    </a:lnTo>
                    <a:lnTo>
                      <a:pt x="720" y="746"/>
                    </a:lnTo>
                    <a:lnTo>
                      <a:pt x="714" y="736"/>
                    </a:lnTo>
                    <a:lnTo>
                      <a:pt x="714" y="736"/>
                    </a:lnTo>
                    <a:lnTo>
                      <a:pt x="696" y="710"/>
                    </a:lnTo>
                    <a:lnTo>
                      <a:pt x="662" y="664"/>
                    </a:lnTo>
                    <a:lnTo>
                      <a:pt x="662" y="664"/>
                    </a:lnTo>
                    <a:lnTo>
                      <a:pt x="620" y="612"/>
                    </a:lnTo>
                    <a:lnTo>
                      <a:pt x="572" y="558"/>
                    </a:lnTo>
                    <a:lnTo>
                      <a:pt x="524" y="510"/>
                    </a:lnTo>
                    <a:lnTo>
                      <a:pt x="486" y="472"/>
                    </a:lnTo>
                    <a:lnTo>
                      <a:pt x="466" y="456"/>
                    </a:lnTo>
                    <a:lnTo>
                      <a:pt x="466" y="456"/>
                    </a:lnTo>
                    <a:lnTo>
                      <a:pt x="428" y="418"/>
                    </a:lnTo>
                    <a:lnTo>
                      <a:pt x="374" y="370"/>
                    </a:lnTo>
                    <a:lnTo>
                      <a:pt x="346" y="346"/>
                    </a:lnTo>
                    <a:lnTo>
                      <a:pt x="316" y="326"/>
                    </a:lnTo>
                    <a:lnTo>
                      <a:pt x="288" y="308"/>
                    </a:lnTo>
                    <a:lnTo>
                      <a:pt x="274" y="304"/>
                    </a:lnTo>
                    <a:lnTo>
                      <a:pt x="260" y="298"/>
                    </a:lnTo>
                    <a:lnTo>
                      <a:pt x="260" y="298"/>
                    </a:lnTo>
                    <a:lnTo>
                      <a:pt x="240" y="296"/>
                    </a:lnTo>
                    <a:lnTo>
                      <a:pt x="220" y="296"/>
                    </a:lnTo>
                    <a:lnTo>
                      <a:pt x="220" y="296"/>
                    </a:lnTo>
                    <a:lnTo>
                      <a:pt x="206" y="286"/>
                    </a:lnTo>
                    <a:lnTo>
                      <a:pt x="190" y="276"/>
                    </a:lnTo>
                    <a:lnTo>
                      <a:pt x="168" y="264"/>
                    </a:lnTo>
                    <a:lnTo>
                      <a:pt x="142" y="254"/>
                    </a:lnTo>
                    <a:lnTo>
                      <a:pt x="130" y="250"/>
                    </a:lnTo>
                    <a:lnTo>
                      <a:pt x="116" y="246"/>
                    </a:lnTo>
                    <a:lnTo>
                      <a:pt x="104" y="244"/>
                    </a:lnTo>
                    <a:lnTo>
                      <a:pt x="90" y="246"/>
                    </a:lnTo>
                    <a:lnTo>
                      <a:pt x="78" y="248"/>
                    </a:lnTo>
                    <a:lnTo>
                      <a:pt x="64" y="252"/>
                    </a:lnTo>
                    <a:lnTo>
                      <a:pt x="52" y="258"/>
                    </a:lnTo>
                    <a:lnTo>
                      <a:pt x="42" y="266"/>
                    </a:lnTo>
                    <a:lnTo>
                      <a:pt x="42" y="266"/>
                    </a:lnTo>
                    <a:lnTo>
                      <a:pt x="32" y="276"/>
                    </a:lnTo>
                    <a:lnTo>
                      <a:pt x="24" y="286"/>
                    </a:lnTo>
                    <a:lnTo>
                      <a:pt x="18" y="298"/>
                    </a:lnTo>
                    <a:lnTo>
                      <a:pt x="12" y="310"/>
                    </a:lnTo>
                    <a:lnTo>
                      <a:pt x="6" y="324"/>
                    </a:lnTo>
                    <a:lnTo>
                      <a:pt x="4" y="338"/>
                    </a:lnTo>
                    <a:lnTo>
                      <a:pt x="2" y="352"/>
                    </a:lnTo>
                    <a:lnTo>
                      <a:pt x="0" y="366"/>
                    </a:lnTo>
                    <a:lnTo>
                      <a:pt x="0" y="382"/>
                    </a:lnTo>
                    <a:lnTo>
                      <a:pt x="2" y="398"/>
                    </a:lnTo>
                    <a:lnTo>
                      <a:pt x="6" y="414"/>
                    </a:lnTo>
                    <a:lnTo>
                      <a:pt x="10" y="430"/>
                    </a:lnTo>
                    <a:lnTo>
                      <a:pt x="18" y="446"/>
                    </a:lnTo>
                    <a:lnTo>
                      <a:pt x="26" y="462"/>
                    </a:lnTo>
                    <a:lnTo>
                      <a:pt x="36" y="478"/>
                    </a:lnTo>
                    <a:lnTo>
                      <a:pt x="46" y="494"/>
                    </a:lnTo>
                    <a:lnTo>
                      <a:pt x="46" y="494"/>
                    </a:lnTo>
                    <a:lnTo>
                      <a:pt x="54" y="520"/>
                    </a:lnTo>
                    <a:lnTo>
                      <a:pt x="64" y="546"/>
                    </a:lnTo>
                    <a:lnTo>
                      <a:pt x="76" y="570"/>
                    </a:lnTo>
                    <a:lnTo>
                      <a:pt x="86" y="590"/>
                    </a:lnTo>
                    <a:lnTo>
                      <a:pt x="106" y="620"/>
                    </a:lnTo>
                    <a:lnTo>
                      <a:pt x="116" y="632"/>
                    </a:lnTo>
                    <a:lnTo>
                      <a:pt x="116" y="632"/>
                    </a:lnTo>
                    <a:lnTo>
                      <a:pt x="246" y="798"/>
                    </a:lnTo>
                    <a:lnTo>
                      <a:pt x="342" y="918"/>
                    </a:lnTo>
                    <a:lnTo>
                      <a:pt x="400" y="990"/>
                    </a:lnTo>
                    <a:lnTo>
                      <a:pt x="400" y="990"/>
                    </a:lnTo>
                    <a:lnTo>
                      <a:pt x="420" y="1016"/>
                    </a:lnTo>
                    <a:lnTo>
                      <a:pt x="450" y="1064"/>
                    </a:lnTo>
                    <a:lnTo>
                      <a:pt x="528" y="1186"/>
                    </a:lnTo>
                    <a:lnTo>
                      <a:pt x="598" y="1304"/>
                    </a:lnTo>
                    <a:lnTo>
                      <a:pt x="620" y="1346"/>
                    </a:lnTo>
                    <a:lnTo>
                      <a:pt x="630" y="1366"/>
                    </a:lnTo>
                    <a:lnTo>
                      <a:pt x="630" y="1366"/>
                    </a:lnTo>
                    <a:lnTo>
                      <a:pt x="630" y="1374"/>
                    </a:lnTo>
                    <a:lnTo>
                      <a:pt x="628" y="1384"/>
                    </a:lnTo>
                    <a:lnTo>
                      <a:pt x="622" y="1404"/>
                    </a:lnTo>
                    <a:lnTo>
                      <a:pt x="616" y="1426"/>
                    </a:lnTo>
                    <a:lnTo>
                      <a:pt x="614" y="1440"/>
                    </a:lnTo>
                    <a:lnTo>
                      <a:pt x="614" y="1440"/>
                    </a:lnTo>
                    <a:lnTo>
                      <a:pt x="612" y="1458"/>
                    </a:lnTo>
                    <a:lnTo>
                      <a:pt x="608" y="1496"/>
                    </a:lnTo>
                    <a:lnTo>
                      <a:pt x="604" y="1518"/>
                    </a:lnTo>
                    <a:lnTo>
                      <a:pt x="598" y="1542"/>
                    </a:lnTo>
                    <a:lnTo>
                      <a:pt x="592" y="1566"/>
                    </a:lnTo>
                    <a:lnTo>
                      <a:pt x="582" y="1592"/>
                    </a:lnTo>
                    <a:lnTo>
                      <a:pt x="580" y="1598"/>
                    </a:lnTo>
                    <a:lnTo>
                      <a:pt x="580" y="1604"/>
                    </a:lnTo>
                    <a:lnTo>
                      <a:pt x="580" y="1604"/>
                    </a:lnTo>
                    <a:lnTo>
                      <a:pt x="580" y="1668"/>
                    </a:lnTo>
                    <a:lnTo>
                      <a:pt x="582" y="1720"/>
                    </a:lnTo>
                    <a:lnTo>
                      <a:pt x="584" y="1744"/>
                    </a:lnTo>
                    <a:lnTo>
                      <a:pt x="588" y="1766"/>
                    </a:lnTo>
                    <a:lnTo>
                      <a:pt x="588" y="1766"/>
                    </a:lnTo>
                    <a:lnTo>
                      <a:pt x="596" y="1818"/>
                    </a:lnTo>
                    <a:lnTo>
                      <a:pt x="608" y="1874"/>
                    </a:lnTo>
                    <a:lnTo>
                      <a:pt x="614" y="1904"/>
                    </a:lnTo>
                    <a:lnTo>
                      <a:pt x="620" y="1932"/>
                    </a:lnTo>
                    <a:lnTo>
                      <a:pt x="628" y="1958"/>
                    </a:lnTo>
                    <a:lnTo>
                      <a:pt x="638" y="1980"/>
                    </a:lnTo>
                    <a:lnTo>
                      <a:pt x="642" y="1986"/>
                    </a:lnTo>
                    <a:lnTo>
                      <a:pt x="642" y="1986"/>
                    </a:lnTo>
                    <a:lnTo>
                      <a:pt x="664" y="2026"/>
                    </a:lnTo>
                    <a:lnTo>
                      <a:pt x="688" y="2062"/>
                    </a:lnTo>
                    <a:lnTo>
                      <a:pt x="718" y="2100"/>
                    </a:lnTo>
                    <a:lnTo>
                      <a:pt x="752" y="2140"/>
                    </a:lnTo>
                    <a:lnTo>
                      <a:pt x="752" y="2140"/>
                    </a:lnTo>
                    <a:lnTo>
                      <a:pt x="798" y="2188"/>
                    </a:lnTo>
                    <a:lnTo>
                      <a:pt x="822" y="2210"/>
                    </a:lnTo>
                    <a:lnTo>
                      <a:pt x="828" y="2216"/>
                    </a:lnTo>
                    <a:lnTo>
                      <a:pt x="828" y="2216"/>
                    </a:lnTo>
                    <a:lnTo>
                      <a:pt x="862" y="2256"/>
                    </a:lnTo>
                    <a:lnTo>
                      <a:pt x="896" y="2300"/>
                    </a:lnTo>
                    <a:lnTo>
                      <a:pt x="896" y="2300"/>
                    </a:lnTo>
                    <a:lnTo>
                      <a:pt x="1014" y="2464"/>
                    </a:lnTo>
                    <a:lnTo>
                      <a:pt x="1096" y="2584"/>
                    </a:lnTo>
                    <a:lnTo>
                      <a:pt x="1128" y="2630"/>
                    </a:lnTo>
                    <a:lnTo>
                      <a:pt x="1146" y="2660"/>
                    </a:lnTo>
                    <a:lnTo>
                      <a:pt x="1162" y="2694"/>
                    </a:lnTo>
                    <a:lnTo>
                      <a:pt x="1162" y="2694"/>
                    </a:lnTo>
                    <a:lnTo>
                      <a:pt x="1198" y="2762"/>
                    </a:lnTo>
                    <a:lnTo>
                      <a:pt x="1198" y="2762"/>
                    </a:lnTo>
                    <a:lnTo>
                      <a:pt x="1234" y="2832"/>
                    </a:lnTo>
                    <a:lnTo>
                      <a:pt x="1272" y="2906"/>
                    </a:lnTo>
                    <a:lnTo>
                      <a:pt x="1272" y="2906"/>
                    </a:lnTo>
                    <a:lnTo>
                      <a:pt x="1296" y="2960"/>
                    </a:lnTo>
                    <a:lnTo>
                      <a:pt x="1314" y="3006"/>
                    </a:lnTo>
                    <a:lnTo>
                      <a:pt x="1314" y="3006"/>
                    </a:lnTo>
                    <a:lnTo>
                      <a:pt x="1368" y="3166"/>
                    </a:lnTo>
                    <a:lnTo>
                      <a:pt x="1442" y="3396"/>
                    </a:lnTo>
                    <a:lnTo>
                      <a:pt x="1442" y="1480"/>
                    </a:lnTo>
                    <a:close/>
                  </a:path>
                </a:pathLst>
              </a:custGeom>
              <a:solidFill>
                <a:srgbClr val="D37E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4" name="Freeform 113"/>
              <p:cNvSpPr>
                <a:spLocks/>
              </p:cNvSpPr>
              <p:nvPr/>
            </p:nvSpPr>
            <p:spPr bwMode="auto">
              <a:xfrm>
                <a:off x="7071057" y="2182081"/>
                <a:ext cx="2361" cy="4722"/>
              </a:xfrm>
              <a:custGeom>
                <a:avLst/>
                <a:gdLst>
                  <a:gd name="T0" fmla="*/ 2 w 2"/>
                  <a:gd name="T1" fmla="*/ 4 h 4"/>
                  <a:gd name="T2" fmla="*/ 0 w 2"/>
                  <a:gd name="T3" fmla="*/ 0 h 4"/>
                  <a:gd name="T4" fmla="*/ 0 w 2"/>
                  <a:gd name="T5" fmla="*/ 0 h 4"/>
                  <a:gd name="T6" fmla="*/ 2 w 2"/>
                  <a:gd name="T7" fmla="*/ 4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0" y="0"/>
                    </a:lnTo>
                    <a:lnTo>
                      <a:pt x="0" y="0"/>
                    </a:lnTo>
                    <a:lnTo>
                      <a:pt x="2" y="4"/>
                    </a:lnTo>
                    <a:lnTo>
                      <a:pt x="2" y="4"/>
                    </a:lnTo>
                    <a:close/>
                  </a:path>
                </a:pathLst>
              </a:custGeom>
              <a:solidFill>
                <a:srgbClr val="FBE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5" name="Freeform 114"/>
              <p:cNvSpPr>
                <a:spLocks/>
              </p:cNvSpPr>
              <p:nvPr/>
            </p:nvSpPr>
            <p:spPr bwMode="auto">
              <a:xfrm>
                <a:off x="6358075" y="2186802"/>
                <a:ext cx="1617194" cy="3798634"/>
              </a:xfrm>
              <a:custGeom>
                <a:avLst/>
                <a:gdLst>
                  <a:gd name="T0" fmla="*/ 1336 w 1370"/>
                  <a:gd name="T1" fmla="*/ 1470 h 3218"/>
                  <a:gd name="T2" fmla="*/ 1240 w 1370"/>
                  <a:gd name="T3" fmla="*/ 1224 h 3218"/>
                  <a:gd name="T4" fmla="*/ 1216 w 1370"/>
                  <a:gd name="T5" fmla="*/ 1084 h 3218"/>
                  <a:gd name="T6" fmla="*/ 1186 w 1370"/>
                  <a:gd name="T7" fmla="*/ 978 h 3218"/>
                  <a:gd name="T8" fmla="*/ 1116 w 1370"/>
                  <a:gd name="T9" fmla="*/ 766 h 3218"/>
                  <a:gd name="T10" fmla="*/ 1102 w 1370"/>
                  <a:gd name="T11" fmla="*/ 684 h 3218"/>
                  <a:gd name="T12" fmla="*/ 1096 w 1370"/>
                  <a:gd name="T13" fmla="*/ 634 h 3218"/>
                  <a:gd name="T14" fmla="*/ 1072 w 1370"/>
                  <a:gd name="T15" fmla="*/ 556 h 3218"/>
                  <a:gd name="T16" fmla="*/ 1048 w 1370"/>
                  <a:gd name="T17" fmla="*/ 510 h 3218"/>
                  <a:gd name="T18" fmla="*/ 968 w 1370"/>
                  <a:gd name="T19" fmla="*/ 428 h 3218"/>
                  <a:gd name="T20" fmla="*/ 908 w 1370"/>
                  <a:gd name="T21" fmla="*/ 360 h 3218"/>
                  <a:gd name="T22" fmla="*/ 666 w 1370"/>
                  <a:gd name="T23" fmla="*/ 74 h 3218"/>
                  <a:gd name="T24" fmla="*/ 626 w 1370"/>
                  <a:gd name="T25" fmla="*/ 30 h 3218"/>
                  <a:gd name="T26" fmla="*/ 606 w 1370"/>
                  <a:gd name="T27" fmla="*/ 0 h 3218"/>
                  <a:gd name="T28" fmla="*/ 710 w 1370"/>
                  <a:gd name="T29" fmla="*/ 446 h 3218"/>
                  <a:gd name="T30" fmla="*/ 726 w 1370"/>
                  <a:gd name="T31" fmla="*/ 618 h 3218"/>
                  <a:gd name="T32" fmla="*/ 730 w 1370"/>
                  <a:gd name="T33" fmla="*/ 674 h 3218"/>
                  <a:gd name="T34" fmla="*/ 758 w 1370"/>
                  <a:gd name="T35" fmla="*/ 834 h 3218"/>
                  <a:gd name="T36" fmla="*/ 636 w 1370"/>
                  <a:gd name="T37" fmla="*/ 708 h 3218"/>
                  <a:gd name="T38" fmla="*/ 600 w 1370"/>
                  <a:gd name="T39" fmla="*/ 654 h 3218"/>
                  <a:gd name="T40" fmla="*/ 528 w 1370"/>
                  <a:gd name="T41" fmla="*/ 564 h 3218"/>
                  <a:gd name="T42" fmla="*/ 396 w 1370"/>
                  <a:gd name="T43" fmla="*/ 426 h 3218"/>
                  <a:gd name="T44" fmla="*/ 300 w 1370"/>
                  <a:gd name="T45" fmla="*/ 334 h 3218"/>
                  <a:gd name="T46" fmla="*/ 226 w 1370"/>
                  <a:gd name="T47" fmla="*/ 278 h 3218"/>
                  <a:gd name="T48" fmla="*/ 182 w 1370"/>
                  <a:gd name="T49" fmla="*/ 258 h 3218"/>
                  <a:gd name="T50" fmla="*/ 156 w 1370"/>
                  <a:gd name="T51" fmla="*/ 256 h 3218"/>
                  <a:gd name="T52" fmla="*/ 106 w 1370"/>
                  <a:gd name="T53" fmla="*/ 262 h 3218"/>
                  <a:gd name="T54" fmla="*/ 52 w 1370"/>
                  <a:gd name="T55" fmla="*/ 294 h 3218"/>
                  <a:gd name="T56" fmla="*/ 30 w 1370"/>
                  <a:gd name="T57" fmla="*/ 314 h 3218"/>
                  <a:gd name="T58" fmla="*/ 10 w 1370"/>
                  <a:gd name="T59" fmla="*/ 348 h 3218"/>
                  <a:gd name="T60" fmla="*/ 0 w 1370"/>
                  <a:gd name="T61" fmla="*/ 396 h 3218"/>
                  <a:gd name="T62" fmla="*/ 0 w 1370"/>
                  <a:gd name="T63" fmla="*/ 436 h 3218"/>
                  <a:gd name="T64" fmla="*/ 14 w 1370"/>
                  <a:gd name="T65" fmla="*/ 492 h 3218"/>
                  <a:gd name="T66" fmla="*/ 42 w 1370"/>
                  <a:gd name="T67" fmla="*/ 540 h 3218"/>
                  <a:gd name="T68" fmla="*/ 126 w 1370"/>
                  <a:gd name="T69" fmla="*/ 630 h 3218"/>
                  <a:gd name="T70" fmla="*/ 258 w 1370"/>
                  <a:gd name="T71" fmla="*/ 798 h 3218"/>
                  <a:gd name="T72" fmla="*/ 294 w 1370"/>
                  <a:gd name="T73" fmla="*/ 842 h 3218"/>
                  <a:gd name="T74" fmla="*/ 380 w 1370"/>
                  <a:gd name="T75" fmla="*/ 952 h 3218"/>
                  <a:gd name="T76" fmla="*/ 510 w 1370"/>
                  <a:gd name="T77" fmla="*/ 1148 h 3218"/>
                  <a:gd name="T78" fmla="*/ 576 w 1370"/>
                  <a:gd name="T79" fmla="*/ 1272 h 3218"/>
                  <a:gd name="T80" fmla="*/ 592 w 1370"/>
                  <a:gd name="T81" fmla="*/ 1324 h 3218"/>
                  <a:gd name="T82" fmla="*/ 602 w 1370"/>
                  <a:gd name="T83" fmla="*/ 1370 h 3218"/>
                  <a:gd name="T84" fmla="*/ 588 w 1370"/>
                  <a:gd name="T85" fmla="*/ 1430 h 3218"/>
                  <a:gd name="T86" fmla="*/ 566 w 1370"/>
                  <a:gd name="T87" fmla="*/ 1548 h 3218"/>
                  <a:gd name="T88" fmla="*/ 576 w 1370"/>
                  <a:gd name="T89" fmla="*/ 1646 h 3218"/>
                  <a:gd name="T90" fmla="*/ 586 w 1370"/>
                  <a:gd name="T91" fmla="*/ 1712 h 3218"/>
                  <a:gd name="T92" fmla="*/ 594 w 1370"/>
                  <a:gd name="T93" fmla="*/ 1824 h 3218"/>
                  <a:gd name="T94" fmla="*/ 610 w 1370"/>
                  <a:gd name="T95" fmla="*/ 1896 h 3218"/>
                  <a:gd name="T96" fmla="*/ 646 w 1370"/>
                  <a:gd name="T97" fmla="*/ 1976 h 3218"/>
                  <a:gd name="T98" fmla="*/ 682 w 1370"/>
                  <a:gd name="T99" fmla="*/ 2038 h 3218"/>
                  <a:gd name="T100" fmla="*/ 750 w 1370"/>
                  <a:gd name="T101" fmla="*/ 2112 h 3218"/>
                  <a:gd name="T102" fmla="*/ 788 w 1370"/>
                  <a:gd name="T103" fmla="*/ 2150 h 3218"/>
                  <a:gd name="T104" fmla="*/ 844 w 1370"/>
                  <a:gd name="T105" fmla="*/ 2220 h 3218"/>
                  <a:gd name="T106" fmla="*/ 1030 w 1370"/>
                  <a:gd name="T107" fmla="*/ 2452 h 3218"/>
                  <a:gd name="T108" fmla="*/ 1126 w 1370"/>
                  <a:gd name="T109" fmla="*/ 2582 h 3218"/>
                  <a:gd name="T110" fmla="*/ 1150 w 1370"/>
                  <a:gd name="T111" fmla="*/ 2630 h 3218"/>
                  <a:gd name="T112" fmla="*/ 1236 w 1370"/>
                  <a:gd name="T113" fmla="*/ 2850 h 3218"/>
                  <a:gd name="T114" fmla="*/ 1370 w 1370"/>
                  <a:gd name="T115" fmla="*/ 3218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0" h="3218">
                    <a:moveTo>
                      <a:pt x="1370" y="1568"/>
                    </a:moveTo>
                    <a:lnTo>
                      <a:pt x="1370" y="1568"/>
                    </a:lnTo>
                    <a:lnTo>
                      <a:pt x="1336" y="1470"/>
                    </a:lnTo>
                    <a:lnTo>
                      <a:pt x="1336" y="1470"/>
                    </a:lnTo>
                    <a:lnTo>
                      <a:pt x="1280" y="1324"/>
                    </a:lnTo>
                    <a:lnTo>
                      <a:pt x="1240" y="1224"/>
                    </a:lnTo>
                    <a:lnTo>
                      <a:pt x="1240" y="1224"/>
                    </a:lnTo>
                    <a:lnTo>
                      <a:pt x="1228" y="1146"/>
                    </a:lnTo>
                    <a:lnTo>
                      <a:pt x="1216" y="1084"/>
                    </a:lnTo>
                    <a:lnTo>
                      <a:pt x="1206" y="1038"/>
                    </a:lnTo>
                    <a:lnTo>
                      <a:pt x="1206" y="1038"/>
                    </a:lnTo>
                    <a:lnTo>
                      <a:pt x="1186" y="978"/>
                    </a:lnTo>
                    <a:lnTo>
                      <a:pt x="1150" y="874"/>
                    </a:lnTo>
                    <a:lnTo>
                      <a:pt x="1132" y="818"/>
                    </a:lnTo>
                    <a:lnTo>
                      <a:pt x="1116" y="766"/>
                    </a:lnTo>
                    <a:lnTo>
                      <a:pt x="1106" y="720"/>
                    </a:lnTo>
                    <a:lnTo>
                      <a:pt x="1102" y="700"/>
                    </a:lnTo>
                    <a:lnTo>
                      <a:pt x="1102" y="684"/>
                    </a:lnTo>
                    <a:lnTo>
                      <a:pt x="1102" y="684"/>
                    </a:lnTo>
                    <a:lnTo>
                      <a:pt x="1100" y="658"/>
                    </a:lnTo>
                    <a:lnTo>
                      <a:pt x="1096" y="634"/>
                    </a:lnTo>
                    <a:lnTo>
                      <a:pt x="1092" y="612"/>
                    </a:lnTo>
                    <a:lnTo>
                      <a:pt x="1086" y="590"/>
                    </a:lnTo>
                    <a:lnTo>
                      <a:pt x="1072" y="556"/>
                    </a:lnTo>
                    <a:lnTo>
                      <a:pt x="1060" y="530"/>
                    </a:lnTo>
                    <a:lnTo>
                      <a:pt x="1060" y="530"/>
                    </a:lnTo>
                    <a:lnTo>
                      <a:pt x="1048" y="510"/>
                    </a:lnTo>
                    <a:lnTo>
                      <a:pt x="1030" y="486"/>
                    </a:lnTo>
                    <a:lnTo>
                      <a:pt x="1004" y="460"/>
                    </a:lnTo>
                    <a:lnTo>
                      <a:pt x="968" y="428"/>
                    </a:lnTo>
                    <a:lnTo>
                      <a:pt x="968" y="428"/>
                    </a:lnTo>
                    <a:lnTo>
                      <a:pt x="946" y="402"/>
                    </a:lnTo>
                    <a:lnTo>
                      <a:pt x="908" y="360"/>
                    </a:lnTo>
                    <a:lnTo>
                      <a:pt x="806" y="240"/>
                    </a:lnTo>
                    <a:lnTo>
                      <a:pt x="706" y="120"/>
                    </a:lnTo>
                    <a:lnTo>
                      <a:pt x="666" y="74"/>
                    </a:lnTo>
                    <a:lnTo>
                      <a:pt x="642" y="48"/>
                    </a:lnTo>
                    <a:lnTo>
                      <a:pt x="642" y="48"/>
                    </a:lnTo>
                    <a:lnTo>
                      <a:pt x="626" y="30"/>
                    </a:lnTo>
                    <a:lnTo>
                      <a:pt x="616" y="16"/>
                    </a:lnTo>
                    <a:lnTo>
                      <a:pt x="608" y="6"/>
                    </a:lnTo>
                    <a:lnTo>
                      <a:pt x="606" y="0"/>
                    </a:lnTo>
                    <a:lnTo>
                      <a:pt x="694" y="314"/>
                    </a:lnTo>
                    <a:lnTo>
                      <a:pt x="694" y="314"/>
                    </a:lnTo>
                    <a:lnTo>
                      <a:pt x="710" y="446"/>
                    </a:lnTo>
                    <a:lnTo>
                      <a:pt x="720" y="548"/>
                    </a:lnTo>
                    <a:lnTo>
                      <a:pt x="724" y="590"/>
                    </a:lnTo>
                    <a:lnTo>
                      <a:pt x="726" y="618"/>
                    </a:lnTo>
                    <a:lnTo>
                      <a:pt x="726" y="618"/>
                    </a:lnTo>
                    <a:lnTo>
                      <a:pt x="726" y="642"/>
                    </a:lnTo>
                    <a:lnTo>
                      <a:pt x="730" y="674"/>
                    </a:lnTo>
                    <a:lnTo>
                      <a:pt x="742" y="746"/>
                    </a:lnTo>
                    <a:lnTo>
                      <a:pt x="758" y="834"/>
                    </a:lnTo>
                    <a:lnTo>
                      <a:pt x="758" y="834"/>
                    </a:lnTo>
                    <a:lnTo>
                      <a:pt x="704" y="778"/>
                    </a:lnTo>
                    <a:lnTo>
                      <a:pt x="636" y="708"/>
                    </a:lnTo>
                    <a:lnTo>
                      <a:pt x="636" y="708"/>
                    </a:lnTo>
                    <a:lnTo>
                      <a:pt x="626" y="694"/>
                    </a:lnTo>
                    <a:lnTo>
                      <a:pt x="616" y="678"/>
                    </a:lnTo>
                    <a:lnTo>
                      <a:pt x="600" y="654"/>
                    </a:lnTo>
                    <a:lnTo>
                      <a:pt x="572" y="614"/>
                    </a:lnTo>
                    <a:lnTo>
                      <a:pt x="572" y="614"/>
                    </a:lnTo>
                    <a:lnTo>
                      <a:pt x="528" y="564"/>
                    </a:lnTo>
                    <a:lnTo>
                      <a:pt x="480" y="510"/>
                    </a:lnTo>
                    <a:lnTo>
                      <a:pt x="434" y="464"/>
                    </a:lnTo>
                    <a:lnTo>
                      <a:pt x="396" y="426"/>
                    </a:lnTo>
                    <a:lnTo>
                      <a:pt x="396" y="426"/>
                    </a:lnTo>
                    <a:lnTo>
                      <a:pt x="354" y="386"/>
                    </a:lnTo>
                    <a:lnTo>
                      <a:pt x="300" y="334"/>
                    </a:lnTo>
                    <a:lnTo>
                      <a:pt x="270" y="310"/>
                    </a:lnTo>
                    <a:lnTo>
                      <a:pt x="240" y="286"/>
                    </a:lnTo>
                    <a:lnTo>
                      <a:pt x="226" y="278"/>
                    </a:lnTo>
                    <a:lnTo>
                      <a:pt x="210" y="270"/>
                    </a:lnTo>
                    <a:lnTo>
                      <a:pt x="196" y="262"/>
                    </a:lnTo>
                    <a:lnTo>
                      <a:pt x="182" y="258"/>
                    </a:lnTo>
                    <a:lnTo>
                      <a:pt x="182" y="258"/>
                    </a:lnTo>
                    <a:lnTo>
                      <a:pt x="168" y="256"/>
                    </a:lnTo>
                    <a:lnTo>
                      <a:pt x="156" y="256"/>
                    </a:lnTo>
                    <a:lnTo>
                      <a:pt x="142" y="256"/>
                    </a:lnTo>
                    <a:lnTo>
                      <a:pt x="130" y="256"/>
                    </a:lnTo>
                    <a:lnTo>
                      <a:pt x="106" y="262"/>
                    </a:lnTo>
                    <a:lnTo>
                      <a:pt x="86" y="272"/>
                    </a:lnTo>
                    <a:lnTo>
                      <a:pt x="66" y="282"/>
                    </a:lnTo>
                    <a:lnTo>
                      <a:pt x="52" y="294"/>
                    </a:lnTo>
                    <a:lnTo>
                      <a:pt x="38" y="304"/>
                    </a:lnTo>
                    <a:lnTo>
                      <a:pt x="30" y="314"/>
                    </a:lnTo>
                    <a:lnTo>
                      <a:pt x="30" y="314"/>
                    </a:lnTo>
                    <a:lnTo>
                      <a:pt x="22" y="324"/>
                    </a:lnTo>
                    <a:lnTo>
                      <a:pt x="16" y="336"/>
                    </a:lnTo>
                    <a:lnTo>
                      <a:pt x="10" y="348"/>
                    </a:lnTo>
                    <a:lnTo>
                      <a:pt x="6" y="362"/>
                    </a:lnTo>
                    <a:lnTo>
                      <a:pt x="4" y="378"/>
                    </a:lnTo>
                    <a:lnTo>
                      <a:pt x="0" y="396"/>
                    </a:lnTo>
                    <a:lnTo>
                      <a:pt x="0" y="416"/>
                    </a:lnTo>
                    <a:lnTo>
                      <a:pt x="0" y="436"/>
                    </a:lnTo>
                    <a:lnTo>
                      <a:pt x="0" y="436"/>
                    </a:lnTo>
                    <a:lnTo>
                      <a:pt x="2" y="456"/>
                    </a:lnTo>
                    <a:lnTo>
                      <a:pt x="6" y="476"/>
                    </a:lnTo>
                    <a:lnTo>
                      <a:pt x="14" y="492"/>
                    </a:lnTo>
                    <a:lnTo>
                      <a:pt x="20" y="508"/>
                    </a:lnTo>
                    <a:lnTo>
                      <a:pt x="34" y="532"/>
                    </a:lnTo>
                    <a:lnTo>
                      <a:pt x="42" y="540"/>
                    </a:lnTo>
                    <a:lnTo>
                      <a:pt x="42" y="540"/>
                    </a:lnTo>
                    <a:lnTo>
                      <a:pt x="84" y="584"/>
                    </a:lnTo>
                    <a:lnTo>
                      <a:pt x="126" y="630"/>
                    </a:lnTo>
                    <a:lnTo>
                      <a:pt x="164" y="678"/>
                    </a:lnTo>
                    <a:lnTo>
                      <a:pt x="200" y="722"/>
                    </a:lnTo>
                    <a:lnTo>
                      <a:pt x="258" y="798"/>
                    </a:lnTo>
                    <a:lnTo>
                      <a:pt x="278" y="824"/>
                    </a:lnTo>
                    <a:lnTo>
                      <a:pt x="294" y="842"/>
                    </a:lnTo>
                    <a:lnTo>
                      <a:pt x="294" y="842"/>
                    </a:lnTo>
                    <a:lnTo>
                      <a:pt x="312" y="862"/>
                    </a:lnTo>
                    <a:lnTo>
                      <a:pt x="342" y="900"/>
                    </a:lnTo>
                    <a:lnTo>
                      <a:pt x="380" y="952"/>
                    </a:lnTo>
                    <a:lnTo>
                      <a:pt x="424" y="1012"/>
                    </a:lnTo>
                    <a:lnTo>
                      <a:pt x="468" y="1080"/>
                    </a:lnTo>
                    <a:lnTo>
                      <a:pt x="510" y="1148"/>
                    </a:lnTo>
                    <a:lnTo>
                      <a:pt x="548" y="1214"/>
                    </a:lnTo>
                    <a:lnTo>
                      <a:pt x="562" y="1244"/>
                    </a:lnTo>
                    <a:lnTo>
                      <a:pt x="576" y="1272"/>
                    </a:lnTo>
                    <a:lnTo>
                      <a:pt x="576" y="1272"/>
                    </a:lnTo>
                    <a:lnTo>
                      <a:pt x="584" y="1294"/>
                    </a:lnTo>
                    <a:lnTo>
                      <a:pt x="592" y="1324"/>
                    </a:lnTo>
                    <a:lnTo>
                      <a:pt x="600" y="1352"/>
                    </a:lnTo>
                    <a:lnTo>
                      <a:pt x="602" y="1364"/>
                    </a:lnTo>
                    <a:lnTo>
                      <a:pt x="602" y="1370"/>
                    </a:lnTo>
                    <a:lnTo>
                      <a:pt x="602" y="1370"/>
                    </a:lnTo>
                    <a:lnTo>
                      <a:pt x="598" y="1394"/>
                    </a:lnTo>
                    <a:lnTo>
                      <a:pt x="588" y="1430"/>
                    </a:lnTo>
                    <a:lnTo>
                      <a:pt x="572" y="1476"/>
                    </a:lnTo>
                    <a:lnTo>
                      <a:pt x="572" y="1476"/>
                    </a:lnTo>
                    <a:lnTo>
                      <a:pt x="566" y="1548"/>
                    </a:lnTo>
                    <a:lnTo>
                      <a:pt x="566" y="1548"/>
                    </a:lnTo>
                    <a:lnTo>
                      <a:pt x="572" y="1602"/>
                    </a:lnTo>
                    <a:lnTo>
                      <a:pt x="576" y="1646"/>
                    </a:lnTo>
                    <a:lnTo>
                      <a:pt x="584" y="1688"/>
                    </a:lnTo>
                    <a:lnTo>
                      <a:pt x="584" y="1688"/>
                    </a:lnTo>
                    <a:lnTo>
                      <a:pt x="586" y="1712"/>
                    </a:lnTo>
                    <a:lnTo>
                      <a:pt x="588" y="1738"/>
                    </a:lnTo>
                    <a:lnTo>
                      <a:pt x="590" y="1794"/>
                    </a:lnTo>
                    <a:lnTo>
                      <a:pt x="594" y="1824"/>
                    </a:lnTo>
                    <a:lnTo>
                      <a:pt x="596" y="1850"/>
                    </a:lnTo>
                    <a:lnTo>
                      <a:pt x="602" y="1876"/>
                    </a:lnTo>
                    <a:lnTo>
                      <a:pt x="610" y="1896"/>
                    </a:lnTo>
                    <a:lnTo>
                      <a:pt x="610" y="1896"/>
                    </a:lnTo>
                    <a:lnTo>
                      <a:pt x="628" y="1936"/>
                    </a:lnTo>
                    <a:lnTo>
                      <a:pt x="646" y="1976"/>
                    </a:lnTo>
                    <a:lnTo>
                      <a:pt x="656" y="1998"/>
                    </a:lnTo>
                    <a:lnTo>
                      <a:pt x="668" y="2018"/>
                    </a:lnTo>
                    <a:lnTo>
                      <a:pt x="682" y="2038"/>
                    </a:lnTo>
                    <a:lnTo>
                      <a:pt x="698" y="2058"/>
                    </a:lnTo>
                    <a:lnTo>
                      <a:pt x="698" y="2058"/>
                    </a:lnTo>
                    <a:lnTo>
                      <a:pt x="750" y="2112"/>
                    </a:lnTo>
                    <a:lnTo>
                      <a:pt x="772" y="2134"/>
                    </a:lnTo>
                    <a:lnTo>
                      <a:pt x="772" y="2134"/>
                    </a:lnTo>
                    <a:lnTo>
                      <a:pt x="788" y="2150"/>
                    </a:lnTo>
                    <a:lnTo>
                      <a:pt x="810" y="2178"/>
                    </a:lnTo>
                    <a:lnTo>
                      <a:pt x="844" y="2220"/>
                    </a:lnTo>
                    <a:lnTo>
                      <a:pt x="844" y="2220"/>
                    </a:lnTo>
                    <a:lnTo>
                      <a:pt x="890" y="2276"/>
                    </a:lnTo>
                    <a:lnTo>
                      <a:pt x="980" y="2388"/>
                    </a:lnTo>
                    <a:lnTo>
                      <a:pt x="1030" y="2452"/>
                    </a:lnTo>
                    <a:lnTo>
                      <a:pt x="1076" y="2512"/>
                    </a:lnTo>
                    <a:lnTo>
                      <a:pt x="1112" y="2562"/>
                    </a:lnTo>
                    <a:lnTo>
                      <a:pt x="1126" y="2582"/>
                    </a:lnTo>
                    <a:lnTo>
                      <a:pt x="1134" y="2598"/>
                    </a:lnTo>
                    <a:lnTo>
                      <a:pt x="1134" y="2598"/>
                    </a:lnTo>
                    <a:lnTo>
                      <a:pt x="1150" y="2630"/>
                    </a:lnTo>
                    <a:lnTo>
                      <a:pt x="1166" y="2668"/>
                    </a:lnTo>
                    <a:lnTo>
                      <a:pt x="1200" y="2756"/>
                    </a:lnTo>
                    <a:lnTo>
                      <a:pt x="1236" y="2850"/>
                    </a:lnTo>
                    <a:lnTo>
                      <a:pt x="1266" y="2934"/>
                    </a:lnTo>
                    <a:lnTo>
                      <a:pt x="1266" y="2934"/>
                    </a:lnTo>
                    <a:lnTo>
                      <a:pt x="1370" y="3218"/>
                    </a:lnTo>
                    <a:lnTo>
                      <a:pt x="1370" y="1568"/>
                    </a:lnTo>
                    <a:close/>
                  </a:path>
                </a:pathLst>
              </a:custGeom>
              <a:solidFill>
                <a:srgbClr val="FBE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6" name="Freeform 123"/>
              <p:cNvSpPr>
                <a:spLocks/>
              </p:cNvSpPr>
              <p:nvPr/>
            </p:nvSpPr>
            <p:spPr bwMode="auto">
              <a:xfrm>
                <a:off x="6785392" y="3086292"/>
                <a:ext cx="221921" cy="169982"/>
              </a:xfrm>
              <a:custGeom>
                <a:avLst/>
                <a:gdLst>
                  <a:gd name="T0" fmla="*/ 0 w 188"/>
                  <a:gd name="T1" fmla="*/ 144 h 144"/>
                  <a:gd name="T2" fmla="*/ 0 w 188"/>
                  <a:gd name="T3" fmla="*/ 144 h 144"/>
                  <a:gd name="T4" fmla="*/ 36 w 188"/>
                  <a:gd name="T5" fmla="*/ 132 h 144"/>
                  <a:gd name="T6" fmla="*/ 66 w 188"/>
                  <a:gd name="T7" fmla="*/ 120 h 144"/>
                  <a:gd name="T8" fmla="*/ 82 w 188"/>
                  <a:gd name="T9" fmla="*/ 112 h 144"/>
                  <a:gd name="T10" fmla="*/ 94 w 188"/>
                  <a:gd name="T11" fmla="*/ 104 h 144"/>
                  <a:gd name="T12" fmla="*/ 94 w 188"/>
                  <a:gd name="T13" fmla="*/ 104 h 144"/>
                  <a:gd name="T14" fmla="*/ 120 w 188"/>
                  <a:gd name="T15" fmla="*/ 86 h 144"/>
                  <a:gd name="T16" fmla="*/ 148 w 188"/>
                  <a:gd name="T17" fmla="*/ 62 h 144"/>
                  <a:gd name="T18" fmla="*/ 182 w 188"/>
                  <a:gd name="T19" fmla="*/ 34 h 144"/>
                  <a:gd name="T20" fmla="*/ 188 w 188"/>
                  <a:gd name="T21" fmla="*/ 0 h 144"/>
                  <a:gd name="T22" fmla="*/ 142 w 188"/>
                  <a:gd name="T23" fmla="*/ 32 h 144"/>
                  <a:gd name="T24" fmla="*/ 142 w 188"/>
                  <a:gd name="T25" fmla="*/ 32 h 144"/>
                  <a:gd name="T26" fmla="*/ 124 w 188"/>
                  <a:gd name="T27" fmla="*/ 50 h 144"/>
                  <a:gd name="T28" fmla="*/ 82 w 188"/>
                  <a:gd name="T29" fmla="*/ 88 h 144"/>
                  <a:gd name="T30" fmla="*/ 58 w 188"/>
                  <a:gd name="T31" fmla="*/ 108 h 144"/>
                  <a:gd name="T32" fmla="*/ 36 w 188"/>
                  <a:gd name="T33" fmla="*/ 126 h 144"/>
                  <a:gd name="T34" fmla="*/ 14 w 188"/>
                  <a:gd name="T35" fmla="*/ 140 h 144"/>
                  <a:gd name="T36" fmla="*/ 6 w 188"/>
                  <a:gd name="T37" fmla="*/ 142 h 144"/>
                  <a:gd name="T38" fmla="*/ 0 w 188"/>
                  <a:gd name="T39" fmla="*/ 144 h 144"/>
                  <a:gd name="T40" fmla="*/ 0 w 188"/>
                  <a:gd name="T4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144">
                    <a:moveTo>
                      <a:pt x="0" y="144"/>
                    </a:moveTo>
                    <a:lnTo>
                      <a:pt x="0" y="144"/>
                    </a:lnTo>
                    <a:lnTo>
                      <a:pt x="36" y="132"/>
                    </a:lnTo>
                    <a:lnTo>
                      <a:pt x="66" y="120"/>
                    </a:lnTo>
                    <a:lnTo>
                      <a:pt x="82" y="112"/>
                    </a:lnTo>
                    <a:lnTo>
                      <a:pt x="94" y="104"/>
                    </a:lnTo>
                    <a:lnTo>
                      <a:pt x="94" y="104"/>
                    </a:lnTo>
                    <a:lnTo>
                      <a:pt x="120" y="86"/>
                    </a:lnTo>
                    <a:lnTo>
                      <a:pt x="148" y="62"/>
                    </a:lnTo>
                    <a:lnTo>
                      <a:pt x="182" y="34"/>
                    </a:lnTo>
                    <a:lnTo>
                      <a:pt x="188" y="0"/>
                    </a:lnTo>
                    <a:lnTo>
                      <a:pt x="142" y="32"/>
                    </a:lnTo>
                    <a:lnTo>
                      <a:pt x="142" y="32"/>
                    </a:lnTo>
                    <a:lnTo>
                      <a:pt x="124" y="50"/>
                    </a:lnTo>
                    <a:lnTo>
                      <a:pt x="82" y="88"/>
                    </a:lnTo>
                    <a:lnTo>
                      <a:pt x="58" y="108"/>
                    </a:lnTo>
                    <a:lnTo>
                      <a:pt x="36" y="126"/>
                    </a:lnTo>
                    <a:lnTo>
                      <a:pt x="14" y="140"/>
                    </a:lnTo>
                    <a:lnTo>
                      <a:pt x="6" y="142"/>
                    </a:lnTo>
                    <a:lnTo>
                      <a:pt x="0" y="144"/>
                    </a:lnTo>
                    <a:lnTo>
                      <a:pt x="0" y="144"/>
                    </a:lnTo>
                    <a:close/>
                  </a:path>
                </a:pathLst>
              </a:custGeom>
              <a:solidFill>
                <a:srgbClr val="FFF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124"/>
              <p:cNvSpPr>
                <a:spLocks/>
              </p:cNvSpPr>
              <p:nvPr/>
            </p:nvSpPr>
            <p:spPr bwMode="auto">
              <a:xfrm>
                <a:off x="6787753" y="3041436"/>
                <a:ext cx="179426" cy="144013"/>
              </a:xfrm>
              <a:custGeom>
                <a:avLst/>
                <a:gdLst>
                  <a:gd name="T0" fmla="*/ 0 w 152"/>
                  <a:gd name="T1" fmla="*/ 122 h 122"/>
                  <a:gd name="T2" fmla="*/ 0 w 152"/>
                  <a:gd name="T3" fmla="*/ 122 h 122"/>
                  <a:gd name="T4" fmla="*/ 68 w 152"/>
                  <a:gd name="T5" fmla="*/ 76 h 122"/>
                  <a:gd name="T6" fmla="*/ 68 w 152"/>
                  <a:gd name="T7" fmla="*/ 76 h 122"/>
                  <a:gd name="T8" fmla="*/ 94 w 152"/>
                  <a:gd name="T9" fmla="*/ 56 h 122"/>
                  <a:gd name="T10" fmla="*/ 122 w 152"/>
                  <a:gd name="T11" fmla="*/ 30 h 122"/>
                  <a:gd name="T12" fmla="*/ 152 w 152"/>
                  <a:gd name="T13" fmla="*/ 0 h 122"/>
                  <a:gd name="T14" fmla="*/ 114 w 152"/>
                  <a:gd name="T15" fmla="*/ 18 h 122"/>
                  <a:gd name="T16" fmla="*/ 0 w 152"/>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22">
                    <a:moveTo>
                      <a:pt x="0" y="122"/>
                    </a:moveTo>
                    <a:lnTo>
                      <a:pt x="0" y="122"/>
                    </a:lnTo>
                    <a:lnTo>
                      <a:pt x="68" y="76"/>
                    </a:lnTo>
                    <a:lnTo>
                      <a:pt x="68" y="76"/>
                    </a:lnTo>
                    <a:lnTo>
                      <a:pt x="94" y="56"/>
                    </a:lnTo>
                    <a:lnTo>
                      <a:pt x="122" y="30"/>
                    </a:lnTo>
                    <a:lnTo>
                      <a:pt x="152" y="0"/>
                    </a:lnTo>
                    <a:lnTo>
                      <a:pt x="114" y="18"/>
                    </a:lnTo>
                    <a:lnTo>
                      <a:pt x="0" y="122"/>
                    </a:lnTo>
                    <a:close/>
                  </a:path>
                </a:pathLst>
              </a:custGeom>
              <a:solidFill>
                <a:srgbClr val="FFF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125"/>
              <p:cNvSpPr>
                <a:spLocks/>
              </p:cNvSpPr>
              <p:nvPr/>
            </p:nvSpPr>
            <p:spPr bwMode="auto">
              <a:xfrm>
                <a:off x="6483201" y="2479550"/>
                <a:ext cx="1374024" cy="1466098"/>
              </a:xfrm>
              <a:custGeom>
                <a:avLst/>
                <a:gdLst>
                  <a:gd name="T0" fmla="*/ 16 w 1164"/>
                  <a:gd name="T1" fmla="*/ 2 h 1242"/>
                  <a:gd name="T2" fmla="*/ 50 w 1164"/>
                  <a:gd name="T3" fmla="*/ 2 h 1242"/>
                  <a:gd name="T4" fmla="*/ 86 w 1164"/>
                  <a:gd name="T5" fmla="*/ 10 h 1242"/>
                  <a:gd name="T6" fmla="*/ 120 w 1164"/>
                  <a:gd name="T7" fmla="*/ 26 h 1242"/>
                  <a:gd name="T8" fmla="*/ 184 w 1164"/>
                  <a:gd name="T9" fmla="*/ 70 h 1242"/>
                  <a:gd name="T10" fmla="*/ 270 w 1164"/>
                  <a:gd name="T11" fmla="*/ 146 h 1242"/>
                  <a:gd name="T12" fmla="*/ 310 w 1164"/>
                  <a:gd name="T13" fmla="*/ 180 h 1242"/>
                  <a:gd name="T14" fmla="*/ 382 w 1164"/>
                  <a:gd name="T15" fmla="*/ 252 h 1242"/>
                  <a:gd name="T16" fmla="*/ 418 w 1164"/>
                  <a:gd name="T17" fmla="*/ 292 h 1242"/>
                  <a:gd name="T18" fmla="*/ 480 w 1164"/>
                  <a:gd name="T19" fmla="*/ 368 h 1242"/>
                  <a:gd name="T20" fmla="*/ 596 w 1164"/>
                  <a:gd name="T21" fmla="*/ 524 h 1242"/>
                  <a:gd name="T22" fmla="*/ 658 w 1164"/>
                  <a:gd name="T23" fmla="*/ 600 h 1242"/>
                  <a:gd name="T24" fmla="*/ 674 w 1164"/>
                  <a:gd name="T25" fmla="*/ 614 h 1242"/>
                  <a:gd name="T26" fmla="*/ 722 w 1164"/>
                  <a:gd name="T27" fmla="*/ 652 h 1242"/>
                  <a:gd name="T28" fmla="*/ 792 w 1164"/>
                  <a:gd name="T29" fmla="*/ 696 h 1242"/>
                  <a:gd name="T30" fmla="*/ 808 w 1164"/>
                  <a:gd name="T31" fmla="*/ 710 h 1242"/>
                  <a:gd name="T32" fmla="*/ 850 w 1164"/>
                  <a:gd name="T33" fmla="*/ 754 h 1242"/>
                  <a:gd name="T34" fmla="*/ 900 w 1164"/>
                  <a:gd name="T35" fmla="*/ 824 h 1242"/>
                  <a:gd name="T36" fmla="*/ 986 w 1164"/>
                  <a:gd name="T37" fmla="*/ 970 h 1242"/>
                  <a:gd name="T38" fmla="*/ 1008 w 1164"/>
                  <a:gd name="T39" fmla="*/ 1000 h 1242"/>
                  <a:gd name="T40" fmla="*/ 1082 w 1164"/>
                  <a:gd name="T41" fmla="*/ 1090 h 1242"/>
                  <a:gd name="T42" fmla="*/ 1130 w 1164"/>
                  <a:gd name="T43" fmla="*/ 1150 h 1242"/>
                  <a:gd name="T44" fmla="*/ 1158 w 1164"/>
                  <a:gd name="T45" fmla="*/ 1200 h 1242"/>
                  <a:gd name="T46" fmla="*/ 1164 w 1164"/>
                  <a:gd name="T47" fmla="*/ 1218 h 1242"/>
                  <a:gd name="T48" fmla="*/ 1162 w 1164"/>
                  <a:gd name="T49" fmla="*/ 1224 h 1242"/>
                  <a:gd name="T50" fmla="*/ 1152 w 1164"/>
                  <a:gd name="T51" fmla="*/ 1238 h 1242"/>
                  <a:gd name="T52" fmla="*/ 1150 w 1164"/>
                  <a:gd name="T53" fmla="*/ 1242 h 1242"/>
                  <a:gd name="T54" fmla="*/ 1136 w 1164"/>
                  <a:gd name="T55" fmla="*/ 1210 h 1242"/>
                  <a:gd name="T56" fmla="*/ 1096 w 1164"/>
                  <a:gd name="T57" fmla="*/ 1150 h 1242"/>
                  <a:gd name="T58" fmla="*/ 1026 w 1164"/>
                  <a:gd name="T59" fmla="*/ 1066 h 1242"/>
                  <a:gd name="T60" fmla="*/ 982 w 1164"/>
                  <a:gd name="T61" fmla="*/ 1010 h 1242"/>
                  <a:gd name="T62" fmla="*/ 958 w 1164"/>
                  <a:gd name="T63" fmla="*/ 976 h 1242"/>
                  <a:gd name="T64" fmla="*/ 894 w 1164"/>
                  <a:gd name="T65" fmla="*/ 874 h 1242"/>
                  <a:gd name="T66" fmla="*/ 850 w 1164"/>
                  <a:gd name="T67" fmla="*/ 804 h 1242"/>
                  <a:gd name="T68" fmla="*/ 800 w 1164"/>
                  <a:gd name="T69" fmla="*/ 740 h 1242"/>
                  <a:gd name="T70" fmla="*/ 782 w 1164"/>
                  <a:gd name="T71" fmla="*/ 724 h 1242"/>
                  <a:gd name="T72" fmla="*/ 722 w 1164"/>
                  <a:gd name="T73" fmla="*/ 682 h 1242"/>
                  <a:gd name="T74" fmla="*/ 662 w 1164"/>
                  <a:gd name="T75" fmla="*/ 640 h 1242"/>
                  <a:gd name="T76" fmla="*/ 644 w 1164"/>
                  <a:gd name="T77" fmla="*/ 624 h 1242"/>
                  <a:gd name="T78" fmla="*/ 584 w 1164"/>
                  <a:gd name="T79" fmla="*/ 554 h 1242"/>
                  <a:gd name="T80" fmla="*/ 474 w 1164"/>
                  <a:gd name="T81" fmla="*/ 406 h 1242"/>
                  <a:gd name="T82" fmla="*/ 418 w 1164"/>
                  <a:gd name="T83" fmla="*/ 334 h 1242"/>
                  <a:gd name="T84" fmla="*/ 384 w 1164"/>
                  <a:gd name="T85" fmla="*/ 296 h 1242"/>
                  <a:gd name="T86" fmla="*/ 312 w 1164"/>
                  <a:gd name="T87" fmla="*/ 222 h 1242"/>
                  <a:gd name="T88" fmla="*/ 276 w 1164"/>
                  <a:gd name="T89" fmla="*/ 188 h 1242"/>
                  <a:gd name="T90" fmla="*/ 184 w 1164"/>
                  <a:gd name="T91" fmla="*/ 104 h 1242"/>
                  <a:gd name="T92" fmla="*/ 132 w 1164"/>
                  <a:gd name="T93" fmla="*/ 64 h 1242"/>
                  <a:gd name="T94" fmla="*/ 96 w 1164"/>
                  <a:gd name="T95" fmla="*/ 44 h 1242"/>
                  <a:gd name="T96" fmla="*/ 58 w 1164"/>
                  <a:gd name="T97" fmla="*/ 30 h 1242"/>
                  <a:gd name="T98" fmla="*/ 20 w 1164"/>
                  <a:gd name="T99" fmla="*/ 24 h 1242"/>
                  <a:gd name="T100" fmla="*/ 0 w 1164"/>
                  <a:gd name="T101" fmla="*/ 26 h 1242"/>
                  <a:gd name="T102" fmla="*/ 4 w 1164"/>
                  <a:gd name="T103" fmla="*/ 22 h 1242"/>
                  <a:gd name="T104" fmla="*/ 12 w 1164"/>
                  <a:gd name="T105" fmla="*/ 6 h 1242"/>
                  <a:gd name="T106" fmla="*/ 16 w 1164"/>
                  <a:gd name="T107" fmla="*/ 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4" h="1242">
                    <a:moveTo>
                      <a:pt x="16" y="2"/>
                    </a:moveTo>
                    <a:lnTo>
                      <a:pt x="16" y="2"/>
                    </a:lnTo>
                    <a:lnTo>
                      <a:pt x="32" y="0"/>
                    </a:lnTo>
                    <a:lnTo>
                      <a:pt x="50" y="2"/>
                    </a:lnTo>
                    <a:lnTo>
                      <a:pt x="68" y="6"/>
                    </a:lnTo>
                    <a:lnTo>
                      <a:pt x="86" y="10"/>
                    </a:lnTo>
                    <a:lnTo>
                      <a:pt x="102" y="18"/>
                    </a:lnTo>
                    <a:lnTo>
                      <a:pt x="120" y="26"/>
                    </a:lnTo>
                    <a:lnTo>
                      <a:pt x="152" y="46"/>
                    </a:lnTo>
                    <a:lnTo>
                      <a:pt x="184" y="70"/>
                    </a:lnTo>
                    <a:lnTo>
                      <a:pt x="216" y="96"/>
                    </a:lnTo>
                    <a:lnTo>
                      <a:pt x="270" y="146"/>
                    </a:lnTo>
                    <a:lnTo>
                      <a:pt x="270" y="146"/>
                    </a:lnTo>
                    <a:lnTo>
                      <a:pt x="310" y="180"/>
                    </a:lnTo>
                    <a:lnTo>
                      <a:pt x="346" y="216"/>
                    </a:lnTo>
                    <a:lnTo>
                      <a:pt x="382" y="252"/>
                    </a:lnTo>
                    <a:lnTo>
                      <a:pt x="418" y="292"/>
                    </a:lnTo>
                    <a:lnTo>
                      <a:pt x="418" y="292"/>
                    </a:lnTo>
                    <a:lnTo>
                      <a:pt x="448" y="328"/>
                    </a:lnTo>
                    <a:lnTo>
                      <a:pt x="480" y="368"/>
                    </a:lnTo>
                    <a:lnTo>
                      <a:pt x="538" y="446"/>
                    </a:lnTo>
                    <a:lnTo>
                      <a:pt x="596" y="524"/>
                    </a:lnTo>
                    <a:lnTo>
                      <a:pt x="626" y="562"/>
                    </a:lnTo>
                    <a:lnTo>
                      <a:pt x="658" y="600"/>
                    </a:lnTo>
                    <a:lnTo>
                      <a:pt x="658" y="600"/>
                    </a:lnTo>
                    <a:lnTo>
                      <a:pt x="674" y="614"/>
                    </a:lnTo>
                    <a:lnTo>
                      <a:pt x="690" y="628"/>
                    </a:lnTo>
                    <a:lnTo>
                      <a:pt x="722" y="652"/>
                    </a:lnTo>
                    <a:lnTo>
                      <a:pt x="758" y="672"/>
                    </a:lnTo>
                    <a:lnTo>
                      <a:pt x="792" y="696"/>
                    </a:lnTo>
                    <a:lnTo>
                      <a:pt x="792" y="696"/>
                    </a:lnTo>
                    <a:lnTo>
                      <a:pt x="808" y="710"/>
                    </a:lnTo>
                    <a:lnTo>
                      <a:pt x="822" y="724"/>
                    </a:lnTo>
                    <a:lnTo>
                      <a:pt x="850" y="754"/>
                    </a:lnTo>
                    <a:lnTo>
                      <a:pt x="876" y="788"/>
                    </a:lnTo>
                    <a:lnTo>
                      <a:pt x="900" y="824"/>
                    </a:lnTo>
                    <a:lnTo>
                      <a:pt x="944" y="898"/>
                    </a:lnTo>
                    <a:lnTo>
                      <a:pt x="986" y="970"/>
                    </a:lnTo>
                    <a:lnTo>
                      <a:pt x="986" y="970"/>
                    </a:lnTo>
                    <a:lnTo>
                      <a:pt x="1008" y="1000"/>
                    </a:lnTo>
                    <a:lnTo>
                      <a:pt x="1032" y="1030"/>
                    </a:lnTo>
                    <a:lnTo>
                      <a:pt x="1082" y="1090"/>
                    </a:lnTo>
                    <a:lnTo>
                      <a:pt x="1106" y="1120"/>
                    </a:lnTo>
                    <a:lnTo>
                      <a:pt x="1130" y="1150"/>
                    </a:lnTo>
                    <a:lnTo>
                      <a:pt x="1148" y="1184"/>
                    </a:lnTo>
                    <a:lnTo>
                      <a:pt x="1158" y="1200"/>
                    </a:lnTo>
                    <a:lnTo>
                      <a:pt x="1164" y="1218"/>
                    </a:lnTo>
                    <a:lnTo>
                      <a:pt x="1164" y="1218"/>
                    </a:lnTo>
                    <a:lnTo>
                      <a:pt x="1164" y="1220"/>
                    </a:lnTo>
                    <a:lnTo>
                      <a:pt x="1162" y="1224"/>
                    </a:lnTo>
                    <a:lnTo>
                      <a:pt x="1158" y="1230"/>
                    </a:lnTo>
                    <a:lnTo>
                      <a:pt x="1152" y="1238"/>
                    </a:lnTo>
                    <a:lnTo>
                      <a:pt x="1150" y="1240"/>
                    </a:lnTo>
                    <a:lnTo>
                      <a:pt x="1150" y="1242"/>
                    </a:lnTo>
                    <a:lnTo>
                      <a:pt x="1150" y="1242"/>
                    </a:lnTo>
                    <a:lnTo>
                      <a:pt x="1136" y="1210"/>
                    </a:lnTo>
                    <a:lnTo>
                      <a:pt x="1118" y="1180"/>
                    </a:lnTo>
                    <a:lnTo>
                      <a:pt x="1096" y="1150"/>
                    </a:lnTo>
                    <a:lnTo>
                      <a:pt x="1074" y="1120"/>
                    </a:lnTo>
                    <a:lnTo>
                      <a:pt x="1026" y="1066"/>
                    </a:lnTo>
                    <a:lnTo>
                      <a:pt x="1004" y="1038"/>
                    </a:lnTo>
                    <a:lnTo>
                      <a:pt x="982" y="1010"/>
                    </a:lnTo>
                    <a:lnTo>
                      <a:pt x="982" y="1010"/>
                    </a:lnTo>
                    <a:lnTo>
                      <a:pt x="958" y="976"/>
                    </a:lnTo>
                    <a:lnTo>
                      <a:pt x="936" y="942"/>
                    </a:lnTo>
                    <a:lnTo>
                      <a:pt x="894" y="874"/>
                    </a:lnTo>
                    <a:lnTo>
                      <a:pt x="872" y="838"/>
                    </a:lnTo>
                    <a:lnTo>
                      <a:pt x="850" y="804"/>
                    </a:lnTo>
                    <a:lnTo>
                      <a:pt x="826" y="772"/>
                    </a:lnTo>
                    <a:lnTo>
                      <a:pt x="800" y="740"/>
                    </a:lnTo>
                    <a:lnTo>
                      <a:pt x="800" y="740"/>
                    </a:lnTo>
                    <a:lnTo>
                      <a:pt x="782" y="724"/>
                    </a:lnTo>
                    <a:lnTo>
                      <a:pt x="762" y="708"/>
                    </a:lnTo>
                    <a:lnTo>
                      <a:pt x="722" y="682"/>
                    </a:lnTo>
                    <a:lnTo>
                      <a:pt x="680" y="656"/>
                    </a:lnTo>
                    <a:lnTo>
                      <a:pt x="662" y="640"/>
                    </a:lnTo>
                    <a:lnTo>
                      <a:pt x="644" y="624"/>
                    </a:lnTo>
                    <a:lnTo>
                      <a:pt x="644" y="624"/>
                    </a:lnTo>
                    <a:lnTo>
                      <a:pt x="612" y="588"/>
                    </a:lnTo>
                    <a:lnTo>
                      <a:pt x="584" y="554"/>
                    </a:lnTo>
                    <a:lnTo>
                      <a:pt x="528" y="480"/>
                    </a:lnTo>
                    <a:lnTo>
                      <a:pt x="474" y="406"/>
                    </a:lnTo>
                    <a:lnTo>
                      <a:pt x="446" y="368"/>
                    </a:lnTo>
                    <a:lnTo>
                      <a:pt x="418" y="334"/>
                    </a:lnTo>
                    <a:lnTo>
                      <a:pt x="418" y="334"/>
                    </a:lnTo>
                    <a:lnTo>
                      <a:pt x="384" y="296"/>
                    </a:lnTo>
                    <a:lnTo>
                      <a:pt x="348" y="258"/>
                    </a:lnTo>
                    <a:lnTo>
                      <a:pt x="312" y="222"/>
                    </a:lnTo>
                    <a:lnTo>
                      <a:pt x="276" y="188"/>
                    </a:lnTo>
                    <a:lnTo>
                      <a:pt x="276" y="188"/>
                    </a:lnTo>
                    <a:lnTo>
                      <a:pt x="216" y="132"/>
                    </a:lnTo>
                    <a:lnTo>
                      <a:pt x="184" y="104"/>
                    </a:lnTo>
                    <a:lnTo>
                      <a:pt x="150" y="78"/>
                    </a:lnTo>
                    <a:lnTo>
                      <a:pt x="132" y="64"/>
                    </a:lnTo>
                    <a:lnTo>
                      <a:pt x="114" y="54"/>
                    </a:lnTo>
                    <a:lnTo>
                      <a:pt x="96" y="44"/>
                    </a:lnTo>
                    <a:lnTo>
                      <a:pt x="76" y="36"/>
                    </a:lnTo>
                    <a:lnTo>
                      <a:pt x="58" y="30"/>
                    </a:lnTo>
                    <a:lnTo>
                      <a:pt x="38" y="26"/>
                    </a:lnTo>
                    <a:lnTo>
                      <a:pt x="20" y="24"/>
                    </a:lnTo>
                    <a:lnTo>
                      <a:pt x="0" y="26"/>
                    </a:lnTo>
                    <a:lnTo>
                      <a:pt x="0" y="26"/>
                    </a:lnTo>
                    <a:lnTo>
                      <a:pt x="2" y="24"/>
                    </a:lnTo>
                    <a:lnTo>
                      <a:pt x="4" y="22"/>
                    </a:lnTo>
                    <a:lnTo>
                      <a:pt x="8" y="14"/>
                    </a:lnTo>
                    <a:lnTo>
                      <a:pt x="12" y="6"/>
                    </a:lnTo>
                    <a:lnTo>
                      <a:pt x="14" y="2"/>
                    </a:lnTo>
                    <a:lnTo>
                      <a:pt x="16" y="2"/>
                    </a:lnTo>
                    <a:lnTo>
                      <a:pt x="16" y="2"/>
                    </a:lnTo>
                    <a:close/>
                  </a:path>
                </a:pathLst>
              </a:custGeom>
              <a:solidFill>
                <a:srgbClr val="E6B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126"/>
              <p:cNvSpPr>
                <a:spLocks/>
              </p:cNvSpPr>
              <p:nvPr/>
            </p:nvSpPr>
            <p:spPr bwMode="auto">
              <a:xfrm>
                <a:off x="7248122" y="2540932"/>
                <a:ext cx="377739" cy="1012812"/>
              </a:xfrm>
              <a:custGeom>
                <a:avLst/>
                <a:gdLst>
                  <a:gd name="T0" fmla="*/ 24 w 320"/>
                  <a:gd name="T1" fmla="*/ 0 h 858"/>
                  <a:gd name="T2" fmla="*/ 0 w 320"/>
                  <a:gd name="T3" fmla="*/ 320 h 858"/>
                  <a:gd name="T4" fmla="*/ 14 w 320"/>
                  <a:gd name="T5" fmla="*/ 416 h 858"/>
                  <a:gd name="T6" fmla="*/ 4 w 320"/>
                  <a:gd name="T7" fmla="*/ 534 h 858"/>
                  <a:gd name="T8" fmla="*/ 102 w 320"/>
                  <a:gd name="T9" fmla="*/ 590 h 858"/>
                  <a:gd name="T10" fmla="*/ 102 w 320"/>
                  <a:gd name="T11" fmla="*/ 590 h 858"/>
                  <a:gd name="T12" fmla="*/ 122 w 320"/>
                  <a:gd name="T13" fmla="*/ 606 h 858"/>
                  <a:gd name="T14" fmla="*/ 168 w 320"/>
                  <a:gd name="T15" fmla="*/ 640 h 858"/>
                  <a:gd name="T16" fmla="*/ 214 w 320"/>
                  <a:gd name="T17" fmla="*/ 680 h 858"/>
                  <a:gd name="T18" fmla="*/ 232 w 320"/>
                  <a:gd name="T19" fmla="*/ 698 h 858"/>
                  <a:gd name="T20" fmla="*/ 242 w 320"/>
                  <a:gd name="T21" fmla="*/ 710 h 858"/>
                  <a:gd name="T22" fmla="*/ 242 w 320"/>
                  <a:gd name="T23" fmla="*/ 710 h 858"/>
                  <a:gd name="T24" fmla="*/ 284 w 320"/>
                  <a:gd name="T25" fmla="*/ 794 h 858"/>
                  <a:gd name="T26" fmla="*/ 320 w 320"/>
                  <a:gd name="T27" fmla="*/ 858 h 858"/>
                  <a:gd name="T28" fmla="*/ 320 w 320"/>
                  <a:gd name="T29" fmla="*/ 858 h 858"/>
                  <a:gd name="T30" fmla="*/ 314 w 320"/>
                  <a:gd name="T31" fmla="*/ 766 h 858"/>
                  <a:gd name="T32" fmla="*/ 308 w 320"/>
                  <a:gd name="T33" fmla="*/ 696 h 858"/>
                  <a:gd name="T34" fmla="*/ 304 w 320"/>
                  <a:gd name="T35" fmla="*/ 668 h 858"/>
                  <a:gd name="T36" fmla="*/ 300 w 320"/>
                  <a:gd name="T37" fmla="*/ 652 h 858"/>
                  <a:gd name="T38" fmla="*/ 300 w 320"/>
                  <a:gd name="T39" fmla="*/ 652 h 858"/>
                  <a:gd name="T40" fmla="*/ 282 w 320"/>
                  <a:gd name="T41" fmla="*/ 600 h 858"/>
                  <a:gd name="T42" fmla="*/ 256 w 320"/>
                  <a:gd name="T43" fmla="*/ 512 h 858"/>
                  <a:gd name="T44" fmla="*/ 222 w 320"/>
                  <a:gd name="T45" fmla="*/ 390 h 858"/>
                  <a:gd name="T46" fmla="*/ 234 w 320"/>
                  <a:gd name="T47" fmla="*/ 230 h 858"/>
                  <a:gd name="T48" fmla="*/ 234 w 320"/>
                  <a:gd name="T49" fmla="*/ 230 h 858"/>
                  <a:gd name="T50" fmla="*/ 24 w 320"/>
                  <a:gd name="T51" fmla="*/ 0 h 858"/>
                  <a:gd name="T52" fmla="*/ 24 w 320"/>
                  <a:gd name="T53" fmla="*/ 0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858">
                    <a:moveTo>
                      <a:pt x="24" y="0"/>
                    </a:moveTo>
                    <a:lnTo>
                      <a:pt x="0" y="320"/>
                    </a:lnTo>
                    <a:lnTo>
                      <a:pt x="14" y="416"/>
                    </a:lnTo>
                    <a:lnTo>
                      <a:pt x="4" y="534"/>
                    </a:lnTo>
                    <a:lnTo>
                      <a:pt x="102" y="590"/>
                    </a:lnTo>
                    <a:lnTo>
                      <a:pt x="102" y="590"/>
                    </a:lnTo>
                    <a:lnTo>
                      <a:pt x="122" y="606"/>
                    </a:lnTo>
                    <a:lnTo>
                      <a:pt x="168" y="640"/>
                    </a:lnTo>
                    <a:lnTo>
                      <a:pt x="214" y="680"/>
                    </a:lnTo>
                    <a:lnTo>
                      <a:pt x="232" y="698"/>
                    </a:lnTo>
                    <a:lnTo>
                      <a:pt x="242" y="710"/>
                    </a:lnTo>
                    <a:lnTo>
                      <a:pt x="242" y="710"/>
                    </a:lnTo>
                    <a:lnTo>
                      <a:pt x="284" y="794"/>
                    </a:lnTo>
                    <a:lnTo>
                      <a:pt x="320" y="858"/>
                    </a:lnTo>
                    <a:lnTo>
                      <a:pt x="320" y="858"/>
                    </a:lnTo>
                    <a:lnTo>
                      <a:pt x="314" y="766"/>
                    </a:lnTo>
                    <a:lnTo>
                      <a:pt x="308" y="696"/>
                    </a:lnTo>
                    <a:lnTo>
                      <a:pt x="304" y="668"/>
                    </a:lnTo>
                    <a:lnTo>
                      <a:pt x="300" y="652"/>
                    </a:lnTo>
                    <a:lnTo>
                      <a:pt x="300" y="652"/>
                    </a:lnTo>
                    <a:lnTo>
                      <a:pt x="282" y="600"/>
                    </a:lnTo>
                    <a:lnTo>
                      <a:pt x="256" y="512"/>
                    </a:lnTo>
                    <a:lnTo>
                      <a:pt x="222" y="390"/>
                    </a:lnTo>
                    <a:lnTo>
                      <a:pt x="234" y="230"/>
                    </a:lnTo>
                    <a:lnTo>
                      <a:pt x="234" y="230"/>
                    </a:lnTo>
                    <a:lnTo>
                      <a:pt x="24" y="0"/>
                    </a:lnTo>
                    <a:lnTo>
                      <a:pt x="24" y="0"/>
                    </a:lnTo>
                    <a:close/>
                  </a:path>
                </a:pathLst>
              </a:custGeom>
              <a:solidFill>
                <a:srgbClr val="F0C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127"/>
              <p:cNvSpPr>
                <a:spLocks/>
              </p:cNvSpPr>
              <p:nvPr/>
            </p:nvSpPr>
            <p:spPr bwMode="auto">
              <a:xfrm>
                <a:off x="7040366" y="3933844"/>
                <a:ext cx="812138" cy="1716350"/>
              </a:xfrm>
              <a:custGeom>
                <a:avLst/>
                <a:gdLst>
                  <a:gd name="T0" fmla="*/ 50 w 688"/>
                  <a:gd name="T1" fmla="*/ 0 h 1454"/>
                  <a:gd name="T2" fmla="*/ 30 w 688"/>
                  <a:gd name="T3" fmla="*/ 48 h 1454"/>
                  <a:gd name="T4" fmla="*/ 8 w 688"/>
                  <a:gd name="T5" fmla="*/ 112 h 1454"/>
                  <a:gd name="T6" fmla="*/ 0 w 688"/>
                  <a:gd name="T7" fmla="*/ 164 h 1454"/>
                  <a:gd name="T8" fmla="*/ 2 w 688"/>
                  <a:gd name="T9" fmla="*/ 196 h 1454"/>
                  <a:gd name="T10" fmla="*/ 6 w 688"/>
                  <a:gd name="T11" fmla="*/ 208 h 1454"/>
                  <a:gd name="T12" fmla="*/ 32 w 688"/>
                  <a:gd name="T13" fmla="*/ 306 h 1454"/>
                  <a:gd name="T14" fmla="*/ 58 w 688"/>
                  <a:gd name="T15" fmla="*/ 480 h 1454"/>
                  <a:gd name="T16" fmla="*/ 76 w 688"/>
                  <a:gd name="T17" fmla="*/ 498 h 1454"/>
                  <a:gd name="T18" fmla="*/ 158 w 688"/>
                  <a:gd name="T19" fmla="*/ 586 h 1454"/>
                  <a:gd name="T20" fmla="*/ 202 w 688"/>
                  <a:gd name="T21" fmla="*/ 638 h 1454"/>
                  <a:gd name="T22" fmla="*/ 338 w 688"/>
                  <a:gd name="T23" fmla="*/ 804 h 1454"/>
                  <a:gd name="T24" fmla="*/ 486 w 688"/>
                  <a:gd name="T25" fmla="*/ 996 h 1454"/>
                  <a:gd name="T26" fmla="*/ 570 w 688"/>
                  <a:gd name="T27" fmla="*/ 1112 h 1454"/>
                  <a:gd name="T28" fmla="*/ 598 w 688"/>
                  <a:gd name="T29" fmla="*/ 1160 h 1454"/>
                  <a:gd name="T30" fmla="*/ 600 w 688"/>
                  <a:gd name="T31" fmla="*/ 1170 h 1454"/>
                  <a:gd name="T32" fmla="*/ 600 w 688"/>
                  <a:gd name="T33" fmla="*/ 1180 h 1454"/>
                  <a:gd name="T34" fmla="*/ 612 w 688"/>
                  <a:gd name="T35" fmla="*/ 1228 h 1454"/>
                  <a:gd name="T36" fmla="*/ 642 w 688"/>
                  <a:gd name="T37" fmla="*/ 1324 h 1454"/>
                  <a:gd name="T38" fmla="*/ 688 w 688"/>
                  <a:gd name="T39" fmla="*/ 1454 h 1454"/>
                  <a:gd name="T40" fmla="*/ 546 w 688"/>
                  <a:gd name="T41" fmla="*/ 1070 h 1454"/>
                  <a:gd name="T42" fmla="*/ 404 w 688"/>
                  <a:gd name="T43" fmla="*/ 692 h 1454"/>
                  <a:gd name="T44" fmla="*/ 382 w 688"/>
                  <a:gd name="T45" fmla="*/ 636 h 1454"/>
                  <a:gd name="T46" fmla="*/ 332 w 688"/>
                  <a:gd name="T47" fmla="*/ 516 h 1454"/>
                  <a:gd name="T48" fmla="*/ 306 w 688"/>
                  <a:gd name="T49" fmla="*/ 446 h 1454"/>
                  <a:gd name="T50" fmla="*/ 286 w 688"/>
                  <a:gd name="T51" fmla="*/ 444 h 1454"/>
                  <a:gd name="T52" fmla="*/ 258 w 688"/>
                  <a:gd name="T53" fmla="*/ 432 h 1454"/>
                  <a:gd name="T54" fmla="*/ 220 w 688"/>
                  <a:gd name="T55" fmla="*/ 408 h 1454"/>
                  <a:gd name="T56" fmla="*/ 178 w 688"/>
                  <a:gd name="T57" fmla="*/ 366 h 1454"/>
                  <a:gd name="T58" fmla="*/ 134 w 688"/>
                  <a:gd name="T59" fmla="*/ 302 h 1454"/>
                  <a:gd name="T60" fmla="*/ 94 w 688"/>
                  <a:gd name="T61" fmla="*/ 206 h 1454"/>
                  <a:gd name="T62" fmla="*/ 62 w 688"/>
                  <a:gd name="T63" fmla="*/ 78 h 1454"/>
                  <a:gd name="T64" fmla="*/ 50 w 688"/>
                  <a:gd name="T65" fmla="*/ 0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8" h="1454">
                    <a:moveTo>
                      <a:pt x="50" y="0"/>
                    </a:moveTo>
                    <a:lnTo>
                      <a:pt x="50" y="0"/>
                    </a:lnTo>
                    <a:lnTo>
                      <a:pt x="40" y="22"/>
                    </a:lnTo>
                    <a:lnTo>
                      <a:pt x="30" y="48"/>
                    </a:lnTo>
                    <a:lnTo>
                      <a:pt x="18" y="78"/>
                    </a:lnTo>
                    <a:lnTo>
                      <a:pt x="8" y="112"/>
                    </a:lnTo>
                    <a:lnTo>
                      <a:pt x="2" y="148"/>
                    </a:lnTo>
                    <a:lnTo>
                      <a:pt x="0" y="164"/>
                    </a:lnTo>
                    <a:lnTo>
                      <a:pt x="0" y="180"/>
                    </a:lnTo>
                    <a:lnTo>
                      <a:pt x="2" y="196"/>
                    </a:lnTo>
                    <a:lnTo>
                      <a:pt x="6" y="208"/>
                    </a:lnTo>
                    <a:lnTo>
                      <a:pt x="6" y="208"/>
                    </a:lnTo>
                    <a:lnTo>
                      <a:pt x="20" y="260"/>
                    </a:lnTo>
                    <a:lnTo>
                      <a:pt x="32" y="306"/>
                    </a:lnTo>
                    <a:lnTo>
                      <a:pt x="42" y="354"/>
                    </a:lnTo>
                    <a:lnTo>
                      <a:pt x="58" y="480"/>
                    </a:lnTo>
                    <a:lnTo>
                      <a:pt x="58" y="480"/>
                    </a:lnTo>
                    <a:lnTo>
                      <a:pt x="76" y="498"/>
                    </a:lnTo>
                    <a:lnTo>
                      <a:pt x="106" y="530"/>
                    </a:lnTo>
                    <a:lnTo>
                      <a:pt x="158" y="586"/>
                    </a:lnTo>
                    <a:lnTo>
                      <a:pt x="158" y="586"/>
                    </a:lnTo>
                    <a:lnTo>
                      <a:pt x="202" y="638"/>
                    </a:lnTo>
                    <a:lnTo>
                      <a:pt x="264" y="712"/>
                    </a:lnTo>
                    <a:lnTo>
                      <a:pt x="338" y="804"/>
                    </a:lnTo>
                    <a:lnTo>
                      <a:pt x="414" y="902"/>
                    </a:lnTo>
                    <a:lnTo>
                      <a:pt x="486" y="996"/>
                    </a:lnTo>
                    <a:lnTo>
                      <a:pt x="546" y="1078"/>
                    </a:lnTo>
                    <a:lnTo>
                      <a:pt x="570" y="1112"/>
                    </a:lnTo>
                    <a:lnTo>
                      <a:pt x="588" y="1140"/>
                    </a:lnTo>
                    <a:lnTo>
                      <a:pt x="598" y="1160"/>
                    </a:lnTo>
                    <a:lnTo>
                      <a:pt x="600" y="1166"/>
                    </a:lnTo>
                    <a:lnTo>
                      <a:pt x="600" y="1170"/>
                    </a:lnTo>
                    <a:lnTo>
                      <a:pt x="600" y="1170"/>
                    </a:lnTo>
                    <a:lnTo>
                      <a:pt x="600" y="1180"/>
                    </a:lnTo>
                    <a:lnTo>
                      <a:pt x="604" y="1192"/>
                    </a:lnTo>
                    <a:lnTo>
                      <a:pt x="612" y="1228"/>
                    </a:lnTo>
                    <a:lnTo>
                      <a:pt x="626" y="1274"/>
                    </a:lnTo>
                    <a:lnTo>
                      <a:pt x="642" y="1324"/>
                    </a:lnTo>
                    <a:lnTo>
                      <a:pt x="674" y="1414"/>
                    </a:lnTo>
                    <a:lnTo>
                      <a:pt x="688" y="1454"/>
                    </a:lnTo>
                    <a:lnTo>
                      <a:pt x="688" y="1454"/>
                    </a:lnTo>
                    <a:lnTo>
                      <a:pt x="546" y="1070"/>
                    </a:lnTo>
                    <a:lnTo>
                      <a:pt x="442" y="794"/>
                    </a:lnTo>
                    <a:lnTo>
                      <a:pt x="404" y="692"/>
                    </a:lnTo>
                    <a:lnTo>
                      <a:pt x="382" y="636"/>
                    </a:lnTo>
                    <a:lnTo>
                      <a:pt x="382" y="636"/>
                    </a:lnTo>
                    <a:lnTo>
                      <a:pt x="356" y="578"/>
                    </a:lnTo>
                    <a:lnTo>
                      <a:pt x="332" y="516"/>
                    </a:lnTo>
                    <a:lnTo>
                      <a:pt x="306" y="446"/>
                    </a:lnTo>
                    <a:lnTo>
                      <a:pt x="306" y="446"/>
                    </a:lnTo>
                    <a:lnTo>
                      <a:pt x="296" y="446"/>
                    </a:lnTo>
                    <a:lnTo>
                      <a:pt x="286" y="444"/>
                    </a:lnTo>
                    <a:lnTo>
                      <a:pt x="274" y="440"/>
                    </a:lnTo>
                    <a:lnTo>
                      <a:pt x="258" y="432"/>
                    </a:lnTo>
                    <a:lnTo>
                      <a:pt x="240" y="422"/>
                    </a:lnTo>
                    <a:lnTo>
                      <a:pt x="220" y="408"/>
                    </a:lnTo>
                    <a:lnTo>
                      <a:pt x="198" y="390"/>
                    </a:lnTo>
                    <a:lnTo>
                      <a:pt x="178" y="366"/>
                    </a:lnTo>
                    <a:lnTo>
                      <a:pt x="156" y="338"/>
                    </a:lnTo>
                    <a:lnTo>
                      <a:pt x="134" y="302"/>
                    </a:lnTo>
                    <a:lnTo>
                      <a:pt x="114" y="258"/>
                    </a:lnTo>
                    <a:lnTo>
                      <a:pt x="94" y="206"/>
                    </a:lnTo>
                    <a:lnTo>
                      <a:pt x="78" y="148"/>
                    </a:lnTo>
                    <a:lnTo>
                      <a:pt x="62" y="78"/>
                    </a:lnTo>
                    <a:lnTo>
                      <a:pt x="50" y="0"/>
                    </a:lnTo>
                    <a:lnTo>
                      <a:pt x="50" y="0"/>
                    </a:lnTo>
                    <a:close/>
                  </a:path>
                </a:pathLst>
              </a:custGeom>
              <a:solidFill>
                <a:srgbClr val="F0C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128"/>
              <p:cNvSpPr>
                <a:spLocks/>
              </p:cNvSpPr>
              <p:nvPr/>
            </p:nvSpPr>
            <p:spPr bwMode="auto">
              <a:xfrm>
                <a:off x="6299054" y="2427611"/>
                <a:ext cx="394265" cy="410791"/>
              </a:xfrm>
              <a:custGeom>
                <a:avLst/>
                <a:gdLst>
                  <a:gd name="T0" fmla="*/ 28 w 334"/>
                  <a:gd name="T1" fmla="*/ 18 h 348"/>
                  <a:gd name="T2" fmla="*/ 28 w 334"/>
                  <a:gd name="T3" fmla="*/ 18 h 348"/>
                  <a:gd name="T4" fmla="*/ 16 w 334"/>
                  <a:gd name="T5" fmla="*/ 32 h 348"/>
                  <a:gd name="T6" fmla="*/ 8 w 334"/>
                  <a:gd name="T7" fmla="*/ 48 h 348"/>
                  <a:gd name="T8" fmla="*/ 2 w 334"/>
                  <a:gd name="T9" fmla="*/ 66 h 348"/>
                  <a:gd name="T10" fmla="*/ 0 w 334"/>
                  <a:gd name="T11" fmla="*/ 84 h 348"/>
                  <a:gd name="T12" fmla="*/ 0 w 334"/>
                  <a:gd name="T13" fmla="*/ 104 h 348"/>
                  <a:gd name="T14" fmla="*/ 4 w 334"/>
                  <a:gd name="T15" fmla="*/ 126 h 348"/>
                  <a:gd name="T16" fmla="*/ 12 w 334"/>
                  <a:gd name="T17" fmla="*/ 146 h 348"/>
                  <a:gd name="T18" fmla="*/ 20 w 334"/>
                  <a:gd name="T19" fmla="*/ 168 h 348"/>
                  <a:gd name="T20" fmla="*/ 32 w 334"/>
                  <a:gd name="T21" fmla="*/ 192 h 348"/>
                  <a:gd name="T22" fmla="*/ 48 w 334"/>
                  <a:gd name="T23" fmla="*/ 214 h 348"/>
                  <a:gd name="T24" fmla="*/ 64 w 334"/>
                  <a:gd name="T25" fmla="*/ 238 h 348"/>
                  <a:gd name="T26" fmla="*/ 84 w 334"/>
                  <a:gd name="T27" fmla="*/ 260 h 348"/>
                  <a:gd name="T28" fmla="*/ 106 w 334"/>
                  <a:gd name="T29" fmla="*/ 282 h 348"/>
                  <a:gd name="T30" fmla="*/ 128 w 334"/>
                  <a:gd name="T31" fmla="*/ 306 h 348"/>
                  <a:gd name="T32" fmla="*/ 154 w 334"/>
                  <a:gd name="T33" fmla="*/ 328 h 348"/>
                  <a:gd name="T34" fmla="*/ 180 w 334"/>
                  <a:gd name="T35" fmla="*/ 348 h 348"/>
                  <a:gd name="T36" fmla="*/ 180 w 334"/>
                  <a:gd name="T37" fmla="*/ 348 h 348"/>
                  <a:gd name="T38" fmla="*/ 196 w 334"/>
                  <a:gd name="T39" fmla="*/ 334 h 348"/>
                  <a:gd name="T40" fmla="*/ 234 w 334"/>
                  <a:gd name="T41" fmla="*/ 298 h 348"/>
                  <a:gd name="T42" fmla="*/ 258 w 334"/>
                  <a:gd name="T43" fmla="*/ 278 h 348"/>
                  <a:gd name="T44" fmla="*/ 282 w 334"/>
                  <a:gd name="T45" fmla="*/ 260 h 348"/>
                  <a:gd name="T46" fmla="*/ 306 w 334"/>
                  <a:gd name="T47" fmla="*/ 246 h 348"/>
                  <a:gd name="T48" fmla="*/ 316 w 334"/>
                  <a:gd name="T49" fmla="*/ 240 h 348"/>
                  <a:gd name="T50" fmla="*/ 328 w 334"/>
                  <a:gd name="T51" fmla="*/ 236 h 348"/>
                  <a:gd name="T52" fmla="*/ 328 w 334"/>
                  <a:gd name="T53" fmla="*/ 236 h 348"/>
                  <a:gd name="T54" fmla="*/ 332 w 334"/>
                  <a:gd name="T55" fmla="*/ 234 h 348"/>
                  <a:gd name="T56" fmla="*/ 334 w 334"/>
                  <a:gd name="T57" fmla="*/ 230 h 348"/>
                  <a:gd name="T58" fmla="*/ 334 w 334"/>
                  <a:gd name="T59" fmla="*/ 226 h 348"/>
                  <a:gd name="T60" fmla="*/ 334 w 334"/>
                  <a:gd name="T61" fmla="*/ 220 h 348"/>
                  <a:gd name="T62" fmla="*/ 328 w 334"/>
                  <a:gd name="T63" fmla="*/ 204 h 348"/>
                  <a:gd name="T64" fmla="*/ 316 w 334"/>
                  <a:gd name="T65" fmla="*/ 184 h 348"/>
                  <a:gd name="T66" fmla="*/ 302 w 334"/>
                  <a:gd name="T67" fmla="*/ 160 h 348"/>
                  <a:gd name="T68" fmla="*/ 282 w 334"/>
                  <a:gd name="T69" fmla="*/ 136 h 348"/>
                  <a:gd name="T70" fmla="*/ 260 w 334"/>
                  <a:gd name="T71" fmla="*/ 112 h 348"/>
                  <a:gd name="T72" fmla="*/ 236 w 334"/>
                  <a:gd name="T73" fmla="*/ 86 h 348"/>
                  <a:gd name="T74" fmla="*/ 210 w 334"/>
                  <a:gd name="T75" fmla="*/ 62 h 348"/>
                  <a:gd name="T76" fmla="*/ 182 w 334"/>
                  <a:gd name="T77" fmla="*/ 42 h 348"/>
                  <a:gd name="T78" fmla="*/ 154 w 334"/>
                  <a:gd name="T79" fmla="*/ 24 h 348"/>
                  <a:gd name="T80" fmla="*/ 126 w 334"/>
                  <a:gd name="T81" fmla="*/ 10 h 348"/>
                  <a:gd name="T82" fmla="*/ 112 w 334"/>
                  <a:gd name="T83" fmla="*/ 6 h 348"/>
                  <a:gd name="T84" fmla="*/ 100 w 334"/>
                  <a:gd name="T85" fmla="*/ 2 h 348"/>
                  <a:gd name="T86" fmla="*/ 86 w 334"/>
                  <a:gd name="T87" fmla="*/ 0 h 348"/>
                  <a:gd name="T88" fmla="*/ 74 w 334"/>
                  <a:gd name="T89" fmla="*/ 0 h 348"/>
                  <a:gd name="T90" fmla="*/ 62 w 334"/>
                  <a:gd name="T91" fmla="*/ 2 h 348"/>
                  <a:gd name="T92" fmla="*/ 50 w 334"/>
                  <a:gd name="T93" fmla="*/ 4 h 348"/>
                  <a:gd name="T94" fmla="*/ 38 w 334"/>
                  <a:gd name="T95" fmla="*/ 10 h 348"/>
                  <a:gd name="T96" fmla="*/ 28 w 334"/>
                  <a:gd name="T97" fmla="*/ 18 h 348"/>
                  <a:gd name="T98" fmla="*/ 28 w 334"/>
                  <a:gd name="T99" fmla="*/ 1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4" h="348">
                    <a:moveTo>
                      <a:pt x="28" y="18"/>
                    </a:moveTo>
                    <a:lnTo>
                      <a:pt x="28" y="18"/>
                    </a:lnTo>
                    <a:lnTo>
                      <a:pt x="16" y="32"/>
                    </a:lnTo>
                    <a:lnTo>
                      <a:pt x="8" y="48"/>
                    </a:lnTo>
                    <a:lnTo>
                      <a:pt x="2" y="66"/>
                    </a:lnTo>
                    <a:lnTo>
                      <a:pt x="0" y="84"/>
                    </a:lnTo>
                    <a:lnTo>
                      <a:pt x="0" y="104"/>
                    </a:lnTo>
                    <a:lnTo>
                      <a:pt x="4" y="126"/>
                    </a:lnTo>
                    <a:lnTo>
                      <a:pt x="12" y="146"/>
                    </a:lnTo>
                    <a:lnTo>
                      <a:pt x="20" y="168"/>
                    </a:lnTo>
                    <a:lnTo>
                      <a:pt x="32" y="192"/>
                    </a:lnTo>
                    <a:lnTo>
                      <a:pt x="48" y="214"/>
                    </a:lnTo>
                    <a:lnTo>
                      <a:pt x="64" y="238"/>
                    </a:lnTo>
                    <a:lnTo>
                      <a:pt x="84" y="260"/>
                    </a:lnTo>
                    <a:lnTo>
                      <a:pt x="106" y="282"/>
                    </a:lnTo>
                    <a:lnTo>
                      <a:pt x="128" y="306"/>
                    </a:lnTo>
                    <a:lnTo>
                      <a:pt x="154" y="328"/>
                    </a:lnTo>
                    <a:lnTo>
                      <a:pt x="180" y="348"/>
                    </a:lnTo>
                    <a:lnTo>
                      <a:pt x="180" y="348"/>
                    </a:lnTo>
                    <a:lnTo>
                      <a:pt x="196" y="334"/>
                    </a:lnTo>
                    <a:lnTo>
                      <a:pt x="234" y="298"/>
                    </a:lnTo>
                    <a:lnTo>
                      <a:pt x="258" y="278"/>
                    </a:lnTo>
                    <a:lnTo>
                      <a:pt x="282" y="260"/>
                    </a:lnTo>
                    <a:lnTo>
                      <a:pt x="306" y="246"/>
                    </a:lnTo>
                    <a:lnTo>
                      <a:pt x="316" y="240"/>
                    </a:lnTo>
                    <a:lnTo>
                      <a:pt x="328" y="236"/>
                    </a:lnTo>
                    <a:lnTo>
                      <a:pt x="328" y="236"/>
                    </a:lnTo>
                    <a:lnTo>
                      <a:pt x="332" y="234"/>
                    </a:lnTo>
                    <a:lnTo>
                      <a:pt x="334" y="230"/>
                    </a:lnTo>
                    <a:lnTo>
                      <a:pt x="334" y="226"/>
                    </a:lnTo>
                    <a:lnTo>
                      <a:pt x="334" y="220"/>
                    </a:lnTo>
                    <a:lnTo>
                      <a:pt x="328" y="204"/>
                    </a:lnTo>
                    <a:lnTo>
                      <a:pt x="316" y="184"/>
                    </a:lnTo>
                    <a:lnTo>
                      <a:pt x="302" y="160"/>
                    </a:lnTo>
                    <a:lnTo>
                      <a:pt x="282" y="136"/>
                    </a:lnTo>
                    <a:lnTo>
                      <a:pt x="260" y="112"/>
                    </a:lnTo>
                    <a:lnTo>
                      <a:pt x="236" y="86"/>
                    </a:lnTo>
                    <a:lnTo>
                      <a:pt x="210" y="62"/>
                    </a:lnTo>
                    <a:lnTo>
                      <a:pt x="182" y="42"/>
                    </a:lnTo>
                    <a:lnTo>
                      <a:pt x="154" y="24"/>
                    </a:lnTo>
                    <a:lnTo>
                      <a:pt x="126" y="10"/>
                    </a:lnTo>
                    <a:lnTo>
                      <a:pt x="112" y="6"/>
                    </a:lnTo>
                    <a:lnTo>
                      <a:pt x="100" y="2"/>
                    </a:lnTo>
                    <a:lnTo>
                      <a:pt x="86" y="0"/>
                    </a:lnTo>
                    <a:lnTo>
                      <a:pt x="74" y="0"/>
                    </a:lnTo>
                    <a:lnTo>
                      <a:pt x="62" y="2"/>
                    </a:lnTo>
                    <a:lnTo>
                      <a:pt x="50" y="4"/>
                    </a:lnTo>
                    <a:lnTo>
                      <a:pt x="38" y="10"/>
                    </a:lnTo>
                    <a:lnTo>
                      <a:pt x="28" y="18"/>
                    </a:lnTo>
                    <a:lnTo>
                      <a:pt x="28" y="18"/>
                    </a:lnTo>
                    <a:close/>
                  </a:path>
                </a:pathLst>
              </a:custGeom>
              <a:solidFill>
                <a:srgbClr val="FB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2" name="Freeform 173"/>
              <p:cNvSpPr>
                <a:spLocks/>
              </p:cNvSpPr>
              <p:nvPr/>
            </p:nvSpPr>
            <p:spPr bwMode="auto">
              <a:xfrm>
                <a:off x="7831256" y="4110909"/>
                <a:ext cx="144013" cy="391904"/>
              </a:xfrm>
              <a:custGeom>
                <a:avLst/>
                <a:gdLst>
                  <a:gd name="T0" fmla="*/ 122 w 122"/>
                  <a:gd name="T1" fmla="*/ 22 h 332"/>
                  <a:gd name="T2" fmla="*/ 112 w 122"/>
                  <a:gd name="T3" fmla="*/ 0 h 332"/>
                  <a:gd name="T4" fmla="*/ 0 w 122"/>
                  <a:gd name="T5" fmla="*/ 332 h 332"/>
                  <a:gd name="T6" fmla="*/ 122 w 122"/>
                  <a:gd name="T7" fmla="*/ 236 h 332"/>
                  <a:gd name="T8" fmla="*/ 122 w 122"/>
                  <a:gd name="T9" fmla="*/ 22 h 332"/>
                </a:gdLst>
                <a:ahLst/>
                <a:cxnLst>
                  <a:cxn ang="0">
                    <a:pos x="T0" y="T1"/>
                  </a:cxn>
                  <a:cxn ang="0">
                    <a:pos x="T2" y="T3"/>
                  </a:cxn>
                  <a:cxn ang="0">
                    <a:pos x="T4" y="T5"/>
                  </a:cxn>
                  <a:cxn ang="0">
                    <a:pos x="T6" y="T7"/>
                  </a:cxn>
                  <a:cxn ang="0">
                    <a:pos x="T8" y="T9"/>
                  </a:cxn>
                </a:cxnLst>
                <a:rect l="0" t="0" r="r" b="b"/>
                <a:pathLst>
                  <a:path w="122" h="332">
                    <a:moveTo>
                      <a:pt x="122" y="22"/>
                    </a:moveTo>
                    <a:lnTo>
                      <a:pt x="112" y="0"/>
                    </a:lnTo>
                    <a:lnTo>
                      <a:pt x="0" y="332"/>
                    </a:lnTo>
                    <a:lnTo>
                      <a:pt x="122" y="236"/>
                    </a:lnTo>
                    <a:lnTo>
                      <a:pt x="122" y="22"/>
                    </a:lnTo>
                    <a:close/>
                  </a:path>
                </a:pathLst>
              </a:custGeom>
              <a:solidFill>
                <a:srgbClr val="F0C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3" name="Freeform 174"/>
              <p:cNvSpPr>
                <a:spLocks/>
              </p:cNvSpPr>
              <p:nvPr/>
            </p:nvSpPr>
            <p:spPr bwMode="auto">
              <a:xfrm>
                <a:off x="7632943" y="4554752"/>
                <a:ext cx="342326" cy="965594"/>
              </a:xfrm>
              <a:custGeom>
                <a:avLst/>
                <a:gdLst>
                  <a:gd name="T0" fmla="*/ 290 w 290"/>
                  <a:gd name="T1" fmla="*/ 818 h 818"/>
                  <a:gd name="T2" fmla="*/ 290 w 290"/>
                  <a:gd name="T3" fmla="*/ 432 h 818"/>
                  <a:gd name="T4" fmla="*/ 290 w 290"/>
                  <a:gd name="T5" fmla="*/ 432 h 818"/>
                  <a:gd name="T6" fmla="*/ 246 w 290"/>
                  <a:gd name="T7" fmla="*/ 342 h 818"/>
                  <a:gd name="T8" fmla="*/ 204 w 290"/>
                  <a:gd name="T9" fmla="*/ 260 h 818"/>
                  <a:gd name="T10" fmla="*/ 166 w 290"/>
                  <a:gd name="T11" fmla="*/ 186 h 818"/>
                  <a:gd name="T12" fmla="*/ 130 w 290"/>
                  <a:gd name="T13" fmla="*/ 124 h 818"/>
                  <a:gd name="T14" fmla="*/ 98 w 290"/>
                  <a:gd name="T15" fmla="*/ 72 h 818"/>
                  <a:gd name="T16" fmla="*/ 70 w 290"/>
                  <a:gd name="T17" fmla="*/ 32 h 818"/>
                  <a:gd name="T18" fmla="*/ 58 w 290"/>
                  <a:gd name="T19" fmla="*/ 18 h 818"/>
                  <a:gd name="T20" fmla="*/ 48 w 290"/>
                  <a:gd name="T21" fmla="*/ 8 h 818"/>
                  <a:gd name="T22" fmla="*/ 38 w 290"/>
                  <a:gd name="T23" fmla="*/ 2 h 818"/>
                  <a:gd name="T24" fmla="*/ 30 w 290"/>
                  <a:gd name="T25" fmla="*/ 0 h 818"/>
                  <a:gd name="T26" fmla="*/ 30 w 290"/>
                  <a:gd name="T27" fmla="*/ 0 h 818"/>
                  <a:gd name="T28" fmla="*/ 20 w 290"/>
                  <a:gd name="T29" fmla="*/ 0 h 818"/>
                  <a:gd name="T30" fmla="*/ 12 w 290"/>
                  <a:gd name="T31" fmla="*/ 4 h 818"/>
                  <a:gd name="T32" fmla="*/ 6 w 290"/>
                  <a:gd name="T33" fmla="*/ 8 h 818"/>
                  <a:gd name="T34" fmla="*/ 2 w 290"/>
                  <a:gd name="T35" fmla="*/ 16 h 818"/>
                  <a:gd name="T36" fmla="*/ 0 w 290"/>
                  <a:gd name="T37" fmla="*/ 24 h 818"/>
                  <a:gd name="T38" fmla="*/ 0 w 290"/>
                  <a:gd name="T39" fmla="*/ 34 h 818"/>
                  <a:gd name="T40" fmla="*/ 2 w 290"/>
                  <a:gd name="T41" fmla="*/ 58 h 818"/>
                  <a:gd name="T42" fmla="*/ 8 w 290"/>
                  <a:gd name="T43" fmla="*/ 86 h 818"/>
                  <a:gd name="T44" fmla="*/ 18 w 290"/>
                  <a:gd name="T45" fmla="*/ 116 h 818"/>
                  <a:gd name="T46" fmla="*/ 30 w 290"/>
                  <a:gd name="T47" fmla="*/ 148 h 818"/>
                  <a:gd name="T48" fmla="*/ 44 w 290"/>
                  <a:gd name="T49" fmla="*/ 178 h 818"/>
                  <a:gd name="T50" fmla="*/ 58 w 290"/>
                  <a:gd name="T51" fmla="*/ 206 h 818"/>
                  <a:gd name="T52" fmla="*/ 72 w 290"/>
                  <a:gd name="T53" fmla="*/ 230 h 818"/>
                  <a:gd name="T54" fmla="*/ 84 w 290"/>
                  <a:gd name="T55" fmla="*/ 248 h 818"/>
                  <a:gd name="T56" fmla="*/ 92 w 290"/>
                  <a:gd name="T57" fmla="*/ 262 h 818"/>
                  <a:gd name="T58" fmla="*/ 98 w 290"/>
                  <a:gd name="T59" fmla="*/ 266 h 818"/>
                  <a:gd name="T60" fmla="*/ 100 w 290"/>
                  <a:gd name="T61" fmla="*/ 266 h 818"/>
                  <a:gd name="T62" fmla="*/ 100 w 290"/>
                  <a:gd name="T63" fmla="*/ 262 h 818"/>
                  <a:gd name="T64" fmla="*/ 96 w 290"/>
                  <a:gd name="T65" fmla="*/ 248 h 818"/>
                  <a:gd name="T66" fmla="*/ 86 w 290"/>
                  <a:gd name="T67" fmla="*/ 220 h 818"/>
                  <a:gd name="T68" fmla="*/ 86 w 290"/>
                  <a:gd name="T69" fmla="*/ 220 h 818"/>
                  <a:gd name="T70" fmla="*/ 106 w 290"/>
                  <a:gd name="T71" fmla="*/ 250 h 818"/>
                  <a:gd name="T72" fmla="*/ 126 w 290"/>
                  <a:gd name="T73" fmla="*/ 282 h 818"/>
                  <a:gd name="T74" fmla="*/ 148 w 290"/>
                  <a:gd name="T75" fmla="*/ 322 h 818"/>
                  <a:gd name="T76" fmla="*/ 170 w 290"/>
                  <a:gd name="T77" fmla="*/ 366 h 818"/>
                  <a:gd name="T78" fmla="*/ 190 w 290"/>
                  <a:gd name="T79" fmla="*/ 410 h 818"/>
                  <a:gd name="T80" fmla="*/ 198 w 290"/>
                  <a:gd name="T81" fmla="*/ 432 h 818"/>
                  <a:gd name="T82" fmla="*/ 204 w 290"/>
                  <a:gd name="T83" fmla="*/ 454 h 818"/>
                  <a:gd name="T84" fmla="*/ 208 w 290"/>
                  <a:gd name="T85" fmla="*/ 474 h 818"/>
                  <a:gd name="T86" fmla="*/ 210 w 290"/>
                  <a:gd name="T87" fmla="*/ 490 h 818"/>
                  <a:gd name="T88" fmla="*/ 210 w 290"/>
                  <a:gd name="T89" fmla="*/ 490 h 818"/>
                  <a:gd name="T90" fmla="*/ 214 w 290"/>
                  <a:gd name="T91" fmla="*/ 524 h 818"/>
                  <a:gd name="T92" fmla="*/ 228 w 290"/>
                  <a:gd name="T93" fmla="*/ 592 h 818"/>
                  <a:gd name="T94" fmla="*/ 254 w 290"/>
                  <a:gd name="T95" fmla="*/ 690 h 818"/>
                  <a:gd name="T96" fmla="*/ 290 w 290"/>
                  <a:gd name="T97" fmla="*/ 818 h 818"/>
                  <a:gd name="T98" fmla="*/ 290 w 290"/>
                  <a:gd name="T99" fmla="*/ 818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0" h="818">
                    <a:moveTo>
                      <a:pt x="290" y="818"/>
                    </a:moveTo>
                    <a:lnTo>
                      <a:pt x="290" y="432"/>
                    </a:lnTo>
                    <a:lnTo>
                      <a:pt x="290" y="432"/>
                    </a:lnTo>
                    <a:lnTo>
                      <a:pt x="246" y="342"/>
                    </a:lnTo>
                    <a:lnTo>
                      <a:pt x="204" y="260"/>
                    </a:lnTo>
                    <a:lnTo>
                      <a:pt x="166" y="186"/>
                    </a:lnTo>
                    <a:lnTo>
                      <a:pt x="130" y="124"/>
                    </a:lnTo>
                    <a:lnTo>
                      <a:pt x="98" y="72"/>
                    </a:lnTo>
                    <a:lnTo>
                      <a:pt x="70" y="32"/>
                    </a:lnTo>
                    <a:lnTo>
                      <a:pt x="58" y="18"/>
                    </a:lnTo>
                    <a:lnTo>
                      <a:pt x="48" y="8"/>
                    </a:lnTo>
                    <a:lnTo>
                      <a:pt x="38" y="2"/>
                    </a:lnTo>
                    <a:lnTo>
                      <a:pt x="30" y="0"/>
                    </a:lnTo>
                    <a:lnTo>
                      <a:pt x="30" y="0"/>
                    </a:lnTo>
                    <a:lnTo>
                      <a:pt x="20" y="0"/>
                    </a:lnTo>
                    <a:lnTo>
                      <a:pt x="12" y="4"/>
                    </a:lnTo>
                    <a:lnTo>
                      <a:pt x="6" y="8"/>
                    </a:lnTo>
                    <a:lnTo>
                      <a:pt x="2" y="16"/>
                    </a:lnTo>
                    <a:lnTo>
                      <a:pt x="0" y="24"/>
                    </a:lnTo>
                    <a:lnTo>
                      <a:pt x="0" y="34"/>
                    </a:lnTo>
                    <a:lnTo>
                      <a:pt x="2" y="58"/>
                    </a:lnTo>
                    <a:lnTo>
                      <a:pt x="8" y="86"/>
                    </a:lnTo>
                    <a:lnTo>
                      <a:pt x="18" y="116"/>
                    </a:lnTo>
                    <a:lnTo>
                      <a:pt x="30" y="148"/>
                    </a:lnTo>
                    <a:lnTo>
                      <a:pt x="44" y="178"/>
                    </a:lnTo>
                    <a:lnTo>
                      <a:pt x="58" y="206"/>
                    </a:lnTo>
                    <a:lnTo>
                      <a:pt x="72" y="230"/>
                    </a:lnTo>
                    <a:lnTo>
                      <a:pt x="84" y="248"/>
                    </a:lnTo>
                    <a:lnTo>
                      <a:pt x="92" y="262"/>
                    </a:lnTo>
                    <a:lnTo>
                      <a:pt x="98" y="266"/>
                    </a:lnTo>
                    <a:lnTo>
                      <a:pt x="100" y="266"/>
                    </a:lnTo>
                    <a:lnTo>
                      <a:pt x="100" y="262"/>
                    </a:lnTo>
                    <a:lnTo>
                      <a:pt x="96" y="248"/>
                    </a:lnTo>
                    <a:lnTo>
                      <a:pt x="86" y="220"/>
                    </a:lnTo>
                    <a:lnTo>
                      <a:pt x="86" y="220"/>
                    </a:lnTo>
                    <a:lnTo>
                      <a:pt x="106" y="250"/>
                    </a:lnTo>
                    <a:lnTo>
                      <a:pt x="126" y="282"/>
                    </a:lnTo>
                    <a:lnTo>
                      <a:pt x="148" y="322"/>
                    </a:lnTo>
                    <a:lnTo>
                      <a:pt x="170" y="366"/>
                    </a:lnTo>
                    <a:lnTo>
                      <a:pt x="190" y="410"/>
                    </a:lnTo>
                    <a:lnTo>
                      <a:pt x="198" y="432"/>
                    </a:lnTo>
                    <a:lnTo>
                      <a:pt x="204" y="454"/>
                    </a:lnTo>
                    <a:lnTo>
                      <a:pt x="208" y="474"/>
                    </a:lnTo>
                    <a:lnTo>
                      <a:pt x="210" y="490"/>
                    </a:lnTo>
                    <a:lnTo>
                      <a:pt x="210" y="490"/>
                    </a:lnTo>
                    <a:lnTo>
                      <a:pt x="214" y="524"/>
                    </a:lnTo>
                    <a:lnTo>
                      <a:pt x="228" y="592"/>
                    </a:lnTo>
                    <a:lnTo>
                      <a:pt x="254" y="690"/>
                    </a:lnTo>
                    <a:lnTo>
                      <a:pt x="290" y="818"/>
                    </a:lnTo>
                    <a:lnTo>
                      <a:pt x="290" y="818"/>
                    </a:lnTo>
                    <a:close/>
                  </a:path>
                </a:pathLst>
              </a:custGeom>
              <a:solidFill>
                <a:srgbClr val="FFF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8" name="Groupe 82"/>
            <p:cNvGrpSpPr/>
            <p:nvPr/>
          </p:nvGrpSpPr>
          <p:grpSpPr>
            <a:xfrm>
              <a:off x="2557182" y="3997928"/>
              <a:ext cx="1246538" cy="2592232"/>
              <a:chOff x="1388451" y="3848852"/>
              <a:chExt cx="1246538" cy="2592232"/>
            </a:xfrm>
          </p:grpSpPr>
          <p:sp>
            <p:nvSpPr>
              <p:cNvPr id="85" name="Freeform 115"/>
              <p:cNvSpPr>
                <a:spLocks/>
              </p:cNvSpPr>
              <p:nvPr/>
            </p:nvSpPr>
            <p:spPr bwMode="auto">
              <a:xfrm>
                <a:off x="1763829" y="3848852"/>
                <a:ext cx="14165" cy="59022"/>
              </a:xfrm>
              <a:custGeom>
                <a:avLst/>
                <a:gdLst>
                  <a:gd name="T0" fmla="*/ 0 w 12"/>
                  <a:gd name="T1" fmla="*/ 0 h 50"/>
                  <a:gd name="T2" fmla="*/ 8 w 12"/>
                  <a:gd name="T3" fmla="*/ 50 h 50"/>
                  <a:gd name="T4" fmla="*/ 8 w 12"/>
                  <a:gd name="T5" fmla="*/ 50 h 50"/>
                  <a:gd name="T6" fmla="*/ 12 w 12"/>
                  <a:gd name="T7" fmla="*/ 46 h 50"/>
                  <a:gd name="T8" fmla="*/ 0 w 12"/>
                  <a:gd name="T9" fmla="*/ 0 h 50"/>
                </a:gdLst>
                <a:ahLst/>
                <a:cxnLst>
                  <a:cxn ang="0">
                    <a:pos x="T0" y="T1"/>
                  </a:cxn>
                  <a:cxn ang="0">
                    <a:pos x="T2" y="T3"/>
                  </a:cxn>
                  <a:cxn ang="0">
                    <a:pos x="T4" y="T5"/>
                  </a:cxn>
                  <a:cxn ang="0">
                    <a:pos x="T6" y="T7"/>
                  </a:cxn>
                  <a:cxn ang="0">
                    <a:pos x="T8" y="T9"/>
                  </a:cxn>
                </a:cxnLst>
                <a:rect l="0" t="0" r="r" b="b"/>
                <a:pathLst>
                  <a:path w="12" h="50">
                    <a:moveTo>
                      <a:pt x="0" y="0"/>
                    </a:moveTo>
                    <a:lnTo>
                      <a:pt x="8" y="50"/>
                    </a:lnTo>
                    <a:lnTo>
                      <a:pt x="8" y="50"/>
                    </a:lnTo>
                    <a:lnTo>
                      <a:pt x="12" y="46"/>
                    </a:lnTo>
                    <a:lnTo>
                      <a:pt x="0" y="0"/>
                    </a:lnTo>
                    <a:close/>
                  </a:path>
                </a:pathLst>
              </a:custGeom>
              <a:solidFill>
                <a:srgbClr val="D37E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6" name="Freeform 116"/>
              <p:cNvSpPr>
                <a:spLocks/>
              </p:cNvSpPr>
              <p:nvPr/>
            </p:nvSpPr>
            <p:spPr bwMode="auto">
              <a:xfrm>
                <a:off x="1388451" y="3907874"/>
                <a:ext cx="1246538" cy="2533210"/>
              </a:xfrm>
              <a:custGeom>
                <a:avLst/>
                <a:gdLst>
                  <a:gd name="T0" fmla="*/ 962 w 1056"/>
                  <a:gd name="T1" fmla="*/ 36 h 2146"/>
                  <a:gd name="T2" fmla="*/ 922 w 1056"/>
                  <a:gd name="T3" fmla="*/ 36 h 2146"/>
                  <a:gd name="T4" fmla="*/ 886 w 1056"/>
                  <a:gd name="T5" fmla="*/ 54 h 2146"/>
                  <a:gd name="T6" fmla="*/ 838 w 1056"/>
                  <a:gd name="T7" fmla="*/ 96 h 2146"/>
                  <a:gd name="T8" fmla="*/ 816 w 1056"/>
                  <a:gd name="T9" fmla="*/ 126 h 2146"/>
                  <a:gd name="T10" fmla="*/ 778 w 1056"/>
                  <a:gd name="T11" fmla="*/ 142 h 2146"/>
                  <a:gd name="T12" fmla="*/ 734 w 1056"/>
                  <a:gd name="T13" fmla="*/ 186 h 2146"/>
                  <a:gd name="T14" fmla="*/ 658 w 1056"/>
                  <a:gd name="T15" fmla="*/ 308 h 2146"/>
                  <a:gd name="T16" fmla="*/ 622 w 1056"/>
                  <a:gd name="T17" fmla="*/ 380 h 2146"/>
                  <a:gd name="T18" fmla="*/ 538 w 1056"/>
                  <a:gd name="T19" fmla="*/ 554 h 2146"/>
                  <a:gd name="T20" fmla="*/ 498 w 1056"/>
                  <a:gd name="T21" fmla="*/ 672 h 2146"/>
                  <a:gd name="T22" fmla="*/ 486 w 1056"/>
                  <a:gd name="T23" fmla="*/ 714 h 2146"/>
                  <a:gd name="T24" fmla="*/ 458 w 1056"/>
                  <a:gd name="T25" fmla="*/ 788 h 2146"/>
                  <a:gd name="T26" fmla="*/ 454 w 1056"/>
                  <a:gd name="T27" fmla="*/ 768 h 2146"/>
                  <a:gd name="T28" fmla="*/ 446 w 1056"/>
                  <a:gd name="T29" fmla="*/ 710 h 2146"/>
                  <a:gd name="T30" fmla="*/ 432 w 1056"/>
                  <a:gd name="T31" fmla="*/ 646 h 2146"/>
                  <a:gd name="T32" fmla="*/ 386 w 1056"/>
                  <a:gd name="T33" fmla="*/ 394 h 2146"/>
                  <a:gd name="T34" fmla="*/ 326 w 1056"/>
                  <a:gd name="T35" fmla="*/ 0 h 2146"/>
                  <a:gd name="T36" fmla="*/ 56 w 1056"/>
                  <a:gd name="T37" fmla="*/ 590 h 2146"/>
                  <a:gd name="T38" fmla="*/ 16 w 1056"/>
                  <a:gd name="T39" fmla="*/ 668 h 2146"/>
                  <a:gd name="T40" fmla="*/ 0 w 1056"/>
                  <a:gd name="T41" fmla="*/ 724 h 2146"/>
                  <a:gd name="T42" fmla="*/ 20 w 1056"/>
                  <a:gd name="T43" fmla="*/ 834 h 2146"/>
                  <a:gd name="T44" fmla="*/ 38 w 1056"/>
                  <a:gd name="T45" fmla="*/ 898 h 2146"/>
                  <a:gd name="T46" fmla="*/ 44 w 1056"/>
                  <a:gd name="T47" fmla="*/ 954 h 2146"/>
                  <a:gd name="T48" fmla="*/ 30 w 1056"/>
                  <a:gd name="T49" fmla="*/ 1102 h 2146"/>
                  <a:gd name="T50" fmla="*/ 24 w 1056"/>
                  <a:gd name="T51" fmla="*/ 1186 h 2146"/>
                  <a:gd name="T52" fmla="*/ 28 w 1056"/>
                  <a:gd name="T53" fmla="*/ 1256 h 2146"/>
                  <a:gd name="T54" fmla="*/ 52 w 1056"/>
                  <a:gd name="T55" fmla="*/ 1402 h 2146"/>
                  <a:gd name="T56" fmla="*/ 40 w 1056"/>
                  <a:gd name="T57" fmla="*/ 1662 h 2146"/>
                  <a:gd name="T58" fmla="*/ 14 w 1056"/>
                  <a:gd name="T59" fmla="*/ 2146 h 2146"/>
                  <a:gd name="T60" fmla="*/ 858 w 1056"/>
                  <a:gd name="T61" fmla="*/ 2140 h 2146"/>
                  <a:gd name="T62" fmla="*/ 876 w 1056"/>
                  <a:gd name="T63" fmla="*/ 2106 h 2146"/>
                  <a:gd name="T64" fmla="*/ 926 w 1056"/>
                  <a:gd name="T65" fmla="*/ 1994 h 2146"/>
                  <a:gd name="T66" fmla="*/ 960 w 1056"/>
                  <a:gd name="T67" fmla="*/ 1862 h 2146"/>
                  <a:gd name="T68" fmla="*/ 964 w 1056"/>
                  <a:gd name="T69" fmla="*/ 1832 h 2146"/>
                  <a:gd name="T70" fmla="*/ 958 w 1056"/>
                  <a:gd name="T71" fmla="*/ 1746 h 2146"/>
                  <a:gd name="T72" fmla="*/ 940 w 1056"/>
                  <a:gd name="T73" fmla="*/ 1636 h 2146"/>
                  <a:gd name="T74" fmla="*/ 916 w 1056"/>
                  <a:gd name="T75" fmla="*/ 1542 h 2146"/>
                  <a:gd name="T76" fmla="*/ 890 w 1056"/>
                  <a:gd name="T77" fmla="*/ 1470 h 2146"/>
                  <a:gd name="T78" fmla="*/ 858 w 1056"/>
                  <a:gd name="T79" fmla="*/ 1428 h 2146"/>
                  <a:gd name="T80" fmla="*/ 820 w 1056"/>
                  <a:gd name="T81" fmla="*/ 1354 h 2146"/>
                  <a:gd name="T82" fmla="*/ 804 w 1056"/>
                  <a:gd name="T83" fmla="*/ 1324 h 2146"/>
                  <a:gd name="T84" fmla="*/ 774 w 1056"/>
                  <a:gd name="T85" fmla="*/ 1278 h 2146"/>
                  <a:gd name="T86" fmla="*/ 774 w 1056"/>
                  <a:gd name="T87" fmla="*/ 1248 h 2146"/>
                  <a:gd name="T88" fmla="*/ 844 w 1056"/>
                  <a:gd name="T89" fmla="*/ 926 h 2146"/>
                  <a:gd name="T90" fmla="*/ 870 w 1056"/>
                  <a:gd name="T91" fmla="*/ 842 h 2146"/>
                  <a:gd name="T92" fmla="*/ 1022 w 1056"/>
                  <a:gd name="T93" fmla="*/ 410 h 2146"/>
                  <a:gd name="T94" fmla="*/ 1036 w 1056"/>
                  <a:gd name="T95" fmla="*/ 362 h 2146"/>
                  <a:gd name="T96" fmla="*/ 1046 w 1056"/>
                  <a:gd name="T97" fmla="*/ 286 h 2146"/>
                  <a:gd name="T98" fmla="*/ 1050 w 1056"/>
                  <a:gd name="T99" fmla="*/ 240 h 2146"/>
                  <a:gd name="T100" fmla="*/ 1056 w 1056"/>
                  <a:gd name="T101" fmla="*/ 186 h 2146"/>
                  <a:gd name="T102" fmla="*/ 1050 w 1056"/>
                  <a:gd name="T103" fmla="*/ 138 h 2146"/>
                  <a:gd name="T104" fmla="*/ 1034 w 1056"/>
                  <a:gd name="T105" fmla="*/ 96 h 2146"/>
                  <a:gd name="T106" fmla="*/ 1008 w 1056"/>
                  <a:gd name="T107" fmla="*/ 64 h 2146"/>
                  <a:gd name="T108" fmla="*/ 976 w 1056"/>
                  <a:gd name="T109" fmla="*/ 42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6" h="2146">
                    <a:moveTo>
                      <a:pt x="976" y="42"/>
                    </a:moveTo>
                    <a:lnTo>
                      <a:pt x="976" y="42"/>
                    </a:lnTo>
                    <a:lnTo>
                      <a:pt x="962" y="36"/>
                    </a:lnTo>
                    <a:lnTo>
                      <a:pt x="948" y="34"/>
                    </a:lnTo>
                    <a:lnTo>
                      <a:pt x="936" y="34"/>
                    </a:lnTo>
                    <a:lnTo>
                      <a:pt x="922" y="36"/>
                    </a:lnTo>
                    <a:lnTo>
                      <a:pt x="910" y="40"/>
                    </a:lnTo>
                    <a:lnTo>
                      <a:pt x="898" y="46"/>
                    </a:lnTo>
                    <a:lnTo>
                      <a:pt x="886" y="54"/>
                    </a:lnTo>
                    <a:lnTo>
                      <a:pt x="874" y="62"/>
                    </a:lnTo>
                    <a:lnTo>
                      <a:pt x="854" y="78"/>
                    </a:lnTo>
                    <a:lnTo>
                      <a:pt x="838" y="96"/>
                    </a:lnTo>
                    <a:lnTo>
                      <a:pt x="824" y="114"/>
                    </a:lnTo>
                    <a:lnTo>
                      <a:pt x="816" y="126"/>
                    </a:lnTo>
                    <a:lnTo>
                      <a:pt x="816" y="126"/>
                    </a:lnTo>
                    <a:lnTo>
                      <a:pt x="798" y="132"/>
                    </a:lnTo>
                    <a:lnTo>
                      <a:pt x="778" y="142"/>
                    </a:lnTo>
                    <a:lnTo>
                      <a:pt x="778" y="142"/>
                    </a:lnTo>
                    <a:lnTo>
                      <a:pt x="768" y="150"/>
                    </a:lnTo>
                    <a:lnTo>
                      <a:pt x="756" y="160"/>
                    </a:lnTo>
                    <a:lnTo>
                      <a:pt x="734" y="186"/>
                    </a:lnTo>
                    <a:lnTo>
                      <a:pt x="712" y="214"/>
                    </a:lnTo>
                    <a:lnTo>
                      <a:pt x="694" y="246"/>
                    </a:lnTo>
                    <a:lnTo>
                      <a:pt x="658" y="308"/>
                    </a:lnTo>
                    <a:lnTo>
                      <a:pt x="634" y="358"/>
                    </a:lnTo>
                    <a:lnTo>
                      <a:pt x="622" y="380"/>
                    </a:lnTo>
                    <a:lnTo>
                      <a:pt x="622" y="380"/>
                    </a:lnTo>
                    <a:lnTo>
                      <a:pt x="596" y="428"/>
                    </a:lnTo>
                    <a:lnTo>
                      <a:pt x="568" y="488"/>
                    </a:lnTo>
                    <a:lnTo>
                      <a:pt x="538" y="554"/>
                    </a:lnTo>
                    <a:lnTo>
                      <a:pt x="514" y="618"/>
                    </a:lnTo>
                    <a:lnTo>
                      <a:pt x="514" y="618"/>
                    </a:lnTo>
                    <a:lnTo>
                      <a:pt x="498" y="672"/>
                    </a:lnTo>
                    <a:lnTo>
                      <a:pt x="490" y="702"/>
                    </a:lnTo>
                    <a:lnTo>
                      <a:pt x="490" y="702"/>
                    </a:lnTo>
                    <a:lnTo>
                      <a:pt x="486" y="714"/>
                    </a:lnTo>
                    <a:lnTo>
                      <a:pt x="482" y="726"/>
                    </a:lnTo>
                    <a:lnTo>
                      <a:pt x="482" y="726"/>
                    </a:lnTo>
                    <a:lnTo>
                      <a:pt x="458" y="788"/>
                    </a:lnTo>
                    <a:lnTo>
                      <a:pt x="458" y="788"/>
                    </a:lnTo>
                    <a:lnTo>
                      <a:pt x="456" y="778"/>
                    </a:lnTo>
                    <a:lnTo>
                      <a:pt x="454" y="768"/>
                    </a:lnTo>
                    <a:lnTo>
                      <a:pt x="452" y="748"/>
                    </a:lnTo>
                    <a:lnTo>
                      <a:pt x="450" y="728"/>
                    </a:lnTo>
                    <a:lnTo>
                      <a:pt x="446" y="710"/>
                    </a:lnTo>
                    <a:lnTo>
                      <a:pt x="446" y="710"/>
                    </a:lnTo>
                    <a:lnTo>
                      <a:pt x="440" y="684"/>
                    </a:lnTo>
                    <a:lnTo>
                      <a:pt x="432" y="646"/>
                    </a:lnTo>
                    <a:lnTo>
                      <a:pt x="414" y="546"/>
                    </a:lnTo>
                    <a:lnTo>
                      <a:pt x="398" y="450"/>
                    </a:lnTo>
                    <a:lnTo>
                      <a:pt x="386" y="394"/>
                    </a:lnTo>
                    <a:lnTo>
                      <a:pt x="332" y="34"/>
                    </a:lnTo>
                    <a:lnTo>
                      <a:pt x="326" y="0"/>
                    </a:lnTo>
                    <a:lnTo>
                      <a:pt x="326" y="0"/>
                    </a:lnTo>
                    <a:lnTo>
                      <a:pt x="186" y="308"/>
                    </a:lnTo>
                    <a:lnTo>
                      <a:pt x="100" y="496"/>
                    </a:lnTo>
                    <a:lnTo>
                      <a:pt x="56" y="590"/>
                    </a:lnTo>
                    <a:lnTo>
                      <a:pt x="56" y="590"/>
                    </a:lnTo>
                    <a:lnTo>
                      <a:pt x="34" y="634"/>
                    </a:lnTo>
                    <a:lnTo>
                      <a:pt x="16" y="668"/>
                    </a:lnTo>
                    <a:lnTo>
                      <a:pt x="6" y="698"/>
                    </a:lnTo>
                    <a:lnTo>
                      <a:pt x="0" y="724"/>
                    </a:lnTo>
                    <a:lnTo>
                      <a:pt x="0" y="724"/>
                    </a:lnTo>
                    <a:lnTo>
                      <a:pt x="2" y="740"/>
                    </a:lnTo>
                    <a:lnTo>
                      <a:pt x="8" y="780"/>
                    </a:lnTo>
                    <a:lnTo>
                      <a:pt x="20" y="834"/>
                    </a:lnTo>
                    <a:lnTo>
                      <a:pt x="28" y="866"/>
                    </a:lnTo>
                    <a:lnTo>
                      <a:pt x="38" y="898"/>
                    </a:lnTo>
                    <a:lnTo>
                      <a:pt x="38" y="898"/>
                    </a:lnTo>
                    <a:lnTo>
                      <a:pt x="40" y="908"/>
                    </a:lnTo>
                    <a:lnTo>
                      <a:pt x="42" y="922"/>
                    </a:lnTo>
                    <a:lnTo>
                      <a:pt x="44" y="954"/>
                    </a:lnTo>
                    <a:lnTo>
                      <a:pt x="42" y="990"/>
                    </a:lnTo>
                    <a:lnTo>
                      <a:pt x="38" y="1030"/>
                    </a:lnTo>
                    <a:lnTo>
                      <a:pt x="30" y="1102"/>
                    </a:lnTo>
                    <a:lnTo>
                      <a:pt x="24" y="1150"/>
                    </a:lnTo>
                    <a:lnTo>
                      <a:pt x="24" y="1150"/>
                    </a:lnTo>
                    <a:lnTo>
                      <a:pt x="24" y="1186"/>
                    </a:lnTo>
                    <a:lnTo>
                      <a:pt x="24" y="1214"/>
                    </a:lnTo>
                    <a:lnTo>
                      <a:pt x="24" y="1214"/>
                    </a:lnTo>
                    <a:lnTo>
                      <a:pt x="28" y="1256"/>
                    </a:lnTo>
                    <a:lnTo>
                      <a:pt x="36" y="1314"/>
                    </a:lnTo>
                    <a:lnTo>
                      <a:pt x="52" y="1402"/>
                    </a:lnTo>
                    <a:lnTo>
                      <a:pt x="52" y="1402"/>
                    </a:lnTo>
                    <a:lnTo>
                      <a:pt x="46" y="1518"/>
                    </a:lnTo>
                    <a:lnTo>
                      <a:pt x="40" y="1662"/>
                    </a:lnTo>
                    <a:lnTo>
                      <a:pt x="40" y="1662"/>
                    </a:lnTo>
                    <a:lnTo>
                      <a:pt x="40" y="1792"/>
                    </a:lnTo>
                    <a:lnTo>
                      <a:pt x="42" y="1874"/>
                    </a:lnTo>
                    <a:lnTo>
                      <a:pt x="14" y="2146"/>
                    </a:lnTo>
                    <a:lnTo>
                      <a:pt x="856" y="2146"/>
                    </a:lnTo>
                    <a:lnTo>
                      <a:pt x="856" y="2146"/>
                    </a:lnTo>
                    <a:lnTo>
                      <a:pt x="858" y="2140"/>
                    </a:lnTo>
                    <a:lnTo>
                      <a:pt x="862" y="2134"/>
                    </a:lnTo>
                    <a:lnTo>
                      <a:pt x="862" y="2134"/>
                    </a:lnTo>
                    <a:lnTo>
                      <a:pt x="876" y="2106"/>
                    </a:lnTo>
                    <a:lnTo>
                      <a:pt x="906" y="2044"/>
                    </a:lnTo>
                    <a:lnTo>
                      <a:pt x="906" y="2044"/>
                    </a:lnTo>
                    <a:lnTo>
                      <a:pt x="926" y="1994"/>
                    </a:lnTo>
                    <a:lnTo>
                      <a:pt x="940" y="1950"/>
                    </a:lnTo>
                    <a:lnTo>
                      <a:pt x="952" y="1906"/>
                    </a:lnTo>
                    <a:lnTo>
                      <a:pt x="960" y="1862"/>
                    </a:lnTo>
                    <a:lnTo>
                      <a:pt x="962" y="1856"/>
                    </a:lnTo>
                    <a:lnTo>
                      <a:pt x="962" y="1856"/>
                    </a:lnTo>
                    <a:lnTo>
                      <a:pt x="964" y="1832"/>
                    </a:lnTo>
                    <a:lnTo>
                      <a:pt x="962" y="1804"/>
                    </a:lnTo>
                    <a:lnTo>
                      <a:pt x="960" y="1776"/>
                    </a:lnTo>
                    <a:lnTo>
                      <a:pt x="958" y="1746"/>
                    </a:lnTo>
                    <a:lnTo>
                      <a:pt x="948" y="1688"/>
                    </a:lnTo>
                    <a:lnTo>
                      <a:pt x="940" y="1636"/>
                    </a:lnTo>
                    <a:lnTo>
                      <a:pt x="940" y="1636"/>
                    </a:lnTo>
                    <a:lnTo>
                      <a:pt x="936" y="1614"/>
                    </a:lnTo>
                    <a:lnTo>
                      <a:pt x="930" y="1592"/>
                    </a:lnTo>
                    <a:lnTo>
                      <a:pt x="916" y="1542"/>
                    </a:lnTo>
                    <a:lnTo>
                      <a:pt x="896" y="1482"/>
                    </a:lnTo>
                    <a:lnTo>
                      <a:pt x="894" y="1476"/>
                    </a:lnTo>
                    <a:lnTo>
                      <a:pt x="890" y="1470"/>
                    </a:lnTo>
                    <a:lnTo>
                      <a:pt x="890" y="1470"/>
                    </a:lnTo>
                    <a:lnTo>
                      <a:pt x="874" y="1450"/>
                    </a:lnTo>
                    <a:lnTo>
                      <a:pt x="858" y="1428"/>
                    </a:lnTo>
                    <a:lnTo>
                      <a:pt x="846" y="1406"/>
                    </a:lnTo>
                    <a:lnTo>
                      <a:pt x="836" y="1386"/>
                    </a:lnTo>
                    <a:lnTo>
                      <a:pt x="820" y="1354"/>
                    </a:lnTo>
                    <a:lnTo>
                      <a:pt x="812" y="1336"/>
                    </a:lnTo>
                    <a:lnTo>
                      <a:pt x="812" y="1336"/>
                    </a:lnTo>
                    <a:lnTo>
                      <a:pt x="804" y="1324"/>
                    </a:lnTo>
                    <a:lnTo>
                      <a:pt x="792" y="1306"/>
                    </a:lnTo>
                    <a:lnTo>
                      <a:pt x="780" y="1288"/>
                    </a:lnTo>
                    <a:lnTo>
                      <a:pt x="774" y="1278"/>
                    </a:lnTo>
                    <a:lnTo>
                      <a:pt x="772" y="1270"/>
                    </a:lnTo>
                    <a:lnTo>
                      <a:pt x="772" y="1270"/>
                    </a:lnTo>
                    <a:lnTo>
                      <a:pt x="774" y="1248"/>
                    </a:lnTo>
                    <a:lnTo>
                      <a:pt x="782" y="1202"/>
                    </a:lnTo>
                    <a:lnTo>
                      <a:pt x="812" y="1068"/>
                    </a:lnTo>
                    <a:lnTo>
                      <a:pt x="844" y="926"/>
                    </a:lnTo>
                    <a:lnTo>
                      <a:pt x="858" y="874"/>
                    </a:lnTo>
                    <a:lnTo>
                      <a:pt x="870" y="842"/>
                    </a:lnTo>
                    <a:lnTo>
                      <a:pt x="870" y="842"/>
                    </a:lnTo>
                    <a:lnTo>
                      <a:pt x="902" y="756"/>
                    </a:lnTo>
                    <a:lnTo>
                      <a:pt x="952" y="610"/>
                    </a:lnTo>
                    <a:lnTo>
                      <a:pt x="1022" y="410"/>
                    </a:lnTo>
                    <a:lnTo>
                      <a:pt x="1022" y="410"/>
                    </a:lnTo>
                    <a:lnTo>
                      <a:pt x="1028" y="398"/>
                    </a:lnTo>
                    <a:lnTo>
                      <a:pt x="1036" y="362"/>
                    </a:lnTo>
                    <a:lnTo>
                      <a:pt x="1040" y="338"/>
                    </a:lnTo>
                    <a:lnTo>
                      <a:pt x="1044" y="314"/>
                    </a:lnTo>
                    <a:lnTo>
                      <a:pt x="1046" y="286"/>
                    </a:lnTo>
                    <a:lnTo>
                      <a:pt x="1044" y="258"/>
                    </a:lnTo>
                    <a:lnTo>
                      <a:pt x="1044" y="258"/>
                    </a:lnTo>
                    <a:lnTo>
                      <a:pt x="1050" y="240"/>
                    </a:lnTo>
                    <a:lnTo>
                      <a:pt x="1054" y="220"/>
                    </a:lnTo>
                    <a:lnTo>
                      <a:pt x="1056" y="202"/>
                    </a:lnTo>
                    <a:lnTo>
                      <a:pt x="1056" y="186"/>
                    </a:lnTo>
                    <a:lnTo>
                      <a:pt x="1056" y="168"/>
                    </a:lnTo>
                    <a:lnTo>
                      <a:pt x="1054" y="152"/>
                    </a:lnTo>
                    <a:lnTo>
                      <a:pt x="1050" y="138"/>
                    </a:lnTo>
                    <a:lnTo>
                      <a:pt x="1046" y="122"/>
                    </a:lnTo>
                    <a:lnTo>
                      <a:pt x="1040" y="110"/>
                    </a:lnTo>
                    <a:lnTo>
                      <a:pt x="1034" y="96"/>
                    </a:lnTo>
                    <a:lnTo>
                      <a:pt x="1026" y="84"/>
                    </a:lnTo>
                    <a:lnTo>
                      <a:pt x="1018" y="74"/>
                    </a:lnTo>
                    <a:lnTo>
                      <a:pt x="1008" y="64"/>
                    </a:lnTo>
                    <a:lnTo>
                      <a:pt x="998" y="56"/>
                    </a:lnTo>
                    <a:lnTo>
                      <a:pt x="988" y="48"/>
                    </a:lnTo>
                    <a:lnTo>
                      <a:pt x="976" y="42"/>
                    </a:lnTo>
                    <a:lnTo>
                      <a:pt x="976" y="42"/>
                    </a:lnTo>
                    <a:close/>
                  </a:path>
                </a:pathLst>
              </a:custGeom>
              <a:solidFill>
                <a:srgbClr val="D37E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7" name="Freeform 117"/>
              <p:cNvSpPr>
                <a:spLocks/>
              </p:cNvSpPr>
              <p:nvPr/>
            </p:nvSpPr>
            <p:spPr bwMode="auto">
              <a:xfrm>
                <a:off x="1438029" y="3948009"/>
                <a:ext cx="1163907" cy="2493075"/>
              </a:xfrm>
              <a:custGeom>
                <a:avLst/>
                <a:gdLst>
                  <a:gd name="T0" fmla="*/ 36 w 986"/>
                  <a:gd name="T1" fmla="*/ 1244 h 2112"/>
                  <a:gd name="T2" fmla="*/ 60 w 986"/>
                  <a:gd name="T3" fmla="*/ 1384 h 2112"/>
                  <a:gd name="T4" fmla="*/ 48 w 986"/>
                  <a:gd name="T5" fmla="*/ 1646 h 2112"/>
                  <a:gd name="T6" fmla="*/ 24 w 986"/>
                  <a:gd name="T7" fmla="*/ 2112 h 2112"/>
                  <a:gd name="T8" fmla="*/ 794 w 986"/>
                  <a:gd name="T9" fmla="*/ 2094 h 2112"/>
                  <a:gd name="T10" fmla="*/ 840 w 986"/>
                  <a:gd name="T11" fmla="*/ 2000 h 2112"/>
                  <a:gd name="T12" fmla="*/ 856 w 986"/>
                  <a:gd name="T13" fmla="*/ 1950 h 2112"/>
                  <a:gd name="T14" fmla="*/ 866 w 986"/>
                  <a:gd name="T15" fmla="*/ 1860 h 2112"/>
                  <a:gd name="T16" fmla="*/ 872 w 986"/>
                  <a:gd name="T17" fmla="*/ 1794 h 2112"/>
                  <a:gd name="T18" fmla="*/ 858 w 986"/>
                  <a:gd name="T19" fmla="*/ 1714 h 2112"/>
                  <a:gd name="T20" fmla="*/ 830 w 986"/>
                  <a:gd name="T21" fmla="*/ 1612 h 2112"/>
                  <a:gd name="T22" fmla="*/ 814 w 986"/>
                  <a:gd name="T23" fmla="*/ 1526 h 2112"/>
                  <a:gd name="T24" fmla="*/ 772 w 986"/>
                  <a:gd name="T25" fmla="*/ 1408 h 2112"/>
                  <a:gd name="T26" fmla="*/ 722 w 986"/>
                  <a:gd name="T27" fmla="*/ 1338 h 2112"/>
                  <a:gd name="T28" fmla="*/ 708 w 986"/>
                  <a:gd name="T29" fmla="*/ 1310 h 2112"/>
                  <a:gd name="T30" fmla="*/ 704 w 986"/>
                  <a:gd name="T31" fmla="*/ 1238 h 2112"/>
                  <a:gd name="T32" fmla="*/ 706 w 986"/>
                  <a:gd name="T33" fmla="*/ 1184 h 2112"/>
                  <a:gd name="T34" fmla="*/ 744 w 986"/>
                  <a:gd name="T35" fmla="*/ 998 h 2112"/>
                  <a:gd name="T36" fmla="*/ 806 w 986"/>
                  <a:gd name="T37" fmla="*/ 788 h 2112"/>
                  <a:gd name="T38" fmla="*/ 832 w 986"/>
                  <a:gd name="T39" fmla="*/ 716 h 2112"/>
                  <a:gd name="T40" fmla="*/ 882 w 986"/>
                  <a:gd name="T41" fmla="*/ 574 h 2112"/>
                  <a:gd name="T42" fmla="*/ 948 w 986"/>
                  <a:gd name="T43" fmla="*/ 406 h 2112"/>
                  <a:gd name="T44" fmla="*/ 978 w 986"/>
                  <a:gd name="T45" fmla="*/ 340 h 2112"/>
                  <a:gd name="T46" fmla="*/ 986 w 986"/>
                  <a:gd name="T47" fmla="*/ 278 h 2112"/>
                  <a:gd name="T48" fmla="*/ 980 w 986"/>
                  <a:gd name="T49" fmla="*/ 238 h 2112"/>
                  <a:gd name="T50" fmla="*/ 958 w 986"/>
                  <a:gd name="T51" fmla="*/ 186 h 2112"/>
                  <a:gd name="T52" fmla="*/ 932 w 986"/>
                  <a:gd name="T53" fmla="*/ 148 h 2112"/>
                  <a:gd name="T54" fmla="*/ 912 w 986"/>
                  <a:gd name="T55" fmla="*/ 132 h 2112"/>
                  <a:gd name="T56" fmla="*/ 866 w 986"/>
                  <a:gd name="T57" fmla="*/ 114 h 2112"/>
                  <a:gd name="T58" fmla="*/ 798 w 986"/>
                  <a:gd name="T59" fmla="*/ 110 h 2112"/>
                  <a:gd name="T60" fmla="*/ 762 w 986"/>
                  <a:gd name="T61" fmla="*/ 122 h 2112"/>
                  <a:gd name="T62" fmla="*/ 738 w 986"/>
                  <a:gd name="T63" fmla="*/ 138 h 2112"/>
                  <a:gd name="T64" fmla="*/ 704 w 986"/>
                  <a:gd name="T65" fmla="*/ 174 h 2112"/>
                  <a:gd name="T66" fmla="*/ 628 w 986"/>
                  <a:gd name="T67" fmla="*/ 306 h 2112"/>
                  <a:gd name="T68" fmla="*/ 576 w 986"/>
                  <a:gd name="T69" fmla="*/ 404 h 2112"/>
                  <a:gd name="T70" fmla="*/ 496 w 986"/>
                  <a:gd name="T71" fmla="*/ 592 h 2112"/>
                  <a:gd name="T72" fmla="*/ 474 w 986"/>
                  <a:gd name="T73" fmla="*/ 666 h 2112"/>
                  <a:gd name="T74" fmla="*/ 464 w 986"/>
                  <a:gd name="T75" fmla="*/ 700 h 2112"/>
                  <a:gd name="T76" fmla="*/ 390 w 986"/>
                  <a:gd name="T77" fmla="*/ 858 h 2112"/>
                  <a:gd name="T78" fmla="*/ 358 w 986"/>
                  <a:gd name="T79" fmla="*/ 668 h 2112"/>
                  <a:gd name="T80" fmla="*/ 344 w 986"/>
                  <a:gd name="T81" fmla="*/ 616 h 2112"/>
                  <a:gd name="T82" fmla="*/ 282 w 986"/>
                  <a:gd name="T83" fmla="*/ 346 h 2112"/>
                  <a:gd name="T84" fmla="*/ 276 w 986"/>
                  <a:gd name="T85" fmla="*/ 20 h 2112"/>
                  <a:gd name="T86" fmla="*/ 246 w 986"/>
                  <a:gd name="T87" fmla="*/ 78 h 2112"/>
                  <a:gd name="T88" fmla="*/ 152 w 986"/>
                  <a:gd name="T89" fmla="*/ 312 h 2112"/>
                  <a:gd name="T90" fmla="*/ 60 w 986"/>
                  <a:gd name="T91" fmla="*/ 542 h 2112"/>
                  <a:gd name="T92" fmla="*/ 22 w 986"/>
                  <a:gd name="T93" fmla="*/ 618 h 2112"/>
                  <a:gd name="T94" fmla="*/ 6 w 986"/>
                  <a:gd name="T95" fmla="*/ 668 h 2112"/>
                  <a:gd name="T96" fmla="*/ 2 w 986"/>
                  <a:gd name="T97" fmla="*/ 756 h 2112"/>
                  <a:gd name="T98" fmla="*/ 16 w 986"/>
                  <a:gd name="T99" fmla="*/ 828 h 2112"/>
                  <a:gd name="T100" fmla="*/ 24 w 986"/>
                  <a:gd name="T101" fmla="*/ 862 h 2112"/>
                  <a:gd name="T102" fmla="*/ 32 w 986"/>
                  <a:gd name="T103" fmla="*/ 1024 h 2112"/>
                  <a:gd name="T104" fmla="*/ 30 w 986"/>
                  <a:gd name="T105" fmla="*/ 1198 h 2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6" h="2112">
                    <a:moveTo>
                      <a:pt x="30" y="1198"/>
                    </a:moveTo>
                    <a:lnTo>
                      <a:pt x="30" y="1198"/>
                    </a:lnTo>
                    <a:lnTo>
                      <a:pt x="36" y="1244"/>
                    </a:lnTo>
                    <a:lnTo>
                      <a:pt x="46" y="1306"/>
                    </a:lnTo>
                    <a:lnTo>
                      <a:pt x="60" y="1384"/>
                    </a:lnTo>
                    <a:lnTo>
                      <a:pt x="60" y="1384"/>
                    </a:lnTo>
                    <a:lnTo>
                      <a:pt x="54" y="1490"/>
                    </a:lnTo>
                    <a:lnTo>
                      <a:pt x="48" y="1646"/>
                    </a:lnTo>
                    <a:lnTo>
                      <a:pt x="48" y="1646"/>
                    </a:lnTo>
                    <a:lnTo>
                      <a:pt x="48" y="1778"/>
                    </a:lnTo>
                    <a:lnTo>
                      <a:pt x="48" y="1860"/>
                    </a:lnTo>
                    <a:lnTo>
                      <a:pt x="24" y="2112"/>
                    </a:lnTo>
                    <a:lnTo>
                      <a:pt x="786" y="2112"/>
                    </a:lnTo>
                    <a:lnTo>
                      <a:pt x="786" y="2112"/>
                    </a:lnTo>
                    <a:lnTo>
                      <a:pt x="794" y="2094"/>
                    </a:lnTo>
                    <a:lnTo>
                      <a:pt x="794" y="2094"/>
                    </a:lnTo>
                    <a:lnTo>
                      <a:pt x="810" y="2066"/>
                    </a:lnTo>
                    <a:lnTo>
                      <a:pt x="840" y="2000"/>
                    </a:lnTo>
                    <a:lnTo>
                      <a:pt x="840" y="2000"/>
                    </a:lnTo>
                    <a:lnTo>
                      <a:pt x="850" y="1974"/>
                    </a:lnTo>
                    <a:lnTo>
                      <a:pt x="856" y="1950"/>
                    </a:lnTo>
                    <a:lnTo>
                      <a:pt x="862" y="1928"/>
                    </a:lnTo>
                    <a:lnTo>
                      <a:pt x="864" y="1904"/>
                    </a:lnTo>
                    <a:lnTo>
                      <a:pt x="866" y="1860"/>
                    </a:lnTo>
                    <a:lnTo>
                      <a:pt x="872" y="1818"/>
                    </a:lnTo>
                    <a:lnTo>
                      <a:pt x="872" y="1818"/>
                    </a:lnTo>
                    <a:lnTo>
                      <a:pt x="872" y="1794"/>
                    </a:lnTo>
                    <a:lnTo>
                      <a:pt x="870" y="1770"/>
                    </a:lnTo>
                    <a:lnTo>
                      <a:pt x="864" y="1742"/>
                    </a:lnTo>
                    <a:lnTo>
                      <a:pt x="858" y="1714"/>
                    </a:lnTo>
                    <a:lnTo>
                      <a:pt x="842" y="1660"/>
                    </a:lnTo>
                    <a:lnTo>
                      <a:pt x="834" y="1634"/>
                    </a:lnTo>
                    <a:lnTo>
                      <a:pt x="830" y="1612"/>
                    </a:lnTo>
                    <a:lnTo>
                      <a:pt x="830" y="1612"/>
                    </a:lnTo>
                    <a:lnTo>
                      <a:pt x="824" y="1570"/>
                    </a:lnTo>
                    <a:lnTo>
                      <a:pt x="814" y="1526"/>
                    </a:lnTo>
                    <a:lnTo>
                      <a:pt x="802" y="1474"/>
                    </a:lnTo>
                    <a:lnTo>
                      <a:pt x="802" y="1474"/>
                    </a:lnTo>
                    <a:lnTo>
                      <a:pt x="772" y="1408"/>
                    </a:lnTo>
                    <a:lnTo>
                      <a:pt x="772" y="1408"/>
                    </a:lnTo>
                    <a:lnTo>
                      <a:pt x="742" y="1368"/>
                    </a:lnTo>
                    <a:lnTo>
                      <a:pt x="722" y="1338"/>
                    </a:lnTo>
                    <a:lnTo>
                      <a:pt x="710" y="1318"/>
                    </a:lnTo>
                    <a:lnTo>
                      <a:pt x="710" y="1318"/>
                    </a:lnTo>
                    <a:lnTo>
                      <a:pt x="708" y="1310"/>
                    </a:lnTo>
                    <a:lnTo>
                      <a:pt x="706" y="1298"/>
                    </a:lnTo>
                    <a:lnTo>
                      <a:pt x="704" y="1270"/>
                    </a:lnTo>
                    <a:lnTo>
                      <a:pt x="704" y="1238"/>
                    </a:lnTo>
                    <a:lnTo>
                      <a:pt x="704" y="1216"/>
                    </a:lnTo>
                    <a:lnTo>
                      <a:pt x="704" y="1216"/>
                    </a:lnTo>
                    <a:lnTo>
                      <a:pt x="706" y="1184"/>
                    </a:lnTo>
                    <a:lnTo>
                      <a:pt x="712" y="1150"/>
                    </a:lnTo>
                    <a:lnTo>
                      <a:pt x="726" y="1076"/>
                    </a:lnTo>
                    <a:lnTo>
                      <a:pt x="744" y="998"/>
                    </a:lnTo>
                    <a:lnTo>
                      <a:pt x="764" y="920"/>
                    </a:lnTo>
                    <a:lnTo>
                      <a:pt x="786" y="848"/>
                    </a:lnTo>
                    <a:lnTo>
                      <a:pt x="806" y="788"/>
                    </a:lnTo>
                    <a:lnTo>
                      <a:pt x="822" y="742"/>
                    </a:lnTo>
                    <a:lnTo>
                      <a:pt x="832" y="716"/>
                    </a:lnTo>
                    <a:lnTo>
                      <a:pt x="832" y="716"/>
                    </a:lnTo>
                    <a:lnTo>
                      <a:pt x="842" y="696"/>
                    </a:lnTo>
                    <a:lnTo>
                      <a:pt x="852" y="664"/>
                    </a:lnTo>
                    <a:lnTo>
                      <a:pt x="882" y="574"/>
                    </a:lnTo>
                    <a:lnTo>
                      <a:pt x="902" y="520"/>
                    </a:lnTo>
                    <a:lnTo>
                      <a:pt x="924" y="462"/>
                    </a:lnTo>
                    <a:lnTo>
                      <a:pt x="948" y="406"/>
                    </a:lnTo>
                    <a:lnTo>
                      <a:pt x="974" y="350"/>
                    </a:lnTo>
                    <a:lnTo>
                      <a:pt x="974" y="350"/>
                    </a:lnTo>
                    <a:lnTo>
                      <a:pt x="978" y="340"/>
                    </a:lnTo>
                    <a:lnTo>
                      <a:pt x="982" y="314"/>
                    </a:lnTo>
                    <a:lnTo>
                      <a:pt x="986" y="296"/>
                    </a:lnTo>
                    <a:lnTo>
                      <a:pt x="986" y="278"/>
                    </a:lnTo>
                    <a:lnTo>
                      <a:pt x="984" y="258"/>
                    </a:lnTo>
                    <a:lnTo>
                      <a:pt x="980" y="238"/>
                    </a:lnTo>
                    <a:lnTo>
                      <a:pt x="980" y="238"/>
                    </a:lnTo>
                    <a:lnTo>
                      <a:pt x="974" y="218"/>
                    </a:lnTo>
                    <a:lnTo>
                      <a:pt x="966" y="200"/>
                    </a:lnTo>
                    <a:lnTo>
                      <a:pt x="958" y="186"/>
                    </a:lnTo>
                    <a:lnTo>
                      <a:pt x="950" y="170"/>
                    </a:lnTo>
                    <a:lnTo>
                      <a:pt x="940" y="158"/>
                    </a:lnTo>
                    <a:lnTo>
                      <a:pt x="932" y="148"/>
                    </a:lnTo>
                    <a:lnTo>
                      <a:pt x="922" y="140"/>
                    </a:lnTo>
                    <a:lnTo>
                      <a:pt x="912" y="132"/>
                    </a:lnTo>
                    <a:lnTo>
                      <a:pt x="912" y="132"/>
                    </a:lnTo>
                    <a:lnTo>
                      <a:pt x="900" y="126"/>
                    </a:lnTo>
                    <a:lnTo>
                      <a:pt x="886" y="120"/>
                    </a:lnTo>
                    <a:lnTo>
                      <a:pt x="866" y="114"/>
                    </a:lnTo>
                    <a:lnTo>
                      <a:pt x="846" y="110"/>
                    </a:lnTo>
                    <a:lnTo>
                      <a:pt x="822" y="108"/>
                    </a:lnTo>
                    <a:lnTo>
                      <a:pt x="798" y="110"/>
                    </a:lnTo>
                    <a:lnTo>
                      <a:pt x="786" y="112"/>
                    </a:lnTo>
                    <a:lnTo>
                      <a:pt x="774" y="116"/>
                    </a:lnTo>
                    <a:lnTo>
                      <a:pt x="762" y="122"/>
                    </a:lnTo>
                    <a:lnTo>
                      <a:pt x="750" y="128"/>
                    </a:lnTo>
                    <a:lnTo>
                      <a:pt x="750" y="128"/>
                    </a:lnTo>
                    <a:lnTo>
                      <a:pt x="738" y="138"/>
                    </a:lnTo>
                    <a:lnTo>
                      <a:pt x="726" y="148"/>
                    </a:lnTo>
                    <a:lnTo>
                      <a:pt x="714" y="160"/>
                    </a:lnTo>
                    <a:lnTo>
                      <a:pt x="704" y="174"/>
                    </a:lnTo>
                    <a:lnTo>
                      <a:pt x="682" y="206"/>
                    </a:lnTo>
                    <a:lnTo>
                      <a:pt x="662" y="238"/>
                    </a:lnTo>
                    <a:lnTo>
                      <a:pt x="628" y="306"/>
                    </a:lnTo>
                    <a:lnTo>
                      <a:pt x="602" y="358"/>
                    </a:lnTo>
                    <a:lnTo>
                      <a:pt x="602" y="358"/>
                    </a:lnTo>
                    <a:lnTo>
                      <a:pt x="576" y="404"/>
                    </a:lnTo>
                    <a:lnTo>
                      <a:pt x="548" y="464"/>
                    </a:lnTo>
                    <a:lnTo>
                      <a:pt x="520" y="528"/>
                    </a:lnTo>
                    <a:lnTo>
                      <a:pt x="496" y="592"/>
                    </a:lnTo>
                    <a:lnTo>
                      <a:pt x="496" y="592"/>
                    </a:lnTo>
                    <a:lnTo>
                      <a:pt x="482" y="638"/>
                    </a:lnTo>
                    <a:lnTo>
                      <a:pt x="474" y="666"/>
                    </a:lnTo>
                    <a:lnTo>
                      <a:pt x="470" y="684"/>
                    </a:lnTo>
                    <a:lnTo>
                      <a:pt x="464" y="700"/>
                    </a:lnTo>
                    <a:lnTo>
                      <a:pt x="464" y="700"/>
                    </a:lnTo>
                    <a:lnTo>
                      <a:pt x="424" y="788"/>
                    </a:lnTo>
                    <a:lnTo>
                      <a:pt x="390" y="858"/>
                    </a:lnTo>
                    <a:lnTo>
                      <a:pt x="390" y="858"/>
                    </a:lnTo>
                    <a:lnTo>
                      <a:pt x="378" y="770"/>
                    </a:lnTo>
                    <a:lnTo>
                      <a:pt x="364" y="698"/>
                    </a:lnTo>
                    <a:lnTo>
                      <a:pt x="358" y="668"/>
                    </a:lnTo>
                    <a:lnTo>
                      <a:pt x="352" y="644"/>
                    </a:lnTo>
                    <a:lnTo>
                      <a:pt x="352" y="644"/>
                    </a:lnTo>
                    <a:lnTo>
                      <a:pt x="344" y="616"/>
                    </a:lnTo>
                    <a:lnTo>
                      <a:pt x="334" y="576"/>
                    </a:lnTo>
                    <a:lnTo>
                      <a:pt x="310" y="476"/>
                    </a:lnTo>
                    <a:lnTo>
                      <a:pt x="282" y="346"/>
                    </a:lnTo>
                    <a:lnTo>
                      <a:pt x="290" y="0"/>
                    </a:lnTo>
                    <a:lnTo>
                      <a:pt x="290" y="0"/>
                    </a:lnTo>
                    <a:lnTo>
                      <a:pt x="276" y="20"/>
                    </a:lnTo>
                    <a:lnTo>
                      <a:pt x="262" y="44"/>
                    </a:lnTo>
                    <a:lnTo>
                      <a:pt x="246" y="78"/>
                    </a:lnTo>
                    <a:lnTo>
                      <a:pt x="246" y="78"/>
                    </a:lnTo>
                    <a:lnTo>
                      <a:pt x="232" y="110"/>
                    </a:lnTo>
                    <a:lnTo>
                      <a:pt x="210" y="166"/>
                    </a:lnTo>
                    <a:lnTo>
                      <a:pt x="152" y="312"/>
                    </a:lnTo>
                    <a:lnTo>
                      <a:pt x="96" y="458"/>
                    </a:lnTo>
                    <a:lnTo>
                      <a:pt x="74" y="512"/>
                    </a:lnTo>
                    <a:lnTo>
                      <a:pt x="60" y="542"/>
                    </a:lnTo>
                    <a:lnTo>
                      <a:pt x="60" y="542"/>
                    </a:lnTo>
                    <a:lnTo>
                      <a:pt x="38" y="584"/>
                    </a:lnTo>
                    <a:lnTo>
                      <a:pt x="22" y="618"/>
                    </a:lnTo>
                    <a:lnTo>
                      <a:pt x="10" y="644"/>
                    </a:lnTo>
                    <a:lnTo>
                      <a:pt x="6" y="668"/>
                    </a:lnTo>
                    <a:lnTo>
                      <a:pt x="6" y="668"/>
                    </a:lnTo>
                    <a:lnTo>
                      <a:pt x="2" y="698"/>
                    </a:lnTo>
                    <a:lnTo>
                      <a:pt x="0" y="734"/>
                    </a:lnTo>
                    <a:lnTo>
                      <a:pt x="2" y="756"/>
                    </a:lnTo>
                    <a:lnTo>
                      <a:pt x="4" y="778"/>
                    </a:lnTo>
                    <a:lnTo>
                      <a:pt x="10" y="802"/>
                    </a:lnTo>
                    <a:lnTo>
                      <a:pt x="16" y="828"/>
                    </a:lnTo>
                    <a:lnTo>
                      <a:pt x="16" y="828"/>
                    </a:lnTo>
                    <a:lnTo>
                      <a:pt x="20" y="844"/>
                    </a:lnTo>
                    <a:lnTo>
                      <a:pt x="24" y="862"/>
                    </a:lnTo>
                    <a:lnTo>
                      <a:pt x="28" y="910"/>
                    </a:lnTo>
                    <a:lnTo>
                      <a:pt x="30" y="964"/>
                    </a:lnTo>
                    <a:lnTo>
                      <a:pt x="32" y="1024"/>
                    </a:lnTo>
                    <a:lnTo>
                      <a:pt x="32" y="1132"/>
                    </a:lnTo>
                    <a:lnTo>
                      <a:pt x="30" y="1198"/>
                    </a:lnTo>
                    <a:lnTo>
                      <a:pt x="30" y="1198"/>
                    </a:lnTo>
                    <a:close/>
                  </a:path>
                </a:pathLst>
              </a:custGeom>
              <a:solidFill>
                <a:srgbClr val="FBE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8" name="Freeform 118"/>
              <p:cNvSpPr>
                <a:spLocks/>
              </p:cNvSpPr>
              <p:nvPr/>
            </p:nvSpPr>
            <p:spPr bwMode="auto">
              <a:xfrm>
                <a:off x="2103794" y="4802643"/>
                <a:ext cx="264417" cy="89713"/>
              </a:xfrm>
              <a:custGeom>
                <a:avLst/>
                <a:gdLst>
                  <a:gd name="T0" fmla="*/ 224 w 224"/>
                  <a:gd name="T1" fmla="*/ 76 h 76"/>
                  <a:gd name="T2" fmla="*/ 224 w 224"/>
                  <a:gd name="T3" fmla="*/ 76 h 76"/>
                  <a:gd name="T4" fmla="*/ 186 w 224"/>
                  <a:gd name="T5" fmla="*/ 76 h 76"/>
                  <a:gd name="T6" fmla="*/ 152 w 224"/>
                  <a:gd name="T7" fmla="*/ 74 h 76"/>
                  <a:gd name="T8" fmla="*/ 136 w 224"/>
                  <a:gd name="T9" fmla="*/ 72 h 76"/>
                  <a:gd name="T10" fmla="*/ 122 w 224"/>
                  <a:gd name="T11" fmla="*/ 68 h 76"/>
                  <a:gd name="T12" fmla="*/ 122 w 224"/>
                  <a:gd name="T13" fmla="*/ 68 h 76"/>
                  <a:gd name="T14" fmla="*/ 92 w 224"/>
                  <a:gd name="T15" fmla="*/ 58 h 76"/>
                  <a:gd name="T16" fmla="*/ 58 w 224"/>
                  <a:gd name="T17" fmla="*/ 46 h 76"/>
                  <a:gd name="T18" fmla="*/ 16 w 224"/>
                  <a:gd name="T19" fmla="*/ 32 h 76"/>
                  <a:gd name="T20" fmla="*/ 0 w 224"/>
                  <a:gd name="T21" fmla="*/ 0 h 76"/>
                  <a:gd name="T22" fmla="*/ 52 w 224"/>
                  <a:gd name="T23" fmla="*/ 16 h 76"/>
                  <a:gd name="T24" fmla="*/ 52 w 224"/>
                  <a:gd name="T25" fmla="*/ 16 h 76"/>
                  <a:gd name="T26" fmla="*/ 76 w 224"/>
                  <a:gd name="T27" fmla="*/ 26 h 76"/>
                  <a:gd name="T28" fmla="*/ 128 w 224"/>
                  <a:gd name="T29" fmla="*/ 48 h 76"/>
                  <a:gd name="T30" fmla="*/ 156 w 224"/>
                  <a:gd name="T31" fmla="*/ 60 h 76"/>
                  <a:gd name="T32" fmla="*/ 184 w 224"/>
                  <a:gd name="T33" fmla="*/ 70 h 76"/>
                  <a:gd name="T34" fmla="*/ 208 w 224"/>
                  <a:gd name="T35" fmla="*/ 76 h 76"/>
                  <a:gd name="T36" fmla="*/ 218 w 224"/>
                  <a:gd name="T37" fmla="*/ 76 h 76"/>
                  <a:gd name="T38" fmla="*/ 224 w 224"/>
                  <a:gd name="T39" fmla="*/ 76 h 76"/>
                  <a:gd name="T40" fmla="*/ 224 w 224"/>
                  <a:gd name="T4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76">
                    <a:moveTo>
                      <a:pt x="224" y="76"/>
                    </a:moveTo>
                    <a:lnTo>
                      <a:pt x="224" y="76"/>
                    </a:lnTo>
                    <a:lnTo>
                      <a:pt x="186" y="76"/>
                    </a:lnTo>
                    <a:lnTo>
                      <a:pt x="152" y="74"/>
                    </a:lnTo>
                    <a:lnTo>
                      <a:pt x="136" y="72"/>
                    </a:lnTo>
                    <a:lnTo>
                      <a:pt x="122" y="68"/>
                    </a:lnTo>
                    <a:lnTo>
                      <a:pt x="122" y="68"/>
                    </a:lnTo>
                    <a:lnTo>
                      <a:pt x="92" y="58"/>
                    </a:lnTo>
                    <a:lnTo>
                      <a:pt x="58" y="46"/>
                    </a:lnTo>
                    <a:lnTo>
                      <a:pt x="16" y="32"/>
                    </a:lnTo>
                    <a:lnTo>
                      <a:pt x="0" y="0"/>
                    </a:lnTo>
                    <a:lnTo>
                      <a:pt x="52" y="16"/>
                    </a:lnTo>
                    <a:lnTo>
                      <a:pt x="52" y="16"/>
                    </a:lnTo>
                    <a:lnTo>
                      <a:pt x="76" y="26"/>
                    </a:lnTo>
                    <a:lnTo>
                      <a:pt x="128" y="48"/>
                    </a:lnTo>
                    <a:lnTo>
                      <a:pt x="156" y="60"/>
                    </a:lnTo>
                    <a:lnTo>
                      <a:pt x="184" y="70"/>
                    </a:lnTo>
                    <a:lnTo>
                      <a:pt x="208" y="76"/>
                    </a:lnTo>
                    <a:lnTo>
                      <a:pt x="218" y="76"/>
                    </a:lnTo>
                    <a:lnTo>
                      <a:pt x="224" y="76"/>
                    </a:lnTo>
                    <a:lnTo>
                      <a:pt x="224" y="76"/>
                    </a:lnTo>
                    <a:close/>
                  </a:path>
                </a:pathLst>
              </a:custGeom>
              <a:solidFill>
                <a:srgbClr val="FFF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9" name="Freeform 119"/>
              <p:cNvSpPr>
                <a:spLocks/>
              </p:cNvSpPr>
              <p:nvPr/>
            </p:nvSpPr>
            <p:spPr bwMode="auto">
              <a:xfrm>
                <a:off x="2127402" y="4745982"/>
                <a:ext cx="217200" cy="77909"/>
              </a:xfrm>
              <a:custGeom>
                <a:avLst/>
                <a:gdLst>
                  <a:gd name="T0" fmla="*/ 184 w 184"/>
                  <a:gd name="T1" fmla="*/ 66 h 66"/>
                  <a:gd name="T2" fmla="*/ 184 w 184"/>
                  <a:gd name="T3" fmla="*/ 66 h 66"/>
                  <a:gd name="T4" fmla="*/ 104 w 184"/>
                  <a:gd name="T5" fmla="*/ 46 h 66"/>
                  <a:gd name="T6" fmla="*/ 104 w 184"/>
                  <a:gd name="T7" fmla="*/ 46 h 66"/>
                  <a:gd name="T8" fmla="*/ 72 w 184"/>
                  <a:gd name="T9" fmla="*/ 34 h 66"/>
                  <a:gd name="T10" fmla="*/ 38 w 184"/>
                  <a:gd name="T11" fmla="*/ 20 h 66"/>
                  <a:gd name="T12" fmla="*/ 0 w 184"/>
                  <a:gd name="T13" fmla="*/ 0 h 66"/>
                  <a:gd name="T14" fmla="*/ 42 w 184"/>
                  <a:gd name="T15" fmla="*/ 6 h 66"/>
                  <a:gd name="T16" fmla="*/ 184 w 184"/>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66">
                    <a:moveTo>
                      <a:pt x="184" y="66"/>
                    </a:moveTo>
                    <a:lnTo>
                      <a:pt x="184" y="66"/>
                    </a:lnTo>
                    <a:lnTo>
                      <a:pt x="104" y="46"/>
                    </a:lnTo>
                    <a:lnTo>
                      <a:pt x="104" y="46"/>
                    </a:lnTo>
                    <a:lnTo>
                      <a:pt x="72" y="34"/>
                    </a:lnTo>
                    <a:lnTo>
                      <a:pt x="38" y="20"/>
                    </a:lnTo>
                    <a:lnTo>
                      <a:pt x="0" y="0"/>
                    </a:lnTo>
                    <a:lnTo>
                      <a:pt x="42" y="6"/>
                    </a:lnTo>
                    <a:lnTo>
                      <a:pt x="184" y="66"/>
                    </a:lnTo>
                    <a:close/>
                  </a:path>
                </a:pathLst>
              </a:custGeom>
              <a:solidFill>
                <a:srgbClr val="FFF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0" name="Freeform 120"/>
              <p:cNvSpPr>
                <a:spLocks/>
              </p:cNvSpPr>
              <p:nvPr/>
            </p:nvSpPr>
            <p:spPr bwMode="auto">
              <a:xfrm>
                <a:off x="1565516" y="4066052"/>
                <a:ext cx="847551" cy="1817867"/>
              </a:xfrm>
              <a:custGeom>
                <a:avLst/>
                <a:gdLst>
                  <a:gd name="T0" fmla="*/ 696 w 718"/>
                  <a:gd name="T1" fmla="*/ 0 h 1540"/>
                  <a:gd name="T2" fmla="*/ 664 w 718"/>
                  <a:gd name="T3" fmla="*/ 12 h 1540"/>
                  <a:gd name="T4" fmla="*/ 634 w 718"/>
                  <a:gd name="T5" fmla="*/ 32 h 1540"/>
                  <a:gd name="T6" fmla="*/ 606 w 718"/>
                  <a:gd name="T7" fmla="*/ 58 h 1540"/>
                  <a:gd name="T8" fmla="*/ 558 w 718"/>
                  <a:gd name="T9" fmla="*/ 120 h 1540"/>
                  <a:gd name="T10" fmla="*/ 500 w 718"/>
                  <a:gd name="T11" fmla="*/ 220 h 1540"/>
                  <a:gd name="T12" fmla="*/ 476 w 718"/>
                  <a:gd name="T13" fmla="*/ 264 h 1540"/>
                  <a:gd name="T14" fmla="*/ 430 w 718"/>
                  <a:gd name="T15" fmla="*/ 356 h 1540"/>
                  <a:gd name="T16" fmla="*/ 410 w 718"/>
                  <a:gd name="T17" fmla="*/ 404 h 1540"/>
                  <a:gd name="T18" fmla="*/ 376 w 718"/>
                  <a:gd name="T19" fmla="*/ 496 h 1540"/>
                  <a:gd name="T20" fmla="*/ 314 w 718"/>
                  <a:gd name="T21" fmla="*/ 682 h 1540"/>
                  <a:gd name="T22" fmla="*/ 280 w 718"/>
                  <a:gd name="T23" fmla="*/ 774 h 1540"/>
                  <a:gd name="T24" fmla="*/ 270 w 718"/>
                  <a:gd name="T25" fmla="*/ 792 h 1540"/>
                  <a:gd name="T26" fmla="*/ 236 w 718"/>
                  <a:gd name="T27" fmla="*/ 844 h 1540"/>
                  <a:gd name="T28" fmla="*/ 184 w 718"/>
                  <a:gd name="T29" fmla="*/ 908 h 1540"/>
                  <a:gd name="T30" fmla="*/ 174 w 718"/>
                  <a:gd name="T31" fmla="*/ 926 h 1540"/>
                  <a:gd name="T32" fmla="*/ 148 w 718"/>
                  <a:gd name="T33" fmla="*/ 982 h 1540"/>
                  <a:gd name="T34" fmla="*/ 124 w 718"/>
                  <a:gd name="T35" fmla="*/ 1064 h 1540"/>
                  <a:gd name="T36" fmla="*/ 88 w 718"/>
                  <a:gd name="T37" fmla="*/ 1230 h 1540"/>
                  <a:gd name="T38" fmla="*/ 78 w 718"/>
                  <a:gd name="T39" fmla="*/ 1266 h 1540"/>
                  <a:gd name="T40" fmla="*/ 36 w 718"/>
                  <a:gd name="T41" fmla="*/ 1374 h 1540"/>
                  <a:gd name="T42" fmla="*/ 12 w 718"/>
                  <a:gd name="T43" fmla="*/ 1448 h 1540"/>
                  <a:gd name="T44" fmla="*/ 2 w 718"/>
                  <a:gd name="T45" fmla="*/ 1504 h 1540"/>
                  <a:gd name="T46" fmla="*/ 0 w 718"/>
                  <a:gd name="T47" fmla="*/ 1522 h 1540"/>
                  <a:gd name="T48" fmla="*/ 4 w 718"/>
                  <a:gd name="T49" fmla="*/ 1526 h 1540"/>
                  <a:gd name="T50" fmla="*/ 18 w 718"/>
                  <a:gd name="T51" fmla="*/ 1536 h 1540"/>
                  <a:gd name="T52" fmla="*/ 22 w 718"/>
                  <a:gd name="T53" fmla="*/ 1540 h 1540"/>
                  <a:gd name="T54" fmla="*/ 26 w 718"/>
                  <a:gd name="T55" fmla="*/ 1506 h 1540"/>
                  <a:gd name="T56" fmla="*/ 42 w 718"/>
                  <a:gd name="T57" fmla="*/ 1436 h 1540"/>
                  <a:gd name="T58" fmla="*/ 82 w 718"/>
                  <a:gd name="T59" fmla="*/ 1334 h 1540"/>
                  <a:gd name="T60" fmla="*/ 106 w 718"/>
                  <a:gd name="T61" fmla="*/ 1266 h 1540"/>
                  <a:gd name="T62" fmla="*/ 118 w 718"/>
                  <a:gd name="T63" fmla="*/ 1228 h 1540"/>
                  <a:gd name="T64" fmla="*/ 146 w 718"/>
                  <a:gd name="T65" fmla="*/ 1108 h 1540"/>
                  <a:gd name="T66" fmla="*/ 164 w 718"/>
                  <a:gd name="T67" fmla="*/ 1030 h 1540"/>
                  <a:gd name="T68" fmla="*/ 192 w 718"/>
                  <a:gd name="T69" fmla="*/ 952 h 1540"/>
                  <a:gd name="T70" fmla="*/ 204 w 718"/>
                  <a:gd name="T71" fmla="*/ 930 h 1540"/>
                  <a:gd name="T72" fmla="*/ 248 w 718"/>
                  <a:gd name="T73" fmla="*/ 872 h 1540"/>
                  <a:gd name="T74" fmla="*/ 290 w 718"/>
                  <a:gd name="T75" fmla="*/ 814 h 1540"/>
                  <a:gd name="T76" fmla="*/ 302 w 718"/>
                  <a:gd name="T77" fmla="*/ 792 h 1540"/>
                  <a:gd name="T78" fmla="*/ 336 w 718"/>
                  <a:gd name="T79" fmla="*/ 706 h 1540"/>
                  <a:gd name="T80" fmla="*/ 392 w 718"/>
                  <a:gd name="T81" fmla="*/ 530 h 1540"/>
                  <a:gd name="T82" fmla="*/ 422 w 718"/>
                  <a:gd name="T83" fmla="*/ 444 h 1540"/>
                  <a:gd name="T84" fmla="*/ 442 w 718"/>
                  <a:gd name="T85" fmla="*/ 398 h 1540"/>
                  <a:gd name="T86" fmla="*/ 486 w 718"/>
                  <a:gd name="T87" fmla="*/ 306 h 1540"/>
                  <a:gd name="T88" fmla="*/ 510 w 718"/>
                  <a:gd name="T89" fmla="*/ 262 h 1540"/>
                  <a:gd name="T90" fmla="*/ 570 w 718"/>
                  <a:gd name="T91" fmla="*/ 152 h 1540"/>
                  <a:gd name="T92" fmla="*/ 606 w 718"/>
                  <a:gd name="T93" fmla="*/ 98 h 1540"/>
                  <a:gd name="T94" fmla="*/ 634 w 718"/>
                  <a:gd name="T95" fmla="*/ 68 h 1540"/>
                  <a:gd name="T96" fmla="*/ 666 w 718"/>
                  <a:gd name="T97" fmla="*/ 42 h 1540"/>
                  <a:gd name="T98" fmla="*/ 700 w 718"/>
                  <a:gd name="T99" fmla="*/ 24 h 1540"/>
                  <a:gd name="T100" fmla="*/ 718 w 718"/>
                  <a:gd name="T101" fmla="*/ 18 h 1540"/>
                  <a:gd name="T102" fmla="*/ 714 w 718"/>
                  <a:gd name="T103" fmla="*/ 16 h 1540"/>
                  <a:gd name="T104" fmla="*/ 702 w 718"/>
                  <a:gd name="T105" fmla="*/ 4 h 1540"/>
                  <a:gd name="T106" fmla="*/ 696 w 718"/>
                  <a:gd name="T107" fmla="*/ 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1540">
                    <a:moveTo>
                      <a:pt x="696" y="0"/>
                    </a:moveTo>
                    <a:lnTo>
                      <a:pt x="696" y="0"/>
                    </a:lnTo>
                    <a:lnTo>
                      <a:pt x="680" y="6"/>
                    </a:lnTo>
                    <a:lnTo>
                      <a:pt x="664" y="12"/>
                    </a:lnTo>
                    <a:lnTo>
                      <a:pt x="648" y="22"/>
                    </a:lnTo>
                    <a:lnTo>
                      <a:pt x="634" y="32"/>
                    </a:lnTo>
                    <a:lnTo>
                      <a:pt x="620" y="44"/>
                    </a:lnTo>
                    <a:lnTo>
                      <a:pt x="606" y="58"/>
                    </a:lnTo>
                    <a:lnTo>
                      <a:pt x="580" y="88"/>
                    </a:lnTo>
                    <a:lnTo>
                      <a:pt x="558" y="120"/>
                    </a:lnTo>
                    <a:lnTo>
                      <a:pt x="538" y="154"/>
                    </a:lnTo>
                    <a:lnTo>
                      <a:pt x="500" y="220"/>
                    </a:lnTo>
                    <a:lnTo>
                      <a:pt x="500" y="220"/>
                    </a:lnTo>
                    <a:lnTo>
                      <a:pt x="476" y="264"/>
                    </a:lnTo>
                    <a:lnTo>
                      <a:pt x="452" y="310"/>
                    </a:lnTo>
                    <a:lnTo>
                      <a:pt x="430" y="356"/>
                    </a:lnTo>
                    <a:lnTo>
                      <a:pt x="410" y="404"/>
                    </a:lnTo>
                    <a:lnTo>
                      <a:pt x="410" y="404"/>
                    </a:lnTo>
                    <a:lnTo>
                      <a:pt x="392" y="450"/>
                    </a:lnTo>
                    <a:lnTo>
                      <a:pt x="376" y="496"/>
                    </a:lnTo>
                    <a:lnTo>
                      <a:pt x="344" y="588"/>
                    </a:lnTo>
                    <a:lnTo>
                      <a:pt x="314" y="682"/>
                    </a:lnTo>
                    <a:lnTo>
                      <a:pt x="298" y="728"/>
                    </a:lnTo>
                    <a:lnTo>
                      <a:pt x="280" y="774"/>
                    </a:lnTo>
                    <a:lnTo>
                      <a:pt x="280" y="774"/>
                    </a:lnTo>
                    <a:lnTo>
                      <a:pt x="270" y="792"/>
                    </a:lnTo>
                    <a:lnTo>
                      <a:pt x="260" y="810"/>
                    </a:lnTo>
                    <a:lnTo>
                      <a:pt x="236" y="844"/>
                    </a:lnTo>
                    <a:lnTo>
                      <a:pt x="210" y="876"/>
                    </a:lnTo>
                    <a:lnTo>
                      <a:pt x="184" y="908"/>
                    </a:lnTo>
                    <a:lnTo>
                      <a:pt x="184" y="908"/>
                    </a:lnTo>
                    <a:lnTo>
                      <a:pt x="174" y="926"/>
                    </a:lnTo>
                    <a:lnTo>
                      <a:pt x="164" y="944"/>
                    </a:lnTo>
                    <a:lnTo>
                      <a:pt x="148" y="982"/>
                    </a:lnTo>
                    <a:lnTo>
                      <a:pt x="134" y="1022"/>
                    </a:lnTo>
                    <a:lnTo>
                      <a:pt x="124" y="1064"/>
                    </a:lnTo>
                    <a:lnTo>
                      <a:pt x="106" y="1148"/>
                    </a:lnTo>
                    <a:lnTo>
                      <a:pt x="88" y="1230"/>
                    </a:lnTo>
                    <a:lnTo>
                      <a:pt x="88" y="1230"/>
                    </a:lnTo>
                    <a:lnTo>
                      <a:pt x="78" y="1266"/>
                    </a:lnTo>
                    <a:lnTo>
                      <a:pt x="66" y="1302"/>
                    </a:lnTo>
                    <a:lnTo>
                      <a:pt x="36" y="1374"/>
                    </a:lnTo>
                    <a:lnTo>
                      <a:pt x="24" y="1410"/>
                    </a:lnTo>
                    <a:lnTo>
                      <a:pt x="12" y="1448"/>
                    </a:lnTo>
                    <a:lnTo>
                      <a:pt x="4" y="1484"/>
                    </a:lnTo>
                    <a:lnTo>
                      <a:pt x="2" y="1504"/>
                    </a:lnTo>
                    <a:lnTo>
                      <a:pt x="0" y="1522"/>
                    </a:lnTo>
                    <a:lnTo>
                      <a:pt x="0" y="1522"/>
                    </a:lnTo>
                    <a:lnTo>
                      <a:pt x="0" y="1524"/>
                    </a:lnTo>
                    <a:lnTo>
                      <a:pt x="4" y="1526"/>
                    </a:lnTo>
                    <a:lnTo>
                      <a:pt x="10" y="1532"/>
                    </a:lnTo>
                    <a:lnTo>
                      <a:pt x="18" y="1536"/>
                    </a:lnTo>
                    <a:lnTo>
                      <a:pt x="22" y="1538"/>
                    </a:lnTo>
                    <a:lnTo>
                      <a:pt x="22" y="1540"/>
                    </a:lnTo>
                    <a:lnTo>
                      <a:pt x="22" y="1540"/>
                    </a:lnTo>
                    <a:lnTo>
                      <a:pt x="26" y="1506"/>
                    </a:lnTo>
                    <a:lnTo>
                      <a:pt x="32" y="1470"/>
                    </a:lnTo>
                    <a:lnTo>
                      <a:pt x="42" y="1436"/>
                    </a:lnTo>
                    <a:lnTo>
                      <a:pt x="54" y="1402"/>
                    </a:lnTo>
                    <a:lnTo>
                      <a:pt x="82" y="1334"/>
                    </a:lnTo>
                    <a:lnTo>
                      <a:pt x="94" y="1300"/>
                    </a:lnTo>
                    <a:lnTo>
                      <a:pt x="106" y="1266"/>
                    </a:lnTo>
                    <a:lnTo>
                      <a:pt x="106" y="1266"/>
                    </a:lnTo>
                    <a:lnTo>
                      <a:pt x="118" y="1228"/>
                    </a:lnTo>
                    <a:lnTo>
                      <a:pt x="128" y="1188"/>
                    </a:lnTo>
                    <a:lnTo>
                      <a:pt x="146" y="1108"/>
                    </a:lnTo>
                    <a:lnTo>
                      <a:pt x="154" y="1070"/>
                    </a:lnTo>
                    <a:lnTo>
                      <a:pt x="164" y="1030"/>
                    </a:lnTo>
                    <a:lnTo>
                      <a:pt x="178" y="992"/>
                    </a:lnTo>
                    <a:lnTo>
                      <a:pt x="192" y="952"/>
                    </a:lnTo>
                    <a:lnTo>
                      <a:pt x="192" y="952"/>
                    </a:lnTo>
                    <a:lnTo>
                      <a:pt x="204" y="930"/>
                    </a:lnTo>
                    <a:lnTo>
                      <a:pt x="218" y="910"/>
                    </a:lnTo>
                    <a:lnTo>
                      <a:pt x="248" y="872"/>
                    </a:lnTo>
                    <a:lnTo>
                      <a:pt x="278" y="834"/>
                    </a:lnTo>
                    <a:lnTo>
                      <a:pt x="290" y="814"/>
                    </a:lnTo>
                    <a:lnTo>
                      <a:pt x="302" y="792"/>
                    </a:lnTo>
                    <a:lnTo>
                      <a:pt x="302" y="792"/>
                    </a:lnTo>
                    <a:lnTo>
                      <a:pt x="320" y="750"/>
                    </a:lnTo>
                    <a:lnTo>
                      <a:pt x="336" y="706"/>
                    </a:lnTo>
                    <a:lnTo>
                      <a:pt x="364" y="618"/>
                    </a:lnTo>
                    <a:lnTo>
                      <a:pt x="392" y="530"/>
                    </a:lnTo>
                    <a:lnTo>
                      <a:pt x="406" y="488"/>
                    </a:lnTo>
                    <a:lnTo>
                      <a:pt x="422" y="444"/>
                    </a:lnTo>
                    <a:lnTo>
                      <a:pt x="422" y="444"/>
                    </a:lnTo>
                    <a:lnTo>
                      <a:pt x="442" y="398"/>
                    </a:lnTo>
                    <a:lnTo>
                      <a:pt x="464" y="352"/>
                    </a:lnTo>
                    <a:lnTo>
                      <a:pt x="486" y="306"/>
                    </a:lnTo>
                    <a:lnTo>
                      <a:pt x="510" y="262"/>
                    </a:lnTo>
                    <a:lnTo>
                      <a:pt x="510" y="262"/>
                    </a:lnTo>
                    <a:lnTo>
                      <a:pt x="548" y="190"/>
                    </a:lnTo>
                    <a:lnTo>
                      <a:pt x="570" y="152"/>
                    </a:lnTo>
                    <a:lnTo>
                      <a:pt x="594" y="116"/>
                    </a:lnTo>
                    <a:lnTo>
                      <a:pt x="606" y="98"/>
                    </a:lnTo>
                    <a:lnTo>
                      <a:pt x="620" y="82"/>
                    </a:lnTo>
                    <a:lnTo>
                      <a:pt x="634" y="68"/>
                    </a:lnTo>
                    <a:lnTo>
                      <a:pt x="650" y="54"/>
                    </a:lnTo>
                    <a:lnTo>
                      <a:pt x="666" y="42"/>
                    </a:lnTo>
                    <a:lnTo>
                      <a:pt x="682" y="32"/>
                    </a:lnTo>
                    <a:lnTo>
                      <a:pt x="700" y="24"/>
                    </a:lnTo>
                    <a:lnTo>
                      <a:pt x="718" y="18"/>
                    </a:lnTo>
                    <a:lnTo>
                      <a:pt x="718" y="18"/>
                    </a:lnTo>
                    <a:lnTo>
                      <a:pt x="716" y="18"/>
                    </a:lnTo>
                    <a:lnTo>
                      <a:pt x="714" y="16"/>
                    </a:lnTo>
                    <a:lnTo>
                      <a:pt x="708" y="10"/>
                    </a:lnTo>
                    <a:lnTo>
                      <a:pt x="702" y="4"/>
                    </a:lnTo>
                    <a:lnTo>
                      <a:pt x="700" y="2"/>
                    </a:lnTo>
                    <a:lnTo>
                      <a:pt x="696" y="0"/>
                    </a:lnTo>
                    <a:lnTo>
                      <a:pt x="696" y="0"/>
                    </a:lnTo>
                    <a:close/>
                  </a:path>
                </a:pathLst>
              </a:custGeom>
              <a:solidFill>
                <a:srgbClr val="E6B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 name="Freeform 121"/>
              <p:cNvSpPr>
                <a:spLocks/>
              </p:cNvSpPr>
              <p:nvPr/>
            </p:nvSpPr>
            <p:spPr bwMode="auto">
              <a:xfrm>
                <a:off x="1525381" y="4372965"/>
                <a:ext cx="373017" cy="1071833"/>
              </a:xfrm>
              <a:custGeom>
                <a:avLst/>
                <a:gdLst>
                  <a:gd name="T0" fmla="*/ 124 w 316"/>
                  <a:gd name="T1" fmla="*/ 0 h 908"/>
                  <a:gd name="T2" fmla="*/ 250 w 316"/>
                  <a:gd name="T3" fmla="*/ 294 h 908"/>
                  <a:gd name="T4" fmla="*/ 270 w 316"/>
                  <a:gd name="T5" fmla="*/ 390 h 908"/>
                  <a:gd name="T6" fmla="*/ 316 w 316"/>
                  <a:gd name="T7" fmla="*/ 498 h 908"/>
                  <a:gd name="T8" fmla="*/ 240 w 316"/>
                  <a:gd name="T9" fmla="*/ 584 h 908"/>
                  <a:gd name="T10" fmla="*/ 240 w 316"/>
                  <a:gd name="T11" fmla="*/ 584 h 908"/>
                  <a:gd name="T12" fmla="*/ 226 w 316"/>
                  <a:gd name="T13" fmla="*/ 604 h 908"/>
                  <a:gd name="T14" fmla="*/ 196 w 316"/>
                  <a:gd name="T15" fmla="*/ 652 h 908"/>
                  <a:gd name="T16" fmla="*/ 164 w 316"/>
                  <a:gd name="T17" fmla="*/ 706 h 908"/>
                  <a:gd name="T18" fmla="*/ 152 w 316"/>
                  <a:gd name="T19" fmla="*/ 728 h 908"/>
                  <a:gd name="T20" fmla="*/ 148 w 316"/>
                  <a:gd name="T21" fmla="*/ 742 h 908"/>
                  <a:gd name="T22" fmla="*/ 148 w 316"/>
                  <a:gd name="T23" fmla="*/ 742 h 908"/>
                  <a:gd name="T24" fmla="*/ 134 w 316"/>
                  <a:gd name="T25" fmla="*/ 836 h 908"/>
                  <a:gd name="T26" fmla="*/ 122 w 316"/>
                  <a:gd name="T27" fmla="*/ 908 h 908"/>
                  <a:gd name="T28" fmla="*/ 122 w 316"/>
                  <a:gd name="T29" fmla="*/ 908 h 908"/>
                  <a:gd name="T30" fmla="*/ 98 w 316"/>
                  <a:gd name="T31" fmla="*/ 818 h 908"/>
                  <a:gd name="T32" fmla="*/ 80 w 316"/>
                  <a:gd name="T33" fmla="*/ 750 h 908"/>
                  <a:gd name="T34" fmla="*/ 76 w 316"/>
                  <a:gd name="T35" fmla="*/ 722 h 908"/>
                  <a:gd name="T36" fmla="*/ 74 w 316"/>
                  <a:gd name="T37" fmla="*/ 706 h 908"/>
                  <a:gd name="T38" fmla="*/ 74 w 316"/>
                  <a:gd name="T39" fmla="*/ 706 h 908"/>
                  <a:gd name="T40" fmla="*/ 74 w 316"/>
                  <a:gd name="T41" fmla="*/ 652 h 908"/>
                  <a:gd name="T42" fmla="*/ 70 w 316"/>
                  <a:gd name="T43" fmla="*/ 560 h 908"/>
                  <a:gd name="T44" fmla="*/ 62 w 316"/>
                  <a:gd name="T45" fmla="*/ 434 h 908"/>
                  <a:gd name="T46" fmla="*/ 0 w 316"/>
                  <a:gd name="T47" fmla="*/ 286 h 908"/>
                  <a:gd name="T48" fmla="*/ 0 w 316"/>
                  <a:gd name="T49" fmla="*/ 286 h 908"/>
                  <a:gd name="T50" fmla="*/ 124 w 316"/>
                  <a:gd name="T51" fmla="*/ 0 h 908"/>
                  <a:gd name="T52" fmla="*/ 124 w 316"/>
                  <a:gd name="T53" fmla="*/ 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6" h="908">
                    <a:moveTo>
                      <a:pt x="124" y="0"/>
                    </a:moveTo>
                    <a:lnTo>
                      <a:pt x="250" y="294"/>
                    </a:lnTo>
                    <a:lnTo>
                      <a:pt x="270" y="390"/>
                    </a:lnTo>
                    <a:lnTo>
                      <a:pt x="316" y="498"/>
                    </a:lnTo>
                    <a:lnTo>
                      <a:pt x="240" y="584"/>
                    </a:lnTo>
                    <a:lnTo>
                      <a:pt x="240" y="584"/>
                    </a:lnTo>
                    <a:lnTo>
                      <a:pt x="226" y="604"/>
                    </a:lnTo>
                    <a:lnTo>
                      <a:pt x="196" y="652"/>
                    </a:lnTo>
                    <a:lnTo>
                      <a:pt x="164" y="706"/>
                    </a:lnTo>
                    <a:lnTo>
                      <a:pt x="152" y="728"/>
                    </a:lnTo>
                    <a:lnTo>
                      <a:pt x="148" y="742"/>
                    </a:lnTo>
                    <a:lnTo>
                      <a:pt x="148" y="742"/>
                    </a:lnTo>
                    <a:lnTo>
                      <a:pt x="134" y="836"/>
                    </a:lnTo>
                    <a:lnTo>
                      <a:pt x="122" y="908"/>
                    </a:lnTo>
                    <a:lnTo>
                      <a:pt x="122" y="908"/>
                    </a:lnTo>
                    <a:lnTo>
                      <a:pt x="98" y="818"/>
                    </a:lnTo>
                    <a:lnTo>
                      <a:pt x="80" y="750"/>
                    </a:lnTo>
                    <a:lnTo>
                      <a:pt x="76" y="722"/>
                    </a:lnTo>
                    <a:lnTo>
                      <a:pt x="74" y="706"/>
                    </a:lnTo>
                    <a:lnTo>
                      <a:pt x="74" y="706"/>
                    </a:lnTo>
                    <a:lnTo>
                      <a:pt x="74" y="652"/>
                    </a:lnTo>
                    <a:lnTo>
                      <a:pt x="70" y="560"/>
                    </a:lnTo>
                    <a:lnTo>
                      <a:pt x="62" y="434"/>
                    </a:lnTo>
                    <a:lnTo>
                      <a:pt x="0" y="286"/>
                    </a:lnTo>
                    <a:lnTo>
                      <a:pt x="0" y="286"/>
                    </a:lnTo>
                    <a:lnTo>
                      <a:pt x="124" y="0"/>
                    </a:lnTo>
                    <a:lnTo>
                      <a:pt x="124" y="0"/>
                    </a:lnTo>
                    <a:close/>
                  </a:path>
                </a:pathLst>
              </a:custGeom>
              <a:solidFill>
                <a:srgbClr val="F0C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2" name="Freeform 122"/>
              <p:cNvSpPr>
                <a:spLocks/>
              </p:cNvSpPr>
              <p:nvPr/>
            </p:nvSpPr>
            <p:spPr bwMode="auto">
              <a:xfrm>
                <a:off x="2273776" y="3973978"/>
                <a:ext cx="330521" cy="434399"/>
              </a:xfrm>
              <a:custGeom>
                <a:avLst/>
                <a:gdLst>
                  <a:gd name="T0" fmla="*/ 222 w 280"/>
                  <a:gd name="T1" fmla="*/ 8 h 368"/>
                  <a:gd name="T2" fmla="*/ 222 w 280"/>
                  <a:gd name="T3" fmla="*/ 8 h 368"/>
                  <a:gd name="T4" fmla="*/ 240 w 280"/>
                  <a:gd name="T5" fmla="*/ 16 h 368"/>
                  <a:gd name="T6" fmla="*/ 252 w 280"/>
                  <a:gd name="T7" fmla="*/ 28 h 368"/>
                  <a:gd name="T8" fmla="*/ 264 w 280"/>
                  <a:gd name="T9" fmla="*/ 44 h 368"/>
                  <a:gd name="T10" fmla="*/ 272 w 280"/>
                  <a:gd name="T11" fmla="*/ 60 h 368"/>
                  <a:gd name="T12" fmla="*/ 278 w 280"/>
                  <a:gd name="T13" fmla="*/ 80 h 368"/>
                  <a:gd name="T14" fmla="*/ 280 w 280"/>
                  <a:gd name="T15" fmla="*/ 100 h 368"/>
                  <a:gd name="T16" fmla="*/ 280 w 280"/>
                  <a:gd name="T17" fmla="*/ 122 h 368"/>
                  <a:gd name="T18" fmla="*/ 278 w 280"/>
                  <a:gd name="T19" fmla="*/ 146 h 368"/>
                  <a:gd name="T20" fmla="*/ 274 w 280"/>
                  <a:gd name="T21" fmla="*/ 172 h 368"/>
                  <a:gd name="T22" fmla="*/ 268 w 280"/>
                  <a:gd name="T23" fmla="*/ 198 h 368"/>
                  <a:gd name="T24" fmla="*/ 260 w 280"/>
                  <a:gd name="T25" fmla="*/ 226 h 368"/>
                  <a:gd name="T26" fmla="*/ 248 w 280"/>
                  <a:gd name="T27" fmla="*/ 254 h 368"/>
                  <a:gd name="T28" fmla="*/ 236 w 280"/>
                  <a:gd name="T29" fmla="*/ 282 h 368"/>
                  <a:gd name="T30" fmla="*/ 220 w 280"/>
                  <a:gd name="T31" fmla="*/ 310 h 368"/>
                  <a:gd name="T32" fmla="*/ 204 w 280"/>
                  <a:gd name="T33" fmla="*/ 340 h 368"/>
                  <a:gd name="T34" fmla="*/ 186 w 280"/>
                  <a:gd name="T35" fmla="*/ 368 h 368"/>
                  <a:gd name="T36" fmla="*/ 186 w 280"/>
                  <a:gd name="T37" fmla="*/ 368 h 368"/>
                  <a:gd name="T38" fmla="*/ 166 w 280"/>
                  <a:gd name="T39" fmla="*/ 358 h 368"/>
                  <a:gd name="T40" fmla="*/ 118 w 280"/>
                  <a:gd name="T41" fmla="*/ 338 h 368"/>
                  <a:gd name="T42" fmla="*/ 90 w 280"/>
                  <a:gd name="T43" fmla="*/ 326 h 368"/>
                  <a:gd name="T44" fmla="*/ 60 w 280"/>
                  <a:gd name="T45" fmla="*/ 318 h 368"/>
                  <a:gd name="T46" fmla="*/ 34 w 280"/>
                  <a:gd name="T47" fmla="*/ 312 h 368"/>
                  <a:gd name="T48" fmla="*/ 22 w 280"/>
                  <a:gd name="T49" fmla="*/ 310 h 368"/>
                  <a:gd name="T50" fmla="*/ 10 w 280"/>
                  <a:gd name="T51" fmla="*/ 310 h 368"/>
                  <a:gd name="T52" fmla="*/ 10 w 280"/>
                  <a:gd name="T53" fmla="*/ 310 h 368"/>
                  <a:gd name="T54" fmla="*/ 6 w 280"/>
                  <a:gd name="T55" fmla="*/ 310 h 368"/>
                  <a:gd name="T56" fmla="*/ 2 w 280"/>
                  <a:gd name="T57" fmla="*/ 306 h 368"/>
                  <a:gd name="T58" fmla="*/ 0 w 280"/>
                  <a:gd name="T59" fmla="*/ 302 h 368"/>
                  <a:gd name="T60" fmla="*/ 0 w 280"/>
                  <a:gd name="T61" fmla="*/ 296 h 368"/>
                  <a:gd name="T62" fmla="*/ 0 w 280"/>
                  <a:gd name="T63" fmla="*/ 278 h 368"/>
                  <a:gd name="T64" fmla="*/ 4 w 280"/>
                  <a:gd name="T65" fmla="*/ 256 h 368"/>
                  <a:gd name="T66" fmla="*/ 10 w 280"/>
                  <a:gd name="T67" fmla="*/ 230 h 368"/>
                  <a:gd name="T68" fmla="*/ 20 w 280"/>
                  <a:gd name="T69" fmla="*/ 200 h 368"/>
                  <a:gd name="T70" fmla="*/ 34 w 280"/>
                  <a:gd name="T71" fmla="*/ 170 h 368"/>
                  <a:gd name="T72" fmla="*/ 48 w 280"/>
                  <a:gd name="T73" fmla="*/ 138 h 368"/>
                  <a:gd name="T74" fmla="*/ 66 w 280"/>
                  <a:gd name="T75" fmla="*/ 108 h 368"/>
                  <a:gd name="T76" fmla="*/ 84 w 280"/>
                  <a:gd name="T77" fmla="*/ 78 h 368"/>
                  <a:gd name="T78" fmla="*/ 106 w 280"/>
                  <a:gd name="T79" fmla="*/ 52 h 368"/>
                  <a:gd name="T80" fmla="*/ 128 w 280"/>
                  <a:gd name="T81" fmla="*/ 30 h 368"/>
                  <a:gd name="T82" fmla="*/ 140 w 280"/>
                  <a:gd name="T83" fmla="*/ 22 h 368"/>
                  <a:gd name="T84" fmla="*/ 150 w 280"/>
                  <a:gd name="T85" fmla="*/ 14 h 368"/>
                  <a:gd name="T86" fmla="*/ 162 w 280"/>
                  <a:gd name="T87" fmla="*/ 8 h 368"/>
                  <a:gd name="T88" fmla="*/ 174 w 280"/>
                  <a:gd name="T89" fmla="*/ 4 h 368"/>
                  <a:gd name="T90" fmla="*/ 186 w 280"/>
                  <a:gd name="T91" fmla="*/ 2 h 368"/>
                  <a:gd name="T92" fmla="*/ 198 w 280"/>
                  <a:gd name="T93" fmla="*/ 0 h 368"/>
                  <a:gd name="T94" fmla="*/ 210 w 280"/>
                  <a:gd name="T95" fmla="*/ 2 h 368"/>
                  <a:gd name="T96" fmla="*/ 222 w 280"/>
                  <a:gd name="T97" fmla="*/ 8 h 368"/>
                  <a:gd name="T98" fmla="*/ 222 w 280"/>
                  <a:gd name="T99" fmla="*/ 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0" h="368">
                    <a:moveTo>
                      <a:pt x="222" y="8"/>
                    </a:moveTo>
                    <a:lnTo>
                      <a:pt x="222" y="8"/>
                    </a:lnTo>
                    <a:lnTo>
                      <a:pt x="240" y="16"/>
                    </a:lnTo>
                    <a:lnTo>
                      <a:pt x="252" y="28"/>
                    </a:lnTo>
                    <a:lnTo>
                      <a:pt x="264" y="44"/>
                    </a:lnTo>
                    <a:lnTo>
                      <a:pt x="272" y="60"/>
                    </a:lnTo>
                    <a:lnTo>
                      <a:pt x="278" y="80"/>
                    </a:lnTo>
                    <a:lnTo>
                      <a:pt x="280" y="100"/>
                    </a:lnTo>
                    <a:lnTo>
                      <a:pt x="280" y="122"/>
                    </a:lnTo>
                    <a:lnTo>
                      <a:pt x="278" y="146"/>
                    </a:lnTo>
                    <a:lnTo>
                      <a:pt x="274" y="172"/>
                    </a:lnTo>
                    <a:lnTo>
                      <a:pt x="268" y="198"/>
                    </a:lnTo>
                    <a:lnTo>
                      <a:pt x="260" y="226"/>
                    </a:lnTo>
                    <a:lnTo>
                      <a:pt x="248" y="254"/>
                    </a:lnTo>
                    <a:lnTo>
                      <a:pt x="236" y="282"/>
                    </a:lnTo>
                    <a:lnTo>
                      <a:pt x="220" y="310"/>
                    </a:lnTo>
                    <a:lnTo>
                      <a:pt x="204" y="340"/>
                    </a:lnTo>
                    <a:lnTo>
                      <a:pt x="186" y="368"/>
                    </a:lnTo>
                    <a:lnTo>
                      <a:pt x="186" y="368"/>
                    </a:lnTo>
                    <a:lnTo>
                      <a:pt x="166" y="358"/>
                    </a:lnTo>
                    <a:lnTo>
                      <a:pt x="118" y="338"/>
                    </a:lnTo>
                    <a:lnTo>
                      <a:pt x="90" y="326"/>
                    </a:lnTo>
                    <a:lnTo>
                      <a:pt x="60" y="318"/>
                    </a:lnTo>
                    <a:lnTo>
                      <a:pt x="34" y="312"/>
                    </a:lnTo>
                    <a:lnTo>
                      <a:pt x="22" y="310"/>
                    </a:lnTo>
                    <a:lnTo>
                      <a:pt x="10" y="310"/>
                    </a:lnTo>
                    <a:lnTo>
                      <a:pt x="10" y="310"/>
                    </a:lnTo>
                    <a:lnTo>
                      <a:pt x="6" y="310"/>
                    </a:lnTo>
                    <a:lnTo>
                      <a:pt x="2" y="306"/>
                    </a:lnTo>
                    <a:lnTo>
                      <a:pt x="0" y="302"/>
                    </a:lnTo>
                    <a:lnTo>
                      <a:pt x="0" y="296"/>
                    </a:lnTo>
                    <a:lnTo>
                      <a:pt x="0" y="278"/>
                    </a:lnTo>
                    <a:lnTo>
                      <a:pt x="4" y="256"/>
                    </a:lnTo>
                    <a:lnTo>
                      <a:pt x="10" y="230"/>
                    </a:lnTo>
                    <a:lnTo>
                      <a:pt x="20" y="200"/>
                    </a:lnTo>
                    <a:lnTo>
                      <a:pt x="34" y="170"/>
                    </a:lnTo>
                    <a:lnTo>
                      <a:pt x="48" y="138"/>
                    </a:lnTo>
                    <a:lnTo>
                      <a:pt x="66" y="108"/>
                    </a:lnTo>
                    <a:lnTo>
                      <a:pt x="84" y="78"/>
                    </a:lnTo>
                    <a:lnTo>
                      <a:pt x="106" y="52"/>
                    </a:lnTo>
                    <a:lnTo>
                      <a:pt x="128" y="30"/>
                    </a:lnTo>
                    <a:lnTo>
                      <a:pt x="140" y="22"/>
                    </a:lnTo>
                    <a:lnTo>
                      <a:pt x="150" y="14"/>
                    </a:lnTo>
                    <a:lnTo>
                      <a:pt x="162" y="8"/>
                    </a:lnTo>
                    <a:lnTo>
                      <a:pt x="174" y="4"/>
                    </a:lnTo>
                    <a:lnTo>
                      <a:pt x="186" y="2"/>
                    </a:lnTo>
                    <a:lnTo>
                      <a:pt x="198" y="0"/>
                    </a:lnTo>
                    <a:lnTo>
                      <a:pt x="210" y="2"/>
                    </a:lnTo>
                    <a:lnTo>
                      <a:pt x="222" y="8"/>
                    </a:lnTo>
                    <a:lnTo>
                      <a:pt x="222" y="8"/>
                    </a:lnTo>
                    <a:close/>
                  </a:path>
                </a:pathLst>
              </a:custGeom>
              <a:solidFill>
                <a:srgbClr val="FB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3" name="Freeform 171"/>
              <p:cNvSpPr>
                <a:spLocks/>
              </p:cNvSpPr>
              <p:nvPr/>
            </p:nvSpPr>
            <p:spPr bwMode="auto">
              <a:xfrm>
                <a:off x="2162815" y="5633668"/>
                <a:ext cx="299830" cy="807416"/>
              </a:xfrm>
              <a:custGeom>
                <a:avLst/>
                <a:gdLst>
                  <a:gd name="T0" fmla="*/ 156 w 254"/>
                  <a:gd name="T1" fmla="*/ 684 h 684"/>
                  <a:gd name="T2" fmla="*/ 156 w 254"/>
                  <a:gd name="T3" fmla="*/ 684 h 684"/>
                  <a:gd name="T4" fmla="*/ 192 w 254"/>
                  <a:gd name="T5" fmla="*/ 590 h 684"/>
                  <a:gd name="T6" fmla="*/ 192 w 254"/>
                  <a:gd name="T7" fmla="*/ 590 h 684"/>
                  <a:gd name="T8" fmla="*/ 224 w 254"/>
                  <a:gd name="T9" fmla="*/ 520 h 684"/>
                  <a:gd name="T10" fmla="*/ 242 w 254"/>
                  <a:gd name="T11" fmla="*/ 480 h 684"/>
                  <a:gd name="T12" fmla="*/ 254 w 254"/>
                  <a:gd name="T13" fmla="*/ 458 h 684"/>
                  <a:gd name="T14" fmla="*/ 228 w 254"/>
                  <a:gd name="T15" fmla="*/ 332 h 684"/>
                  <a:gd name="T16" fmla="*/ 228 w 254"/>
                  <a:gd name="T17" fmla="*/ 332 h 684"/>
                  <a:gd name="T18" fmla="*/ 222 w 254"/>
                  <a:gd name="T19" fmla="*/ 286 h 684"/>
                  <a:gd name="T20" fmla="*/ 218 w 254"/>
                  <a:gd name="T21" fmla="*/ 238 h 684"/>
                  <a:gd name="T22" fmla="*/ 216 w 254"/>
                  <a:gd name="T23" fmla="*/ 184 h 684"/>
                  <a:gd name="T24" fmla="*/ 216 w 254"/>
                  <a:gd name="T25" fmla="*/ 184 h 684"/>
                  <a:gd name="T26" fmla="*/ 216 w 254"/>
                  <a:gd name="T27" fmla="*/ 170 h 684"/>
                  <a:gd name="T28" fmla="*/ 212 w 254"/>
                  <a:gd name="T29" fmla="*/ 156 h 684"/>
                  <a:gd name="T30" fmla="*/ 206 w 254"/>
                  <a:gd name="T31" fmla="*/ 140 h 684"/>
                  <a:gd name="T32" fmla="*/ 200 w 254"/>
                  <a:gd name="T33" fmla="*/ 124 h 684"/>
                  <a:gd name="T34" fmla="*/ 182 w 254"/>
                  <a:gd name="T35" fmla="*/ 94 h 684"/>
                  <a:gd name="T36" fmla="*/ 162 w 254"/>
                  <a:gd name="T37" fmla="*/ 66 h 684"/>
                  <a:gd name="T38" fmla="*/ 142 w 254"/>
                  <a:gd name="T39" fmla="*/ 40 h 684"/>
                  <a:gd name="T40" fmla="*/ 124 w 254"/>
                  <a:gd name="T41" fmla="*/ 20 h 684"/>
                  <a:gd name="T42" fmla="*/ 106 w 254"/>
                  <a:gd name="T43" fmla="*/ 0 h 684"/>
                  <a:gd name="T44" fmla="*/ 106 w 254"/>
                  <a:gd name="T45" fmla="*/ 0 h 684"/>
                  <a:gd name="T46" fmla="*/ 120 w 254"/>
                  <a:gd name="T47" fmla="*/ 78 h 684"/>
                  <a:gd name="T48" fmla="*/ 128 w 254"/>
                  <a:gd name="T49" fmla="*/ 148 h 684"/>
                  <a:gd name="T50" fmla="*/ 132 w 254"/>
                  <a:gd name="T51" fmla="*/ 210 h 684"/>
                  <a:gd name="T52" fmla="*/ 130 w 254"/>
                  <a:gd name="T53" fmla="*/ 266 h 684"/>
                  <a:gd name="T54" fmla="*/ 124 w 254"/>
                  <a:gd name="T55" fmla="*/ 314 h 684"/>
                  <a:gd name="T56" fmla="*/ 116 w 254"/>
                  <a:gd name="T57" fmla="*/ 354 h 684"/>
                  <a:gd name="T58" fmla="*/ 104 w 254"/>
                  <a:gd name="T59" fmla="*/ 388 h 684"/>
                  <a:gd name="T60" fmla="*/ 92 w 254"/>
                  <a:gd name="T61" fmla="*/ 418 h 684"/>
                  <a:gd name="T62" fmla="*/ 78 w 254"/>
                  <a:gd name="T63" fmla="*/ 442 h 684"/>
                  <a:gd name="T64" fmla="*/ 64 w 254"/>
                  <a:gd name="T65" fmla="*/ 462 h 684"/>
                  <a:gd name="T66" fmla="*/ 50 w 254"/>
                  <a:gd name="T67" fmla="*/ 478 h 684"/>
                  <a:gd name="T68" fmla="*/ 36 w 254"/>
                  <a:gd name="T69" fmla="*/ 488 h 684"/>
                  <a:gd name="T70" fmla="*/ 26 w 254"/>
                  <a:gd name="T71" fmla="*/ 496 h 684"/>
                  <a:gd name="T72" fmla="*/ 16 w 254"/>
                  <a:gd name="T73" fmla="*/ 502 h 684"/>
                  <a:gd name="T74" fmla="*/ 8 w 254"/>
                  <a:gd name="T75" fmla="*/ 506 h 684"/>
                  <a:gd name="T76" fmla="*/ 8 w 254"/>
                  <a:gd name="T77" fmla="*/ 506 h 684"/>
                  <a:gd name="T78" fmla="*/ 6 w 254"/>
                  <a:gd name="T79" fmla="*/ 566 h 684"/>
                  <a:gd name="T80" fmla="*/ 4 w 254"/>
                  <a:gd name="T81" fmla="*/ 624 h 684"/>
                  <a:gd name="T82" fmla="*/ 0 w 254"/>
                  <a:gd name="T83" fmla="*/ 684 h 684"/>
                  <a:gd name="T84" fmla="*/ 156 w 254"/>
                  <a:gd name="T85" fmla="*/ 68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4" h="684">
                    <a:moveTo>
                      <a:pt x="156" y="684"/>
                    </a:moveTo>
                    <a:lnTo>
                      <a:pt x="156" y="684"/>
                    </a:lnTo>
                    <a:lnTo>
                      <a:pt x="192" y="590"/>
                    </a:lnTo>
                    <a:lnTo>
                      <a:pt x="192" y="590"/>
                    </a:lnTo>
                    <a:lnTo>
                      <a:pt x="224" y="520"/>
                    </a:lnTo>
                    <a:lnTo>
                      <a:pt x="242" y="480"/>
                    </a:lnTo>
                    <a:lnTo>
                      <a:pt x="254" y="458"/>
                    </a:lnTo>
                    <a:lnTo>
                      <a:pt x="228" y="332"/>
                    </a:lnTo>
                    <a:lnTo>
                      <a:pt x="228" y="332"/>
                    </a:lnTo>
                    <a:lnTo>
                      <a:pt x="222" y="286"/>
                    </a:lnTo>
                    <a:lnTo>
                      <a:pt x="218" y="238"/>
                    </a:lnTo>
                    <a:lnTo>
                      <a:pt x="216" y="184"/>
                    </a:lnTo>
                    <a:lnTo>
                      <a:pt x="216" y="184"/>
                    </a:lnTo>
                    <a:lnTo>
                      <a:pt x="216" y="170"/>
                    </a:lnTo>
                    <a:lnTo>
                      <a:pt x="212" y="156"/>
                    </a:lnTo>
                    <a:lnTo>
                      <a:pt x="206" y="140"/>
                    </a:lnTo>
                    <a:lnTo>
                      <a:pt x="200" y="124"/>
                    </a:lnTo>
                    <a:lnTo>
                      <a:pt x="182" y="94"/>
                    </a:lnTo>
                    <a:lnTo>
                      <a:pt x="162" y="66"/>
                    </a:lnTo>
                    <a:lnTo>
                      <a:pt x="142" y="40"/>
                    </a:lnTo>
                    <a:lnTo>
                      <a:pt x="124" y="20"/>
                    </a:lnTo>
                    <a:lnTo>
                      <a:pt x="106" y="0"/>
                    </a:lnTo>
                    <a:lnTo>
                      <a:pt x="106" y="0"/>
                    </a:lnTo>
                    <a:lnTo>
                      <a:pt x="120" y="78"/>
                    </a:lnTo>
                    <a:lnTo>
                      <a:pt x="128" y="148"/>
                    </a:lnTo>
                    <a:lnTo>
                      <a:pt x="132" y="210"/>
                    </a:lnTo>
                    <a:lnTo>
                      <a:pt x="130" y="266"/>
                    </a:lnTo>
                    <a:lnTo>
                      <a:pt x="124" y="314"/>
                    </a:lnTo>
                    <a:lnTo>
                      <a:pt x="116" y="354"/>
                    </a:lnTo>
                    <a:lnTo>
                      <a:pt x="104" y="388"/>
                    </a:lnTo>
                    <a:lnTo>
                      <a:pt x="92" y="418"/>
                    </a:lnTo>
                    <a:lnTo>
                      <a:pt x="78" y="442"/>
                    </a:lnTo>
                    <a:lnTo>
                      <a:pt x="64" y="462"/>
                    </a:lnTo>
                    <a:lnTo>
                      <a:pt x="50" y="478"/>
                    </a:lnTo>
                    <a:lnTo>
                      <a:pt x="36" y="488"/>
                    </a:lnTo>
                    <a:lnTo>
                      <a:pt x="26" y="496"/>
                    </a:lnTo>
                    <a:lnTo>
                      <a:pt x="16" y="502"/>
                    </a:lnTo>
                    <a:lnTo>
                      <a:pt x="8" y="506"/>
                    </a:lnTo>
                    <a:lnTo>
                      <a:pt x="8" y="506"/>
                    </a:lnTo>
                    <a:lnTo>
                      <a:pt x="6" y="566"/>
                    </a:lnTo>
                    <a:lnTo>
                      <a:pt x="4" y="624"/>
                    </a:lnTo>
                    <a:lnTo>
                      <a:pt x="0" y="684"/>
                    </a:lnTo>
                    <a:lnTo>
                      <a:pt x="156" y="684"/>
                    </a:lnTo>
                    <a:close/>
                  </a:path>
                </a:pathLst>
              </a:custGeom>
              <a:solidFill>
                <a:srgbClr val="F0C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4" name="Freeform 172"/>
              <p:cNvSpPr>
                <a:spLocks/>
              </p:cNvSpPr>
              <p:nvPr/>
            </p:nvSpPr>
            <p:spPr bwMode="auto">
              <a:xfrm>
                <a:off x="1497051" y="6082232"/>
                <a:ext cx="283304" cy="358852"/>
              </a:xfrm>
              <a:custGeom>
                <a:avLst/>
                <a:gdLst>
                  <a:gd name="T0" fmla="*/ 62 w 240"/>
                  <a:gd name="T1" fmla="*/ 304 h 304"/>
                  <a:gd name="T2" fmla="*/ 62 w 240"/>
                  <a:gd name="T3" fmla="*/ 304 h 304"/>
                  <a:gd name="T4" fmla="*/ 80 w 240"/>
                  <a:gd name="T5" fmla="*/ 220 h 304"/>
                  <a:gd name="T6" fmla="*/ 240 w 240"/>
                  <a:gd name="T7" fmla="*/ 276 h 304"/>
                  <a:gd name="T8" fmla="*/ 26 w 240"/>
                  <a:gd name="T9" fmla="*/ 0 h 304"/>
                  <a:gd name="T10" fmla="*/ 14 w 240"/>
                  <a:gd name="T11" fmla="*/ 222 h 304"/>
                  <a:gd name="T12" fmla="*/ 0 w 240"/>
                  <a:gd name="T13" fmla="*/ 304 h 304"/>
                  <a:gd name="T14" fmla="*/ 62 w 240"/>
                  <a:gd name="T15" fmla="*/ 304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304">
                    <a:moveTo>
                      <a:pt x="62" y="304"/>
                    </a:moveTo>
                    <a:lnTo>
                      <a:pt x="62" y="304"/>
                    </a:lnTo>
                    <a:lnTo>
                      <a:pt x="80" y="220"/>
                    </a:lnTo>
                    <a:lnTo>
                      <a:pt x="240" y="276"/>
                    </a:lnTo>
                    <a:lnTo>
                      <a:pt x="26" y="0"/>
                    </a:lnTo>
                    <a:lnTo>
                      <a:pt x="14" y="222"/>
                    </a:lnTo>
                    <a:lnTo>
                      <a:pt x="0" y="304"/>
                    </a:lnTo>
                    <a:lnTo>
                      <a:pt x="62" y="304"/>
                    </a:lnTo>
                    <a:close/>
                  </a:path>
                </a:pathLst>
              </a:custGeom>
              <a:solidFill>
                <a:srgbClr val="F0C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grpSp>
        <p:nvGrpSpPr>
          <p:cNvPr id="9" name="Group 114"/>
          <p:cNvGrpSpPr/>
          <p:nvPr/>
        </p:nvGrpSpPr>
        <p:grpSpPr>
          <a:xfrm rot="19229224">
            <a:off x="5893249" y="2642527"/>
            <a:ext cx="3081863" cy="3016503"/>
            <a:chOff x="5608394" y="639288"/>
            <a:chExt cx="3662044" cy="3648680"/>
          </a:xfrm>
        </p:grpSpPr>
        <p:sp>
          <p:nvSpPr>
            <p:cNvPr id="105" name="椭圆 2"/>
            <p:cNvSpPr/>
            <p:nvPr/>
          </p:nvSpPr>
          <p:spPr>
            <a:xfrm rot="1695954">
              <a:off x="5608394" y="639288"/>
              <a:ext cx="3662044" cy="364868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HK">
                <a:solidFill>
                  <a:srgbClr val="FFFFFF"/>
                </a:solidFill>
                <a:ea typeface="PMingLiU" charset="0"/>
                <a:cs typeface="PMingLiU" charset="0"/>
              </a:endParaRPr>
            </a:p>
          </p:txBody>
        </p:sp>
        <p:pic>
          <p:nvPicPr>
            <p:cNvPr id="110" name="Picture 4" descr="W:\temp\ling\ppt\new_layout\cir.png"/>
            <p:cNvPicPr>
              <a:picLocks noChangeAspect="1" noChangeArrowheads="1"/>
            </p:cNvPicPr>
            <p:nvPr/>
          </p:nvPicPr>
          <p:blipFill>
            <a:blip r:embed="rId10"/>
            <a:srcRect/>
            <a:stretch>
              <a:fillRect/>
            </a:stretch>
          </p:blipFill>
          <p:spPr bwMode="auto">
            <a:xfrm rot="1147514">
              <a:off x="5800714" y="789794"/>
              <a:ext cx="3267604" cy="3347358"/>
            </a:xfrm>
            <a:prstGeom prst="rect">
              <a:avLst/>
            </a:prstGeom>
            <a:noFill/>
            <a:ln w="9525">
              <a:noFill/>
              <a:miter lim="800000"/>
              <a:headEnd/>
              <a:tailEnd/>
            </a:ln>
          </p:spPr>
        </p:pic>
      </p:grpSp>
      <p:grpSp>
        <p:nvGrpSpPr>
          <p:cNvPr id="10" name="Group 18"/>
          <p:cNvGrpSpPr>
            <a:grpSpLocks/>
          </p:cNvGrpSpPr>
          <p:nvPr/>
        </p:nvGrpSpPr>
        <p:grpSpPr bwMode="auto">
          <a:xfrm rot="754907">
            <a:off x="5512971" y="4897658"/>
            <a:ext cx="3648224" cy="774823"/>
            <a:chOff x="-760363" y="5130097"/>
            <a:chExt cx="6027517" cy="1314399"/>
          </a:xfrm>
        </p:grpSpPr>
        <p:sp>
          <p:nvSpPr>
            <p:cNvPr id="19" name="矩形 3"/>
            <p:cNvSpPr/>
            <p:nvPr/>
          </p:nvSpPr>
          <p:spPr>
            <a:xfrm rot="21037024">
              <a:off x="-760363" y="5130097"/>
              <a:ext cx="6027517" cy="131439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HK">
                <a:solidFill>
                  <a:srgbClr val="FFFFFF"/>
                </a:solidFill>
                <a:ea typeface="PMingLiU"/>
                <a:cs typeface="PMingLiU"/>
              </a:endParaRPr>
            </a:p>
          </p:txBody>
        </p:sp>
        <p:pic>
          <p:nvPicPr>
            <p:cNvPr id="21" name="Picture 5" descr="W:\temp\ling\ppt\new_layout\rect.png"/>
            <p:cNvPicPr>
              <a:picLocks noChangeAspect="1" noChangeArrowheads="1"/>
            </p:cNvPicPr>
            <p:nvPr/>
          </p:nvPicPr>
          <p:blipFill>
            <a:blip r:embed="rId11" cstate="print"/>
            <a:srcRect/>
            <a:stretch>
              <a:fillRect/>
            </a:stretch>
          </p:blipFill>
          <p:spPr bwMode="auto">
            <a:xfrm rot="-529145">
              <a:off x="-614396" y="5284264"/>
              <a:ext cx="5707063" cy="1000999"/>
            </a:xfrm>
            <a:prstGeom prst="rect">
              <a:avLst/>
            </a:prstGeom>
            <a:solidFill>
              <a:srgbClr val="532338"/>
            </a:solidFill>
            <a:ln w="9525">
              <a:noFill/>
              <a:miter lim="800000"/>
              <a:headEnd/>
              <a:tailEnd/>
            </a:ln>
          </p:spPr>
        </p:pic>
      </p:grpSp>
      <p:sp>
        <p:nvSpPr>
          <p:cNvPr id="18" name="Title 1"/>
          <p:cNvSpPr txBox="1">
            <a:spLocks noChangeArrowheads="1"/>
          </p:cNvSpPr>
          <p:nvPr/>
        </p:nvSpPr>
        <p:spPr bwMode="auto">
          <a:xfrm rot="169816">
            <a:off x="5578636" y="4992868"/>
            <a:ext cx="3403851" cy="643434"/>
          </a:xfrm>
          <a:prstGeom prst="rect">
            <a:avLst/>
          </a:prstGeom>
          <a:noFill/>
          <a:ln w="9525">
            <a:noFill/>
            <a:miter lim="800000"/>
            <a:headEnd/>
            <a:tailEnd/>
          </a:ln>
        </p:spPr>
        <p:txBody>
          <a:bodyPr anchor="ctr"/>
          <a:lstStyle/>
          <a:p>
            <a:pPr algn="ctr"/>
            <a:r>
              <a:rPr lang="en-US" sz="2400" b="1" dirty="0" smtClean="0">
                <a:solidFill>
                  <a:srgbClr val="0D0D0D"/>
                </a:solidFill>
                <a:effectLst>
                  <a:outerShdw blurRad="38100" dist="38100" dir="2700000" algn="tl">
                    <a:srgbClr val="000000">
                      <a:alpha val="43137"/>
                    </a:srgbClr>
                  </a:outerShdw>
                </a:effectLst>
                <a:latin typeface="Tahoma" pitchFamily="34" charset="0"/>
                <a:ea typeface="PMingLiU"/>
                <a:cs typeface="Tahoma" pitchFamily="34" charset="0"/>
              </a:rPr>
              <a:t>MODUL e-</a:t>
            </a:r>
            <a:r>
              <a:rPr lang="en-US" sz="2400" b="1" dirty="0" err="1" smtClean="0">
                <a:solidFill>
                  <a:srgbClr val="0D0D0D"/>
                </a:solidFill>
                <a:effectLst>
                  <a:outerShdw blurRad="38100" dist="38100" dir="2700000" algn="tl">
                    <a:srgbClr val="000000">
                      <a:alpha val="43137"/>
                    </a:srgbClr>
                  </a:outerShdw>
                </a:effectLst>
                <a:latin typeface="Tahoma" pitchFamily="34" charset="0"/>
                <a:ea typeface="PMingLiU"/>
                <a:cs typeface="Tahoma" pitchFamily="34" charset="0"/>
              </a:rPr>
              <a:t>Prestasi</a:t>
            </a:r>
            <a:endParaRPr lang="en-US" sz="2400" b="1" dirty="0">
              <a:solidFill>
                <a:srgbClr val="0D0D0D"/>
              </a:solidFill>
              <a:effectLst>
                <a:outerShdw blurRad="38100" dist="38100" dir="2700000" algn="tl">
                  <a:srgbClr val="000000">
                    <a:alpha val="43137"/>
                  </a:srgbClr>
                </a:outerShdw>
              </a:effectLst>
              <a:latin typeface="Tahoma" pitchFamily="34" charset="0"/>
              <a:ea typeface="PMingLiU"/>
              <a:cs typeface="Tahoma" pitchFamily="34" charset="0"/>
            </a:endParaRPr>
          </a:p>
        </p:txBody>
      </p:sp>
      <p:sp>
        <p:nvSpPr>
          <p:cNvPr id="17" name="Title 1"/>
          <p:cNvSpPr txBox="1">
            <a:spLocks noChangeArrowheads="1"/>
          </p:cNvSpPr>
          <p:nvPr/>
        </p:nvSpPr>
        <p:spPr bwMode="auto">
          <a:xfrm rot="306237">
            <a:off x="5892081" y="3794719"/>
            <a:ext cx="3091827" cy="525080"/>
          </a:xfrm>
          <a:prstGeom prst="rect">
            <a:avLst/>
          </a:prstGeom>
          <a:noFill/>
          <a:ln w="9525">
            <a:noFill/>
            <a:miter lim="800000"/>
            <a:headEnd/>
            <a:tailEnd/>
          </a:ln>
        </p:spPr>
        <p:txBody>
          <a:bodyPr anchor="ctr"/>
          <a:lstStyle/>
          <a:p>
            <a:pPr algn="ctr"/>
            <a:r>
              <a:rPr lang="en-US" sz="3000" dirty="0" err="1" smtClean="0">
                <a:solidFill>
                  <a:schemeClr val="bg1"/>
                </a:solidFill>
                <a:effectLst>
                  <a:outerShdw blurRad="38100" dist="38100" dir="2700000" algn="tl">
                    <a:srgbClr val="000000">
                      <a:alpha val="43137"/>
                    </a:srgbClr>
                  </a:outerShdw>
                </a:effectLst>
                <a:latin typeface="Tahoma" pitchFamily="34" charset="0"/>
                <a:ea typeface="PMingLiU"/>
                <a:cs typeface="Tahoma" pitchFamily="34" charset="0"/>
              </a:rPr>
              <a:t>Sistem</a:t>
            </a:r>
            <a:endParaRPr lang="en-US" sz="3000" dirty="0" smtClean="0">
              <a:solidFill>
                <a:schemeClr val="bg1"/>
              </a:solidFill>
              <a:effectLst>
                <a:outerShdw blurRad="38100" dist="38100" dir="2700000" algn="tl">
                  <a:srgbClr val="000000">
                    <a:alpha val="43137"/>
                  </a:srgbClr>
                </a:outerShdw>
              </a:effectLst>
              <a:latin typeface="Tahoma" pitchFamily="34" charset="0"/>
              <a:ea typeface="PMingLiU"/>
              <a:cs typeface="Tahoma" pitchFamily="34" charset="0"/>
            </a:endParaRPr>
          </a:p>
          <a:p>
            <a:pPr algn="ctr"/>
            <a:r>
              <a:rPr lang="en-US" sz="3000" dirty="0" smtClean="0">
                <a:solidFill>
                  <a:schemeClr val="bg1"/>
                </a:solidFill>
                <a:effectLst>
                  <a:outerShdw blurRad="38100" dist="38100" dir="2700000" algn="tl">
                    <a:srgbClr val="000000">
                      <a:alpha val="43137"/>
                    </a:srgbClr>
                  </a:outerShdw>
                </a:effectLst>
                <a:latin typeface="Tahoma" pitchFamily="34" charset="0"/>
                <a:ea typeface="PMingLiU"/>
                <a:cs typeface="Tahoma" pitchFamily="34" charset="0"/>
              </a:rPr>
              <a:t> </a:t>
            </a:r>
            <a:r>
              <a:rPr lang="en-US" sz="3000" dirty="0" err="1" smtClean="0">
                <a:solidFill>
                  <a:schemeClr val="bg1"/>
                </a:solidFill>
                <a:effectLst>
                  <a:outerShdw blurRad="38100" dist="38100" dir="2700000" algn="tl">
                    <a:srgbClr val="000000">
                      <a:alpha val="43137"/>
                    </a:srgbClr>
                  </a:outerShdw>
                </a:effectLst>
                <a:latin typeface="Tahoma" pitchFamily="34" charset="0"/>
                <a:ea typeface="PMingLiU"/>
                <a:cs typeface="Tahoma" pitchFamily="34" charset="0"/>
              </a:rPr>
              <a:t>Maklumat</a:t>
            </a:r>
            <a:r>
              <a:rPr lang="en-US" sz="3000" dirty="0" smtClean="0">
                <a:solidFill>
                  <a:schemeClr val="bg1"/>
                </a:solidFill>
                <a:effectLst>
                  <a:outerShdw blurRad="38100" dist="38100" dir="2700000" algn="tl">
                    <a:srgbClr val="000000">
                      <a:alpha val="43137"/>
                    </a:srgbClr>
                  </a:outerShdw>
                </a:effectLst>
                <a:latin typeface="Tahoma" pitchFamily="34" charset="0"/>
                <a:ea typeface="PMingLiU"/>
                <a:cs typeface="Tahoma" pitchFamily="34" charset="0"/>
              </a:rPr>
              <a:t> Guru </a:t>
            </a:r>
          </a:p>
          <a:p>
            <a:pPr algn="ctr"/>
            <a:r>
              <a:rPr lang="en-US" sz="3000" dirty="0" smtClean="0">
                <a:solidFill>
                  <a:schemeClr val="bg1"/>
                </a:solidFill>
                <a:effectLst>
                  <a:outerShdw blurRad="38100" dist="38100" dir="2700000" algn="tl">
                    <a:srgbClr val="000000">
                      <a:alpha val="43137"/>
                    </a:srgbClr>
                  </a:outerShdw>
                </a:effectLst>
                <a:latin typeface="Tahoma" pitchFamily="34" charset="0"/>
                <a:ea typeface="PMingLiU"/>
                <a:cs typeface="Tahoma" pitchFamily="34" charset="0"/>
              </a:rPr>
              <a:t>(SMG</a:t>
            </a:r>
            <a:r>
              <a:rPr lang="en-US" sz="3000" dirty="0" smtClean="0">
                <a:solidFill>
                  <a:schemeClr val="bg1"/>
                </a:solidFill>
                <a:effectLst>
                  <a:outerShdw blurRad="38100" dist="38100" dir="2700000" algn="tl">
                    <a:srgbClr val="000000">
                      <a:alpha val="43137"/>
                    </a:srgbClr>
                  </a:outerShdw>
                </a:effectLst>
                <a:ea typeface="PMingLiU"/>
                <a:cs typeface="PMingLiU"/>
              </a:rPr>
              <a:t>)</a:t>
            </a:r>
            <a:endParaRPr lang="en-US" sz="3000" dirty="0">
              <a:solidFill>
                <a:schemeClr val="bg1"/>
              </a:solidFill>
              <a:effectLst>
                <a:outerShdw blurRad="38100" dist="38100" dir="2700000" algn="tl">
                  <a:srgbClr val="000000">
                    <a:alpha val="43137"/>
                  </a:srgbClr>
                </a:outerShdw>
              </a:effectLst>
              <a:ea typeface="PMingLiU"/>
              <a:cs typeface="PMingLiU"/>
            </a:endParaRPr>
          </a:p>
        </p:txBody>
      </p:sp>
      <p:pic>
        <p:nvPicPr>
          <p:cNvPr id="116" name="Picture 16" descr="D:\goanimate\ppt\new_layout\stu.png"/>
          <p:cNvPicPr>
            <a:picLocks noChangeAspect="1" noChangeArrowheads="1"/>
          </p:cNvPicPr>
          <p:nvPr/>
        </p:nvPicPr>
        <p:blipFill>
          <a:blip r:embed="rId12"/>
          <a:srcRect/>
          <a:stretch>
            <a:fillRect/>
          </a:stretch>
        </p:blipFill>
        <p:spPr bwMode="auto">
          <a:xfrm>
            <a:off x="574781" y="1411199"/>
            <a:ext cx="1083683" cy="1031408"/>
          </a:xfrm>
          <a:prstGeom prst="rect">
            <a:avLst/>
          </a:prstGeom>
          <a:noFill/>
          <a:ln w="9525">
            <a:noFill/>
            <a:miter lim="800000"/>
            <a:headEnd/>
            <a:tailEnd/>
          </a:ln>
        </p:spPr>
      </p:pic>
      <p:sp>
        <p:nvSpPr>
          <p:cNvPr id="98" name="Rectangle 97"/>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PELAKSANAAN PENILAIAN SECARA ATAS TALIAN (</a:t>
            </a:r>
            <a:r>
              <a:rPr lang="en-US" sz="2800" b="1" i="1" dirty="0" smtClean="0">
                <a:solidFill>
                  <a:schemeClr val="bg1"/>
                </a:solidFill>
                <a:latin typeface="Segoe UI" pitchFamily="34" charset="0"/>
                <a:ea typeface="Segoe UI" pitchFamily="34" charset="0"/>
                <a:cs typeface="Segoe UI" pitchFamily="34" charset="0"/>
              </a:rPr>
              <a:t>ONLINE</a:t>
            </a:r>
            <a:r>
              <a:rPr lang="en-US" sz="2800" b="1" dirty="0" smtClean="0">
                <a:solidFill>
                  <a:schemeClr val="bg1"/>
                </a:solidFill>
                <a:latin typeface="Segoe UI" pitchFamily="34" charset="0"/>
                <a:ea typeface="Segoe UI" pitchFamily="34" charset="0"/>
                <a:cs typeface="Segoe UI" pitchFamily="34" charset="0"/>
              </a:rPr>
              <a:t>)</a:t>
            </a:r>
            <a:endParaRPr lang="en-US" sz="28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ox(in)">
                                      <p:cBhvr>
                                        <p:cTn id="7" dur="500"/>
                                        <p:tgtEl>
                                          <p:spTgt spid="11"/>
                                        </p:tgtEl>
                                      </p:cBhvr>
                                    </p:animEffect>
                                  </p:childTnLst>
                                </p:cTn>
                              </p:par>
                              <p:par>
                                <p:cTn id="8" presetID="4" presetClass="entr" presetSubtype="16"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box(in)">
                                      <p:cBhvr>
                                        <p:cTn id="10"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252" descr="Kalender"/>
          <p:cNvPicPr>
            <a:picLocks noChangeAspect="1" noChangeArrowheads="1"/>
          </p:cNvPicPr>
          <p:nvPr>
            <p:custDataLst>
              <p:tags r:id="rId1"/>
            </p:custDataLst>
          </p:nvPr>
        </p:nvPicPr>
        <p:blipFill>
          <a:blip r:embed="rId3" cstate="print">
            <a:lum bright="12000"/>
            <a:grayscl/>
          </a:blip>
          <a:srcRect b="2522"/>
          <a:stretch>
            <a:fillRect/>
          </a:stretch>
        </p:blipFill>
        <p:spPr bwMode="gray">
          <a:xfrm>
            <a:off x="4067754" y="2571748"/>
            <a:ext cx="5076246" cy="4286252"/>
          </a:xfrm>
          <a:prstGeom prst="rect">
            <a:avLst/>
          </a:prstGeom>
          <a:noFill/>
          <a:ln w="9525">
            <a:noFill/>
            <a:miter lim="800000"/>
            <a:headEnd/>
            <a:tailEnd/>
          </a:ln>
        </p:spPr>
      </p:pic>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19</a:t>
            </a:fld>
            <a:endParaRPr lang="en-US"/>
          </a:p>
        </p:txBody>
      </p:sp>
      <p:grpSp>
        <p:nvGrpSpPr>
          <p:cNvPr id="2" name="Group 45"/>
          <p:cNvGrpSpPr/>
          <p:nvPr/>
        </p:nvGrpSpPr>
        <p:grpSpPr>
          <a:xfrm>
            <a:off x="3924295" y="845728"/>
            <a:ext cx="640085" cy="5799001"/>
            <a:chOff x="3924295" y="784858"/>
            <a:chExt cx="640085" cy="5799001"/>
          </a:xfrm>
        </p:grpSpPr>
        <p:sp>
          <p:nvSpPr>
            <p:cNvPr id="29" name="Isosceles Triangle 28"/>
            <p:cNvSpPr/>
            <p:nvPr/>
          </p:nvSpPr>
          <p:spPr>
            <a:xfrm rot="10800000">
              <a:off x="3924300" y="5593259"/>
              <a:ext cx="623958" cy="990600"/>
            </a:xfrm>
            <a:prstGeom prst="triangle">
              <a:avLst/>
            </a:prstGeom>
            <a:gradFill>
              <a:gsLst>
                <a:gs pos="0">
                  <a:schemeClr val="bg1"/>
                </a:gs>
                <a:gs pos="87000">
                  <a:srgbClr val="0066FF"/>
                </a:gs>
              </a:gsLst>
              <a:lin ang="162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Isosceles Triangle 16"/>
            <p:cNvSpPr/>
            <p:nvPr/>
          </p:nvSpPr>
          <p:spPr>
            <a:xfrm rot="10800000">
              <a:off x="3924300" y="5156201"/>
              <a:ext cx="623958" cy="990600"/>
            </a:xfrm>
            <a:prstGeom prst="triangle">
              <a:avLst/>
            </a:prstGeom>
            <a:gradFill>
              <a:gsLst>
                <a:gs pos="0">
                  <a:schemeClr val="accent1">
                    <a:tint val="100000"/>
                    <a:shade val="100000"/>
                    <a:satMod val="130000"/>
                  </a:schemeClr>
                </a:gs>
                <a:gs pos="100000">
                  <a:srgbClr val="0099FF"/>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Isosceles Triangle 20"/>
            <p:cNvSpPr/>
            <p:nvPr/>
          </p:nvSpPr>
          <p:spPr>
            <a:xfrm rot="10800000">
              <a:off x="3924295" y="4457702"/>
              <a:ext cx="623958" cy="990600"/>
            </a:xfrm>
            <a:prstGeom prst="triangle">
              <a:avLst/>
            </a:prstGeom>
            <a:gradFill>
              <a:gsLst>
                <a:gs pos="0">
                  <a:schemeClr val="bg1"/>
                </a:gs>
                <a:gs pos="87000">
                  <a:srgbClr val="0066FF"/>
                </a:gs>
              </a:gsLst>
              <a:lin ang="162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Isosceles Triangle 19"/>
            <p:cNvSpPr/>
            <p:nvPr/>
          </p:nvSpPr>
          <p:spPr>
            <a:xfrm rot="10800000">
              <a:off x="3924297" y="3181350"/>
              <a:ext cx="623958" cy="990600"/>
            </a:xfrm>
            <a:prstGeom prst="triangle">
              <a:avLst/>
            </a:prstGeom>
            <a:gradFill>
              <a:gsLst>
                <a:gs pos="0">
                  <a:schemeClr val="bg1"/>
                </a:gs>
                <a:gs pos="87000">
                  <a:srgbClr val="0066FF"/>
                </a:gs>
              </a:gsLst>
              <a:lin ang="162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Isosceles Triangle 12"/>
            <p:cNvSpPr/>
            <p:nvPr/>
          </p:nvSpPr>
          <p:spPr>
            <a:xfrm rot="10800000">
              <a:off x="3924298" y="2495550"/>
              <a:ext cx="623958" cy="990600"/>
            </a:xfrm>
            <a:prstGeom prst="triangle">
              <a:avLst/>
            </a:prstGeom>
            <a:gradFill>
              <a:gsLst>
                <a:gs pos="0">
                  <a:schemeClr val="accent1">
                    <a:tint val="100000"/>
                    <a:shade val="100000"/>
                    <a:satMod val="130000"/>
                  </a:schemeClr>
                </a:gs>
                <a:gs pos="100000">
                  <a:srgbClr val="0099FF"/>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Isosceles Triangle 18"/>
            <p:cNvSpPr/>
            <p:nvPr/>
          </p:nvSpPr>
          <p:spPr>
            <a:xfrm rot="10800000">
              <a:off x="3924300" y="2000249"/>
              <a:ext cx="623958" cy="990600"/>
            </a:xfrm>
            <a:prstGeom prst="triangle">
              <a:avLst/>
            </a:prstGeom>
            <a:gradFill>
              <a:gsLst>
                <a:gs pos="0">
                  <a:schemeClr val="bg1"/>
                </a:gs>
                <a:gs pos="87000">
                  <a:srgbClr val="0066FF"/>
                </a:gs>
              </a:gsLst>
              <a:lin ang="162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Isosceles Triangle 10"/>
            <p:cNvSpPr/>
            <p:nvPr/>
          </p:nvSpPr>
          <p:spPr>
            <a:xfrm rot="10800000">
              <a:off x="3940422" y="1504949"/>
              <a:ext cx="623958" cy="990600"/>
            </a:xfrm>
            <a:prstGeom prst="triangle">
              <a:avLst/>
            </a:prstGeom>
            <a:gradFill>
              <a:gsLst>
                <a:gs pos="0">
                  <a:schemeClr val="accent1">
                    <a:tint val="100000"/>
                    <a:shade val="100000"/>
                    <a:satMod val="130000"/>
                  </a:schemeClr>
                </a:gs>
                <a:gs pos="100000">
                  <a:srgbClr val="0099FF"/>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Isosceles Triangle 5"/>
            <p:cNvSpPr/>
            <p:nvPr/>
          </p:nvSpPr>
          <p:spPr>
            <a:xfrm rot="10800000">
              <a:off x="3936171" y="784858"/>
              <a:ext cx="623958" cy="990600"/>
            </a:xfrm>
            <a:prstGeom prst="triangle">
              <a:avLst/>
            </a:prstGeom>
            <a:gradFill>
              <a:gsLst>
                <a:gs pos="0">
                  <a:schemeClr val="bg1"/>
                </a:gs>
                <a:gs pos="87000">
                  <a:srgbClr val="0066FF"/>
                </a:gs>
              </a:gsLst>
              <a:lin ang="162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2" name="Rectangle 21"/>
          <p:cNvSpPr/>
          <p:nvPr/>
        </p:nvSpPr>
        <p:spPr>
          <a:xfrm>
            <a:off x="3693914" y="400137"/>
            <a:ext cx="1143262" cy="769441"/>
          </a:xfrm>
          <a:prstGeom prst="rect">
            <a:avLst/>
          </a:prstGeom>
          <a:noFill/>
        </p:spPr>
        <p:txBody>
          <a:bodyPr wrap="none" lIns="91440" tIns="45720" rIns="91440" bIns="45720">
            <a:spAutoFit/>
          </a:bodyPr>
          <a:lstStyle/>
          <a:p>
            <a:pPr algn="ctr"/>
            <a:r>
              <a:rPr lang="en-US" sz="4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APR</a:t>
            </a:r>
            <a:endParaRPr lang="en-US" sz="4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23" name="Rectangle 22"/>
          <p:cNvSpPr/>
          <p:nvPr/>
        </p:nvSpPr>
        <p:spPr>
          <a:xfrm>
            <a:off x="3707185" y="1802307"/>
            <a:ext cx="1104790" cy="769441"/>
          </a:xfrm>
          <a:prstGeom prst="rect">
            <a:avLst/>
          </a:prstGeom>
          <a:noFill/>
        </p:spPr>
        <p:txBody>
          <a:bodyPr wrap="none" lIns="91440" tIns="45720" rIns="91440" bIns="45720">
            <a:spAutoFit/>
          </a:bodyPr>
          <a:lstStyle/>
          <a:p>
            <a:pPr algn="ctr"/>
            <a:r>
              <a:rPr lang="en-US" sz="4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MEI</a:t>
            </a:r>
            <a:endParaRPr lang="en-US" sz="4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grpSp>
        <p:nvGrpSpPr>
          <p:cNvPr id="3" name="Group 77"/>
          <p:cNvGrpSpPr/>
          <p:nvPr/>
        </p:nvGrpSpPr>
        <p:grpSpPr>
          <a:xfrm>
            <a:off x="19050" y="919309"/>
            <a:ext cx="4263390" cy="1309539"/>
            <a:chOff x="19050" y="919309"/>
            <a:chExt cx="4263390" cy="1309539"/>
          </a:xfrm>
        </p:grpSpPr>
        <p:sp>
          <p:nvSpPr>
            <p:cNvPr id="40" name="Rectangle 39"/>
            <p:cNvSpPr/>
            <p:nvPr/>
          </p:nvSpPr>
          <p:spPr>
            <a:xfrm>
              <a:off x="2161616" y="1328051"/>
              <a:ext cx="1223412" cy="338554"/>
            </a:xfrm>
            <a:prstGeom prst="rect">
              <a:avLst/>
            </a:prstGeom>
          </p:spPr>
          <p:txBody>
            <a:bodyPr wrap="none">
              <a:spAutoFit/>
            </a:bodyPr>
            <a:lstStyle/>
            <a:p>
              <a:pPr algn="ctr"/>
              <a:r>
                <a:rPr lang="en-US" sz="1600" dirty="0" smtClean="0">
                  <a:latin typeface="Segoe UI" pitchFamily="34" charset="0"/>
                  <a:ea typeface="Segoe UI" pitchFamily="34" charset="0"/>
                  <a:cs typeface="Segoe UI" pitchFamily="34" charset="0"/>
                </a:rPr>
                <a:t>27 – 30 Apr</a:t>
              </a:r>
              <a:endParaRPr lang="en-US" sz="1600" dirty="0">
                <a:latin typeface="Segoe UI" pitchFamily="34" charset="0"/>
                <a:ea typeface="Segoe UI" pitchFamily="34" charset="0"/>
                <a:cs typeface="Segoe UI" pitchFamily="34" charset="0"/>
              </a:endParaRPr>
            </a:p>
          </p:txBody>
        </p:sp>
        <p:sp>
          <p:nvSpPr>
            <p:cNvPr id="41" name="Rectangle 40"/>
            <p:cNvSpPr/>
            <p:nvPr/>
          </p:nvSpPr>
          <p:spPr>
            <a:xfrm>
              <a:off x="76200" y="919309"/>
              <a:ext cx="2152650" cy="1309539"/>
            </a:xfrm>
            <a:prstGeom prst="rect">
              <a:avLst/>
            </a:prstGeom>
            <a:gradFill>
              <a:gsLst>
                <a:gs pos="0">
                  <a:schemeClr val="bg1"/>
                </a:gs>
                <a:gs pos="100000">
                  <a:srgbClr val="FFC000"/>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80000"/>
                </a:lnSpc>
                <a:defRPr/>
              </a:pPr>
              <a:endParaRPr lang="en-US" sz="1400" b="1" dirty="0" smtClean="0">
                <a:solidFill>
                  <a:schemeClr val="tx1"/>
                </a:solidFill>
                <a:latin typeface="Segoe UI" pitchFamily="34" charset="0"/>
                <a:ea typeface="Segoe UI" pitchFamily="34" charset="0"/>
                <a:cs typeface="Segoe UI" pitchFamily="34" charset="0"/>
              </a:endParaRPr>
            </a:p>
            <a:p>
              <a:pPr algn="ctr">
                <a:lnSpc>
                  <a:spcPct val="80000"/>
                </a:lnSpc>
                <a:defRPr/>
              </a:pPr>
              <a:endParaRPr lang="en-US" sz="1400" b="1" dirty="0" smtClean="0">
                <a:solidFill>
                  <a:schemeClr val="tx1"/>
                </a:solidFill>
                <a:latin typeface="Segoe UI" pitchFamily="34" charset="0"/>
                <a:ea typeface="Segoe UI" pitchFamily="34" charset="0"/>
                <a:cs typeface="Segoe UI" pitchFamily="34" charset="0"/>
              </a:endParaRPr>
            </a:p>
            <a:p>
              <a:pPr algn="ctr">
                <a:lnSpc>
                  <a:spcPct val="80000"/>
                </a:lnSpc>
                <a:defRPr/>
              </a:pPr>
              <a:endParaRPr lang="en-US" sz="1400" b="1" dirty="0">
                <a:solidFill>
                  <a:schemeClr val="tx1"/>
                </a:solidFill>
                <a:latin typeface="Segoe UI" pitchFamily="34" charset="0"/>
                <a:ea typeface="Segoe UI" pitchFamily="34" charset="0"/>
                <a:cs typeface="Segoe UI" pitchFamily="34" charset="0"/>
              </a:endParaRPr>
            </a:p>
          </p:txBody>
        </p:sp>
        <p:sp>
          <p:nvSpPr>
            <p:cNvPr id="42" name="Rectangle 41"/>
            <p:cNvSpPr/>
            <p:nvPr/>
          </p:nvSpPr>
          <p:spPr>
            <a:xfrm>
              <a:off x="19050" y="1020453"/>
              <a:ext cx="2171700" cy="1126462"/>
            </a:xfrm>
            <a:prstGeom prst="rect">
              <a:avLst/>
            </a:prstGeom>
          </p:spPr>
          <p:txBody>
            <a:bodyPr wrap="square">
              <a:spAutoFit/>
            </a:bodyPr>
            <a:lstStyle/>
            <a:p>
              <a:pPr algn="ctr">
                <a:lnSpc>
                  <a:spcPct val="80000"/>
                </a:lnSpc>
                <a:defRPr/>
              </a:pPr>
              <a:r>
                <a:rPr lang="en-US" sz="1400" b="1" dirty="0" err="1" smtClean="0">
                  <a:latin typeface="Segoe UI" pitchFamily="34" charset="0"/>
                  <a:ea typeface="Segoe UI" pitchFamily="34" charset="0"/>
                  <a:cs typeface="Segoe UI" pitchFamily="34" charset="0"/>
                </a:rPr>
                <a:t>Pelantikan</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Jawatankuasa</a:t>
              </a:r>
              <a:r>
                <a:rPr lang="en-US" sz="1400" b="1" dirty="0" smtClean="0">
                  <a:latin typeface="Segoe UI" pitchFamily="34" charset="0"/>
                  <a:ea typeface="Segoe UI" pitchFamily="34" charset="0"/>
                  <a:cs typeface="Segoe UI" pitchFamily="34" charset="0"/>
                </a:rPr>
                <a:t> </a:t>
              </a:r>
            </a:p>
            <a:p>
              <a:pPr algn="ctr">
                <a:lnSpc>
                  <a:spcPct val="80000"/>
                </a:lnSpc>
                <a:defRPr/>
              </a:pPr>
              <a:r>
                <a:rPr lang="en-US" sz="1400" b="1" dirty="0" smtClean="0">
                  <a:latin typeface="Segoe UI" pitchFamily="34" charset="0"/>
                  <a:ea typeface="Segoe UI" pitchFamily="34" charset="0"/>
                  <a:cs typeface="Segoe UI" pitchFamily="34" charset="0"/>
                </a:rPr>
                <a:t>PBPPP</a:t>
              </a:r>
            </a:p>
            <a:p>
              <a:pPr algn="ctr">
                <a:lnSpc>
                  <a:spcPct val="80000"/>
                </a:lnSpc>
                <a:defRPr/>
              </a:pPr>
              <a:r>
                <a:rPr lang="en-US" sz="1400" b="1" dirty="0" smtClean="0">
                  <a:solidFill>
                    <a:srgbClr val="FF0000"/>
                  </a:solidFill>
                  <a:latin typeface="Segoe UI" pitchFamily="34" charset="0"/>
                  <a:ea typeface="Segoe UI" pitchFamily="34" charset="0"/>
                  <a:cs typeface="Segoe UI" pitchFamily="34" charset="0"/>
                </a:rPr>
                <a:t>BAH./JPN/PPD</a:t>
              </a:r>
            </a:p>
            <a:p>
              <a:pPr algn="ctr">
                <a:lnSpc>
                  <a:spcPct val="80000"/>
                </a:lnSpc>
                <a:defRPr/>
              </a:pPr>
              <a:r>
                <a:rPr lang="en-US" sz="1400" b="1" dirty="0" err="1" smtClean="0">
                  <a:latin typeface="Segoe UI" pitchFamily="34" charset="0"/>
                  <a:ea typeface="Segoe UI" pitchFamily="34" charset="0"/>
                  <a:cs typeface="Segoe UI" pitchFamily="34" charset="0"/>
                </a:rPr>
                <a:t>Penetapan</a:t>
              </a:r>
              <a:r>
                <a:rPr lang="en-US" sz="1400" b="1" dirty="0" smtClean="0">
                  <a:latin typeface="Segoe UI" pitchFamily="34" charset="0"/>
                  <a:ea typeface="Segoe UI" pitchFamily="34" charset="0"/>
                  <a:cs typeface="Segoe UI" pitchFamily="34" charset="0"/>
                </a:rPr>
                <a:t> PP 1 </a:t>
              </a:r>
            </a:p>
            <a:p>
              <a:pPr algn="ctr">
                <a:lnSpc>
                  <a:spcPct val="80000"/>
                </a:lnSpc>
                <a:defRPr/>
              </a:pPr>
              <a:r>
                <a:rPr lang="en-US" sz="1400" b="1" dirty="0" err="1" smtClean="0">
                  <a:latin typeface="Segoe UI" pitchFamily="34" charset="0"/>
                  <a:ea typeface="Segoe UI" pitchFamily="34" charset="0"/>
                  <a:cs typeface="Segoe UI" pitchFamily="34" charset="0"/>
                </a:rPr>
                <a:t>dan</a:t>
              </a:r>
              <a:r>
                <a:rPr lang="en-US" sz="1400" b="1" dirty="0" smtClean="0">
                  <a:latin typeface="Segoe UI" pitchFamily="34" charset="0"/>
                  <a:ea typeface="Segoe UI" pitchFamily="34" charset="0"/>
                  <a:cs typeface="Segoe UI" pitchFamily="34" charset="0"/>
                </a:rPr>
                <a:t> PP2 </a:t>
              </a:r>
              <a:r>
                <a:rPr lang="en-US" sz="1400" b="1" dirty="0" smtClean="0">
                  <a:solidFill>
                    <a:srgbClr val="FF0000"/>
                  </a:solidFill>
                  <a:latin typeface="Segoe UI" pitchFamily="34" charset="0"/>
                  <a:ea typeface="Segoe UI" pitchFamily="34" charset="0"/>
                  <a:cs typeface="Segoe UI" pitchFamily="34" charset="0"/>
                </a:rPr>
                <a:t>(PTA)</a:t>
              </a:r>
              <a:endParaRPr lang="en-US" sz="1400" b="1" dirty="0">
                <a:solidFill>
                  <a:srgbClr val="FF0000"/>
                </a:solidFill>
                <a:latin typeface="Segoe UI" pitchFamily="34" charset="0"/>
                <a:ea typeface="Segoe UI" pitchFamily="34" charset="0"/>
                <a:cs typeface="Segoe UI" pitchFamily="34" charset="0"/>
              </a:endParaRPr>
            </a:p>
          </p:txBody>
        </p:sp>
        <p:sp>
          <p:nvSpPr>
            <p:cNvPr id="37" name="Oval 36"/>
            <p:cNvSpPr/>
            <p:nvPr/>
          </p:nvSpPr>
          <p:spPr>
            <a:xfrm>
              <a:off x="4191000" y="1573528"/>
              <a:ext cx="91440" cy="91440"/>
            </a:xfrm>
            <a:prstGeom prst="ellips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8" name="Straight Connector 37"/>
            <p:cNvCxnSpPr/>
            <p:nvPr/>
          </p:nvCxnSpPr>
          <p:spPr>
            <a:xfrm>
              <a:off x="2171700" y="1623058"/>
              <a:ext cx="1981200" cy="0"/>
            </a:xfrm>
            <a:prstGeom prst="line">
              <a:avLst/>
            </a:prstGeom>
            <a:ln w="28575">
              <a:solidFill>
                <a:srgbClr val="FF0000"/>
              </a:solidFill>
              <a:prstDash val="sysDot"/>
            </a:ln>
          </p:spPr>
          <p:style>
            <a:lnRef idx="2">
              <a:schemeClr val="accent1"/>
            </a:lnRef>
            <a:fillRef idx="0">
              <a:schemeClr val="accent1"/>
            </a:fillRef>
            <a:effectRef idx="1">
              <a:schemeClr val="accent1"/>
            </a:effectRef>
            <a:fontRef idx="minor">
              <a:schemeClr val="tx1"/>
            </a:fontRef>
          </p:style>
        </p:cxnSp>
      </p:grpSp>
      <p:sp>
        <p:nvSpPr>
          <p:cNvPr id="14" name="Isosceles Triangle 13"/>
          <p:cNvSpPr/>
          <p:nvPr/>
        </p:nvSpPr>
        <p:spPr>
          <a:xfrm rot="10800000">
            <a:off x="3924296" y="3829051"/>
            <a:ext cx="623958" cy="990600"/>
          </a:xfrm>
          <a:prstGeom prst="triangle">
            <a:avLst/>
          </a:prstGeom>
          <a:gradFill>
            <a:gsLst>
              <a:gs pos="0">
                <a:schemeClr val="accent1">
                  <a:tint val="100000"/>
                  <a:shade val="100000"/>
                  <a:satMod val="130000"/>
                </a:schemeClr>
              </a:gs>
              <a:gs pos="100000">
                <a:srgbClr val="0099FF"/>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Rectangle 24"/>
          <p:cNvSpPr/>
          <p:nvPr/>
        </p:nvSpPr>
        <p:spPr>
          <a:xfrm>
            <a:off x="3754960" y="3192214"/>
            <a:ext cx="1112805" cy="769441"/>
          </a:xfrm>
          <a:prstGeom prst="rect">
            <a:avLst/>
          </a:prstGeom>
          <a:noFill/>
        </p:spPr>
        <p:txBody>
          <a:bodyPr wrap="none" lIns="91440" tIns="45720" rIns="91440" bIns="45720">
            <a:spAutoFit/>
          </a:bodyPr>
          <a:lstStyle/>
          <a:p>
            <a:pPr algn="ctr"/>
            <a:r>
              <a:rPr lang="en-US" sz="4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JUN</a:t>
            </a:r>
            <a:endParaRPr lang="en-US" sz="4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24" name="Rectangle 23"/>
          <p:cNvSpPr/>
          <p:nvPr/>
        </p:nvSpPr>
        <p:spPr>
          <a:xfrm>
            <a:off x="3993494" y="3738640"/>
            <a:ext cx="562975" cy="461665"/>
          </a:xfrm>
          <a:prstGeom prst="rect">
            <a:avLst/>
          </a:prstGeom>
          <a:noFill/>
        </p:spPr>
        <p:txBody>
          <a:bodyPr wrap="none" lIns="91440" tIns="45720" rIns="91440" bIns="45720">
            <a:spAutoFit/>
          </a:bodyPr>
          <a:lstStyle/>
          <a:p>
            <a:pPr algn="ctr"/>
            <a:r>
              <a:rPr lang="en-US" sz="2400" b="1" dirty="0" err="1"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JUl</a:t>
            </a:r>
            <a:endParaRPr lang="en-US" sz="2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27" name="Rectangle 26"/>
          <p:cNvSpPr/>
          <p:nvPr/>
        </p:nvSpPr>
        <p:spPr>
          <a:xfrm>
            <a:off x="3883701" y="4914902"/>
            <a:ext cx="713657" cy="461665"/>
          </a:xfrm>
          <a:prstGeom prst="rect">
            <a:avLst/>
          </a:prstGeom>
          <a:noFill/>
        </p:spPr>
        <p:txBody>
          <a:bodyPr wrap="square" lIns="91440" tIns="45720" rIns="91440" bIns="45720">
            <a:spAutoFit/>
          </a:bodyPr>
          <a:lstStyle/>
          <a:p>
            <a:pPr algn="ctr"/>
            <a:r>
              <a:rPr lang="en-US" sz="2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OKT</a:t>
            </a:r>
            <a:endParaRPr lang="en-US" sz="2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28" name="Rectangle 27"/>
          <p:cNvSpPr/>
          <p:nvPr/>
        </p:nvSpPr>
        <p:spPr>
          <a:xfrm>
            <a:off x="3899116" y="4656436"/>
            <a:ext cx="644728" cy="461665"/>
          </a:xfrm>
          <a:prstGeom prst="rect">
            <a:avLst/>
          </a:prstGeom>
          <a:noFill/>
        </p:spPr>
        <p:txBody>
          <a:bodyPr wrap="none" lIns="91440" tIns="45720" rIns="91440" bIns="45720">
            <a:spAutoFit/>
          </a:bodyPr>
          <a:lstStyle/>
          <a:p>
            <a:pPr algn="ctr"/>
            <a:r>
              <a:rPr lang="en-US" sz="2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SEP</a:t>
            </a:r>
            <a:endParaRPr lang="en-US" sz="2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30" name="Rectangle 29"/>
          <p:cNvSpPr/>
          <p:nvPr/>
        </p:nvSpPr>
        <p:spPr>
          <a:xfrm>
            <a:off x="3635078" y="5473540"/>
            <a:ext cx="1080287" cy="769441"/>
          </a:xfrm>
          <a:prstGeom prst="rect">
            <a:avLst/>
          </a:prstGeom>
          <a:noFill/>
        </p:spPr>
        <p:txBody>
          <a:bodyPr wrap="square" lIns="91440" tIns="45720" rIns="91440" bIns="45720">
            <a:spAutoFit/>
          </a:bodyPr>
          <a:lstStyle/>
          <a:p>
            <a:pPr algn="ctr"/>
            <a:r>
              <a:rPr lang="en-US" sz="4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DIS</a:t>
            </a:r>
            <a:endParaRPr lang="en-US" sz="4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grpSp>
        <p:nvGrpSpPr>
          <p:cNvPr id="7" name="Group 79"/>
          <p:cNvGrpSpPr/>
          <p:nvPr/>
        </p:nvGrpSpPr>
        <p:grpSpPr>
          <a:xfrm>
            <a:off x="0" y="2299315"/>
            <a:ext cx="4263390" cy="1309539"/>
            <a:chOff x="0" y="2299315"/>
            <a:chExt cx="4263390" cy="1309539"/>
          </a:xfrm>
        </p:grpSpPr>
        <p:sp>
          <p:nvSpPr>
            <p:cNvPr id="50" name="Oval 49"/>
            <p:cNvSpPr/>
            <p:nvPr/>
          </p:nvSpPr>
          <p:spPr>
            <a:xfrm>
              <a:off x="4171950" y="2667261"/>
              <a:ext cx="91440" cy="91440"/>
            </a:xfrm>
            <a:prstGeom prst="ellips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1" name="Straight Connector 50"/>
            <p:cNvCxnSpPr/>
            <p:nvPr/>
          </p:nvCxnSpPr>
          <p:spPr>
            <a:xfrm>
              <a:off x="2190750" y="2735841"/>
              <a:ext cx="1981200" cy="0"/>
            </a:xfrm>
            <a:prstGeom prst="line">
              <a:avLst/>
            </a:prstGeom>
            <a:ln w="28575">
              <a:solidFill>
                <a:srgbClr val="FF0000"/>
              </a:solidFill>
              <a:prstDash val="sysDot"/>
            </a:ln>
          </p:spPr>
          <p:style>
            <a:lnRef idx="2">
              <a:schemeClr val="accent1"/>
            </a:lnRef>
            <a:fillRef idx="0">
              <a:schemeClr val="accent1"/>
            </a:fillRef>
            <a:effectRef idx="1">
              <a:schemeClr val="accent1"/>
            </a:effectRef>
            <a:fontRef idx="minor">
              <a:schemeClr val="tx1"/>
            </a:fontRef>
          </p:style>
        </p:cxnSp>
        <p:sp>
          <p:nvSpPr>
            <p:cNvPr id="52" name="Rectangle 51"/>
            <p:cNvSpPr/>
            <p:nvPr/>
          </p:nvSpPr>
          <p:spPr>
            <a:xfrm>
              <a:off x="57150" y="2299315"/>
              <a:ext cx="2152650" cy="1309539"/>
            </a:xfrm>
            <a:prstGeom prst="rect">
              <a:avLst/>
            </a:prstGeom>
            <a:gradFill>
              <a:gsLst>
                <a:gs pos="0">
                  <a:schemeClr val="bg1"/>
                </a:gs>
                <a:gs pos="100000">
                  <a:schemeClr val="accent4">
                    <a:lumMod val="60000"/>
                    <a:lumOff val="4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80000"/>
                </a:lnSpc>
                <a:defRPr/>
              </a:pPr>
              <a:endParaRPr lang="en-US" sz="1400" b="1" dirty="0" smtClean="0">
                <a:solidFill>
                  <a:schemeClr val="tx1"/>
                </a:solidFill>
                <a:latin typeface="Segoe UI" pitchFamily="34" charset="0"/>
                <a:ea typeface="Segoe UI" pitchFamily="34" charset="0"/>
                <a:cs typeface="Segoe UI" pitchFamily="34" charset="0"/>
              </a:endParaRPr>
            </a:p>
            <a:p>
              <a:pPr algn="ctr">
                <a:lnSpc>
                  <a:spcPct val="80000"/>
                </a:lnSpc>
                <a:defRPr/>
              </a:pPr>
              <a:endParaRPr lang="en-US" sz="1400" b="1" dirty="0" smtClean="0">
                <a:solidFill>
                  <a:schemeClr val="tx1"/>
                </a:solidFill>
                <a:latin typeface="Segoe UI" pitchFamily="34" charset="0"/>
                <a:ea typeface="Segoe UI" pitchFamily="34" charset="0"/>
                <a:cs typeface="Segoe UI" pitchFamily="34" charset="0"/>
              </a:endParaRPr>
            </a:p>
            <a:p>
              <a:pPr algn="ctr">
                <a:lnSpc>
                  <a:spcPct val="80000"/>
                </a:lnSpc>
                <a:defRPr/>
              </a:pPr>
              <a:endParaRPr lang="en-US" sz="1400" b="1" dirty="0">
                <a:solidFill>
                  <a:schemeClr val="tx1"/>
                </a:solidFill>
                <a:latin typeface="Segoe UI" pitchFamily="34" charset="0"/>
                <a:ea typeface="Segoe UI" pitchFamily="34" charset="0"/>
                <a:cs typeface="Segoe UI" pitchFamily="34" charset="0"/>
              </a:endParaRPr>
            </a:p>
          </p:txBody>
        </p:sp>
        <p:sp>
          <p:nvSpPr>
            <p:cNvPr id="53" name="Rectangle 52"/>
            <p:cNvSpPr/>
            <p:nvPr/>
          </p:nvSpPr>
          <p:spPr>
            <a:xfrm>
              <a:off x="0" y="2400459"/>
              <a:ext cx="2171700" cy="1126462"/>
            </a:xfrm>
            <a:prstGeom prst="rect">
              <a:avLst/>
            </a:prstGeom>
          </p:spPr>
          <p:txBody>
            <a:bodyPr wrap="square">
              <a:spAutoFit/>
            </a:bodyPr>
            <a:lstStyle/>
            <a:p>
              <a:pPr algn="ctr">
                <a:lnSpc>
                  <a:spcPct val="80000"/>
                </a:lnSpc>
                <a:defRPr/>
              </a:pPr>
              <a:r>
                <a:rPr lang="en-US" sz="1400" b="1" dirty="0" err="1" smtClean="0">
                  <a:latin typeface="Segoe UI" pitchFamily="34" charset="0"/>
                  <a:ea typeface="Segoe UI" pitchFamily="34" charset="0"/>
                  <a:cs typeface="Segoe UI" pitchFamily="34" charset="0"/>
                </a:rPr>
                <a:t>Pelantikan</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Jawatankuasa</a:t>
              </a:r>
              <a:r>
                <a:rPr lang="en-US" sz="1400" b="1" dirty="0" smtClean="0">
                  <a:latin typeface="Segoe UI" pitchFamily="34" charset="0"/>
                  <a:ea typeface="Segoe UI" pitchFamily="34" charset="0"/>
                  <a:cs typeface="Segoe UI" pitchFamily="34" charset="0"/>
                </a:rPr>
                <a:t> </a:t>
              </a:r>
            </a:p>
            <a:p>
              <a:pPr algn="ctr">
                <a:lnSpc>
                  <a:spcPct val="80000"/>
                </a:lnSpc>
                <a:defRPr/>
              </a:pPr>
              <a:r>
                <a:rPr lang="en-US" sz="1400" b="1" dirty="0" smtClean="0">
                  <a:latin typeface="Segoe UI" pitchFamily="34" charset="0"/>
                  <a:ea typeface="Segoe UI" pitchFamily="34" charset="0"/>
                  <a:cs typeface="Segoe UI" pitchFamily="34" charset="0"/>
                </a:rPr>
                <a:t>PBPPP</a:t>
              </a:r>
            </a:p>
            <a:p>
              <a:pPr algn="ctr">
                <a:lnSpc>
                  <a:spcPct val="80000"/>
                </a:lnSpc>
                <a:defRPr/>
              </a:pPr>
              <a:r>
                <a:rPr lang="en-US" sz="1400" b="1" dirty="0" smtClean="0">
                  <a:solidFill>
                    <a:srgbClr val="FF0000"/>
                  </a:solidFill>
                  <a:latin typeface="Segoe UI" pitchFamily="34" charset="0"/>
                  <a:ea typeface="Segoe UI" pitchFamily="34" charset="0"/>
                  <a:cs typeface="Segoe UI" pitchFamily="34" charset="0"/>
                </a:rPr>
                <a:t>Sekolah</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dan</a:t>
              </a:r>
              <a:endParaRPr lang="en-US" sz="1400" b="1" dirty="0" smtClean="0">
                <a:latin typeface="Segoe UI" pitchFamily="34" charset="0"/>
                <a:ea typeface="Segoe UI" pitchFamily="34" charset="0"/>
                <a:cs typeface="Segoe UI" pitchFamily="34" charset="0"/>
              </a:endParaRPr>
            </a:p>
            <a:p>
              <a:pPr algn="ctr">
                <a:lnSpc>
                  <a:spcPct val="80000"/>
                </a:lnSpc>
                <a:defRPr/>
              </a:pPr>
              <a:r>
                <a:rPr lang="en-US" sz="1400" b="1" dirty="0" err="1" smtClean="0">
                  <a:latin typeface="Segoe UI" pitchFamily="34" charset="0"/>
                  <a:ea typeface="Segoe UI" pitchFamily="34" charset="0"/>
                  <a:cs typeface="Segoe UI" pitchFamily="34" charset="0"/>
                </a:rPr>
                <a:t>Penetapan</a:t>
              </a:r>
              <a:r>
                <a:rPr lang="en-US" sz="1400" b="1" dirty="0" smtClean="0">
                  <a:latin typeface="Segoe UI" pitchFamily="34" charset="0"/>
                  <a:ea typeface="Segoe UI" pitchFamily="34" charset="0"/>
                  <a:cs typeface="Segoe UI" pitchFamily="34" charset="0"/>
                </a:rPr>
                <a:t> PP 1 </a:t>
              </a:r>
            </a:p>
            <a:p>
              <a:pPr algn="ctr">
                <a:lnSpc>
                  <a:spcPct val="80000"/>
                </a:lnSpc>
                <a:defRPr/>
              </a:pPr>
              <a:r>
                <a:rPr lang="en-US" sz="1400" b="1" dirty="0" err="1" smtClean="0">
                  <a:latin typeface="Segoe UI" pitchFamily="34" charset="0"/>
                  <a:ea typeface="Segoe UI" pitchFamily="34" charset="0"/>
                  <a:cs typeface="Segoe UI" pitchFamily="34" charset="0"/>
                </a:rPr>
                <a:t>dan</a:t>
              </a:r>
              <a:r>
                <a:rPr lang="en-US" sz="1400" b="1" dirty="0" smtClean="0">
                  <a:latin typeface="Segoe UI" pitchFamily="34" charset="0"/>
                  <a:ea typeface="Segoe UI" pitchFamily="34" charset="0"/>
                  <a:cs typeface="Segoe UI" pitchFamily="34" charset="0"/>
                </a:rPr>
                <a:t> PP2 </a:t>
              </a:r>
              <a:r>
                <a:rPr lang="en-US" sz="1400" b="1" dirty="0" smtClean="0">
                  <a:solidFill>
                    <a:srgbClr val="FF0000"/>
                  </a:solidFill>
                  <a:latin typeface="Segoe UI" pitchFamily="34" charset="0"/>
                  <a:ea typeface="Segoe UI" pitchFamily="34" charset="0"/>
                  <a:cs typeface="Segoe UI" pitchFamily="34" charset="0"/>
                </a:rPr>
                <a:t>(Guru)</a:t>
              </a:r>
              <a:endParaRPr lang="en-US" sz="1400" b="1" dirty="0">
                <a:solidFill>
                  <a:srgbClr val="FF0000"/>
                </a:solidFill>
                <a:latin typeface="Segoe UI" pitchFamily="34" charset="0"/>
                <a:ea typeface="Segoe UI" pitchFamily="34" charset="0"/>
                <a:cs typeface="Segoe UI" pitchFamily="34" charset="0"/>
              </a:endParaRPr>
            </a:p>
          </p:txBody>
        </p:sp>
        <p:sp>
          <p:nvSpPr>
            <p:cNvPr id="54" name="Rectangle 53"/>
            <p:cNvSpPr/>
            <p:nvPr/>
          </p:nvSpPr>
          <p:spPr>
            <a:xfrm>
              <a:off x="2146195" y="2421637"/>
              <a:ext cx="1128835" cy="338554"/>
            </a:xfrm>
            <a:prstGeom prst="rect">
              <a:avLst/>
            </a:prstGeom>
          </p:spPr>
          <p:txBody>
            <a:bodyPr wrap="none">
              <a:spAutoFit/>
            </a:bodyPr>
            <a:lstStyle/>
            <a:p>
              <a:pPr algn="ctr"/>
              <a:r>
                <a:rPr lang="en-US" sz="1600" dirty="0" smtClean="0">
                  <a:latin typeface="Segoe UI" pitchFamily="34" charset="0"/>
                  <a:ea typeface="Segoe UI" pitchFamily="34" charset="0"/>
                  <a:cs typeface="Segoe UI" pitchFamily="34" charset="0"/>
                </a:rPr>
                <a:t>1 – 17 Mei</a:t>
              </a:r>
              <a:endParaRPr lang="en-US" sz="1600" dirty="0">
                <a:latin typeface="Segoe UI" pitchFamily="34" charset="0"/>
                <a:ea typeface="Segoe UI" pitchFamily="34" charset="0"/>
                <a:cs typeface="Segoe UI" pitchFamily="34" charset="0"/>
              </a:endParaRPr>
            </a:p>
          </p:txBody>
        </p:sp>
      </p:grpSp>
      <p:grpSp>
        <p:nvGrpSpPr>
          <p:cNvPr id="8" name="Group 76"/>
          <p:cNvGrpSpPr/>
          <p:nvPr/>
        </p:nvGrpSpPr>
        <p:grpSpPr>
          <a:xfrm>
            <a:off x="4210050" y="879786"/>
            <a:ext cx="4278630" cy="666751"/>
            <a:chOff x="4210050" y="879786"/>
            <a:chExt cx="4278630" cy="666751"/>
          </a:xfrm>
        </p:grpSpPr>
        <p:sp>
          <p:nvSpPr>
            <p:cNvPr id="36" name="Rectangle 35"/>
            <p:cNvSpPr/>
            <p:nvPr/>
          </p:nvSpPr>
          <p:spPr>
            <a:xfrm>
              <a:off x="6336030" y="879786"/>
              <a:ext cx="2152650" cy="666751"/>
            </a:xfrm>
            <a:prstGeom prst="rect">
              <a:avLst/>
            </a:prstGeom>
            <a:gradFill>
              <a:gsLst>
                <a:gs pos="0">
                  <a:schemeClr val="bg1"/>
                </a:gs>
                <a:gs pos="100000">
                  <a:srgbClr val="92D050"/>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p:cNvSpPr/>
            <p:nvPr/>
          </p:nvSpPr>
          <p:spPr>
            <a:xfrm>
              <a:off x="6202226" y="929958"/>
              <a:ext cx="2286453" cy="616579"/>
            </a:xfrm>
            <a:prstGeom prst="rect">
              <a:avLst/>
            </a:prstGeom>
          </p:spPr>
          <p:txBody>
            <a:bodyPr wrap="square">
              <a:spAutoFit/>
            </a:bodyPr>
            <a:lstStyle/>
            <a:p>
              <a:pPr algn="ctr">
                <a:lnSpc>
                  <a:spcPct val="80000"/>
                </a:lnSpc>
                <a:defRPr/>
              </a:pPr>
              <a:r>
                <a:rPr lang="en-US" sz="1400" b="1" dirty="0" err="1">
                  <a:latin typeface="Segoe UI" pitchFamily="34" charset="0"/>
                  <a:ea typeface="Segoe UI" pitchFamily="34" charset="0"/>
                  <a:cs typeface="Segoe UI" pitchFamily="34" charset="0"/>
                </a:rPr>
                <a:t>Bengkel</a:t>
              </a:r>
              <a:r>
                <a:rPr lang="en-US" sz="1400" b="1" dirty="0">
                  <a:latin typeface="Segoe UI" pitchFamily="34" charset="0"/>
                  <a:ea typeface="Segoe UI" pitchFamily="34" charset="0"/>
                  <a:cs typeface="Segoe UI" pitchFamily="34" charset="0"/>
                </a:rPr>
                <a:t> </a:t>
              </a:r>
              <a:r>
                <a:rPr lang="en-US" sz="1400" b="1" dirty="0" smtClean="0">
                  <a:latin typeface="Segoe UI" pitchFamily="34" charset="0"/>
                  <a:ea typeface="Segoe UI" pitchFamily="34" charset="0"/>
                  <a:cs typeface="Segoe UI" pitchFamily="34" charset="0"/>
                </a:rPr>
                <a:t>Training</a:t>
              </a:r>
            </a:p>
            <a:p>
              <a:pPr algn="ctr">
                <a:lnSpc>
                  <a:spcPct val="80000"/>
                </a:lnSpc>
                <a:defRPr/>
              </a:pPr>
              <a:r>
                <a:rPr lang="en-US" sz="1400" b="1" dirty="0" smtClean="0">
                  <a:latin typeface="Segoe UI" pitchFamily="34" charset="0"/>
                  <a:ea typeface="Segoe UI" pitchFamily="34" charset="0"/>
                  <a:cs typeface="Segoe UI" pitchFamily="34" charset="0"/>
                </a:rPr>
                <a:t>of </a:t>
              </a:r>
              <a:r>
                <a:rPr lang="en-US" sz="1400" b="1" dirty="0">
                  <a:latin typeface="Segoe UI" pitchFamily="34" charset="0"/>
                  <a:ea typeface="Segoe UI" pitchFamily="34" charset="0"/>
                  <a:cs typeface="Segoe UI" pitchFamily="34" charset="0"/>
                </a:rPr>
                <a:t>Trainers (TOT) </a:t>
              </a:r>
              <a:endParaRPr lang="en-US" sz="1400" b="1" dirty="0" smtClean="0">
                <a:latin typeface="Segoe UI" pitchFamily="34" charset="0"/>
                <a:ea typeface="Segoe UI" pitchFamily="34" charset="0"/>
                <a:cs typeface="Segoe UI" pitchFamily="34" charset="0"/>
              </a:endParaRPr>
            </a:p>
            <a:p>
              <a:pPr algn="ctr">
                <a:lnSpc>
                  <a:spcPct val="80000"/>
                </a:lnSpc>
                <a:defRPr/>
              </a:pPr>
              <a:r>
                <a:rPr lang="en-US" sz="1400" b="1" dirty="0" smtClean="0">
                  <a:latin typeface="Segoe UI" pitchFamily="34" charset="0"/>
                  <a:ea typeface="Segoe UI" pitchFamily="34" charset="0"/>
                  <a:cs typeface="Segoe UI" pitchFamily="34" charset="0"/>
                </a:rPr>
                <a:t>PPD </a:t>
              </a:r>
              <a:r>
                <a:rPr lang="en-US" sz="1400" b="1" dirty="0" err="1">
                  <a:latin typeface="Segoe UI" pitchFamily="34" charset="0"/>
                  <a:ea typeface="Segoe UI" pitchFamily="34" charset="0"/>
                  <a:cs typeface="Segoe UI" pitchFamily="34" charset="0"/>
                </a:rPr>
                <a:t>mengikut</a:t>
              </a:r>
              <a:r>
                <a:rPr lang="en-US" sz="1400" b="1" dirty="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zon</a:t>
              </a:r>
              <a:r>
                <a:rPr lang="en-US" sz="1400" b="1" dirty="0" smtClean="0">
                  <a:latin typeface="Segoe UI" pitchFamily="34" charset="0"/>
                  <a:ea typeface="Segoe UI" pitchFamily="34" charset="0"/>
                  <a:cs typeface="Segoe UI" pitchFamily="34" charset="0"/>
                </a:rPr>
                <a:t> </a:t>
              </a:r>
              <a:endParaRPr lang="en-US" sz="1400" b="1" dirty="0">
                <a:latin typeface="Segoe UI" pitchFamily="34" charset="0"/>
                <a:ea typeface="Segoe UI" pitchFamily="34" charset="0"/>
                <a:cs typeface="Segoe UI" pitchFamily="34" charset="0"/>
              </a:endParaRPr>
            </a:p>
          </p:txBody>
        </p:sp>
        <p:sp>
          <p:nvSpPr>
            <p:cNvPr id="31" name="Oval 30"/>
            <p:cNvSpPr/>
            <p:nvPr/>
          </p:nvSpPr>
          <p:spPr>
            <a:xfrm>
              <a:off x="4210050" y="1238248"/>
              <a:ext cx="91440" cy="91440"/>
            </a:xfrm>
            <a:prstGeom prst="ellips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3" name="Straight Connector 32"/>
            <p:cNvCxnSpPr/>
            <p:nvPr/>
          </p:nvCxnSpPr>
          <p:spPr>
            <a:xfrm>
              <a:off x="4354830" y="1325878"/>
              <a:ext cx="1981200" cy="0"/>
            </a:xfrm>
            <a:prstGeom prst="line">
              <a:avLst/>
            </a:prstGeom>
            <a:ln w="28575">
              <a:solidFill>
                <a:srgbClr val="FF0000"/>
              </a:solidFill>
              <a:prstDash val="sysDot"/>
            </a:ln>
          </p:spPr>
          <p:style>
            <a:lnRef idx="2">
              <a:schemeClr val="accent1"/>
            </a:lnRef>
            <a:fillRef idx="0">
              <a:schemeClr val="accent1"/>
            </a:fillRef>
            <a:effectRef idx="1">
              <a:schemeClr val="accent1"/>
            </a:effectRef>
            <a:fontRef idx="minor">
              <a:schemeClr val="tx1"/>
            </a:fontRef>
          </p:style>
        </p:cxnSp>
        <p:sp>
          <p:nvSpPr>
            <p:cNvPr id="35" name="Rectangle 34"/>
            <p:cNvSpPr/>
            <p:nvPr/>
          </p:nvSpPr>
          <p:spPr>
            <a:xfrm>
              <a:off x="5140931" y="1037955"/>
              <a:ext cx="1223412" cy="338554"/>
            </a:xfrm>
            <a:prstGeom prst="rect">
              <a:avLst/>
            </a:prstGeom>
          </p:spPr>
          <p:txBody>
            <a:bodyPr wrap="none">
              <a:spAutoFit/>
            </a:bodyPr>
            <a:lstStyle/>
            <a:p>
              <a:pPr algn="ctr"/>
              <a:r>
                <a:rPr lang="en-US" sz="1600" dirty="0">
                  <a:latin typeface="Segoe UI" pitchFamily="34" charset="0"/>
                  <a:ea typeface="Segoe UI" pitchFamily="34" charset="0"/>
                  <a:cs typeface="Segoe UI" pitchFamily="34" charset="0"/>
                </a:rPr>
                <a:t>21 – 24 </a:t>
              </a:r>
              <a:r>
                <a:rPr lang="en-US" sz="1600" dirty="0" smtClean="0">
                  <a:latin typeface="Segoe UI" pitchFamily="34" charset="0"/>
                  <a:ea typeface="Segoe UI" pitchFamily="34" charset="0"/>
                  <a:cs typeface="Segoe UI" pitchFamily="34" charset="0"/>
                </a:rPr>
                <a:t>Apr</a:t>
              </a:r>
              <a:endParaRPr lang="en-US" sz="1600" dirty="0">
                <a:latin typeface="Segoe UI" pitchFamily="34" charset="0"/>
                <a:ea typeface="Segoe UI" pitchFamily="34" charset="0"/>
                <a:cs typeface="Segoe UI" pitchFamily="34" charset="0"/>
              </a:endParaRPr>
            </a:p>
          </p:txBody>
        </p:sp>
      </p:grpSp>
      <p:grpSp>
        <p:nvGrpSpPr>
          <p:cNvPr id="9" name="Group 80"/>
          <p:cNvGrpSpPr/>
          <p:nvPr/>
        </p:nvGrpSpPr>
        <p:grpSpPr>
          <a:xfrm>
            <a:off x="4191000" y="2661814"/>
            <a:ext cx="4392930" cy="957687"/>
            <a:chOff x="4191000" y="2661814"/>
            <a:chExt cx="4392930" cy="957687"/>
          </a:xfrm>
        </p:grpSpPr>
        <p:sp>
          <p:nvSpPr>
            <p:cNvPr id="55" name="Rectangle 54"/>
            <p:cNvSpPr/>
            <p:nvPr/>
          </p:nvSpPr>
          <p:spPr>
            <a:xfrm>
              <a:off x="6375714" y="2830567"/>
              <a:ext cx="2152650" cy="788934"/>
            </a:xfrm>
            <a:prstGeom prst="rect">
              <a:avLst/>
            </a:prstGeom>
            <a:gradFill>
              <a:gsLst>
                <a:gs pos="0">
                  <a:schemeClr val="bg1"/>
                </a:gs>
                <a:gs pos="100000">
                  <a:schemeClr val="accent4">
                    <a:lumMod val="60000"/>
                    <a:lumOff val="4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55"/>
            <p:cNvSpPr/>
            <p:nvPr/>
          </p:nvSpPr>
          <p:spPr>
            <a:xfrm>
              <a:off x="6337614" y="2830567"/>
              <a:ext cx="2246316" cy="781752"/>
            </a:xfrm>
            <a:prstGeom prst="rect">
              <a:avLst/>
            </a:prstGeom>
          </p:spPr>
          <p:txBody>
            <a:bodyPr wrap="square">
              <a:spAutoFit/>
            </a:bodyPr>
            <a:lstStyle/>
            <a:p>
              <a:pPr algn="ctr">
                <a:lnSpc>
                  <a:spcPct val="80000"/>
                </a:lnSpc>
                <a:defRPr/>
              </a:pPr>
              <a:r>
                <a:rPr lang="en-US" sz="1400" b="1" dirty="0" err="1">
                  <a:latin typeface="Segoe UI" pitchFamily="34" charset="0"/>
                  <a:ea typeface="Segoe UI" pitchFamily="34" charset="0"/>
                  <a:cs typeface="Segoe UI" pitchFamily="34" charset="0"/>
                </a:rPr>
                <a:t>Taklimat</a:t>
              </a:r>
              <a:r>
                <a:rPr lang="en-US" sz="1400" b="1" dirty="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Kepimpinan</a:t>
              </a:r>
              <a:r>
                <a:rPr lang="en-US" sz="1400" b="1" dirty="0" smtClean="0">
                  <a:latin typeface="Segoe UI" pitchFamily="34" charset="0"/>
                  <a:ea typeface="Segoe UI" pitchFamily="34" charset="0"/>
                  <a:cs typeface="Segoe UI" pitchFamily="34" charset="0"/>
                </a:rPr>
                <a:t> Sekolah</a:t>
              </a:r>
              <a:endParaRPr lang="en-US" sz="1400" b="1" dirty="0">
                <a:latin typeface="Segoe UI" pitchFamily="34" charset="0"/>
                <a:ea typeface="Segoe UI" pitchFamily="34" charset="0"/>
                <a:cs typeface="Segoe UI" pitchFamily="34" charset="0"/>
              </a:endParaRPr>
            </a:p>
            <a:p>
              <a:pPr algn="ctr">
                <a:lnSpc>
                  <a:spcPct val="80000"/>
                </a:lnSpc>
                <a:defRPr/>
              </a:pPr>
              <a:r>
                <a:rPr lang="en-US" sz="1400" b="1" dirty="0" err="1">
                  <a:latin typeface="Segoe UI" pitchFamily="34" charset="0"/>
                  <a:ea typeface="Segoe UI" pitchFamily="34" charset="0"/>
                  <a:cs typeface="Segoe UI" pitchFamily="34" charset="0"/>
                </a:rPr>
                <a:t>kepada</a:t>
              </a:r>
              <a:r>
                <a:rPr lang="en-US" sz="1400" b="1" dirty="0">
                  <a:latin typeface="Segoe UI" pitchFamily="34" charset="0"/>
                  <a:ea typeface="Segoe UI" pitchFamily="34" charset="0"/>
                  <a:cs typeface="Segoe UI" pitchFamily="34" charset="0"/>
                </a:rPr>
                <a:t> </a:t>
              </a:r>
              <a:endParaRPr lang="en-US" sz="1400" b="1" dirty="0" smtClean="0">
                <a:latin typeface="Segoe UI" pitchFamily="34" charset="0"/>
                <a:ea typeface="Segoe UI" pitchFamily="34" charset="0"/>
                <a:cs typeface="Segoe UI" pitchFamily="34" charset="0"/>
              </a:endParaRPr>
            </a:p>
            <a:p>
              <a:pPr algn="ctr">
                <a:lnSpc>
                  <a:spcPct val="80000"/>
                </a:lnSpc>
                <a:defRPr/>
              </a:pPr>
              <a:r>
                <a:rPr lang="en-US" sz="1400" b="1" dirty="0" smtClean="0">
                  <a:latin typeface="Segoe UI" pitchFamily="34" charset="0"/>
                  <a:ea typeface="Segoe UI" pitchFamily="34" charset="0"/>
                  <a:cs typeface="Segoe UI" pitchFamily="34" charset="0"/>
                </a:rPr>
                <a:t>Guru</a:t>
              </a:r>
              <a:endParaRPr lang="en-US" sz="1400" b="1" dirty="0">
                <a:latin typeface="Segoe UI" pitchFamily="34" charset="0"/>
                <a:ea typeface="Segoe UI" pitchFamily="34" charset="0"/>
                <a:cs typeface="Segoe UI" pitchFamily="34" charset="0"/>
              </a:endParaRPr>
            </a:p>
          </p:txBody>
        </p:sp>
        <p:cxnSp>
          <p:nvCxnSpPr>
            <p:cNvPr id="57" name="Straight Connector 56"/>
            <p:cNvCxnSpPr/>
            <p:nvPr/>
          </p:nvCxnSpPr>
          <p:spPr>
            <a:xfrm>
              <a:off x="4335780" y="2990964"/>
              <a:ext cx="1981200" cy="0"/>
            </a:xfrm>
            <a:prstGeom prst="line">
              <a:avLst/>
            </a:prstGeom>
            <a:ln w="28575">
              <a:solidFill>
                <a:srgbClr val="FF0000"/>
              </a:solidFill>
              <a:prstDash val="sysDot"/>
            </a:ln>
          </p:spPr>
          <p:style>
            <a:lnRef idx="2">
              <a:schemeClr val="accent1"/>
            </a:lnRef>
            <a:fillRef idx="0">
              <a:schemeClr val="accent1"/>
            </a:fillRef>
            <a:effectRef idx="1">
              <a:schemeClr val="accent1"/>
            </a:effectRef>
            <a:fontRef idx="minor">
              <a:schemeClr val="tx1"/>
            </a:fontRef>
          </p:style>
        </p:cxnSp>
        <p:sp>
          <p:nvSpPr>
            <p:cNvPr id="58" name="Oval 57"/>
            <p:cNvSpPr/>
            <p:nvPr/>
          </p:nvSpPr>
          <p:spPr>
            <a:xfrm>
              <a:off x="4191000" y="2926078"/>
              <a:ext cx="91440" cy="91440"/>
            </a:xfrm>
            <a:prstGeom prst="ellips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Rectangle 58"/>
            <p:cNvSpPr/>
            <p:nvPr/>
          </p:nvSpPr>
          <p:spPr>
            <a:xfrm>
              <a:off x="5128797" y="2661814"/>
              <a:ext cx="1183336" cy="338554"/>
            </a:xfrm>
            <a:prstGeom prst="rect">
              <a:avLst/>
            </a:prstGeom>
          </p:spPr>
          <p:txBody>
            <a:bodyPr wrap="none">
              <a:spAutoFit/>
            </a:bodyPr>
            <a:lstStyle/>
            <a:p>
              <a:pPr algn="ctr"/>
              <a:r>
                <a:rPr lang="en-US" sz="1600" dirty="0" smtClean="0">
                  <a:latin typeface="Segoe UI" pitchFamily="34" charset="0"/>
                  <a:ea typeface="Segoe UI" pitchFamily="34" charset="0"/>
                  <a:cs typeface="Segoe UI" pitchFamily="34" charset="0"/>
                </a:rPr>
                <a:t>17 –29 Mei</a:t>
              </a:r>
              <a:endParaRPr lang="en-US" sz="1600" dirty="0">
                <a:latin typeface="Segoe UI" pitchFamily="34" charset="0"/>
                <a:ea typeface="Segoe UI" pitchFamily="34" charset="0"/>
                <a:cs typeface="Segoe UI" pitchFamily="34" charset="0"/>
              </a:endParaRPr>
            </a:p>
          </p:txBody>
        </p:sp>
      </p:grpSp>
      <p:grpSp>
        <p:nvGrpSpPr>
          <p:cNvPr id="10" name="Group 81"/>
          <p:cNvGrpSpPr/>
          <p:nvPr/>
        </p:nvGrpSpPr>
        <p:grpSpPr>
          <a:xfrm>
            <a:off x="57150" y="3517167"/>
            <a:ext cx="4206240" cy="1200884"/>
            <a:chOff x="57150" y="3517167"/>
            <a:chExt cx="4206240" cy="1200884"/>
          </a:xfrm>
        </p:grpSpPr>
        <p:sp>
          <p:nvSpPr>
            <p:cNvPr id="60" name="Rectangle 59"/>
            <p:cNvSpPr/>
            <p:nvPr/>
          </p:nvSpPr>
          <p:spPr>
            <a:xfrm>
              <a:off x="133350" y="3724055"/>
              <a:ext cx="2095500" cy="993996"/>
            </a:xfrm>
            <a:prstGeom prst="rect">
              <a:avLst/>
            </a:prstGeom>
            <a:gradFill>
              <a:gsLst>
                <a:gs pos="0">
                  <a:schemeClr val="bg1"/>
                </a:gs>
                <a:gs pos="100000">
                  <a:srgbClr val="FF81C0"/>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Rectangle 61"/>
            <p:cNvSpPr/>
            <p:nvPr/>
          </p:nvSpPr>
          <p:spPr>
            <a:xfrm>
              <a:off x="57150" y="3813027"/>
              <a:ext cx="2122150" cy="781752"/>
            </a:xfrm>
            <a:prstGeom prst="rect">
              <a:avLst/>
            </a:prstGeom>
          </p:spPr>
          <p:txBody>
            <a:bodyPr wrap="square">
              <a:spAutoFit/>
            </a:bodyPr>
            <a:lstStyle/>
            <a:p>
              <a:pPr algn="ctr">
                <a:lnSpc>
                  <a:spcPct val="80000"/>
                </a:lnSpc>
                <a:defRPr/>
              </a:pPr>
              <a:r>
                <a:rPr lang="en-US" sz="1400" b="1" dirty="0" err="1" smtClean="0">
                  <a:latin typeface="Segoe UI" pitchFamily="34" charset="0"/>
                  <a:ea typeface="Segoe UI" pitchFamily="34" charset="0"/>
                  <a:cs typeface="Segoe UI" pitchFamily="34" charset="0"/>
                </a:rPr>
                <a:t>Penilaian</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Pertama</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oleh</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Pegawai</a:t>
              </a:r>
              <a:r>
                <a:rPr lang="en-US" sz="1400" b="1" dirty="0" smtClean="0">
                  <a:latin typeface="Segoe UI" pitchFamily="34" charset="0"/>
                  <a:ea typeface="Segoe UI" pitchFamily="34" charset="0"/>
                  <a:cs typeface="Segoe UI" pitchFamily="34" charset="0"/>
                </a:rPr>
                <a:t> </a:t>
              </a:r>
            </a:p>
            <a:p>
              <a:pPr algn="ctr">
                <a:lnSpc>
                  <a:spcPct val="80000"/>
                </a:lnSpc>
                <a:defRPr/>
              </a:pPr>
              <a:r>
                <a:rPr lang="en-US" sz="1400" b="1" dirty="0" err="1" smtClean="0">
                  <a:latin typeface="Segoe UI" pitchFamily="34" charset="0"/>
                  <a:ea typeface="Segoe UI" pitchFamily="34" charset="0"/>
                  <a:cs typeface="Segoe UI" pitchFamily="34" charset="0"/>
                </a:rPr>
                <a:t>Penilai</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dan</a:t>
              </a:r>
              <a:r>
                <a:rPr lang="en-US" sz="1400" b="1" dirty="0" smtClean="0">
                  <a:latin typeface="Segoe UI" pitchFamily="34" charset="0"/>
                  <a:ea typeface="Segoe UI" pitchFamily="34" charset="0"/>
                  <a:cs typeface="Segoe UI" pitchFamily="34" charset="0"/>
                </a:rPr>
                <a:t> </a:t>
              </a:r>
            </a:p>
            <a:p>
              <a:pPr algn="ctr">
                <a:lnSpc>
                  <a:spcPct val="80000"/>
                </a:lnSpc>
                <a:defRPr/>
              </a:pPr>
              <a:r>
                <a:rPr lang="en-US" sz="1400" b="1" dirty="0" err="1" smtClean="0">
                  <a:latin typeface="Segoe UI" pitchFamily="34" charset="0"/>
                  <a:ea typeface="Segoe UI" pitchFamily="34" charset="0"/>
                  <a:cs typeface="Segoe UI" pitchFamily="34" charset="0"/>
                </a:rPr>
                <a:t>Pengisian</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skor</a:t>
              </a:r>
              <a:endParaRPr lang="en-US" sz="1400" dirty="0">
                <a:latin typeface="Segoe UI" pitchFamily="34" charset="0"/>
                <a:ea typeface="Segoe UI" pitchFamily="34" charset="0"/>
                <a:cs typeface="Segoe UI" pitchFamily="34" charset="0"/>
              </a:endParaRPr>
            </a:p>
          </p:txBody>
        </p:sp>
        <p:sp>
          <p:nvSpPr>
            <p:cNvPr id="63" name="Rectangle 62"/>
            <p:cNvSpPr/>
            <p:nvPr/>
          </p:nvSpPr>
          <p:spPr>
            <a:xfrm>
              <a:off x="2214551" y="3517167"/>
              <a:ext cx="1540806" cy="338554"/>
            </a:xfrm>
            <a:prstGeom prst="rect">
              <a:avLst/>
            </a:prstGeom>
          </p:spPr>
          <p:txBody>
            <a:bodyPr wrap="none">
              <a:spAutoFit/>
            </a:bodyPr>
            <a:lstStyle/>
            <a:p>
              <a:pPr algn="ctr"/>
              <a:r>
                <a:rPr lang="en-US" sz="1600" dirty="0" smtClean="0">
                  <a:latin typeface="Segoe UI" pitchFamily="34" charset="0"/>
                  <a:ea typeface="Segoe UI" pitchFamily="34" charset="0"/>
                  <a:cs typeface="Segoe UI" pitchFamily="34" charset="0"/>
                </a:rPr>
                <a:t>1 Jun – 31 </a:t>
              </a:r>
              <a:r>
                <a:rPr lang="en-US" sz="1600" dirty="0" err="1" smtClean="0">
                  <a:latin typeface="Segoe UI" pitchFamily="34" charset="0"/>
                  <a:ea typeface="Segoe UI" pitchFamily="34" charset="0"/>
                  <a:cs typeface="Segoe UI" pitchFamily="34" charset="0"/>
                </a:rPr>
                <a:t>Julai</a:t>
              </a:r>
              <a:endParaRPr lang="en-US" sz="1600" dirty="0">
                <a:latin typeface="Segoe UI" pitchFamily="34" charset="0"/>
                <a:ea typeface="Segoe UI" pitchFamily="34" charset="0"/>
                <a:cs typeface="Segoe UI" pitchFamily="34" charset="0"/>
              </a:endParaRPr>
            </a:p>
          </p:txBody>
        </p:sp>
        <p:sp>
          <p:nvSpPr>
            <p:cNvPr id="65" name="Oval 64"/>
            <p:cNvSpPr/>
            <p:nvPr/>
          </p:nvSpPr>
          <p:spPr>
            <a:xfrm>
              <a:off x="4171950" y="3760471"/>
              <a:ext cx="91440" cy="91440"/>
            </a:xfrm>
            <a:prstGeom prst="ellips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6" name="Straight Connector 65"/>
            <p:cNvCxnSpPr/>
            <p:nvPr/>
          </p:nvCxnSpPr>
          <p:spPr>
            <a:xfrm>
              <a:off x="2209800" y="3829051"/>
              <a:ext cx="1981200" cy="0"/>
            </a:xfrm>
            <a:prstGeom prst="line">
              <a:avLst/>
            </a:prstGeom>
            <a:ln w="28575">
              <a:solidFill>
                <a:srgbClr val="FF0000"/>
              </a:solidFill>
              <a:prstDash val="sysDot"/>
            </a:ln>
          </p:spPr>
          <p:style>
            <a:lnRef idx="2">
              <a:schemeClr val="accent1"/>
            </a:lnRef>
            <a:fillRef idx="0">
              <a:schemeClr val="accent1"/>
            </a:fillRef>
            <a:effectRef idx="1">
              <a:schemeClr val="accent1"/>
            </a:effectRef>
            <a:fontRef idx="minor">
              <a:schemeClr val="tx1"/>
            </a:fontRef>
          </p:style>
        </p:cxnSp>
      </p:grpSp>
      <p:sp>
        <p:nvSpPr>
          <p:cNvPr id="26" name="Rectangle 25"/>
          <p:cNvSpPr/>
          <p:nvPr/>
        </p:nvSpPr>
        <p:spPr>
          <a:xfrm>
            <a:off x="3322983" y="4191001"/>
            <a:ext cx="1572867" cy="769441"/>
          </a:xfrm>
          <a:prstGeom prst="rect">
            <a:avLst/>
          </a:prstGeom>
          <a:noFill/>
        </p:spPr>
        <p:txBody>
          <a:bodyPr wrap="none" lIns="91440" tIns="45720" rIns="91440" bIns="45720">
            <a:spAutoFit/>
          </a:bodyPr>
          <a:lstStyle/>
          <a:p>
            <a:pPr algn="ctr"/>
            <a:r>
              <a:rPr lang="en-US" sz="4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OGOS</a:t>
            </a:r>
            <a:endParaRPr lang="en-US" sz="4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grpSp>
        <p:nvGrpSpPr>
          <p:cNvPr id="12" name="Group 82"/>
          <p:cNvGrpSpPr/>
          <p:nvPr/>
        </p:nvGrpSpPr>
        <p:grpSpPr>
          <a:xfrm>
            <a:off x="4191000" y="3954828"/>
            <a:ext cx="4262277" cy="993996"/>
            <a:chOff x="4191000" y="3954828"/>
            <a:chExt cx="4262277" cy="993996"/>
          </a:xfrm>
        </p:grpSpPr>
        <p:sp>
          <p:nvSpPr>
            <p:cNvPr id="64" name="Rectangle 63"/>
            <p:cNvSpPr/>
            <p:nvPr/>
          </p:nvSpPr>
          <p:spPr>
            <a:xfrm>
              <a:off x="4888852" y="4233946"/>
              <a:ext cx="1544012" cy="338554"/>
            </a:xfrm>
            <a:prstGeom prst="rect">
              <a:avLst/>
            </a:prstGeom>
          </p:spPr>
          <p:txBody>
            <a:bodyPr wrap="none">
              <a:spAutoFit/>
            </a:bodyPr>
            <a:lstStyle/>
            <a:p>
              <a:pPr algn="ctr"/>
              <a:r>
                <a:rPr lang="en-US" sz="1600" dirty="0" smtClean="0">
                  <a:latin typeface="Segoe UI" pitchFamily="34" charset="0"/>
                  <a:ea typeface="Segoe UI" pitchFamily="34" charset="0"/>
                  <a:cs typeface="Segoe UI" pitchFamily="34" charset="0"/>
                </a:rPr>
                <a:t>2 </a:t>
              </a:r>
              <a:r>
                <a:rPr lang="en-US" sz="1600" dirty="0" err="1" smtClean="0">
                  <a:latin typeface="Segoe UI" pitchFamily="34" charset="0"/>
                  <a:ea typeface="Segoe UI" pitchFamily="34" charset="0"/>
                  <a:cs typeface="Segoe UI" pitchFamily="34" charset="0"/>
                </a:rPr>
                <a:t>Ogos</a:t>
              </a:r>
              <a:r>
                <a:rPr lang="en-US" sz="1600" dirty="0" smtClean="0">
                  <a:latin typeface="Segoe UI" pitchFamily="34" charset="0"/>
                  <a:ea typeface="Segoe UI" pitchFamily="34" charset="0"/>
                  <a:cs typeface="Segoe UI" pitchFamily="34" charset="0"/>
                </a:rPr>
                <a:t> – 5 </a:t>
              </a:r>
              <a:r>
                <a:rPr lang="en-US" sz="1600" dirty="0" err="1" smtClean="0">
                  <a:latin typeface="Segoe UI" pitchFamily="34" charset="0"/>
                  <a:ea typeface="Segoe UI" pitchFamily="34" charset="0"/>
                  <a:cs typeface="Segoe UI" pitchFamily="34" charset="0"/>
                </a:rPr>
                <a:t>Dis</a:t>
              </a:r>
              <a:endParaRPr lang="en-US" sz="1600" dirty="0">
                <a:latin typeface="Segoe UI" pitchFamily="34" charset="0"/>
                <a:ea typeface="Segoe UI" pitchFamily="34" charset="0"/>
                <a:cs typeface="Segoe UI" pitchFamily="34" charset="0"/>
              </a:endParaRPr>
            </a:p>
          </p:txBody>
        </p:sp>
        <p:sp>
          <p:nvSpPr>
            <p:cNvPr id="67" name="Rectangle 66"/>
            <p:cNvSpPr/>
            <p:nvPr/>
          </p:nvSpPr>
          <p:spPr>
            <a:xfrm>
              <a:off x="6357777" y="3954828"/>
              <a:ext cx="2095500" cy="993996"/>
            </a:xfrm>
            <a:prstGeom prst="rect">
              <a:avLst/>
            </a:prstGeom>
            <a:gradFill>
              <a:gsLst>
                <a:gs pos="0">
                  <a:schemeClr val="bg1"/>
                </a:gs>
                <a:gs pos="100000">
                  <a:srgbClr val="FF81C0"/>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p:cNvSpPr/>
            <p:nvPr/>
          </p:nvSpPr>
          <p:spPr>
            <a:xfrm>
              <a:off x="6281577" y="4043800"/>
              <a:ext cx="2122150" cy="781752"/>
            </a:xfrm>
            <a:prstGeom prst="rect">
              <a:avLst/>
            </a:prstGeom>
          </p:spPr>
          <p:txBody>
            <a:bodyPr wrap="square">
              <a:spAutoFit/>
            </a:bodyPr>
            <a:lstStyle/>
            <a:p>
              <a:pPr algn="ctr">
                <a:lnSpc>
                  <a:spcPct val="80000"/>
                </a:lnSpc>
                <a:defRPr/>
              </a:pPr>
              <a:r>
                <a:rPr lang="en-US" sz="1400" b="1" dirty="0" err="1" smtClean="0">
                  <a:latin typeface="Segoe UI" pitchFamily="34" charset="0"/>
                  <a:ea typeface="Segoe UI" pitchFamily="34" charset="0"/>
                  <a:cs typeface="Segoe UI" pitchFamily="34" charset="0"/>
                </a:rPr>
                <a:t>Penilaian</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Kedua</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oleh</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Pegawai</a:t>
              </a:r>
              <a:r>
                <a:rPr lang="en-US" sz="1400" b="1" dirty="0" smtClean="0">
                  <a:latin typeface="Segoe UI" pitchFamily="34" charset="0"/>
                  <a:ea typeface="Segoe UI" pitchFamily="34" charset="0"/>
                  <a:cs typeface="Segoe UI" pitchFamily="34" charset="0"/>
                </a:rPr>
                <a:t> </a:t>
              </a:r>
            </a:p>
            <a:p>
              <a:pPr algn="ctr">
                <a:lnSpc>
                  <a:spcPct val="80000"/>
                </a:lnSpc>
                <a:defRPr/>
              </a:pPr>
              <a:r>
                <a:rPr lang="en-US" sz="1400" b="1" dirty="0" err="1" smtClean="0">
                  <a:latin typeface="Segoe UI" pitchFamily="34" charset="0"/>
                  <a:ea typeface="Segoe UI" pitchFamily="34" charset="0"/>
                  <a:cs typeface="Segoe UI" pitchFamily="34" charset="0"/>
                </a:rPr>
                <a:t>Penilai</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dan</a:t>
              </a:r>
              <a:r>
                <a:rPr lang="en-US" sz="1400" b="1" dirty="0" smtClean="0">
                  <a:latin typeface="Segoe UI" pitchFamily="34" charset="0"/>
                  <a:ea typeface="Segoe UI" pitchFamily="34" charset="0"/>
                  <a:cs typeface="Segoe UI" pitchFamily="34" charset="0"/>
                </a:rPr>
                <a:t> </a:t>
              </a:r>
            </a:p>
            <a:p>
              <a:pPr algn="ctr">
                <a:lnSpc>
                  <a:spcPct val="80000"/>
                </a:lnSpc>
                <a:defRPr/>
              </a:pPr>
              <a:r>
                <a:rPr lang="en-US" sz="1400" b="1" dirty="0" err="1" smtClean="0">
                  <a:latin typeface="Segoe UI" pitchFamily="34" charset="0"/>
                  <a:ea typeface="Segoe UI" pitchFamily="34" charset="0"/>
                  <a:cs typeface="Segoe UI" pitchFamily="34" charset="0"/>
                </a:rPr>
                <a:t>Pengisian</a:t>
              </a:r>
              <a:r>
                <a:rPr lang="en-US" sz="1400" b="1" dirty="0" smtClean="0">
                  <a:latin typeface="Segoe UI" pitchFamily="34" charset="0"/>
                  <a:ea typeface="Segoe UI" pitchFamily="34" charset="0"/>
                  <a:cs typeface="Segoe UI" pitchFamily="34" charset="0"/>
                </a:rPr>
                <a:t> </a:t>
              </a:r>
              <a:r>
                <a:rPr lang="en-US" sz="1400" b="1" dirty="0" err="1" smtClean="0">
                  <a:latin typeface="Segoe UI" pitchFamily="34" charset="0"/>
                  <a:ea typeface="Segoe UI" pitchFamily="34" charset="0"/>
                  <a:cs typeface="Segoe UI" pitchFamily="34" charset="0"/>
                </a:rPr>
                <a:t>skor</a:t>
              </a:r>
              <a:endParaRPr lang="en-US" sz="1400" dirty="0">
                <a:latin typeface="Segoe UI" pitchFamily="34" charset="0"/>
                <a:ea typeface="Segoe UI" pitchFamily="34" charset="0"/>
                <a:cs typeface="Segoe UI" pitchFamily="34" charset="0"/>
              </a:endParaRPr>
            </a:p>
          </p:txBody>
        </p:sp>
        <p:cxnSp>
          <p:nvCxnSpPr>
            <p:cNvPr id="69" name="Straight Connector 68"/>
            <p:cNvCxnSpPr/>
            <p:nvPr/>
          </p:nvCxnSpPr>
          <p:spPr>
            <a:xfrm>
              <a:off x="4354830" y="4656436"/>
              <a:ext cx="1981200" cy="0"/>
            </a:xfrm>
            <a:prstGeom prst="line">
              <a:avLst/>
            </a:prstGeom>
            <a:ln w="28575">
              <a:solidFill>
                <a:srgbClr val="FF0000"/>
              </a:solidFill>
              <a:prstDash val="sysDot"/>
            </a:ln>
          </p:spPr>
          <p:style>
            <a:lnRef idx="2">
              <a:schemeClr val="accent1"/>
            </a:lnRef>
            <a:fillRef idx="0">
              <a:schemeClr val="accent1"/>
            </a:fillRef>
            <a:effectRef idx="1">
              <a:schemeClr val="accent1"/>
            </a:effectRef>
            <a:fontRef idx="minor">
              <a:schemeClr val="tx1"/>
            </a:fontRef>
          </p:style>
        </p:cxnSp>
        <p:sp>
          <p:nvSpPr>
            <p:cNvPr id="70" name="Oval 69"/>
            <p:cNvSpPr/>
            <p:nvPr/>
          </p:nvSpPr>
          <p:spPr>
            <a:xfrm>
              <a:off x="4191000" y="4591550"/>
              <a:ext cx="91440" cy="91440"/>
            </a:xfrm>
            <a:prstGeom prst="ellips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78"/>
          <p:cNvGrpSpPr/>
          <p:nvPr/>
        </p:nvGrpSpPr>
        <p:grpSpPr>
          <a:xfrm>
            <a:off x="4171950" y="1946907"/>
            <a:ext cx="4410395" cy="788934"/>
            <a:chOff x="4171950" y="1946907"/>
            <a:chExt cx="4410395" cy="788934"/>
          </a:xfrm>
        </p:grpSpPr>
        <p:sp>
          <p:nvSpPr>
            <p:cNvPr id="45" name="Rectangle 44"/>
            <p:cNvSpPr/>
            <p:nvPr/>
          </p:nvSpPr>
          <p:spPr>
            <a:xfrm>
              <a:off x="4701708" y="2091938"/>
              <a:ext cx="1620957" cy="338554"/>
            </a:xfrm>
            <a:prstGeom prst="rect">
              <a:avLst/>
            </a:prstGeom>
          </p:spPr>
          <p:txBody>
            <a:bodyPr wrap="none">
              <a:spAutoFit/>
            </a:bodyPr>
            <a:lstStyle/>
            <a:p>
              <a:pPr algn="ctr"/>
              <a:r>
                <a:rPr lang="en-US" sz="1600" dirty="0" smtClean="0">
                  <a:latin typeface="Segoe UI" pitchFamily="34" charset="0"/>
                  <a:ea typeface="Segoe UI" pitchFamily="34" charset="0"/>
                  <a:cs typeface="Segoe UI" pitchFamily="34" charset="0"/>
                </a:rPr>
                <a:t>27 Apr – 15 Mei</a:t>
              </a:r>
              <a:endParaRPr lang="en-US" sz="1600" dirty="0">
                <a:latin typeface="Segoe UI" pitchFamily="34" charset="0"/>
                <a:ea typeface="Segoe UI" pitchFamily="34" charset="0"/>
                <a:cs typeface="Segoe UI" pitchFamily="34" charset="0"/>
              </a:endParaRPr>
            </a:p>
          </p:txBody>
        </p:sp>
        <p:sp>
          <p:nvSpPr>
            <p:cNvPr id="43" name="Oval 42"/>
            <p:cNvSpPr/>
            <p:nvPr/>
          </p:nvSpPr>
          <p:spPr>
            <a:xfrm>
              <a:off x="4171950" y="2430778"/>
              <a:ext cx="91440" cy="91440"/>
            </a:xfrm>
            <a:prstGeom prst="ellips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p:cNvSpPr/>
            <p:nvPr/>
          </p:nvSpPr>
          <p:spPr>
            <a:xfrm>
              <a:off x="6336029" y="1946907"/>
              <a:ext cx="2152650" cy="788934"/>
            </a:xfrm>
            <a:prstGeom prst="rect">
              <a:avLst/>
            </a:prstGeom>
            <a:gradFill>
              <a:gsLst>
                <a:gs pos="0">
                  <a:schemeClr val="bg1"/>
                </a:gs>
                <a:gs pos="100000">
                  <a:srgbClr val="FFC000"/>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Rectangle 46"/>
            <p:cNvSpPr/>
            <p:nvPr/>
          </p:nvSpPr>
          <p:spPr>
            <a:xfrm>
              <a:off x="6336029" y="1946907"/>
              <a:ext cx="2246316" cy="788934"/>
            </a:xfrm>
            <a:prstGeom prst="rect">
              <a:avLst/>
            </a:prstGeom>
          </p:spPr>
          <p:txBody>
            <a:bodyPr wrap="square">
              <a:spAutoFit/>
            </a:bodyPr>
            <a:lstStyle/>
            <a:p>
              <a:pPr algn="ctr">
                <a:lnSpc>
                  <a:spcPct val="80000"/>
                </a:lnSpc>
                <a:defRPr/>
              </a:pPr>
              <a:r>
                <a:rPr lang="en-US" sz="1400" b="1" dirty="0" err="1">
                  <a:latin typeface="Segoe UI" pitchFamily="34" charset="0"/>
                  <a:ea typeface="Segoe UI" pitchFamily="34" charset="0"/>
                  <a:cs typeface="Segoe UI" pitchFamily="34" charset="0"/>
                </a:rPr>
                <a:t>Taklimat</a:t>
              </a:r>
              <a:r>
                <a:rPr lang="en-US" sz="1400" b="1" dirty="0">
                  <a:latin typeface="Segoe UI" pitchFamily="34" charset="0"/>
                  <a:ea typeface="Segoe UI" pitchFamily="34" charset="0"/>
                  <a:cs typeface="Segoe UI" pitchFamily="34" charset="0"/>
                </a:rPr>
                <a:t> PPD</a:t>
              </a:r>
            </a:p>
            <a:p>
              <a:pPr algn="ctr">
                <a:lnSpc>
                  <a:spcPct val="80000"/>
                </a:lnSpc>
                <a:defRPr/>
              </a:pPr>
              <a:r>
                <a:rPr lang="en-US" sz="1400" b="1" dirty="0" err="1">
                  <a:latin typeface="Segoe UI" pitchFamily="34" charset="0"/>
                  <a:ea typeface="Segoe UI" pitchFamily="34" charset="0"/>
                  <a:cs typeface="Segoe UI" pitchFamily="34" charset="0"/>
                </a:rPr>
                <a:t>kepada</a:t>
              </a:r>
              <a:r>
                <a:rPr lang="en-US" sz="1400" b="1" dirty="0">
                  <a:latin typeface="Segoe UI" pitchFamily="34" charset="0"/>
                  <a:ea typeface="Segoe UI" pitchFamily="34" charset="0"/>
                  <a:cs typeface="Segoe UI" pitchFamily="34" charset="0"/>
                </a:rPr>
                <a:t> </a:t>
              </a:r>
              <a:endParaRPr lang="en-US" sz="1400" b="1" dirty="0" smtClean="0">
                <a:latin typeface="Segoe UI" pitchFamily="34" charset="0"/>
                <a:ea typeface="Segoe UI" pitchFamily="34" charset="0"/>
                <a:cs typeface="Segoe UI" pitchFamily="34" charset="0"/>
              </a:endParaRPr>
            </a:p>
            <a:p>
              <a:pPr algn="ctr">
                <a:lnSpc>
                  <a:spcPct val="80000"/>
                </a:lnSpc>
                <a:defRPr/>
              </a:pPr>
              <a:r>
                <a:rPr lang="en-US" sz="1400" b="1" dirty="0" err="1" smtClean="0">
                  <a:latin typeface="Segoe UI" pitchFamily="34" charset="0"/>
                  <a:ea typeface="Segoe UI" pitchFamily="34" charset="0"/>
                  <a:cs typeface="Segoe UI" pitchFamily="34" charset="0"/>
                </a:rPr>
                <a:t>Kepimpinan</a:t>
              </a:r>
              <a:r>
                <a:rPr lang="en-US" sz="1400" b="1" dirty="0" smtClean="0">
                  <a:latin typeface="Segoe UI" pitchFamily="34" charset="0"/>
                  <a:ea typeface="Segoe UI" pitchFamily="34" charset="0"/>
                  <a:cs typeface="Segoe UI" pitchFamily="34" charset="0"/>
                </a:rPr>
                <a:t> </a:t>
              </a:r>
            </a:p>
            <a:p>
              <a:pPr algn="ctr">
                <a:lnSpc>
                  <a:spcPct val="80000"/>
                </a:lnSpc>
                <a:defRPr/>
              </a:pPr>
              <a:r>
                <a:rPr lang="en-US" sz="1400" b="1" dirty="0" err="1" smtClean="0">
                  <a:latin typeface="Segoe UI" pitchFamily="34" charset="0"/>
                  <a:ea typeface="Segoe UI" pitchFamily="34" charset="0"/>
                  <a:cs typeface="Segoe UI" pitchFamily="34" charset="0"/>
                </a:rPr>
                <a:t>Sekolah</a:t>
              </a:r>
              <a:endParaRPr lang="en-US" sz="1400" b="1" dirty="0">
                <a:latin typeface="Segoe UI" pitchFamily="34" charset="0"/>
                <a:ea typeface="Segoe UI" pitchFamily="34" charset="0"/>
                <a:cs typeface="Segoe UI" pitchFamily="34" charset="0"/>
              </a:endParaRPr>
            </a:p>
          </p:txBody>
        </p:sp>
        <p:cxnSp>
          <p:nvCxnSpPr>
            <p:cNvPr id="44" name="Straight Connector 43"/>
            <p:cNvCxnSpPr/>
            <p:nvPr/>
          </p:nvCxnSpPr>
          <p:spPr>
            <a:xfrm>
              <a:off x="4278268" y="2478787"/>
              <a:ext cx="1981200" cy="0"/>
            </a:xfrm>
            <a:prstGeom prst="line">
              <a:avLst/>
            </a:prstGeom>
            <a:ln w="28575">
              <a:solidFill>
                <a:srgbClr val="FF0000"/>
              </a:solidFill>
              <a:prstDash val="sysDot"/>
            </a:ln>
          </p:spPr>
          <p:style>
            <a:lnRef idx="2">
              <a:schemeClr val="accent1"/>
            </a:lnRef>
            <a:fillRef idx="0">
              <a:schemeClr val="accent1"/>
            </a:fillRef>
            <a:effectRef idx="1">
              <a:schemeClr val="accent1"/>
            </a:effectRef>
            <a:fontRef idx="minor">
              <a:schemeClr val="tx1"/>
            </a:fontRef>
          </p:style>
        </p:cxnSp>
      </p:grpSp>
      <p:grpSp>
        <p:nvGrpSpPr>
          <p:cNvPr id="16" name="Group 85"/>
          <p:cNvGrpSpPr/>
          <p:nvPr/>
        </p:nvGrpSpPr>
        <p:grpSpPr>
          <a:xfrm>
            <a:off x="228600" y="5741091"/>
            <a:ext cx="4053840" cy="993996"/>
            <a:chOff x="266700" y="5645841"/>
            <a:chExt cx="4053840" cy="993996"/>
          </a:xfrm>
        </p:grpSpPr>
        <p:grpSp>
          <p:nvGrpSpPr>
            <p:cNvPr id="18" name="Group 83"/>
            <p:cNvGrpSpPr/>
            <p:nvPr/>
          </p:nvGrpSpPr>
          <p:grpSpPr>
            <a:xfrm>
              <a:off x="266700" y="5645841"/>
              <a:ext cx="4053840" cy="993996"/>
              <a:chOff x="228600" y="5373398"/>
              <a:chExt cx="4053840" cy="993996"/>
            </a:xfrm>
          </p:grpSpPr>
          <p:sp>
            <p:nvSpPr>
              <p:cNvPr id="71" name="Rectangle 70"/>
              <p:cNvSpPr/>
              <p:nvPr/>
            </p:nvSpPr>
            <p:spPr>
              <a:xfrm>
                <a:off x="361950" y="5373398"/>
                <a:ext cx="2095500" cy="993996"/>
              </a:xfrm>
              <a:prstGeom prst="rect">
                <a:avLst/>
              </a:prstGeom>
              <a:gradFill>
                <a:gsLst>
                  <a:gs pos="0">
                    <a:schemeClr val="bg1"/>
                  </a:gs>
                  <a:gs pos="100000">
                    <a:srgbClr val="FF5B5B"/>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71"/>
              <p:cNvSpPr/>
              <p:nvPr/>
            </p:nvSpPr>
            <p:spPr>
              <a:xfrm>
                <a:off x="228600" y="5486906"/>
                <a:ext cx="2324100" cy="738664"/>
              </a:xfrm>
              <a:prstGeom prst="rect">
                <a:avLst/>
              </a:prstGeom>
            </p:spPr>
            <p:txBody>
              <a:bodyPr wrap="square">
                <a:spAutoFit/>
              </a:bodyPr>
              <a:lstStyle/>
              <a:p>
                <a:pPr algn="ctr">
                  <a:defRPr/>
                </a:pPr>
                <a:r>
                  <a:rPr lang="en-MY" sz="1400" b="1" dirty="0">
                    <a:latin typeface="Segoe UI" pitchFamily="34" charset="0"/>
                    <a:ea typeface="Segoe UI" pitchFamily="34" charset="0"/>
                    <a:cs typeface="Segoe UI" pitchFamily="34" charset="0"/>
                  </a:rPr>
                  <a:t>Penyelarasan markah bagi kes-kes </a:t>
                </a:r>
                <a:r>
                  <a:rPr lang="en-MY" sz="1400" b="1" dirty="0" err="1">
                    <a:latin typeface="Segoe UI" pitchFamily="34" charset="0"/>
                    <a:ea typeface="Segoe UI" pitchFamily="34" charset="0"/>
                    <a:cs typeface="Segoe UI" pitchFamily="34" charset="0"/>
                  </a:rPr>
                  <a:t>tertentu</a:t>
                </a:r>
                <a:r>
                  <a:rPr lang="en-MY" sz="1400" b="1" dirty="0">
                    <a:latin typeface="Segoe UI" pitchFamily="34" charset="0"/>
                    <a:ea typeface="Segoe UI" pitchFamily="34" charset="0"/>
                    <a:cs typeface="Segoe UI" pitchFamily="34" charset="0"/>
                  </a:rPr>
                  <a:t> </a:t>
                </a:r>
                <a:r>
                  <a:rPr lang="en-MY" sz="1400" b="1" dirty="0" smtClean="0">
                    <a:latin typeface="Segoe UI" pitchFamily="34" charset="0"/>
                    <a:ea typeface="Segoe UI" pitchFamily="34" charset="0"/>
                    <a:cs typeface="Segoe UI" pitchFamily="34" charset="0"/>
                  </a:rPr>
                  <a:t>(</a:t>
                </a:r>
                <a:r>
                  <a:rPr lang="en-MY" sz="1400" b="1" dirty="0" err="1" smtClean="0">
                    <a:latin typeface="Segoe UI" pitchFamily="34" charset="0"/>
                    <a:ea typeface="Segoe UI" pitchFamily="34" charset="0"/>
                    <a:cs typeface="Segoe UI" pitchFamily="34" charset="0"/>
                  </a:rPr>
                  <a:t>ketidaktekalan</a:t>
                </a:r>
                <a:r>
                  <a:rPr lang="en-MY" sz="1400" b="1" dirty="0" smtClean="0">
                    <a:latin typeface="Segoe UI" pitchFamily="34" charset="0"/>
                    <a:ea typeface="Segoe UI" pitchFamily="34" charset="0"/>
                    <a:cs typeface="Segoe UI" pitchFamily="34" charset="0"/>
                  </a:rPr>
                  <a:t> </a:t>
                </a:r>
                <a:r>
                  <a:rPr lang="en-MY" sz="1400" b="1" dirty="0">
                    <a:latin typeface="Segoe UI" pitchFamily="34" charset="0"/>
                    <a:ea typeface="Segoe UI" pitchFamily="34" charset="0"/>
                    <a:cs typeface="Segoe UI" pitchFamily="34" charset="0"/>
                  </a:rPr>
                  <a:t>markah)</a:t>
                </a:r>
              </a:p>
            </p:txBody>
          </p:sp>
          <p:sp>
            <p:nvSpPr>
              <p:cNvPr id="75" name="Oval 74"/>
              <p:cNvSpPr/>
              <p:nvPr/>
            </p:nvSpPr>
            <p:spPr>
              <a:xfrm>
                <a:off x="4191000" y="5806708"/>
                <a:ext cx="91440" cy="91440"/>
              </a:xfrm>
              <a:prstGeom prst="ellips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6" name="Straight Connector 75"/>
              <p:cNvCxnSpPr/>
              <p:nvPr/>
            </p:nvCxnSpPr>
            <p:spPr>
              <a:xfrm>
                <a:off x="2457450" y="5875288"/>
                <a:ext cx="1737360" cy="0"/>
              </a:xfrm>
              <a:prstGeom prst="line">
                <a:avLst/>
              </a:prstGeom>
              <a:ln w="28575">
                <a:solidFill>
                  <a:srgbClr val="FF0000"/>
                </a:solidFill>
                <a:prstDash val="sysDot"/>
              </a:ln>
            </p:spPr>
            <p:style>
              <a:lnRef idx="2">
                <a:schemeClr val="accent1"/>
              </a:lnRef>
              <a:fillRef idx="0">
                <a:schemeClr val="accent1"/>
              </a:fillRef>
              <a:effectRef idx="1">
                <a:schemeClr val="accent1"/>
              </a:effectRef>
              <a:fontRef idx="minor">
                <a:schemeClr val="tx1"/>
              </a:fontRef>
            </p:style>
          </p:cxnSp>
        </p:grpSp>
        <p:sp>
          <p:nvSpPr>
            <p:cNvPr id="85" name="Rectangle 84"/>
            <p:cNvSpPr/>
            <p:nvPr/>
          </p:nvSpPr>
          <p:spPr>
            <a:xfrm>
              <a:off x="2471507" y="5816797"/>
              <a:ext cx="1178528" cy="338554"/>
            </a:xfrm>
            <a:prstGeom prst="rect">
              <a:avLst/>
            </a:prstGeom>
          </p:spPr>
          <p:txBody>
            <a:bodyPr wrap="none">
              <a:spAutoFit/>
            </a:bodyPr>
            <a:lstStyle/>
            <a:p>
              <a:pPr algn="ctr"/>
              <a:r>
                <a:rPr lang="en-US" sz="1600" dirty="0" smtClean="0">
                  <a:latin typeface="Segoe UI" pitchFamily="34" charset="0"/>
                  <a:ea typeface="Segoe UI" pitchFamily="34" charset="0"/>
                  <a:cs typeface="Segoe UI" pitchFamily="34" charset="0"/>
                </a:rPr>
                <a:t>16  –31 </a:t>
              </a:r>
              <a:r>
                <a:rPr lang="en-US" sz="1600" dirty="0" err="1" smtClean="0">
                  <a:latin typeface="Segoe UI" pitchFamily="34" charset="0"/>
                  <a:ea typeface="Segoe UI" pitchFamily="34" charset="0"/>
                  <a:cs typeface="Segoe UI" pitchFamily="34" charset="0"/>
                </a:rPr>
                <a:t>Dis</a:t>
              </a:r>
              <a:endParaRPr lang="en-US" sz="1600" dirty="0">
                <a:latin typeface="Segoe UI" pitchFamily="34" charset="0"/>
                <a:ea typeface="Segoe UI" pitchFamily="34" charset="0"/>
                <a:cs typeface="Segoe UI" pitchFamily="34" charset="0"/>
              </a:endParaRPr>
            </a:p>
          </p:txBody>
        </p:sp>
      </p:grpSp>
      <p:sp>
        <p:nvSpPr>
          <p:cNvPr id="73" name="Rectangle 72"/>
          <p:cNvSpPr/>
          <p:nvPr/>
        </p:nvSpPr>
        <p:spPr>
          <a:xfrm>
            <a:off x="4838700" y="5741090"/>
            <a:ext cx="4248150" cy="626303"/>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PENJAJARAN MASA</a:t>
            </a:r>
            <a:endParaRPr lang="en-US" sz="28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ox(in)">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0-#ppt_w/2"/>
                                          </p:val>
                                        </p:tav>
                                        <p:tav tm="100000">
                                          <p:val>
                                            <p:strVal val="#ppt_x"/>
                                          </p:val>
                                        </p:tav>
                                      </p:tavLst>
                                    </p:anim>
                                    <p:anim calcmode="lin" valueType="num">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2"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additive="base">
                                        <p:cTn id="18" dur="500" fill="hold"/>
                                        <p:tgtEl>
                                          <p:spTgt spid="15"/>
                                        </p:tgtEl>
                                        <p:attrNameLst>
                                          <p:attrName>ppt_x</p:attrName>
                                        </p:attrNameLst>
                                      </p:cBhvr>
                                      <p:tavLst>
                                        <p:tav tm="0">
                                          <p:val>
                                            <p:strVal val="1+#ppt_w/2"/>
                                          </p:val>
                                        </p:tav>
                                        <p:tav tm="100000">
                                          <p:val>
                                            <p:strVal val="#ppt_x"/>
                                          </p:val>
                                        </p:tav>
                                      </p:tavLst>
                                    </p:anim>
                                    <p:anim calcmode="lin" valueType="num">
                                      <p:cBhvr additive="base">
                                        <p:cTn id="19"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9"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additive="base">
                                        <p:cTn id="24" dur="500" fill="hold"/>
                                        <p:tgtEl>
                                          <p:spTgt spid="7"/>
                                        </p:tgtEl>
                                        <p:attrNameLst>
                                          <p:attrName>ppt_x</p:attrName>
                                        </p:attrNameLst>
                                      </p:cBhvr>
                                      <p:tavLst>
                                        <p:tav tm="0">
                                          <p:val>
                                            <p:strVal val="0-#ppt_w/2"/>
                                          </p:val>
                                        </p:tav>
                                        <p:tav tm="100000">
                                          <p:val>
                                            <p:strVal val="#ppt_x"/>
                                          </p:val>
                                        </p:tav>
                                      </p:tavLst>
                                    </p:anim>
                                    <p:anim calcmode="lin" valueType="num">
                                      <p:cBhvr additive="base">
                                        <p:cTn id="25"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3"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additive="base">
                                        <p:cTn id="30" dur="500" fill="hold"/>
                                        <p:tgtEl>
                                          <p:spTgt spid="9"/>
                                        </p:tgtEl>
                                        <p:attrNameLst>
                                          <p:attrName>ppt_x</p:attrName>
                                        </p:attrNameLst>
                                      </p:cBhvr>
                                      <p:tavLst>
                                        <p:tav tm="0">
                                          <p:val>
                                            <p:strVal val="1+#ppt_w/2"/>
                                          </p:val>
                                        </p:tav>
                                        <p:tav tm="100000">
                                          <p:val>
                                            <p:strVal val="#ppt_x"/>
                                          </p:val>
                                        </p:tav>
                                      </p:tavLst>
                                    </p:anim>
                                    <p:anim calcmode="lin" valueType="num">
                                      <p:cBhvr additive="base">
                                        <p:cTn id="31" dur="500" fill="hold"/>
                                        <p:tgtEl>
                                          <p:spTgt spid="9"/>
                                        </p:tgtEl>
                                        <p:attrNameLst>
                                          <p:attrName>ppt_y</p:attrName>
                                        </p:attrNameLst>
                                      </p:cBhvr>
                                      <p:tavLst>
                                        <p:tav tm="0">
                                          <p:val>
                                            <p:strVal val="0-#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2" presetClass="entr" presetSubtype="8"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0-#ppt_w/2"/>
                                          </p:val>
                                        </p:tav>
                                        <p:tav tm="100000">
                                          <p:val>
                                            <p:strVal val="#ppt_x"/>
                                          </p:val>
                                        </p:tav>
                                      </p:tavLst>
                                    </p:anim>
                                    <p:anim calcmode="lin" valueType="num">
                                      <p:cBhvr additive="base">
                                        <p:cTn id="37"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2" presetClass="entr" presetSubtype="2" fill="hold" nodeType="click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additive="base">
                                        <p:cTn id="42" dur="500" fill="hold"/>
                                        <p:tgtEl>
                                          <p:spTgt spid="12"/>
                                        </p:tgtEl>
                                        <p:attrNameLst>
                                          <p:attrName>ppt_x</p:attrName>
                                        </p:attrNameLst>
                                      </p:cBhvr>
                                      <p:tavLst>
                                        <p:tav tm="0">
                                          <p:val>
                                            <p:strVal val="1+#ppt_w/2"/>
                                          </p:val>
                                        </p:tav>
                                        <p:tav tm="100000">
                                          <p:val>
                                            <p:strVal val="#ppt_x"/>
                                          </p:val>
                                        </p:tav>
                                      </p:tavLst>
                                    </p:anim>
                                    <p:anim calcmode="lin" valueType="num">
                                      <p:cBhvr additive="base">
                                        <p:cTn id="43"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2" presetClass="entr" presetSubtype="4" fill="hold" nodeType="clickEffect">
                                  <p:stCondLst>
                                    <p:cond delay="0"/>
                                  </p:stCondLst>
                                  <p:childTnLst>
                                    <p:set>
                                      <p:cBhvr>
                                        <p:cTn id="47" dur="1" fill="hold">
                                          <p:stCondLst>
                                            <p:cond delay="0"/>
                                          </p:stCondLst>
                                        </p:cTn>
                                        <p:tgtEl>
                                          <p:spTgt spid="16"/>
                                        </p:tgtEl>
                                        <p:attrNameLst>
                                          <p:attrName>style.visibility</p:attrName>
                                        </p:attrNameLst>
                                      </p:cBhvr>
                                      <p:to>
                                        <p:strVal val="visible"/>
                                      </p:to>
                                    </p:set>
                                    <p:anim calcmode="lin" valueType="num">
                                      <p:cBhvr additive="base">
                                        <p:cTn id="48" dur="500" fill="hold"/>
                                        <p:tgtEl>
                                          <p:spTgt spid="16"/>
                                        </p:tgtEl>
                                        <p:attrNameLst>
                                          <p:attrName>ppt_x</p:attrName>
                                        </p:attrNameLst>
                                      </p:cBhvr>
                                      <p:tavLst>
                                        <p:tav tm="0">
                                          <p:val>
                                            <p:strVal val="#ppt_x"/>
                                          </p:val>
                                        </p:tav>
                                        <p:tav tm="100000">
                                          <p:val>
                                            <p:strVal val="#ppt_x"/>
                                          </p:val>
                                        </p:tav>
                                      </p:tavLst>
                                    </p:anim>
                                    <p:anim calcmode="lin" valueType="num">
                                      <p:cBhvr additive="base">
                                        <p:cTn id="49"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2</a:t>
            </a:fld>
            <a:endParaRPr lang="en-US"/>
          </a:p>
        </p:txBody>
      </p:sp>
      <p:grpSp>
        <p:nvGrpSpPr>
          <p:cNvPr id="2" name="Group 19"/>
          <p:cNvGrpSpPr/>
          <p:nvPr/>
        </p:nvGrpSpPr>
        <p:grpSpPr>
          <a:xfrm>
            <a:off x="433135" y="-317163"/>
            <a:ext cx="8559927" cy="6959372"/>
            <a:chOff x="1" y="-654045"/>
            <a:chExt cx="8559927" cy="6959372"/>
          </a:xfrm>
        </p:grpSpPr>
        <p:grpSp>
          <p:nvGrpSpPr>
            <p:cNvPr id="3" name="Group 13"/>
            <p:cNvGrpSpPr/>
            <p:nvPr/>
          </p:nvGrpSpPr>
          <p:grpSpPr>
            <a:xfrm>
              <a:off x="1" y="1"/>
              <a:ext cx="8089000" cy="6305326"/>
              <a:chOff x="2244600" y="905326"/>
              <a:chExt cx="5844400" cy="5400000"/>
            </a:xfrm>
          </p:grpSpPr>
          <p:sp>
            <p:nvSpPr>
              <p:cNvPr id="9" name="Ellipse 15"/>
              <p:cNvSpPr/>
              <p:nvPr/>
            </p:nvSpPr>
            <p:spPr bwMode="auto">
              <a:xfrm rot="2049663">
                <a:off x="3888404" y="905326"/>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FF00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2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0" name="Ellipse 15"/>
              <p:cNvSpPr/>
              <p:nvPr/>
            </p:nvSpPr>
            <p:spPr bwMode="auto">
              <a:xfrm rot="3205374">
                <a:off x="4356000" y="1404000"/>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0080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2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1" name="Ellipse 15"/>
              <p:cNvSpPr/>
              <p:nvPr/>
            </p:nvSpPr>
            <p:spPr bwMode="auto">
              <a:xfrm rot="4324466">
                <a:off x="4702049" y="2015612"/>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FF99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1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2" name="Ellipse 15"/>
              <p:cNvSpPr/>
              <p:nvPr/>
            </p:nvSpPr>
            <p:spPr bwMode="auto">
              <a:xfrm rot="5400000">
                <a:off x="4800400" y="2661711"/>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00206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1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3" name="Ellipse 12"/>
              <p:cNvSpPr/>
              <p:nvPr/>
            </p:nvSpPr>
            <p:spPr bwMode="auto">
              <a:xfrm>
                <a:off x="2987824" y="5064711"/>
                <a:ext cx="594000" cy="594000"/>
              </a:xfrm>
              <a:prstGeom prst="ellipse">
                <a:avLst/>
              </a:prstGeom>
              <a:gradFill>
                <a:gsLst>
                  <a:gs pos="0">
                    <a:schemeClr val="bg1">
                      <a:lumMod val="85000"/>
                    </a:schemeClr>
                  </a:gs>
                  <a:gs pos="80000">
                    <a:schemeClr val="bg1">
                      <a:lumMod val="95000"/>
                    </a:schemeClr>
                  </a:gs>
                  <a:gs pos="100000">
                    <a:schemeClr val="bg1"/>
                  </a:gs>
                </a:gsLst>
              </a:gradFill>
              <a:ln>
                <a:no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fr-FR" sz="1400" b="1">
                  <a:solidFill>
                    <a:schemeClr val="tx1"/>
                  </a:solidFill>
                  <a:latin typeface="Lucida Sans Unicode" pitchFamily="34" charset="0"/>
                </a:endParaRPr>
              </a:p>
            </p:txBody>
          </p:sp>
        </p:grpSp>
        <p:sp>
          <p:nvSpPr>
            <p:cNvPr id="16" name="Rectangle 15"/>
            <p:cNvSpPr/>
            <p:nvPr/>
          </p:nvSpPr>
          <p:spPr>
            <a:xfrm rot="19474658">
              <a:off x="2251018" y="2180159"/>
              <a:ext cx="5377757" cy="830997"/>
            </a:xfrm>
            <a:prstGeom prst="rect">
              <a:avLst/>
            </a:prstGeom>
          </p:spPr>
          <p:txBody>
            <a:bodyPr wrap="square">
              <a:spAutoFit/>
            </a:bodyPr>
            <a:lstStyle/>
            <a:p>
              <a:pPr algn="ctr" fontAlgn="base">
                <a:spcBef>
                  <a:spcPct val="0"/>
                </a:spcBef>
                <a:spcAft>
                  <a:spcPct val="0"/>
                </a:spcAft>
              </a:pPr>
              <a:r>
                <a:rPr lang="en-US" sz="2400" b="1" dirty="0" err="1" smtClean="0">
                  <a:solidFill>
                    <a:schemeClr val="bg1"/>
                  </a:solidFill>
                  <a:effectLst>
                    <a:outerShdw blurRad="38100" dist="38100" dir="2700000" algn="tl">
                      <a:srgbClr val="000000">
                        <a:alpha val="43137"/>
                      </a:srgbClr>
                    </a:outerShdw>
                  </a:effectLst>
                  <a:latin typeface="Arial"/>
                  <a:cs typeface="Arial"/>
                </a:rPr>
                <a:t>Pegawai</a:t>
              </a:r>
              <a:r>
                <a:rPr lang="en-US" sz="2400" b="1" dirty="0" smtClean="0">
                  <a:solidFill>
                    <a:schemeClr val="bg1"/>
                  </a:solidFill>
                  <a:effectLst>
                    <a:outerShdw blurRad="38100" dist="38100" dir="2700000" algn="tl">
                      <a:srgbClr val="000000">
                        <a:alpha val="43137"/>
                      </a:srgbClr>
                    </a:outerShdw>
                  </a:effectLst>
                  <a:latin typeface="Arial"/>
                  <a:cs typeface="Arial"/>
                </a:rPr>
                <a:t> </a:t>
              </a:r>
              <a:r>
                <a:rPr lang="en-US" sz="2400" b="1" dirty="0" err="1" smtClean="0">
                  <a:solidFill>
                    <a:schemeClr val="bg1"/>
                  </a:solidFill>
                  <a:effectLst>
                    <a:outerShdw blurRad="38100" dist="38100" dir="2700000" algn="tl">
                      <a:srgbClr val="000000">
                        <a:alpha val="43137"/>
                      </a:srgbClr>
                    </a:outerShdw>
                  </a:effectLst>
                  <a:latin typeface="Arial"/>
                  <a:cs typeface="Arial"/>
                </a:rPr>
                <a:t>Penilai</a:t>
              </a:r>
              <a:r>
                <a:rPr lang="en-US" sz="2400" b="1" dirty="0" smtClean="0">
                  <a:solidFill>
                    <a:schemeClr val="bg1"/>
                  </a:solidFill>
                  <a:effectLst>
                    <a:outerShdw blurRad="38100" dist="38100" dir="2700000" algn="tl">
                      <a:srgbClr val="000000">
                        <a:alpha val="43137"/>
                      </a:srgbClr>
                    </a:outerShdw>
                  </a:effectLst>
                  <a:latin typeface="Arial"/>
                  <a:cs typeface="Arial"/>
                </a:rPr>
                <a:t> (PP) &amp;</a:t>
              </a:r>
            </a:p>
            <a:p>
              <a:pPr algn="ctr" fontAlgn="base">
                <a:spcBef>
                  <a:spcPct val="0"/>
                </a:spcBef>
                <a:spcAft>
                  <a:spcPct val="0"/>
                </a:spcAft>
              </a:pPr>
              <a:r>
                <a:rPr lang="en-US" sz="2400" b="1" dirty="0" err="1" smtClean="0">
                  <a:solidFill>
                    <a:schemeClr val="bg1"/>
                  </a:solidFill>
                  <a:effectLst>
                    <a:outerShdw blurRad="38100" dist="38100" dir="2700000" algn="tl">
                      <a:srgbClr val="000000">
                        <a:alpha val="43137"/>
                      </a:srgbClr>
                    </a:outerShdw>
                  </a:effectLst>
                  <a:latin typeface="Arial"/>
                  <a:cs typeface="Arial"/>
                </a:rPr>
                <a:t>Pegawai</a:t>
              </a:r>
              <a:r>
                <a:rPr lang="en-US" sz="2400" b="1" dirty="0" smtClean="0">
                  <a:solidFill>
                    <a:schemeClr val="bg1"/>
                  </a:solidFill>
                  <a:effectLst>
                    <a:outerShdw blurRad="38100" dist="38100" dir="2700000" algn="tl">
                      <a:srgbClr val="000000">
                        <a:alpha val="43137"/>
                      </a:srgbClr>
                    </a:outerShdw>
                  </a:effectLst>
                  <a:latin typeface="Arial"/>
                  <a:cs typeface="Arial"/>
                </a:rPr>
                <a:t> Yang </a:t>
              </a:r>
              <a:r>
                <a:rPr lang="en-US" sz="2400" b="1" dirty="0" err="1" smtClean="0">
                  <a:solidFill>
                    <a:schemeClr val="bg1"/>
                  </a:solidFill>
                  <a:effectLst>
                    <a:outerShdw blurRad="38100" dist="38100" dir="2700000" algn="tl">
                      <a:srgbClr val="000000">
                        <a:alpha val="43137"/>
                      </a:srgbClr>
                    </a:outerShdw>
                  </a:effectLst>
                  <a:latin typeface="Arial"/>
                  <a:cs typeface="Arial"/>
                </a:rPr>
                <a:t>Dinilai</a:t>
              </a:r>
              <a:r>
                <a:rPr lang="en-US" sz="2400" b="1" dirty="0" smtClean="0">
                  <a:solidFill>
                    <a:schemeClr val="bg1"/>
                  </a:solidFill>
                  <a:effectLst>
                    <a:outerShdw blurRad="38100" dist="38100" dir="2700000" algn="tl">
                      <a:srgbClr val="000000">
                        <a:alpha val="43137"/>
                      </a:srgbClr>
                    </a:outerShdw>
                  </a:effectLst>
                  <a:latin typeface="Arial"/>
                  <a:cs typeface="Arial"/>
                </a:rPr>
                <a:t> (PYD)</a:t>
              </a:r>
            </a:p>
          </p:txBody>
        </p:sp>
        <p:sp>
          <p:nvSpPr>
            <p:cNvPr id="17" name="Rectangle 16"/>
            <p:cNvSpPr/>
            <p:nvPr/>
          </p:nvSpPr>
          <p:spPr>
            <a:xfrm rot="20521430">
              <a:off x="3182171" y="3515420"/>
              <a:ext cx="5377757" cy="523220"/>
            </a:xfrm>
            <a:prstGeom prst="rect">
              <a:avLst/>
            </a:prstGeom>
          </p:spPr>
          <p:txBody>
            <a:bodyPr wrap="square">
              <a:spAutoFit/>
            </a:bodyPr>
            <a:lstStyle/>
            <a:p>
              <a:pPr algn="ctr" fontAlgn="base">
                <a:spcBef>
                  <a:spcPct val="0"/>
                </a:spcBef>
                <a:spcAft>
                  <a:spcPct val="0"/>
                </a:spcAft>
              </a:pPr>
              <a:r>
                <a:rPr lang="en-US" sz="2800" b="1" dirty="0" err="1" smtClean="0">
                  <a:solidFill>
                    <a:schemeClr val="bg1"/>
                  </a:solidFill>
                  <a:effectLst>
                    <a:outerShdw blurRad="38100" dist="38100" dir="2700000" algn="tl">
                      <a:srgbClr val="000000">
                        <a:alpha val="43137"/>
                      </a:srgbClr>
                    </a:outerShdw>
                  </a:effectLst>
                  <a:latin typeface="Arial"/>
                  <a:cs typeface="Arial"/>
                </a:rPr>
                <a:t>Jawatankuasa</a:t>
              </a:r>
              <a:r>
                <a:rPr lang="en-US" sz="2800" b="1" dirty="0" smtClean="0">
                  <a:solidFill>
                    <a:schemeClr val="bg1"/>
                  </a:solidFill>
                  <a:effectLst>
                    <a:outerShdw blurRad="38100" dist="38100" dir="2700000" algn="tl">
                      <a:srgbClr val="000000">
                        <a:alpha val="43137"/>
                      </a:srgbClr>
                    </a:outerShdw>
                  </a:effectLst>
                  <a:latin typeface="Arial"/>
                  <a:cs typeface="Arial"/>
                </a:rPr>
                <a:t> PBPPP</a:t>
              </a:r>
            </a:p>
          </p:txBody>
        </p:sp>
        <p:sp>
          <p:nvSpPr>
            <p:cNvPr id="18" name="Rectangle 17"/>
            <p:cNvSpPr/>
            <p:nvPr/>
          </p:nvSpPr>
          <p:spPr>
            <a:xfrm>
              <a:off x="2507902" y="4904845"/>
              <a:ext cx="5377757" cy="523220"/>
            </a:xfrm>
            <a:prstGeom prst="rect">
              <a:avLst/>
            </a:prstGeom>
          </p:spPr>
          <p:txBody>
            <a:bodyPr wrap="square">
              <a:spAutoFit/>
            </a:bodyPr>
            <a:lstStyle/>
            <a:p>
              <a:pPr algn="r" fontAlgn="base">
                <a:spcBef>
                  <a:spcPct val="0"/>
                </a:spcBef>
                <a:spcAft>
                  <a:spcPct val="0"/>
                </a:spcAft>
              </a:pPr>
              <a:r>
                <a:rPr lang="en-US" sz="2800" b="1" dirty="0" err="1" smtClean="0">
                  <a:solidFill>
                    <a:schemeClr val="bg1"/>
                  </a:solidFill>
                  <a:effectLst>
                    <a:outerShdw blurRad="38100" dist="38100" dir="2700000" algn="tl">
                      <a:srgbClr val="000000">
                        <a:alpha val="43137"/>
                      </a:srgbClr>
                    </a:outerShdw>
                  </a:effectLst>
                  <a:latin typeface="Arial"/>
                  <a:cs typeface="Arial"/>
                </a:rPr>
                <a:t>Latar</a:t>
              </a:r>
              <a:r>
                <a:rPr lang="en-US" sz="2800" b="1" dirty="0" smtClean="0">
                  <a:solidFill>
                    <a:schemeClr val="bg1"/>
                  </a:solidFill>
                  <a:effectLst>
                    <a:outerShdw blurRad="38100" dist="38100" dir="2700000" algn="tl">
                      <a:srgbClr val="000000">
                        <a:alpha val="43137"/>
                      </a:srgbClr>
                    </a:outerShdw>
                  </a:effectLst>
                  <a:latin typeface="Arial"/>
                  <a:cs typeface="Arial"/>
                </a:rPr>
                <a:t> </a:t>
              </a:r>
              <a:r>
                <a:rPr lang="en-US" sz="2800" b="1" dirty="0" err="1" smtClean="0">
                  <a:solidFill>
                    <a:schemeClr val="bg1"/>
                  </a:solidFill>
                  <a:effectLst>
                    <a:outerShdw blurRad="38100" dist="38100" dir="2700000" algn="tl">
                      <a:srgbClr val="000000">
                        <a:alpha val="43137"/>
                      </a:srgbClr>
                    </a:outerShdw>
                  </a:effectLst>
                  <a:latin typeface="Arial"/>
                  <a:cs typeface="Arial"/>
                </a:rPr>
                <a:t>Belakang</a:t>
              </a:r>
              <a:endParaRPr lang="en-US" sz="2800" b="1" dirty="0" smtClean="0">
                <a:solidFill>
                  <a:schemeClr val="bg1"/>
                </a:solidFill>
                <a:effectLst>
                  <a:outerShdw blurRad="38100" dist="38100" dir="2700000" algn="tl">
                    <a:srgbClr val="000000">
                      <a:alpha val="43137"/>
                    </a:srgbClr>
                  </a:outerShdw>
                </a:effectLst>
                <a:latin typeface="Arial"/>
                <a:cs typeface="Arial"/>
              </a:endParaRPr>
            </a:p>
          </p:txBody>
        </p:sp>
        <p:sp>
          <p:nvSpPr>
            <p:cNvPr id="19" name="Rectangle 18"/>
            <p:cNvSpPr/>
            <p:nvPr/>
          </p:nvSpPr>
          <p:spPr>
            <a:xfrm rot="18278835">
              <a:off x="905826" y="1773224"/>
              <a:ext cx="5377757" cy="523220"/>
            </a:xfrm>
            <a:prstGeom prst="rect">
              <a:avLst/>
            </a:prstGeom>
          </p:spPr>
          <p:txBody>
            <a:bodyPr wrap="square">
              <a:spAutoFit/>
            </a:bodyPr>
            <a:lstStyle/>
            <a:p>
              <a:pPr algn="ctr" fontAlgn="base">
                <a:spcBef>
                  <a:spcPct val="0"/>
                </a:spcBef>
                <a:spcAft>
                  <a:spcPct val="0"/>
                </a:spcAft>
              </a:pPr>
              <a:r>
                <a:rPr lang="en-US" sz="2800" b="1" dirty="0" err="1" smtClean="0">
                  <a:solidFill>
                    <a:schemeClr val="bg1"/>
                  </a:solidFill>
                  <a:effectLst>
                    <a:outerShdw blurRad="38100" dist="38100" dir="2700000" algn="tl">
                      <a:srgbClr val="000000">
                        <a:alpha val="43137"/>
                      </a:srgbClr>
                    </a:outerShdw>
                  </a:effectLst>
                  <a:latin typeface="Arial"/>
                  <a:cs typeface="Arial"/>
                </a:rPr>
                <a:t>Instrumen</a:t>
              </a:r>
              <a:r>
                <a:rPr lang="en-US" sz="2800" b="1" dirty="0" smtClean="0">
                  <a:solidFill>
                    <a:schemeClr val="bg1"/>
                  </a:solidFill>
                  <a:effectLst>
                    <a:outerShdw blurRad="38100" dist="38100" dir="2700000" algn="tl">
                      <a:srgbClr val="000000">
                        <a:alpha val="43137"/>
                      </a:srgbClr>
                    </a:outerShdw>
                  </a:effectLst>
                  <a:latin typeface="Arial"/>
                  <a:cs typeface="Arial"/>
                </a:rPr>
                <a:t> </a:t>
              </a:r>
              <a:r>
                <a:rPr lang="en-US" sz="2800" b="1" dirty="0" err="1" smtClean="0">
                  <a:solidFill>
                    <a:schemeClr val="bg1"/>
                  </a:solidFill>
                  <a:effectLst>
                    <a:outerShdw blurRad="38100" dist="38100" dir="2700000" algn="tl">
                      <a:srgbClr val="000000">
                        <a:alpha val="43137"/>
                      </a:srgbClr>
                    </a:outerShdw>
                  </a:effectLst>
                  <a:latin typeface="Arial"/>
                  <a:cs typeface="Arial"/>
                </a:rPr>
                <a:t>dan</a:t>
              </a:r>
              <a:r>
                <a:rPr lang="en-US" sz="2800" b="1" dirty="0" smtClean="0">
                  <a:solidFill>
                    <a:schemeClr val="bg1"/>
                  </a:solidFill>
                  <a:effectLst>
                    <a:outerShdw blurRad="38100" dist="38100" dir="2700000" algn="tl">
                      <a:srgbClr val="000000">
                        <a:alpha val="43137"/>
                      </a:srgbClr>
                    </a:outerShdw>
                  </a:effectLst>
                  <a:latin typeface="Arial"/>
                  <a:cs typeface="Arial"/>
                </a:rPr>
                <a:t> </a:t>
              </a:r>
              <a:r>
                <a:rPr lang="en-US" sz="2800" b="1" dirty="0" err="1" smtClean="0">
                  <a:solidFill>
                    <a:schemeClr val="bg1"/>
                  </a:solidFill>
                  <a:effectLst>
                    <a:outerShdw blurRad="38100" dist="38100" dir="2700000" algn="tl">
                      <a:srgbClr val="000000">
                        <a:alpha val="43137"/>
                      </a:srgbClr>
                    </a:outerShdw>
                  </a:effectLst>
                  <a:latin typeface="Arial"/>
                  <a:cs typeface="Arial"/>
                </a:rPr>
                <a:t>Skor</a:t>
              </a:r>
              <a:endParaRPr lang="en-US" sz="2800" b="1" dirty="0" smtClean="0">
                <a:solidFill>
                  <a:schemeClr val="bg1"/>
                </a:solidFill>
                <a:effectLst>
                  <a:outerShdw blurRad="38100" dist="38100" dir="2700000" algn="tl">
                    <a:srgbClr val="000000">
                      <a:alpha val="43137"/>
                    </a:srgbClr>
                  </a:outerShdw>
                </a:effectLst>
                <a:latin typeface="Arial"/>
                <a:cs typeface="Arial"/>
              </a:endParaRPr>
            </a:p>
          </p:txBody>
        </p:sp>
      </p:grpSp>
      <p:sp>
        <p:nvSpPr>
          <p:cNvPr id="21" name="Rectangle 20"/>
          <p:cNvSpPr/>
          <p:nvPr/>
        </p:nvSpPr>
        <p:spPr>
          <a:xfrm>
            <a:off x="-266763" y="712310"/>
            <a:ext cx="4572000" cy="646331"/>
          </a:xfrm>
          <a:prstGeom prst="rect">
            <a:avLst/>
          </a:prstGeom>
        </p:spPr>
        <p:txBody>
          <a:bodyPr>
            <a:spAutoFit/>
          </a:bodyPr>
          <a:lstStyle/>
          <a:p>
            <a:pPr algn="ctr"/>
            <a:r>
              <a:rPr lang="en-US" sz="3600" b="1" dirty="0" smtClean="0">
                <a:effectLst>
                  <a:outerShdw blurRad="38100" dist="38100" dir="2700000" algn="tl">
                    <a:srgbClr val="000000">
                      <a:alpha val="43137"/>
                    </a:srgbClr>
                  </a:outerShdw>
                </a:effectLst>
                <a:latin typeface="Arial"/>
                <a:cs typeface="Arial"/>
              </a:rPr>
              <a:t>SKOP TAKLIMAT</a:t>
            </a:r>
            <a:endParaRPr lang="en-US" sz="3600" b="1" dirty="0">
              <a:effectLst>
                <a:outerShdw blurRad="38100" dist="38100" dir="2700000" algn="tl">
                  <a:srgbClr val="000000">
                    <a:alpha val="43137"/>
                  </a:srgbClr>
                </a:outerShdw>
              </a:effectLst>
              <a:latin typeface="Arial"/>
              <a:cs typeface="Arial"/>
            </a:endParaRPr>
          </a:p>
        </p:txBody>
      </p:sp>
      <p:cxnSp>
        <p:nvCxnSpPr>
          <p:cNvPr id="23" name="Straight Connector 22"/>
          <p:cNvCxnSpPr/>
          <p:nvPr/>
        </p:nvCxnSpPr>
        <p:spPr>
          <a:xfrm>
            <a:off x="457200" y="1358641"/>
            <a:ext cx="2833758" cy="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20</a:t>
            </a:fld>
            <a:endParaRPr lang="en-US"/>
          </a:p>
        </p:txBody>
      </p:sp>
      <p:sp>
        <p:nvSpPr>
          <p:cNvPr id="9" name="Ellipse 15"/>
          <p:cNvSpPr/>
          <p:nvPr/>
        </p:nvSpPr>
        <p:spPr bwMode="auto">
          <a:xfrm rot="2815450">
            <a:off x="3004719" y="392714"/>
            <a:ext cx="1542858" cy="6793324"/>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FF00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1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0" name="Ellipse 15"/>
          <p:cNvSpPr/>
          <p:nvPr/>
        </p:nvSpPr>
        <p:spPr bwMode="auto">
          <a:xfrm rot="3443802">
            <a:off x="3204626" y="562976"/>
            <a:ext cx="1413023" cy="7077331"/>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0080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2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1" name="Ellipse 15"/>
          <p:cNvSpPr/>
          <p:nvPr/>
        </p:nvSpPr>
        <p:spPr bwMode="auto">
          <a:xfrm rot="4218724">
            <a:off x="3454116" y="904660"/>
            <a:ext cx="1413023" cy="7077331"/>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FF99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lvl="0" algn="r" fontAlgn="base">
              <a:spcBef>
                <a:spcPct val="0"/>
              </a:spcBef>
              <a:spcAft>
                <a:spcPct val="0"/>
              </a:spcAft>
            </a:pPr>
            <a:r>
              <a:rPr lang="en-US" sz="4000" b="1" dirty="0" err="1" smtClean="0">
                <a:solidFill>
                  <a:prstClr val="white"/>
                </a:solidFill>
                <a:effectLst>
                  <a:outerShdw blurRad="38100" dist="38100" dir="2700000" algn="tl">
                    <a:srgbClr val="000000">
                      <a:alpha val="43137"/>
                    </a:srgbClr>
                  </a:outerShdw>
                </a:effectLst>
                <a:latin typeface="Arial"/>
                <a:cs typeface="Arial"/>
              </a:rPr>
              <a:t>Jawatankuasa</a:t>
            </a:r>
            <a:endParaRPr lang="en-US" sz="4000" b="1" dirty="0">
              <a:solidFill>
                <a:prstClr val="white"/>
              </a:solidFill>
              <a:effectLst>
                <a:outerShdw blurRad="38100" dist="38100" dir="2700000" algn="tl">
                  <a:srgbClr val="000000">
                    <a:alpha val="43137"/>
                  </a:srgbClr>
                </a:outerShdw>
              </a:effectLst>
              <a:latin typeface="Arial"/>
              <a:cs typeface="Arial"/>
            </a:endParaRPr>
          </a:p>
          <a:p>
            <a:pPr lvl="0" algn="r" fontAlgn="base">
              <a:spcBef>
                <a:spcPct val="0"/>
              </a:spcBef>
              <a:spcAft>
                <a:spcPct val="0"/>
              </a:spcAft>
            </a:pPr>
            <a:r>
              <a:rPr lang="en-US" sz="4000" b="1" dirty="0" smtClean="0">
                <a:solidFill>
                  <a:prstClr val="white"/>
                </a:solidFill>
                <a:effectLst>
                  <a:outerShdw blurRad="38100" dist="38100" dir="2700000" algn="tl">
                    <a:srgbClr val="000000">
                      <a:alpha val="43137"/>
                    </a:srgbClr>
                  </a:outerShdw>
                </a:effectLst>
                <a:latin typeface="Arial"/>
                <a:cs typeface="Arial"/>
              </a:rPr>
              <a:t>PBPPP</a:t>
            </a:r>
            <a:endParaRPr lang="en-US" sz="2400" b="1" dirty="0">
              <a:solidFill>
                <a:prstClr val="white"/>
              </a:solidFill>
              <a:effectLst>
                <a:outerShdw blurRad="38100" dist="38100" dir="2700000" algn="tl">
                  <a:srgbClr val="000000">
                    <a:alpha val="43137"/>
                  </a:srgbClr>
                </a:outerShdw>
              </a:effectLst>
              <a:latin typeface="Arial"/>
              <a:cs typeface="Arial"/>
            </a:endParaRPr>
          </a:p>
        </p:txBody>
      </p:sp>
      <p:sp>
        <p:nvSpPr>
          <p:cNvPr id="12" name="Ellipse 15"/>
          <p:cNvSpPr/>
          <p:nvPr/>
        </p:nvSpPr>
        <p:spPr bwMode="auto">
          <a:xfrm rot="5400000">
            <a:off x="3878946" y="2142874"/>
            <a:ext cx="1342778" cy="7077331"/>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00206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lvl="0" algn="r" fontAlgn="base">
              <a:spcBef>
                <a:spcPct val="0"/>
              </a:spcBef>
              <a:spcAft>
                <a:spcPct val="0"/>
              </a:spcAft>
            </a:pPr>
            <a:endParaRPr lang="en-US" sz="1400" b="1" dirty="0">
              <a:solidFill>
                <a:prstClr val="white"/>
              </a:solidFill>
              <a:effectLst>
                <a:outerShdw blurRad="38100" dist="38100" dir="2700000" algn="tl">
                  <a:srgbClr val="000000">
                    <a:alpha val="43137"/>
                  </a:srgbClr>
                </a:outerShdw>
              </a:effectLst>
              <a:latin typeface="Lucida Sans Unicode" pitchFamily="34" charset="0"/>
            </a:endParaRPr>
          </a:p>
        </p:txBody>
      </p:sp>
      <p:sp>
        <p:nvSpPr>
          <p:cNvPr id="13" name="Ellipse 10"/>
          <p:cNvSpPr/>
          <p:nvPr/>
        </p:nvSpPr>
        <p:spPr bwMode="auto">
          <a:xfrm>
            <a:off x="1403313" y="5289921"/>
            <a:ext cx="778506" cy="712993"/>
          </a:xfrm>
          <a:prstGeom prst="ellipse">
            <a:avLst/>
          </a:prstGeom>
          <a:gradFill>
            <a:gsLst>
              <a:gs pos="0">
                <a:schemeClr val="bg1">
                  <a:lumMod val="85000"/>
                </a:schemeClr>
              </a:gs>
              <a:gs pos="80000">
                <a:schemeClr val="bg1">
                  <a:lumMod val="95000"/>
                </a:schemeClr>
              </a:gs>
              <a:gs pos="100000">
                <a:schemeClr val="bg1"/>
              </a:gs>
            </a:gsLst>
          </a:gradFill>
          <a:ln>
            <a:no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fr-FR" sz="1400" b="1">
              <a:solidFill>
                <a:schemeClr val="tx1"/>
              </a:solidFill>
              <a:latin typeface="Lucida Sans Unicode" pitchFamily="34" charset="0"/>
            </a:endParaRPr>
          </a:p>
        </p:txBody>
      </p:sp>
      <p:sp>
        <p:nvSpPr>
          <p:cNvPr id="15" name="TextBox 14"/>
          <p:cNvSpPr txBox="1"/>
          <p:nvPr/>
        </p:nvSpPr>
        <p:spPr>
          <a:xfrm>
            <a:off x="405143" y="906979"/>
            <a:ext cx="1000132" cy="1862048"/>
          </a:xfrm>
          <a:prstGeom prst="rect">
            <a:avLst/>
          </a:prstGeom>
          <a:noFill/>
        </p:spPr>
        <p:txBody>
          <a:bodyPr wrap="square" rtlCol="0">
            <a:spAutoFit/>
          </a:bodyPr>
          <a:lstStyle/>
          <a:p>
            <a:r>
              <a:rPr lang="en-US" sz="11500" b="1" dirty="0" smtClean="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rPr>
              <a:t>2</a:t>
            </a:r>
            <a:endParaRPr lang="en-US" sz="11500" b="1" dirty="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11"/>
                                        </p:tgtEl>
                                      </p:cBhvr>
                                    </p:animEffect>
                                    <p:animScale>
                                      <p:cBhvr>
                                        <p:cTn id="7" dur="250" autoRev="1" fill="hold"/>
                                        <p:tgtEl>
                                          <p:spTgt spid="11"/>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15"/>
                                        </p:tgtEl>
                                      </p:cBhvr>
                                    </p:animEffect>
                                    <p:animScale>
                                      <p:cBhvr>
                                        <p:cTn id="10" dur="250" autoRev="1" fill="hold"/>
                                        <p:tgtEl>
                                          <p:spTgt spid="1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3190917" y="6361052"/>
            <a:ext cx="4958521" cy="365125"/>
          </a:xfrm>
        </p:spPr>
        <p:txBody>
          <a:bodyPr/>
          <a:lstStyle/>
          <a:p>
            <a:r>
              <a:rPr lang="en-US" smtClean="0"/>
              <a:t>GURU (SEKOLAH)</a:t>
            </a:r>
            <a:endParaRPr lang="en-US"/>
          </a:p>
        </p:txBody>
      </p:sp>
      <p:sp>
        <p:nvSpPr>
          <p:cNvPr id="5" name="Slide Number Placeholder 4"/>
          <p:cNvSpPr>
            <a:spLocks noGrp="1"/>
          </p:cNvSpPr>
          <p:nvPr>
            <p:ph type="sldNum" sz="quarter" idx="12"/>
          </p:nvPr>
        </p:nvSpPr>
        <p:spPr>
          <a:xfrm>
            <a:off x="6453159" y="6350009"/>
            <a:ext cx="2133600" cy="365125"/>
          </a:xfrm>
        </p:spPr>
        <p:txBody>
          <a:bodyPr/>
          <a:lstStyle/>
          <a:p>
            <a:fld id="{4D86EDED-B1AF-7E4B-94C9-3F0EAA36C7D5}" type="slidenum">
              <a:rPr lang="en-US" smtClean="0"/>
              <a:pPr/>
              <a:t>21</a:t>
            </a:fld>
            <a:endParaRPr lang="en-US"/>
          </a:p>
        </p:txBody>
      </p:sp>
      <p:grpSp>
        <p:nvGrpSpPr>
          <p:cNvPr id="2" name="Group 58"/>
          <p:cNvGrpSpPr>
            <a:grpSpLocks/>
          </p:cNvGrpSpPr>
          <p:nvPr/>
        </p:nvGrpSpPr>
        <p:grpSpPr bwMode="auto">
          <a:xfrm>
            <a:off x="4136996" y="1079508"/>
            <a:ext cx="614363" cy="5335588"/>
            <a:chOff x="4191000" y="762000"/>
            <a:chExt cx="685800" cy="5943600"/>
          </a:xfrm>
        </p:grpSpPr>
        <p:grpSp>
          <p:nvGrpSpPr>
            <p:cNvPr id="3" name="Group 17"/>
            <p:cNvGrpSpPr>
              <a:grpSpLocks/>
            </p:cNvGrpSpPr>
            <p:nvPr/>
          </p:nvGrpSpPr>
          <p:grpSpPr bwMode="auto">
            <a:xfrm>
              <a:off x="4191000" y="1143000"/>
              <a:ext cx="685800" cy="4225953"/>
              <a:chOff x="4191000" y="1143000"/>
              <a:chExt cx="685800" cy="4225953"/>
            </a:xfrm>
          </p:grpSpPr>
          <p:cxnSp>
            <p:nvCxnSpPr>
              <p:cNvPr id="18" name="Straight Connector 18"/>
              <p:cNvCxnSpPr/>
              <p:nvPr/>
            </p:nvCxnSpPr>
            <p:spPr>
              <a:xfrm flipH="1">
                <a:off x="4191000" y="1142207"/>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9"/>
              <p:cNvCxnSpPr/>
              <p:nvPr/>
            </p:nvCxnSpPr>
            <p:spPr>
              <a:xfrm flipH="1">
                <a:off x="4572000" y="1142207"/>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20"/>
              <p:cNvCxnSpPr/>
              <p:nvPr/>
            </p:nvCxnSpPr>
            <p:spPr>
              <a:xfrm flipH="1">
                <a:off x="4191000" y="1980429"/>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1"/>
              <p:cNvCxnSpPr/>
              <p:nvPr/>
            </p:nvCxnSpPr>
            <p:spPr>
              <a:xfrm flipH="1">
                <a:off x="4572000" y="1980429"/>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2"/>
              <p:cNvCxnSpPr/>
              <p:nvPr/>
            </p:nvCxnSpPr>
            <p:spPr>
              <a:xfrm flipH="1">
                <a:off x="4191000" y="2871704"/>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3"/>
              <p:cNvCxnSpPr/>
              <p:nvPr/>
            </p:nvCxnSpPr>
            <p:spPr>
              <a:xfrm flipH="1">
                <a:off x="4572000" y="2871704"/>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4"/>
              <p:cNvCxnSpPr/>
              <p:nvPr/>
            </p:nvCxnSpPr>
            <p:spPr>
              <a:xfrm flipH="1">
                <a:off x="4191000" y="3635654"/>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5"/>
              <p:cNvCxnSpPr/>
              <p:nvPr/>
            </p:nvCxnSpPr>
            <p:spPr>
              <a:xfrm flipH="1">
                <a:off x="4572000" y="3635654"/>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6"/>
              <p:cNvCxnSpPr/>
              <p:nvPr/>
            </p:nvCxnSpPr>
            <p:spPr>
              <a:xfrm flipH="1">
                <a:off x="4191000" y="4503939"/>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7"/>
              <p:cNvCxnSpPr/>
              <p:nvPr/>
            </p:nvCxnSpPr>
            <p:spPr>
              <a:xfrm flipH="1">
                <a:off x="4572000" y="4503939"/>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8"/>
              <p:cNvCxnSpPr/>
              <p:nvPr/>
            </p:nvCxnSpPr>
            <p:spPr>
              <a:xfrm flipH="1">
                <a:off x="4191000" y="5368688"/>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9"/>
              <p:cNvCxnSpPr/>
              <p:nvPr/>
            </p:nvCxnSpPr>
            <p:spPr>
              <a:xfrm flipH="1">
                <a:off x="4572000" y="5368688"/>
                <a:ext cx="304800" cy="0"/>
              </a:xfrm>
              <a:prstGeom prst="line">
                <a:avLst/>
              </a:prstGeom>
              <a:ln w="38100">
                <a:solidFill>
                  <a:schemeClr val="bg1">
                    <a:lumMod val="75000"/>
                    <a:alpha val="61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56"/>
            <p:cNvGrpSpPr>
              <a:grpSpLocks/>
            </p:cNvGrpSpPr>
            <p:nvPr/>
          </p:nvGrpSpPr>
          <p:grpSpPr bwMode="auto">
            <a:xfrm>
              <a:off x="4343400" y="762000"/>
              <a:ext cx="388620" cy="5943600"/>
              <a:chOff x="4343400" y="762000"/>
              <a:chExt cx="388620" cy="5943600"/>
            </a:xfrm>
          </p:grpSpPr>
          <p:sp>
            <p:nvSpPr>
              <p:cNvPr id="9" name="Rectangle 8"/>
              <p:cNvSpPr/>
              <p:nvPr/>
            </p:nvSpPr>
            <p:spPr>
              <a:xfrm>
                <a:off x="4495800" y="762000"/>
                <a:ext cx="77972" cy="5943600"/>
              </a:xfrm>
              <a:prstGeom prst="rect">
                <a:avLst/>
              </a:prstGeom>
              <a:gradFill flip="none" rotWithShape="1">
                <a:gsLst>
                  <a:gs pos="1250">
                    <a:schemeClr val="tx1">
                      <a:lumMod val="85000"/>
                      <a:lumOff val="15000"/>
                    </a:schemeClr>
                  </a:gs>
                  <a:gs pos="51000">
                    <a:schemeClr val="tx1">
                      <a:lumMod val="50000"/>
                      <a:lumOff val="50000"/>
                    </a:schemeClr>
                  </a:gs>
                  <a:gs pos="100000">
                    <a:schemeClr val="tx1">
                      <a:lumMod val="85000"/>
                      <a:lumOff val="15000"/>
                    </a:schemeClr>
                  </a:gs>
                </a:gsLst>
                <a:lin ang="0" scaled="1"/>
                <a:tileRect/>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p>
            </p:txBody>
          </p:sp>
          <p:grpSp>
            <p:nvGrpSpPr>
              <p:cNvPr id="7" name="Group 50"/>
              <p:cNvGrpSpPr>
                <a:grpSpLocks/>
              </p:cNvGrpSpPr>
              <p:nvPr/>
            </p:nvGrpSpPr>
            <p:grpSpPr bwMode="auto">
              <a:xfrm>
                <a:off x="4343400" y="944880"/>
                <a:ext cx="388620" cy="2124840"/>
                <a:chOff x="4343400" y="944880"/>
                <a:chExt cx="388620" cy="2124840"/>
              </a:xfrm>
            </p:grpSpPr>
            <p:sp>
              <p:nvSpPr>
                <p:cNvPr id="15" name="Oval 47"/>
                <p:cNvSpPr/>
                <p:nvPr/>
              </p:nvSpPr>
              <p:spPr>
                <a:xfrm>
                  <a:off x="4350488" y="944146"/>
                  <a:ext cx="381000" cy="381975"/>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GB" sz="1200" dirty="0"/>
                </a:p>
              </p:txBody>
            </p:sp>
            <p:sp>
              <p:nvSpPr>
                <p:cNvPr id="16" name="Oval 48"/>
                <p:cNvSpPr/>
                <p:nvPr/>
              </p:nvSpPr>
              <p:spPr>
                <a:xfrm>
                  <a:off x="4343400" y="1789442"/>
                  <a:ext cx="381000" cy="381975"/>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GB" sz="1200" dirty="0"/>
                </a:p>
              </p:txBody>
            </p:sp>
            <p:sp>
              <p:nvSpPr>
                <p:cNvPr id="17" name="Oval 16"/>
                <p:cNvSpPr/>
                <p:nvPr/>
              </p:nvSpPr>
              <p:spPr>
                <a:xfrm>
                  <a:off x="4343400" y="2687791"/>
                  <a:ext cx="381000" cy="381975"/>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GB" sz="1200" dirty="0"/>
                </a:p>
              </p:txBody>
            </p:sp>
          </p:grpSp>
          <p:grpSp>
            <p:nvGrpSpPr>
              <p:cNvPr id="8" name="Group 51"/>
              <p:cNvGrpSpPr>
                <a:grpSpLocks/>
              </p:cNvGrpSpPr>
              <p:nvPr/>
            </p:nvGrpSpPr>
            <p:grpSpPr bwMode="auto">
              <a:xfrm>
                <a:off x="4343400" y="3484485"/>
                <a:ext cx="388620" cy="2052105"/>
                <a:chOff x="4343400" y="1076565"/>
                <a:chExt cx="388620" cy="2052105"/>
              </a:xfrm>
            </p:grpSpPr>
            <p:sp>
              <p:nvSpPr>
                <p:cNvPr id="12" name="Oval 11"/>
                <p:cNvSpPr/>
                <p:nvPr/>
              </p:nvSpPr>
              <p:spPr>
                <a:xfrm>
                  <a:off x="4350488" y="1077419"/>
                  <a:ext cx="381000" cy="38020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GB" sz="1200" dirty="0"/>
                </a:p>
              </p:txBody>
            </p:sp>
            <p:sp>
              <p:nvSpPr>
                <p:cNvPr id="13" name="Oval 12"/>
                <p:cNvSpPr/>
                <p:nvPr/>
              </p:nvSpPr>
              <p:spPr>
                <a:xfrm>
                  <a:off x="4343400" y="1952779"/>
                  <a:ext cx="381000" cy="38020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GB" sz="1200" dirty="0"/>
                </a:p>
              </p:txBody>
            </p:sp>
            <p:sp>
              <p:nvSpPr>
                <p:cNvPr id="14" name="Oval 13"/>
                <p:cNvSpPr/>
                <p:nvPr/>
              </p:nvSpPr>
              <p:spPr>
                <a:xfrm>
                  <a:off x="4343400" y="2748560"/>
                  <a:ext cx="381000" cy="38020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GB" sz="1200" dirty="0"/>
                </a:p>
              </p:txBody>
            </p:sp>
          </p:grpSp>
        </p:grpSp>
      </p:grpSp>
      <p:sp>
        <p:nvSpPr>
          <p:cNvPr id="30" name="Snip Same Side Corner Rectangle 29"/>
          <p:cNvSpPr/>
          <p:nvPr/>
        </p:nvSpPr>
        <p:spPr>
          <a:xfrm>
            <a:off x="2606647" y="6080134"/>
            <a:ext cx="3694112" cy="341313"/>
          </a:xfrm>
          <a:prstGeom prst="snip2SameRect">
            <a:avLst/>
          </a:prstGeom>
          <a:gradFill>
            <a:gsLst>
              <a:gs pos="1250">
                <a:schemeClr val="tx1">
                  <a:lumMod val="85000"/>
                  <a:lumOff val="15000"/>
                </a:schemeClr>
              </a:gs>
              <a:gs pos="51000">
                <a:schemeClr val="tx1">
                  <a:lumMod val="50000"/>
                  <a:lumOff val="50000"/>
                </a:schemeClr>
              </a:gs>
              <a:gs pos="100000">
                <a:schemeClr val="tx1">
                  <a:lumMod val="85000"/>
                  <a:lumOff val="15000"/>
                </a:schemeClr>
              </a:gs>
            </a:gsLst>
            <a:lin ang="0" scaled="1"/>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p>
        </p:txBody>
      </p:sp>
      <p:grpSp>
        <p:nvGrpSpPr>
          <p:cNvPr id="10" name="Group 30"/>
          <p:cNvGrpSpPr/>
          <p:nvPr/>
        </p:nvGrpSpPr>
        <p:grpSpPr>
          <a:xfrm>
            <a:off x="757182" y="1079493"/>
            <a:ext cx="3379815" cy="660703"/>
            <a:chOff x="857224" y="1142984"/>
            <a:chExt cx="3379814" cy="660703"/>
          </a:xfrm>
        </p:grpSpPr>
        <p:sp>
          <p:nvSpPr>
            <p:cNvPr id="32" name="Snip Single Corner Rectangle 4"/>
            <p:cNvSpPr/>
            <p:nvPr/>
          </p:nvSpPr>
          <p:spPr bwMode="auto">
            <a:xfrm flipH="1">
              <a:off x="1285875" y="1211263"/>
              <a:ext cx="2951163" cy="581025"/>
            </a:xfrm>
            <a:prstGeom prst="snip1Rect">
              <a:avLst/>
            </a:prstGeom>
            <a:gradFill flip="none" rotWithShape="1">
              <a:gsLst>
                <a:gs pos="83000">
                  <a:srgbClr val="5A930E"/>
                </a:gs>
                <a:gs pos="0">
                  <a:srgbClr val="9BED17"/>
                </a:gs>
                <a:gs pos="100000">
                  <a:srgbClr val="305808"/>
                </a:gs>
              </a:gsLst>
              <a:lin ang="0" scaled="1"/>
              <a:tileRect/>
            </a:gradFill>
            <a:ln>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33" name="TextBox 32"/>
            <p:cNvSpPr txBox="1"/>
            <p:nvPr/>
          </p:nvSpPr>
          <p:spPr>
            <a:xfrm>
              <a:off x="1428751" y="1218912"/>
              <a:ext cx="2771775" cy="584775"/>
            </a:xfrm>
            <a:prstGeom prst="rect">
              <a:avLst/>
            </a:prstGeom>
            <a:noFill/>
          </p:spPr>
          <p:txBody>
            <a:bodyPr anchor="ctr">
              <a:spAutoFit/>
            </a:bodyPr>
            <a:lstStyle/>
            <a:p>
              <a:pPr fontAlgn="auto">
                <a:spcBef>
                  <a:spcPts val="0"/>
                </a:spcBef>
                <a:spcAft>
                  <a:spcPts val="0"/>
                </a:spcAft>
                <a:defRPr/>
              </a:pPr>
              <a:r>
                <a:rPr lang="en-US" sz="1600" b="1" dirty="0">
                  <a:solidFill>
                    <a:schemeClr val="bg1"/>
                  </a:solidFill>
                  <a:effectLst>
                    <a:outerShdw blurRad="38100" dist="38100" dir="2700000" algn="tl">
                      <a:srgbClr val="000000">
                        <a:alpha val="43137"/>
                      </a:srgbClr>
                    </a:outerShdw>
                  </a:effectLst>
                  <a:latin typeface="Arial" pitchFamily="34" charset="0"/>
                </a:rPr>
                <a:t>Merancang, menyelaras dan memantau</a:t>
              </a:r>
            </a:p>
          </p:txBody>
        </p:sp>
        <p:sp>
          <p:nvSpPr>
            <p:cNvPr id="34" name="TextBox 33"/>
            <p:cNvSpPr txBox="1"/>
            <p:nvPr/>
          </p:nvSpPr>
          <p:spPr>
            <a:xfrm>
              <a:off x="857224" y="1142984"/>
              <a:ext cx="1000132" cy="646331"/>
            </a:xfrm>
            <a:prstGeom prst="rect">
              <a:avLst/>
            </a:prstGeom>
            <a:noFill/>
          </p:spPr>
          <p:txBody>
            <a:bodyPr>
              <a:spAutoFit/>
            </a:bodyPr>
            <a:lstStyle/>
            <a:p>
              <a:pPr fontAlgn="auto">
                <a:spcBef>
                  <a:spcPts val="0"/>
                </a:spcBef>
                <a:spcAft>
                  <a:spcPts val="0"/>
                </a:spcAft>
                <a:defRPr/>
              </a:pPr>
              <a:r>
                <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1</a:t>
              </a:r>
            </a:p>
          </p:txBody>
        </p:sp>
      </p:grpSp>
      <p:grpSp>
        <p:nvGrpSpPr>
          <p:cNvPr id="11" name="Group 34"/>
          <p:cNvGrpSpPr/>
          <p:nvPr/>
        </p:nvGrpSpPr>
        <p:grpSpPr>
          <a:xfrm>
            <a:off x="757182" y="1865310"/>
            <a:ext cx="3379815" cy="663587"/>
            <a:chOff x="857224" y="1928801"/>
            <a:chExt cx="3379814" cy="663587"/>
          </a:xfrm>
        </p:grpSpPr>
        <p:sp>
          <p:nvSpPr>
            <p:cNvPr id="36" name="Snip Single Corner Rectangle 5"/>
            <p:cNvSpPr/>
            <p:nvPr/>
          </p:nvSpPr>
          <p:spPr bwMode="auto">
            <a:xfrm flipH="1">
              <a:off x="1285875" y="2009775"/>
              <a:ext cx="2951163" cy="582613"/>
            </a:xfrm>
            <a:prstGeom prst="snip1Rect">
              <a:avLst/>
            </a:prstGeom>
            <a:gradFill flip="none" rotWithShape="1">
              <a:gsLst>
                <a:gs pos="83000">
                  <a:srgbClr val="5A930E"/>
                </a:gs>
                <a:gs pos="0">
                  <a:srgbClr val="9BED17"/>
                </a:gs>
                <a:gs pos="100000">
                  <a:srgbClr val="305808"/>
                </a:gs>
              </a:gsLst>
              <a:lin ang="0" scaled="1"/>
              <a:tileRect/>
            </a:gradFill>
            <a:ln>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37" name="TextBox 36"/>
            <p:cNvSpPr txBox="1"/>
            <p:nvPr/>
          </p:nvSpPr>
          <p:spPr>
            <a:xfrm>
              <a:off x="1454151" y="1996787"/>
              <a:ext cx="2771775" cy="584775"/>
            </a:xfrm>
            <a:prstGeom prst="rect">
              <a:avLst/>
            </a:prstGeom>
            <a:noFill/>
          </p:spPr>
          <p:txBody>
            <a:bodyPr anchor="ctr">
              <a:spAutoFit/>
            </a:bodyPr>
            <a:lstStyle/>
            <a:p>
              <a:pPr fontAlgn="auto">
                <a:spcBef>
                  <a:spcPts val="0"/>
                </a:spcBef>
                <a:spcAft>
                  <a:spcPts val="0"/>
                </a:spcAft>
                <a:defRPr/>
              </a:pPr>
              <a:r>
                <a:rPr lang="en-US" sz="1600" b="1" dirty="0" err="1" smtClean="0">
                  <a:solidFill>
                    <a:schemeClr val="bg1"/>
                  </a:solidFill>
                  <a:effectLst>
                    <a:outerShdw blurRad="38100" dist="38100" dir="2700000" algn="tl">
                      <a:srgbClr val="000000">
                        <a:alpha val="43137"/>
                      </a:srgbClr>
                    </a:outerShdw>
                  </a:effectLst>
                  <a:latin typeface="Arial" pitchFamily="34" charset="0"/>
                </a:rPr>
                <a:t>Mengemukakan</a:t>
              </a:r>
              <a:r>
                <a:rPr lang="en-US" sz="1600" b="1" dirty="0" smtClean="0">
                  <a:solidFill>
                    <a:schemeClr val="bg1"/>
                  </a:solidFill>
                  <a:effectLst>
                    <a:outerShdw blurRad="38100" dist="38100" dir="2700000" algn="tl">
                      <a:srgbClr val="000000">
                        <a:alpha val="43137"/>
                      </a:srgbClr>
                    </a:outerShdw>
                  </a:effectLst>
                  <a:latin typeface="Arial" pitchFamily="34" charset="0"/>
                </a:rPr>
                <a:t> </a:t>
              </a:r>
              <a:r>
                <a:rPr lang="en-US" sz="1600" b="1" dirty="0" err="1" smtClean="0">
                  <a:solidFill>
                    <a:schemeClr val="bg1"/>
                  </a:solidFill>
                  <a:effectLst>
                    <a:outerShdw blurRad="38100" dist="38100" dir="2700000" algn="tl">
                      <a:srgbClr val="000000">
                        <a:alpha val="43137"/>
                      </a:srgbClr>
                    </a:outerShdw>
                  </a:effectLst>
                  <a:latin typeface="Arial" pitchFamily="34" charset="0"/>
                </a:rPr>
                <a:t>cadangan</a:t>
              </a:r>
              <a:r>
                <a:rPr lang="en-US" sz="1600" b="1" dirty="0" smtClean="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senarai</a:t>
              </a:r>
              <a:r>
                <a:rPr lang="en-US" sz="1600" b="1" dirty="0">
                  <a:solidFill>
                    <a:schemeClr val="bg1"/>
                  </a:solidFill>
                  <a:effectLst>
                    <a:outerShdw blurRad="38100" dist="38100" dir="2700000" algn="tl">
                      <a:srgbClr val="000000">
                        <a:alpha val="43137"/>
                      </a:srgbClr>
                    </a:outerShdw>
                  </a:effectLst>
                  <a:latin typeface="Arial" pitchFamily="34" charset="0"/>
                </a:rPr>
                <a:t> PP</a:t>
              </a:r>
            </a:p>
          </p:txBody>
        </p:sp>
        <p:sp>
          <p:nvSpPr>
            <p:cNvPr id="38" name="TextBox 37"/>
            <p:cNvSpPr txBox="1"/>
            <p:nvPr/>
          </p:nvSpPr>
          <p:spPr>
            <a:xfrm>
              <a:off x="857224" y="1928801"/>
              <a:ext cx="1000132" cy="646331"/>
            </a:xfrm>
            <a:prstGeom prst="rect">
              <a:avLst/>
            </a:prstGeom>
            <a:noFill/>
          </p:spPr>
          <p:txBody>
            <a:bodyPr>
              <a:spAutoFit/>
            </a:bodyPr>
            <a:lstStyle/>
            <a:p>
              <a:pPr fontAlgn="auto">
                <a:spcBef>
                  <a:spcPts val="0"/>
                </a:spcBef>
                <a:spcAft>
                  <a:spcPts val="0"/>
                </a:spcAft>
                <a:defRPr/>
              </a:pPr>
              <a:r>
                <a:rPr lang="en-US" sz="3600" b="1">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2</a:t>
              </a:r>
              <a:endPar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endParaRPr>
            </a:p>
          </p:txBody>
        </p:sp>
      </p:grpSp>
      <p:grpSp>
        <p:nvGrpSpPr>
          <p:cNvPr id="31" name="Group 38"/>
          <p:cNvGrpSpPr/>
          <p:nvPr/>
        </p:nvGrpSpPr>
        <p:grpSpPr>
          <a:xfrm>
            <a:off x="757182" y="2649547"/>
            <a:ext cx="3379815" cy="647913"/>
            <a:chOff x="857224" y="2713038"/>
            <a:chExt cx="3379814" cy="647913"/>
          </a:xfrm>
        </p:grpSpPr>
        <p:sp>
          <p:nvSpPr>
            <p:cNvPr id="40" name="Snip Single Corner Rectangle 6"/>
            <p:cNvSpPr/>
            <p:nvPr/>
          </p:nvSpPr>
          <p:spPr bwMode="auto">
            <a:xfrm flipH="1">
              <a:off x="1285875" y="2713038"/>
              <a:ext cx="2951163" cy="581025"/>
            </a:xfrm>
            <a:prstGeom prst="snip1Rect">
              <a:avLst/>
            </a:prstGeom>
            <a:gradFill flip="none" rotWithShape="1">
              <a:gsLst>
                <a:gs pos="83000">
                  <a:srgbClr val="5A930E"/>
                </a:gs>
                <a:gs pos="0">
                  <a:srgbClr val="9BED17"/>
                </a:gs>
                <a:gs pos="100000">
                  <a:srgbClr val="305808"/>
                </a:gs>
              </a:gsLst>
              <a:lin ang="0" scaled="1"/>
              <a:tileRect/>
            </a:gradFill>
            <a:ln>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41" name="TextBox 40"/>
            <p:cNvSpPr txBox="1"/>
            <p:nvPr/>
          </p:nvSpPr>
          <p:spPr>
            <a:xfrm>
              <a:off x="1454151" y="2857292"/>
              <a:ext cx="2771775" cy="338554"/>
            </a:xfrm>
            <a:prstGeom prst="rect">
              <a:avLst/>
            </a:prstGeom>
            <a:noFill/>
          </p:spPr>
          <p:txBody>
            <a:bodyPr anchor="ctr">
              <a:spAutoFit/>
            </a:bodyPr>
            <a:lstStyle/>
            <a:p>
              <a:pPr fontAlgn="auto">
                <a:spcBef>
                  <a:spcPts val="0"/>
                </a:spcBef>
                <a:spcAft>
                  <a:spcPts val="0"/>
                </a:spcAft>
                <a:defRPr/>
              </a:pPr>
              <a:r>
                <a:rPr lang="en-US" sz="1600" b="1" dirty="0" err="1">
                  <a:solidFill>
                    <a:schemeClr val="bg1"/>
                  </a:solidFill>
                  <a:effectLst>
                    <a:outerShdw blurRad="38100" dist="38100" dir="2700000" algn="tl">
                      <a:srgbClr val="000000">
                        <a:alpha val="43137"/>
                      </a:srgbClr>
                    </a:outerShdw>
                  </a:effectLst>
                  <a:latin typeface="Arial" pitchFamily="34" charset="0"/>
                </a:rPr>
                <a:t>Latihan</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dalaman</a:t>
              </a:r>
              <a:endParaRPr lang="en-US" sz="1600" b="1" dirty="0">
                <a:solidFill>
                  <a:schemeClr val="bg1"/>
                </a:solidFill>
                <a:effectLst>
                  <a:outerShdw blurRad="38100" dist="38100" dir="2700000" algn="tl">
                    <a:srgbClr val="000000">
                      <a:alpha val="43137"/>
                    </a:srgbClr>
                  </a:outerShdw>
                </a:effectLst>
                <a:latin typeface="Arial" pitchFamily="34" charset="0"/>
              </a:endParaRPr>
            </a:p>
          </p:txBody>
        </p:sp>
        <p:sp>
          <p:nvSpPr>
            <p:cNvPr id="42" name="TextBox 41"/>
            <p:cNvSpPr txBox="1"/>
            <p:nvPr/>
          </p:nvSpPr>
          <p:spPr>
            <a:xfrm>
              <a:off x="857224" y="2714620"/>
              <a:ext cx="1000132" cy="646331"/>
            </a:xfrm>
            <a:prstGeom prst="rect">
              <a:avLst/>
            </a:prstGeom>
            <a:noFill/>
          </p:spPr>
          <p:txBody>
            <a:bodyPr>
              <a:spAutoFit/>
            </a:bodyPr>
            <a:lstStyle/>
            <a:p>
              <a:pPr fontAlgn="auto">
                <a:spcBef>
                  <a:spcPts val="0"/>
                </a:spcBef>
                <a:spcAft>
                  <a:spcPts val="0"/>
                </a:spcAft>
                <a:defRPr/>
              </a:pPr>
              <a:r>
                <a:rPr lang="en-US" sz="3600" b="1">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3</a:t>
              </a:r>
              <a:endPar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endParaRPr>
            </a:p>
          </p:txBody>
        </p:sp>
      </p:grpSp>
      <p:grpSp>
        <p:nvGrpSpPr>
          <p:cNvPr id="35" name="Group 42"/>
          <p:cNvGrpSpPr/>
          <p:nvPr/>
        </p:nvGrpSpPr>
        <p:grpSpPr>
          <a:xfrm>
            <a:off x="757182" y="3363923"/>
            <a:ext cx="3379815" cy="719356"/>
            <a:chOff x="857224" y="3427413"/>
            <a:chExt cx="3379814" cy="719356"/>
          </a:xfrm>
        </p:grpSpPr>
        <p:sp>
          <p:nvSpPr>
            <p:cNvPr id="44" name="Snip Single Corner Rectangle 7"/>
            <p:cNvSpPr/>
            <p:nvPr/>
          </p:nvSpPr>
          <p:spPr bwMode="auto">
            <a:xfrm flipH="1">
              <a:off x="1285875" y="3427413"/>
              <a:ext cx="2951163" cy="581025"/>
            </a:xfrm>
            <a:prstGeom prst="snip1Rect">
              <a:avLst/>
            </a:prstGeom>
            <a:gradFill flip="none" rotWithShape="1">
              <a:gsLst>
                <a:gs pos="83000">
                  <a:srgbClr val="5A930E"/>
                </a:gs>
                <a:gs pos="0">
                  <a:srgbClr val="9BED17"/>
                </a:gs>
                <a:gs pos="100000">
                  <a:srgbClr val="305808"/>
                </a:gs>
              </a:gsLst>
              <a:lin ang="0" scaled="1"/>
              <a:tileRect/>
            </a:gradFill>
            <a:ln>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45" name="TextBox 44"/>
            <p:cNvSpPr txBox="1"/>
            <p:nvPr/>
          </p:nvSpPr>
          <p:spPr>
            <a:xfrm>
              <a:off x="1454151" y="3590717"/>
              <a:ext cx="2771775" cy="338554"/>
            </a:xfrm>
            <a:prstGeom prst="rect">
              <a:avLst/>
            </a:prstGeom>
            <a:noFill/>
          </p:spPr>
          <p:txBody>
            <a:bodyPr anchor="ctr">
              <a:spAutoFit/>
            </a:bodyPr>
            <a:lstStyle/>
            <a:p>
              <a:pPr fontAlgn="auto">
                <a:spcBef>
                  <a:spcPts val="0"/>
                </a:spcBef>
                <a:spcAft>
                  <a:spcPts val="0"/>
                </a:spcAft>
                <a:defRPr/>
              </a:pPr>
              <a:r>
                <a:rPr lang="en-US" sz="1600" b="1" dirty="0" err="1">
                  <a:solidFill>
                    <a:schemeClr val="bg1"/>
                  </a:solidFill>
                  <a:effectLst>
                    <a:outerShdw blurRad="38100" dist="38100" dir="2700000" algn="tl">
                      <a:srgbClr val="000000">
                        <a:alpha val="43137"/>
                      </a:srgbClr>
                    </a:outerShdw>
                  </a:effectLst>
                  <a:latin typeface="Arial" pitchFamily="34" charset="0"/>
                </a:rPr>
                <a:t>Laporan</a:t>
              </a:r>
              <a:endParaRPr lang="en-US" sz="1600" b="1" dirty="0">
                <a:solidFill>
                  <a:schemeClr val="bg1"/>
                </a:solidFill>
                <a:effectLst>
                  <a:outerShdw blurRad="38100" dist="38100" dir="2700000" algn="tl">
                    <a:srgbClr val="000000">
                      <a:alpha val="43137"/>
                    </a:srgbClr>
                  </a:outerShdw>
                </a:effectLst>
                <a:latin typeface="Arial" pitchFamily="34" charset="0"/>
                <a:ea typeface="Kozuka Gothic Pro M" pitchFamily="34" charset="-128"/>
              </a:endParaRPr>
            </a:p>
          </p:txBody>
        </p:sp>
        <p:sp>
          <p:nvSpPr>
            <p:cNvPr id="46" name="TextBox 45"/>
            <p:cNvSpPr txBox="1"/>
            <p:nvPr/>
          </p:nvSpPr>
          <p:spPr>
            <a:xfrm>
              <a:off x="857224" y="3500438"/>
              <a:ext cx="1000132" cy="646331"/>
            </a:xfrm>
            <a:prstGeom prst="rect">
              <a:avLst/>
            </a:prstGeom>
            <a:noFill/>
          </p:spPr>
          <p:txBody>
            <a:bodyPr>
              <a:spAutoFit/>
            </a:bodyPr>
            <a:lstStyle/>
            <a:p>
              <a:pPr fontAlgn="auto">
                <a:spcBef>
                  <a:spcPts val="0"/>
                </a:spcBef>
                <a:spcAft>
                  <a:spcPts val="0"/>
                </a:spcAft>
                <a:defRPr/>
              </a:pPr>
              <a:r>
                <a:rPr lang="en-US" sz="3600" b="1">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4</a:t>
              </a:r>
              <a:endPar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endParaRPr>
            </a:p>
          </p:txBody>
        </p:sp>
      </p:grpSp>
      <p:grpSp>
        <p:nvGrpSpPr>
          <p:cNvPr id="39" name="Group 46"/>
          <p:cNvGrpSpPr/>
          <p:nvPr/>
        </p:nvGrpSpPr>
        <p:grpSpPr>
          <a:xfrm>
            <a:off x="757182" y="4149734"/>
            <a:ext cx="3379815" cy="719362"/>
            <a:chOff x="857224" y="4213225"/>
            <a:chExt cx="3379814" cy="719362"/>
          </a:xfrm>
        </p:grpSpPr>
        <p:sp>
          <p:nvSpPr>
            <p:cNvPr id="48" name="Snip Single Corner Rectangle 8"/>
            <p:cNvSpPr/>
            <p:nvPr/>
          </p:nvSpPr>
          <p:spPr bwMode="auto">
            <a:xfrm flipH="1">
              <a:off x="1285875" y="4213225"/>
              <a:ext cx="2951163" cy="582613"/>
            </a:xfrm>
            <a:prstGeom prst="snip1Rect">
              <a:avLst/>
            </a:prstGeom>
            <a:gradFill flip="none" rotWithShape="1">
              <a:gsLst>
                <a:gs pos="83000">
                  <a:srgbClr val="5A930E"/>
                </a:gs>
                <a:gs pos="0">
                  <a:srgbClr val="9BED17"/>
                </a:gs>
                <a:gs pos="100000">
                  <a:srgbClr val="305808"/>
                </a:gs>
              </a:gsLst>
              <a:lin ang="0" scaled="1"/>
              <a:tileRect/>
            </a:gradFill>
            <a:ln>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49" name="TextBox 48"/>
            <p:cNvSpPr txBox="1"/>
            <p:nvPr/>
          </p:nvSpPr>
          <p:spPr>
            <a:xfrm>
              <a:off x="1454151" y="4376529"/>
              <a:ext cx="2771775" cy="338554"/>
            </a:xfrm>
            <a:prstGeom prst="rect">
              <a:avLst/>
            </a:prstGeom>
            <a:noFill/>
          </p:spPr>
          <p:txBody>
            <a:bodyPr anchor="ctr">
              <a:spAutoFit/>
            </a:bodyPr>
            <a:lstStyle/>
            <a:p>
              <a:pPr fontAlgn="auto">
                <a:spcBef>
                  <a:spcPts val="0"/>
                </a:spcBef>
                <a:spcAft>
                  <a:spcPts val="0"/>
                </a:spcAft>
                <a:defRPr/>
              </a:pPr>
              <a:r>
                <a:rPr lang="en-US" sz="1600" b="1" dirty="0" err="1">
                  <a:solidFill>
                    <a:schemeClr val="bg1"/>
                  </a:solidFill>
                  <a:effectLst>
                    <a:outerShdw blurRad="38100" dist="38100" dir="2700000" algn="tl">
                      <a:srgbClr val="000000">
                        <a:alpha val="43137"/>
                      </a:srgbClr>
                    </a:outerShdw>
                  </a:effectLst>
                  <a:latin typeface="Arial" pitchFamily="34" charset="0"/>
                </a:rPr>
                <a:t>Penyelarasan</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Skor</a:t>
              </a:r>
              <a:endParaRPr lang="en-US" sz="1600" b="1" dirty="0">
                <a:solidFill>
                  <a:schemeClr val="bg1"/>
                </a:solidFill>
                <a:effectLst>
                  <a:outerShdw blurRad="38100" dist="38100" dir="2700000" algn="tl">
                    <a:srgbClr val="000000">
                      <a:alpha val="43137"/>
                    </a:srgbClr>
                  </a:outerShdw>
                </a:effectLst>
                <a:latin typeface="Arial" pitchFamily="34" charset="0"/>
              </a:endParaRPr>
            </a:p>
          </p:txBody>
        </p:sp>
        <p:sp>
          <p:nvSpPr>
            <p:cNvPr id="50" name="TextBox 49"/>
            <p:cNvSpPr txBox="1"/>
            <p:nvPr/>
          </p:nvSpPr>
          <p:spPr>
            <a:xfrm>
              <a:off x="857224" y="4286256"/>
              <a:ext cx="1000132" cy="646331"/>
            </a:xfrm>
            <a:prstGeom prst="rect">
              <a:avLst/>
            </a:prstGeom>
            <a:noFill/>
          </p:spPr>
          <p:txBody>
            <a:bodyPr>
              <a:spAutoFit/>
            </a:bodyPr>
            <a:lstStyle/>
            <a:p>
              <a:pPr fontAlgn="auto">
                <a:spcBef>
                  <a:spcPts val="0"/>
                </a:spcBef>
                <a:spcAft>
                  <a:spcPts val="0"/>
                </a:spcAft>
                <a:defRPr/>
              </a:pPr>
              <a:r>
                <a:rPr lang="en-US" sz="3600" b="1">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5</a:t>
              </a:r>
              <a:endPar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endParaRPr>
            </a:p>
          </p:txBody>
        </p:sp>
      </p:grpSp>
      <p:grpSp>
        <p:nvGrpSpPr>
          <p:cNvPr id="43" name="Group 50"/>
          <p:cNvGrpSpPr/>
          <p:nvPr/>
        </p:nvGrpSpPr>
        <p:grpSpPr>
          <a:xfrm>
            <a:off x="757182" y="4875222"/>
            <a:ext cx="3379815" cy="852487"/>
            <a:chOff x="857224" y="4938713"/>
            <a:chExt cx="3379814" cy="852487"/>
          </a:xfrm>
        </p:grpSpPr>
        <p:sp>
          <p:nvSpPr>
            <p:cNvPr id="52" name="Snip Single Corner Rectangle 9"/>
            <p:cNvSpPr/>
            <p:nvPr/>
          </p:nvSpPr>
          <p:spPr bwMode="auto">
            <a:xfrm flipH="1">
              <a:off x="1285875" y="4938713"/>
              <a:ext cx="2951163" cy="852487"/>
            </a:xfrm>
            <a:prstGeom prst="snip1Rect">
              <a:avLst/>
            </a:prstGeom>
            <a:gradFill flip="none" rotWithShape="1">
              <a:gsLst>
                <a:gs pos="83000">
                  <a:srgbClr val="5A930E"/>
                </a:gs>
                <a:gs pos="0">
                  <a:srgbClr val="9BED17"/>
                </a:gs>
                <a:gs pos="100000">
                  <a:srgbClr val="305808"/>
                </a:gs>
              </a:gsLst>
              <a:lin ang="0" scaled="1"/>
              <a:tileRect/>
            </a:gradFill>
            <a:ln>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53" name="TextBox 52"/>
            <p:cNvSpPr txBox="1"/>
            <p:nvPr/>
          </p:nvSpPr>
          <p:spPr>
            <a:xfrm>
              <a:off x="1454151" y="5059075"/>
              <a:ext cx="2584450" cy="584775"/>
            </a:xfrm>
            <a:prstGeom prst="rect">
              <a:avLst/>
            </a:prstGeom>
            <a:noFill/>
          </p:spPr>
          <p:txBody>
            <a:bodyPr anchor="ctr">
              <a:spAutoFit/>
            </a:bodyPr>
            <a:lstStyle/>
            <a:p>
              <a:pPr fontAlgn="auto">
                <a:spcBef>
                  <a:spcPts val="0"/>
                </a:spcBef>
                <a:spcAft>
                  <a:spcPts val="0"/>
                </a:spcAft>
                <a:defRPr/>
              </a:pPr>
              <a:r>
                <a:rPr lang="en-US" sz="1600" b="1" dirty="0" err="1">
                  <a:solidFill>
                    <a:schemeClr val="bg1"/>
                  </a:solidFill>
                  <a:effectLst>
                    <a:outerShdw blurRad="38100" dist="38100" dir="2700000" algn="tl">
                      <a:srgbClr val="000000">
                        <a:alpha val="43137"/>
                      </a:srgbClr>
                    </a:outerShdw>
                  </a:effectLst>
                  <a:latin typeface="Arial" pitchFamily="34" charset="0"/>
                </a:rPr>
                <a:t>Tindakan</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pelaksanaan</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ikut</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jadual</a:t>
              </a:r>
              <a:endParaRPr lang="en-US" sz="1600" b="1" dirty="0">
                <a:solidFill>
                  <a:schemeClr val="bg1"/>
                </a:solidFill>
                <a:effectLst>
                  <a:outerShdw blurRad="38100" dist="38100" dir="2700000" algn="tl">
                    <a:srgbClr val="000000">
                      <a:alpha val="43137"/>
                    </a:srgbClr>
                  </a:outerShdw>
                </a:effectLst>
                <a:latin typeface="Arial" pitchFamily="34" charset="0"/>
              </a:endParaRPr>
            </a:p>
          </p:txBody>
        </p:sp>
        <p:sp>
          <p:nvSpPr>
            <p:cNvPr id="54" name="TextBox 53"/>
            <p:cNvSpPr txBox="1"/>
            <p:nvPr/>
          </p:nvSpPr>
          <p:spPr>
            <a:xfrm>
              <a:off x="857224" y="5068685"/>
              <a:ext cx="1000132" cy="646331"/>
            </a:xfrm>
            <a:prstGeom prst="rect">
              <a:avLst/>
            </a:prstGeom>
            <a:noFill/>
          </p:spPr>
          <p:txBody>
            <a:bodyPr>
              <a:spAutoFit/>
            </a:bodyPr>
            <a:lstStyle/>
            <a:p>
              <a:pPr fontAlgn="auto">
                <a:spcBef>
                  <a:spcPts val="0"/>
                </a:spcBef>
                <a:spcAft>
                  <a:spcPts val="0"/>
                </a:spcAft>
                <a:defRPr/>
              </a:pPr>
              <a:r>
                <a:rPr lang="en-US" sz="3600" b="1">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6</a:t>
              </a:r>
              <a:endPar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endParaRPr>
            </a:p>
          </p:txBody>
        </p:sp>
      </p:grpSp>
      <p:grpSp>
        <p:nvGrpSpPr>
          <p:cNvPr id="47" name="Group 54"/>
          <p:cNvGrpSpPr/>
          <p:nvPr/>
        </p:nvGrpSpPr>
        <p:grpSpPr>
          <a:xfrm>
            <a:off x="4743421" y="1008054"/>
            <a:ext cx="3943379" cy="711218"/>
            <a:chOff x="4843463" y="1071545"/>
            <a:chExt cx="3943379" cy="711218"/>
          </a:xfrm>
        </p:grpSpPr>
        <p:sp>
          <p:nvSpPr>
            <p:cNvPr id="56" name="Snip Single Corner Rectangle 55"/>
            <p:cNvSpPr/>
            <p:nvPr/>
          </p:nvSpPr>
          <p:spPr bwMode="auto">
            <a:xfrm>
              <a:off x="4843463" y="1211263"/>
              <a:ext cx="2943225" cy="571500"/>
            </a:xfrm>
            <a:prstGeom prst="snip1Rect">
              <a:avLst/>
            </a:prstGeom>
            <a:gradFill flip="none" rotWithShape="1">
              <a:gsLst>
                <a:gs pos="77000">
                  <a:srgbClr val="A90808"/>
                </a:gs>
                <a:gs pos="0">
                  <a:srgbClr val="EF2525"/>
                </a:gs>
                <a:gs pos="100000">
                  <a:srgbClr val="680000"/>
                </a:gs>
              </a:gsLst>
              <a:lin ang="0" scaled="1"/>
              <a:tileRect/>
            </a:gradFill>
            <a:ln w="19050">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57" name="TextBox 56"/>
            <p:cNvSpPr txBox="1"/>
            <p:nvPr/>
          </p:nvSpPr>
          <p:spPr>
            <a:xfrm>
              <a:off x="4918075" y="1181606"/>
              <a:ext cx="2771775" cy="584775"/>
            </a:xfrm>
            <a:prstGeom prst="rect">
              <a:avLst/>
            </a:prstGeom>
            <a:noFill/>
          </p:spPr>
          <p:txBody>
            <a:bodyPr anchor="ctr">
              <a:spAutoFit/>
            </a:bodyPr>
            <a:lstStyle/>
            <a:p>
              <a:pPr fontAlgn="auto">
                <a:spcBef>
                  <a:spcPts val="0"/>
                </a:spcBef>
                <a:spcAft>
                  <a:spcPts val="0"/>
                </a:spcAft>
                <a:defRPr/>
              </a:pPr>
              <a:r>
                <a:rPr lang="en-US" sz="1600" b="1" dirty="0" err="1">
                  <a:solidFill>
                    <a:schemeClr val="bg1"/>
                  </a:solidFill>
                  <a:effectLst>
                    <a:outerShdw blurRad="38100" dist="38100" dir="2700000" algn="tl">
                      <a:srgbClr val="000000">
                        <a:alpha val="43137"/>
                      </a:srgbClr>
                    </a:outerShdw>
                  </a:effectLst>
                  <a:latin typeface="Arial" pitchFamily="34" charset="0"/>
                </a:rPr>
                <a:t>Pengurusan</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dokumen</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terperingkat</a:t>
              </a:r>
              <a:endParaRPr lang="en-US" sz="1600" b="1" dirty="0">
                <a:solidFill>
                  <a:schemeClr val="bg1"/>
                </a:solidFill>
                <a:effectLst>
                  <a:outerShdw blurRad="38100" dist="38100" dir="2700000" algn="tl">
                    <a:srgbClr val="000000">
                      <a:alpha val="43137"/>
                    </a:srgbClr>
                  </a:outerShdw>
                </a:effectLst>
                <a:latin typeface="Arial" pitchFamily="34" charset="0"/>
              </a:endParaRPr>
            </a:p>
          </p:txBody>
        </p:sp>
        <p:sp>
          <p:nvSpPr>
            <p:cNvPr id="58" name="TextBox 57"/>
            <p:cNvSpPr txBox="1"/>
            <p:nvPr/>
          </p:nvSpPr>
          <p:spPr>
            <a:xfrm>
              <a:off x="7786710" y="1071545"/>
              <a:ext cx="1000132" cy="646331"/>
            </a:xfrm>
            <a:prstGeom prst="rect">
              <a:avLst/>
            </a:prstGeom>
            <a:noFill/>
          </p:spPr>
          <p:txBody>
            <a:bodyPr>
              <a:spAutoFit/>
            </a:bodyPr>
            <a:lstStyle/>
            <a:p>
              <a:pPr fontAlgn="auto">
                <a:spcBef>
                  <a:spcPts val="0"/>
                </a:spcBef>
                <a:spcAft>
                  <a:spcPts val="0"/>
                </a:spcAft>
                <a:defRPr/>
              </a:pPr>
              <a:r>
                <a:rPr lang="en-US" sz="3600" b="1">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7</a:t>
              </a:r>
              <a:endPar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endParaRPr>
            </a:p>
          </p:txBody>
        </p:sp>
      </p:grpSp>
      <p:grpSp>
        <p:nvGrpSpPr>
          <p:cNvPr id="51" name="Group 58"/>
          <p:cNvGrpSpPr/>
          <p:nvPr/>
        </p:nvGrpSpPr>
        <p:grpSpPr>
          <a:xfrm>
            <a:off x="4743421" y="1793872"/>
            <a:ext cx="3943379" cy="712800"/>
            <a:chOff x="4843463" y="1857363"/>
            <a:chExt cx="3943379" cy="712800"/>
          </a:xfrm>
        </p:grpSpPr>
        <p:sp>
          <p:nvSpPr>
            <p:cNvPr id="60" name="Snip Single Corner Rectangle 59"/>
            <p:cNvSpPr/>
            <p:nvPr/>
          </p:nvSpPr>
          <p:spPr bwMode="auto">
            <a:xfrm>
              <a:off x="4843463" y="1997075"/>
              <a:ext cx="2943225" cy="573088"/>
            </a:xfrm>
            <a:prstGeom prst="snip1Rect">
              <a:avLst/>
            </a:prstGeom>
            <a:gradFill flip="none" rotWithShape="1">
              <a:gsLst>
                <a:gs pos="77000">
                  <a:srgbClr val="A90808"/>
                </a:gs>
                <a:gs pos="0">
                  <a:srgbClr val="EF2525"/>
                </a:gs>
                <a:gs pos="100000">
                  <a:srgbClr val="680000"/>
                </a:gs>
              </a:gsLst>
              <a:lin ang="0" scaled="1"/>
              <a:tileRect/>
            </a:gradFill>
            <a:ln w="19050">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61" name="TextBox 60"/>
            <p:cNvSpPr txBox="1"/>
            <p:nvPr/>
          </p:nvSpPr>
          <p:spPr>
            <a:xfrm>
              <a:off x="4943475" y="1979326"/>
              <a:ext cx="2771775" cy="584775"/>
            </a:xfrm>
            <a:prstGeom prst="rect">
              <a:avLst/>
            </a:prstGeom>
            <a:noFill/>
          </p:spPr>
          <p:txBody>
            <a:bodyPr anchor="ctr">
              <a:spAutoFit/>
            </a:bodyPr>
            <a:lstStyle/>
            <a:p>
              <a:pPr fontAlgn="auto">
                <a:spcBef>
                  <a:spcPts val="0"/>
                </a:spcBef>
                <a:spcAft>
                  <a:spcPts val="0"/>
                </a:spcAft>
                <a:defRPr/>
              </a:pPr>
              <a:r>
                <a:rPr lang="en-US" sz="1600" b="1" dirty="0">
                  <a:solidFill>
                    <a:schemeClr val="bg1"/>
                  </a:solidFill>
                  <a:effectLst>
                    <a:outerShdw blurRad="38100" dist="38100" dir="2700000" algn="tl">
                      <a:srgbClr val="000000">
                        <a:alpha val="43137"/>
                      </a:srgbClr>
                    </a:outerShdw>
                  </a:effectLst>
                  <a:latin typeface="Arial" pitchFamily="34" charset="0"/>
                </a:rPr>
                <a:t>Penilaian serta-merta </a:t>
              </a:r>
              <a:r>
                <a:rPr lang="en-US" sz="1600" b="1" dirty="0" err="1">
                  <a:solidFill>
                    <a:schemeClr val="bg1"/>
                  </a:solidFill>
                  <a:effectLst>
                    <a:outerShdw blurRad="38100" dist="38100" dir="2700000" algn="tl">
                      <a:srgbClr val="000000">
                        <a:alpha val="43137"/>
                      </a:srgbClr>
                    </a:outerShdw>
                  </a:effectLst>
                  <a:latin typeface="Arial" pitchFamily="34" charset="0"/>
                </a:rPr>
                <a:t>oleh</a:t>
              </a:r>
              <a:r>
                <a:rPr lang="en-US" sz="1600" b="1" dirty="0">
                  <a:solidFill>
                    <a:schemeClr val="bg1"/>
                  </a:solidFill>
                  <a:effectLst>
                    <a:outerShdw blurRad="38100" dist="38100" dir="2700000" algn="tl">
                      <a:srgbClr val="000000">
                        <a:alpha val="43137"/>
                      </a:srgbClr>
                    </a:outerShdw>
                  </a:effectLst>
                  <a:latin typeface="Arial" pitchFamily="34" charset="0"/>
                </a:rPr>
                <a:t> PP </a:t>
              </a:r>
              <a:r>
                <a:rPr lang="en-US" sz="1600" b="1" dirty="0" err="1">
                  <a:solidFill>
                    <a:schemeClr val="bg1"/>
                  </a:solidFill>
                  <a:effectLst>
                    <a:outerShdw blurRad="38100" dist="38100" dir="2700000" algn="tl">
                      <a:srgbClr val="000000">
                        <a:alpha val="43137"/>
                      </a:srgbClr>
                    </a:outerShdw>
                  </a:effectLst>
                  <a:latin typeface="Arial" pitchFamily="34" charset="0"/>
                </a:rPr>
                <a:t>bagi</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kes</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tertentu</a:t>
              </a:r>
              <a:endParaRPr lang="en-US" sz="1600" b="1" dirty="0">
                <a:solidFill>
                  <a:schemeClr val="bg1"/>
                </a:solidFill>
                <a:effectLst>
                  <a:outerShdw blurRad="38100" dist="38100" dir="2700000" algn="tl">
                    <a:srgbClr val="000000">
                      <a:alpha val="43137"/>
                    </a:srgbClr>
                  </a:outerShdw>
                </a:effectLst>
                <a:latin typeface="Arial" pitchFamily="34" charset="0"/>
              </a:endParaRPr>
            </a:p>
          </p:txBody>
        </p:sp>
        <p:sp>
          <p:nvSpPr>
            <p:cNvPr id="62" name="TextBox 61"/>
            <p:cNvSpPr txBox="1"/>
            <p:nvPr/>
          </p:nvSpPr>
          <p:spPr>
            <a:xfrm>
              <a:off x="7786710" y="1857363"/>
              <a:ext cx="1000132" cy="646331"/>
            </a:xfrm>
            <a:prstGeom prst="rect">
              <a:avLst/>
            </a:prstGeom>
            <a:noFill/>
          </p:spPr>
          <p:txBody>
            <a:bodyPr>
              <a:spAutoFit/>
            </a:bodyPr>
            <a:lstStyle/>
            <a:p>
              <a:pPr fontAlgn="auto">
                <a:spcBef>
                  <a:spcPts val="0"/>
                </a:spcBef>
                <a:spcAft>
                  <a:spcPts val="0"/>
                </a:spcAft>
                <a:defRPr/>
              </a:pPr>
              <a:r>
                <a:rPr lang="en-US" sz="3600" b="1">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8</a:t>
              </a:r>
              <a:endPar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endParaRPr>
            </a:p>
          </p:txBody>
        </p:sp>
      </p:grpSp>
      <p:grpSp>
        <p:nvGrpSpPr>
          <p:cNvPr id="55" name="Group 62"/>
          <p:cNvGrpSpPr/>
          <p:nvPr/>
        </p:nvGrpSpPr>
        <p:grpSpPr>
          <a:xfrm>
            <a:off x="4743421" y="2579691"/>
            <a:ext cx="3943379" cy="646331"/>
            <a:chOff x="4843463" y="2643182"/>
            <a:chExt cx="3943379" cy="646331"/>
          </a:xfrm>
        </p:grpSpPr>
        <p:sp>
          <p:nvSpPr>
            <p:cNvPr id="64" name="Snip Single Corner Rectangle 63"/>
            <p:cNvSpPr/>
            <p:nvPr/>
          </p:nvSpPr>
          <p:spPr bwMode="auto">
            <a:xfrm>
              <a:off x="4843463" y="2713038"/>
              <a:ext cx="2943225" cy="571500"/>
            </a:xfrm>
            <a:prstGeom prst="snip1Rect">
              <a:avLst/>
            </a:prstGeom>
            <a:gradFill flip="none" rotWithShape="1">
              <a:gsLst>
                <a:gs pos="77000">
                  <a:srgbClr val="A90808"/>
                </a:gs>
                <a:gs pos="0">
                  <a:srgbClr val="EF2525"/>
                </a:gs>
                <a:gs pos="100000">
                  <a:srgbClr val="680000"/>
                </a:gs>
              </a:gsLst>
              <a:lin ang="0" scaled="1"/>
              <a:tileRect/>
            </a:gradFill>
            <a:ln w="19050">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65" name="TextBox 64"/>
            <p:cNvSpPr txBox="1"/>
            <p:nvPr/>
          </p:nvSpPr>
          <p:spPr>
            <a:xfrm>
              <a:off x="4943475" y="2692113"/>
              <a:ext cx="2771775" cy="584775"/>
            </a:xfrm>
            <a:prstGeom prst="rect">
              <a:avLst/>
            </a:prstGeom>
            <a:noFill/>
          </p:spPr>
          <p:txBody>
            <a:bodyPr anchor="ctr">
              <a:spAutoFit/>
            </a:bodyPr>
            <a:lstStyle/>
            <a:p>
              <a:pPr fontAlgn="auto">
                <a:spcBef>
                  <a:spcPts val="0"/>
                </a:spcBef>
                <a:spcAft>
                  <a:spcPts val="0"/>
                </a:spcAft>
                <a:defRPr/>
              </a:pPr>
              <a:r>
                <a:rPr lang="en-US" sz="1600" b="1" dirty="0">
                  <a:solidFill>
                    <a:schemeClr val="bg1"/>
                  </a:solidFill>
                  <a:effectLst>
                    <a:outerShdw blurRad="38100" dist="38100" dir="2700000" algn="tl">
                      <a:srgbClr val="000000">
                        <a:alpha val="43137"/>
                      </a:srgbClr>
                    </a:outerShdw>
                  </a:effectLst>
                  <a:latin typeface="Arial" pitchFamily="34" charset="0"/>
                </a:rPr>
                <a:t>Penilaian secara manual </a:t>
              </a:r>
              <a:r>
                <a:rPr lang="en-US" sz="1600" b="1" dirty="0" err="1">
                  <a:solidFill>
                    <a:schemeClr val="bg1"/>
                  </a:solidFill>
                  <a:effectLst>
                    <a:outerShdw blurRad="38100" dist="38100" dir="2700000" algn="tl">
                      <a:srgbClr val="000000">
                        <a:alpha val="43137"/>
                      </a:srgbClr>
                    </a:outerShdw>
                  </a:effectLst>
                  <a:latin typeface="Arial" pitchFamily="34" charset="0"/>
                </a:rPr>
                <a:t>oleh</a:t>
              </a:r>
              <a:r>
                <a:rPr lang="en-US" sz="1600" b="1" dirty="0">
                  <a:solidFill>
                    <a:schemeClr val="bg1"/>
                  </a:solidFill>
                  <a:effectLst>
                    <a:outerShdw blurRad="38100" dist="38100" dir="2700000" algn="tl">
                      <a:srgbClr val="000000">
                        <a:alpha val="43137"/>
                      </a:srgbClr>
                    </a:outerShdw>
                  </a:effectLst>
                  <a:latin typeface="Arial" pitchFamily="34" charset="0"/>
                </a:rPr>
                <a:t> PP </a:t>
              </a:r>
              <a:r>
                <a:rPr lang="en-US" sz="1600" b="1" dirty="0" err="1">
                  <a:solidFill>
                    <a:schemeClr val="bg1"/>
                  </a:solidFill>
                  <a:effectLst>
                    <a:outerShdw blurRad="38100" dist="38100" dir="2700000" algn="tl">
                      <a:srgbClr val="000000">
                        <a:alpha val="43137"/>
                      </a:srgbClr>
                    </a:outerShdw>
                  </a:effectLst>
                  <a:latin typeface="Arial" pitchFamily="34" charset="0"/>
                </a:rPr>
                <a:t>bagi</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kes</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tertentu</a:t>
              </a:r>
              <a:endParaRPr lang="en-US" sz="1600" b="1" dirty="0">
                <a:solidFill>
                  <a:schemeClr val="bg1"/>
                </a:solidFill>
                <a:effectLst>
                  <a:outerShdw blurRad="38100" dist="38100" dir="2700000" algn="tl">
                    <a:srgbClr val="000000">
                      <a:alpha val="43137"/>
                    </a:srgbClr>
                  </a:outerShdw>
                </a:effectLst>
                <a:latin typeface="Arial" pitchFamily="34" charset="0"/>
              </a:endParaRPr>
            </a:p>
          </p:txBody>
        </p:sp>
        <p:sp>
          <p:nvSpPr>
            <p:cNvPr id="66" name="TextBox 65"/>
            <p:cNvSpPr txBox="1"/>
            <p:nvPr/>
          </p:nvSpPr>
          <p:spPr>
            <a:xfrm>
              <a:off x="7786710" y="2643182"/>
              <a:ext cx="1000132" cy="646331"/>
            </a:xfrm>
            <a:prstGeom prst="rect">
              <a:avLst/>
            </a:prstGeom>
            <a:noFill/>
          </p:spPr>
          <p:txBody>
            <a:bodyPr>
              <a:spAutoFit/>
            </a:bodyPr>
            <a:lstStyle/>
            <a:p>
              <a:pPr fontAlgn="auto">
                <a:spcBef>
                  <a:spcPts val="0"/>
                </a:spcBef>
                <a:spcAft>
                  <a:spcPts val="0"/>
                </a:spcAft>
                <a:defRPr/>
              </a:pPr>
              <a:r>
                <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9</a:t>
              </a:r>
            </a:p>
          </p:txBody>
        </p:sp>
      </p:grpSp>
      <p:grpSp>
        <p:nvGrpSpPr>
          <p:cNvPr id="59" name="Group 66"/>
          <p:cNvGrpSpPr/>
          <p:nvPr/>
        </p:nvGrpSpPr>
        <p:grpSpPr>
          <a:xfrm>
            <a:off x="4743421" y="3363920"/>
            <a:ext cx="3943379" cy="647918"/>
            <a:chOff x="4843463" y="3427413"/>
            <a:chExt cx="3943379" cy="647918"/>
          </a:xfrm>
        </p:grpSpPr>
        <p:sp>
          <p:nvSpPr>
            <p:cNvPr id="68" name="Snip Single Corner Rectangle 67"/>
            <p:cNvSpPr/>
            <p:nvPr/>
          </p:nvSpPr>
          <p:spPr bwMode="auto">
            <a:xfrm>
              <a:off x="4843463" y="3427413"/>
              <a:ext cx="2943225" cy="571500"/>
            </a:xfrm>
            <a:prstGeom prst="snip1Rect">
              <a:avLst/>
            </a:prstGeom>
            <a:gradFill flip="none" rotWithShape="1">
              <a:gsLst>
                <a:gs pos="77000">
                  <a:srgbClr val="A90808"/>
                </a:gs>
                <a:gs pos="0">
                  <a:srgbClr val="EF2525"/>
                </a:gs>
                <a:gs pos="100000">
                  <a:srgbClr val="680000"/>
                </a:gs>
              </a:gsLst>
              <a:lin ang="0" scaled="1"/>
              <a:tileRect/>
            </a:gradFill>
            <a:ln w="19050">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69" name="TextBox 68"/>
            <p:cNvSpPr txBox="1"/>
            <p:nvPr/>
          </p:nvSpPr>
          <p:spPr>
            <a:xfrm>
              <a:off x="4943475" y="3519280"/>
              <a:ext cx="2771775" cy="338554"/>
            </a:xfrm>
            <a:prstGeom prst="rect">
              <a:avLst/>
            </a:prstGeom>
            <a:noFill/>
          </p:spPr>
          <p:txBody>
            <a:bodyPr anchor="ctr">
              <a:spAutoFit/>
            </a:bodyPr>
            <a:lstStyle/>
            <a:p>
              <a:pPr fontAlgn="auto">
                <a:spcBef>
                  <a:spcPts val="0"/>
                </a:spcBef>
                <a:spcAft>
                  <a:spcPts val="0"/>
                </a:spcAft>
                <a:defRPr/>
              </a:pPr>
              <a:r>
                <a:rPr lang="en-US" sz="1600" b="1" dirty="0" err="1">
                  <a:solidFill>
                    <a:schemeClr val="bg1"/>
                  </a:solidFill>
                  <a:effectLst>
                    <a:outerShdw blurRad="38100" dist="38100" dir="2700000" algn="tl">
                      <a:srgbClr val="000000">
                        <a:alpha val="43137"/>
                      </a:srgbClr>
                    </a:outerShdw>
                  </a:effectLst>
                  <a:latin typeface="Arial" pitchFamily="34" charset="0"/>
                </a:rPr>
                <a:t>Kes</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tertentu</a:t>
              </a:r>
              <a:r>
                <a:rPr lang="en-US" sz="1600" b="1" dirty="0">
                  <a:solidFill>
                    <a:schemeClr val="bg1"/>
                  </a:solidFill>
                  <a:effectLst>
                    <a:outerShdw blurRad="38100" dist="38100" dir="2700000" algn="tl">
                      <a:srgbClr val="000000">
                        <a:alpha val="43137"/>
                      </a:srgbClr>
                    </a:outerShdw>
                  </a:effectLst>
                  <a:latin typeface="Arial" pitchFamily="34" charset="0"/>
                </a:rPr>
                <a:t> PYD</a:t>
              </a:r>
            </a:p>
          </p:txBody>
        </p:sp>
        <p:sp>
          <p:nvSpPr>
            <p:cNvPr id="70" name="TextBox 69"/>
            <p:cNvSpPr txBox="1"/>
            <p:nvPr/>
          </p:nvSpPr>
          <p:spPr>
            <a:xfrm>
              <a:off x="7786710" y="3429000"/>
              <a:ext cx="1000132" cy="646331"/>
            </a:xfrm>
            <a:prstGeom prst="rect">
              <a:avLst/>
            </a:prstGeom>
            <a:noFill/>
          </p:spPr>
          <p:txBody>
            <a:bodyPr>
              <a:spAutoFit/>
            </a:bodyPr>
            <a:lstStyle/>
            <a:p>
              <a:pPr fontAlgn="auto">
                <a:spcBef>
                  <a:spcPts val="0"/>
                </a:spcBef>
                <a:spcAft>
                  <a:spcPts val="0"/>
                </a:spcAft>
                <a:defRPr/>
              </a:pPr>
              <a:r>
                <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10</a:t>
              </a:r>
            </a:p>
          </p:txBody>
        </p:sp>
      </p:grpSp>
      <p:grpSp>
        <p:nvGrpSpPr>
          <p:cNvPr id="63" name="Group 70"/>
          <p:cNvGrpSpPr/>
          <p:nvPr/>
        </p:nvGrpSpPr>
        <p:grpSpPr>
          <a:xfrm>
            <a:off x="4743421" y="4149734"/>
            <a:ext cx="3943379" cy="647924"/>
            <a:chOff x="4843463" y="4213225"/>
            <a:chExt cx="3943379" cy="647923"/>
          </a:xfrm>
        </p:grpSpPr>
        <p:sp>
          <p:nvSpPr>
            <p:cNvPr id="72" name="Snip Single Corner Rectangle 71"/>
            <p:cNvSpPr/>
            <p:nvPr/>
          </p:nvSpPr>
          <p:spPr bwMode="auto">
            <a:xfrm>
              <a:off x="4843463" y="4213225"/>
              <a:ext cx="2943225" cy="573088"/>
            </a:xfrm>
            <a:prstGeom prst="snip1Rect">
              <a:avLst/>
            </a:prstGeom>
            <a:gradFill flip="none" rotWithShape="1">
              <a:gsLst>
                <a:gs pos="77000">
                  <a:srgbClr val="A90808"/>
                </a:gs>
                <a:gs pos="0">
                  <a:srgbClr val="EF2525"/>
                </a:gs>
                <a:gs pos="100000">
                  <a:srgbClr val="680000"/>
                </a:gs>
              </a:gsLst>
              <a:lin ang="0" scaled="1"/>
              <a:tileRect/>
            </a:gradFill>
            <a:ln w="19050">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73" name="TextBox 72"/>
            <p:cNvSpPr txBox="1"/>
            <p:nvPr/>
          </p:nvSpPr>
          <p:spPr>
            <a:xfrm>
              <a:off x="4943475" y="4305092"/>
              <a:ext cx="2771775" cy="338553"/>
            </a:xfrm>
            <a:prstGeom prst="rect">
              <a:avLst/>
            </a:prstGeom>
            <a:noFill/>
          </p:spPr>
          <p:txBody>
            <a:bodyPr anchor="ctr">
              <a:spAutoFit/>
            </a:bodyPr>
            <a:lstStyle/>
            <a:p>
              <a:pPr fontAlgn="auto">
                <a:spcBef>
                  <a:spcPts val="0"/>
                </a:spcBef>
                <a:spcAft>
                  <a:spcPts val="0"/>
                </a:spcAft>
                <a:defRPr/>
              </a:pPr>
              <a:r>
                <a:rPr lang="en-US" sz="1600" b="1">
                  <a:solidFill>
                    <a:schemeClr val="bg1"/>
                  </a:solidFill>
                  <a:effectLst>
                    <a:outerShdw blurRad="38100" dist="38100" dir="2700000" algn="tl">
                      <a:srgbClr val="000000">
                        <a:alpha val="43137"/>
                      </a:srgbClr>
                    </a:outerShdw>
                  </a:effectLst>
                  <a:latin typeface="Arial" pitchFamily="34" charset="0"/>
                </a:rPr>
                <a:t>PYD Baharu </a:t>
              </a:r>
            </a:p>
          </p:txBody>
        </p:sp>
        <p:sp>
          <p:nvSpPr>
            <p:cNvPr id="74" name="TextBox 73"/>
            <p:cNvSpPr txBox="1"/>
            <p:nvPr/>
          </p:nvSpPr>
          <p:spPr>
            <a:xfrm>
              <a:off x="7786710" y="4214818"/>
              <a:ext cx="1000132" cy="646330"/>
            </a:xfrm>
            <a:prstGeom prst="rect">
              <a:avLst/>
            </a:prstGeom>
            <a:noFill/>
          </p:spPr>
          <p:txBody>
            <a:bodyPr>
              <a:spAutoFit/>
            </a:bodyPr>
            <a:lstStyle/>
            <a:p>
              <a:pPr fontAlgn="auto">
                <a:spcBef>
                  <a:spcPts val="0"/>
                </a:spcBef>
                <a:spcAft>
                  <a:spcPts val="0"/>
                </a:spcAft>
                <a:defRPr/>
              </a:pPr>
              <a:r>
                <a:rPr lang="en-US" sz="3600" b="1">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11</a:t>
              </a:r>
              <a:endPar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endParaRPr>
            </a:p>
          </p:txBody>
        </p:sp>
      </p:grpSp>
      <p:grpSp>
        <p:nvGrpSpPr>
          <p:cNvPr id="67" name="Group 74"/>
          <p:cNvGrpSpPr/>
          <p:nvPr/>
        </p:nvGrpSpPr>
        <p:grpSpPr>
          <a:xfrm>
            <a:off x="4743421" y="4897446"/>
            <a:ext cx="3943379" cy="830262"/>
            <a:chOff x="4843463" y="4960938"/>
            <a:chExt cx="3943379" cy="830262"/>
          </a:xfrm>
        </p:grpSpPr>
        <p:sp>
          <p:nvSpPr>
            <p:cNvPr id="76" name="Snip Single Corner Rectangle 75"/>
            <p:cNvSpPr/>
            <p:nvPr/>
          </p:nvSpPr>
          <p:spPr bwMode="auto">
            <a:xfrm>
              <a:off x="4843463" y="5000625"/>
              <a:ext cx="2943225" cy="790575"/>
            </a:xfrm>
            <a:prstGeom prst="snip1Rect">
              <a:avLst/>
            </a:prstGeom>
            <a:gradFill flip="none" rotWithShape="1">
              <a:gsLst>
                <a:gs pos="77000">
                  <a:srgbClr val="A90808"/>
                </a:gs>
                <a:gs pos="0">
                  <a:srgbClr val="EF2525"/>
                </a:gs>
                <a:gs pos="100000">
                  <a:srgbClr val="680000"/>
                </a:gs>
              </a:gsLst>
              <a:lin ang="0" scaled="1"/>
              <a:tileRect/>
            </a:gradFill>
            <a:ln w="19050">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600">
                <a:latin typeface="Arial" pitchFamily="34" charset="0"/>
                <a:cs typeface="Arial" pitchFamily="34" charset="0"/>
              </a:endParaRPr>
            </a:p>
          </p:txBody>
        </p:sp>
        <p:sp>
          <p:nvSpPr>
            <p:cNvPr id="77" name="TextBox 76"/>
            <p:cNvSpPr txBox="1"/>
            <p:nvPr/>
          </p:nvSpPr>
          <p:spPr>
            <a:xfrm>
              <a:off x="4943475" y="4960938"/>
              <a:ext cx="2771775" cy="830262"/>
            </a:xfrm>
            <a:prstGeom prst="rect">
              <a:avLst/>
            </a:prstGeom>
            <a:noFill/>
          </p:spPr>
          <p:txBody>
            <a:bodyPr anchor="ctr">
              <a:spAutoFit/>
            </a:bodyPr>
            <a:lstStyle/>
            <a:p>
              <a:pPr fontAlgn="auto">
                <a:spcBef>
                  <a:spcPts val="0"/>
                </a:spcBef>
                <a:spcAft>
                  <a:spcPts val="0"/>
                </a:spcAft>
                <a:defRPr/>
              </a:pPr>
              <a:r>
                <a:rPr lang="en-US" sz="1600" b="1" dirty="0" err="1">
                  <a:solidFill>
                    <a:schemeClr val="bg1"/>
                  </a:solidFill>
                  <a:effectLst>
                    <a:outerShdw blurRad="38100" dist="38100" dir="2700000" algn="tl">
                      <a:srgbClr val="000000">
                        <a:alpha val="43137"/>
                      </a:srgbClr>
                    </a:outerShdw>
                  </a:effectLst>
                  <a:latin typeface="Arial" pitchFamily="34" charset="0"/>
                </a:rPr>
                <a:t>Memastikan</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skor</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smtClean="0">
                  <a:solidFill>
                    <a:schemeClr val="bg1"/>
                  </a:solidFill>
                  <a:effectLst>
                    <a:outerShdw blurRad="38100" dist="38100" dir="2700000" algn="tl">
                      <a:srgbClr val="000000">
                        <a:alpha val="43137"/>
                      </a:srgbClr>
                    </a:outerShdw>
                  </a:effectLst>
                  <a:latin typeface="Arial" pitchFamily="34" charset="0"/>
                </a:rPr>
                <a:t>PBPPP </a:t>
              </a:r>
              <a:r>
                <a:rPr lang="en-US" sz="1600" b="1" dirty="0" err="1" smtClean="0">
                  <a:solidFill>
                    <a:schemeClr val="bg1"/>
                  </a:solidFill>
                  <a:effectLst>
                    <a:outerShdw blurRad="38100" dist="38100" dir="2700000" algn="tl">
                      <a:srgbClr val="000000">
                        <a:alpha val="43137"/>
                      </a:srgbClr>
                    </a:outerShdw>
                  </a:effectLst>
                  <a:latin typeface="Arial" pitchFamily="34" charset="0"/>
                </a:rPr>
                <a:t>sulit</a:t>
              </a:r>
              <a:r>
                <a:rPr lang="en-US" sz="1600" b="1" dirty="0" smtClean="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kepada</a:t>
              </a:r>
              <a:r>
                <a:rPr lang="en-US" sz="1600" b="1" dirty="0">
                  <a:solidFill>
                    <a:schemeClr val="bg1"/>
                  </a:solidFill>
                  <a:effectLst>
                    <a:outerShdw blurRad="38100" dist="38100" dir="2700000" algn="tl">
                      <a:srgbClr val="000000">
                        <a:alpha val="43137"/>
                      </a:srgbClr>
                    </a:outerShdw>
                  </a:effectLst>
                  <a:latin typeface="Arial" pitchFamily="34" charset="0"/>
                </a:rPr>
                <a:t> yang </a:t>
              </a:r>
              <a:r>
                <a:rPr lang="en-US" sz="1600" b="1" dirty="0" err="1">
                  <a:solidFill>
                    <a:schemeClr val="bg1"/>
                  </a:solidFill>
                  <a:effectLst>
                    <a:outerShdw blurRad="38100" dist="38100" dir="2700000" algn="tl">
                      <a:srgbClr val="000000">
                        <a:alpha val="43137"/>
                      </a:srgbClr>
                    </a:outerShdw>
                  </a:effectLst>
                  <a:latin typeface="Arial" pitchFamily="34" charset="0"/>
                </a:rPr>
                <a:t>tidak</a:t>
              </a:r>
              <a:r>
                <a:rPr lang="en-US" sz="1600" b="1" dirty="0">
                  <a:solidFill>
                    <a:schemeClr val="bg1"/>
                  </a:solidFill>
                  <a:effectLst>
                    <a:outerShdw blurRad="38100" dist="38100" dir="2700000" algn="tl">
                      <a:srgbClr val="000000">
                        <a:alpha val="43137"/>
                      </a:srgbClr>
                    </a:outerShdw>
                  </a:effectLst>
                  <a:latin typeface="Arial" pitchFamily="34" charset="0"/>
                </a:rPr>
                <a:t> </a:t>
              </a:r>
              <a:r>
                <a:rPr lang="en-US" sz="1600" b="1" dirty="0" err="1">
                  <a:solidFill>
                    <a:schemeClr val="bg1"/>
                  </a:solidFill>
                  <a:effectLst>
                    <a:outerShdw blurRad="38100" dist="38100" dir="2700000" algn="tl">
                      <a:srgbClr val="000000">
                        <a:alpha val="43137"/>
                      </a:srgbClr>
                    </a:outerShdw>
                  </a:effectLst>
                  <a:latin typeface="Arial" pitchFamily="34" charset="0"/>
                </a:rPr>
                <a:t>berkenaan</a:t>
              </a:r>
              <a:endParaRPr lang="en-US" sz="1600" b="1" dirty="0">
                <a:solidFill>
                  <a:schemeClr val="bg1"/>
                </a:solidFill>
                <a:effectLst>
                  <a:outerShdw blurRad="38100" dist="38100" dir="2700000" algn="tl">
                    <a:srgbClr val="000000">
                      <a:alpha val="43137"/>
                    </a:srgbClr>
                  </a:outerShdw>
                </a:effectLst>
                <a:latin typeface="Arial" pitchFamily="34" charset="0"/>
                <a:ea typeface="Kozuka Gothic Pro M" pitchFamily="34" charset="-128"/>
              </a:endParaRPr>
            </a:p>
          </p:txBody>
        </p:sp>
        <p:sp>
          <p:nvSpPr>
            <p:cNvPr id="78" name="TextBox 77"/>
            <p:cNvSpPr txBox="1"/>
            <p:nvPr/>
          </p:nvSpPr>
          <p:spPr>
            <a:xfrm>
              <a:off x="7786710" y="4997247"/>
              <a:ext cx="1000132" cy="646331"/>
            </a:xfrm>
            <a:prstGeom prst="rect">
              <a:avLst/>
            </a:prstGeom>
            <a:noFill/>
          </p:spPr>
          <p:txBody>
            <a:bodyPr>
              <a:spAutoFit/>
            </a:bodyPr>
            <a:lstStyle/>
            <a:p>
              <a:pPr fontAlgn="auto">
                <a:spcBef>
                  <a:spcPts val="0"/>
                </a:spcBef>
                <a:spcAft>
                  <a:spcPts val="0"/>
                </a:spcAft>
                <a:defRPr/>
              </a:pPr>
              <a:r>
                <a:rPr lang="en-US" sz="3600" b="1">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12</a:t>
              </a:r>
              <a:endParaRPr lang="en-US" sz="36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endParaRPr>
            </a:p>
          </p:txBody>
        </p:sp>
      </p:grpSp>
      <p:sp>
        <p:nvSpPr>
          <p:cNvPr id="80" name="Rectangle 79"/>
          <p:cNvSpPr/>
          <p:nvPr/>
        </p:nvSpPr>
        <p:spPr>
          <a:xfrm>
            <a:off x="3146" y="273441"/>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TANGGUNGJAWAB JK PBPPP</a:t>
            </a:r>
            <a:endParaRPr lang="en-US" sz="28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0-#ppt_w/2"/>
                                          </p:val>
                                        </p:tav>
                                        <p:tav tm="100000">
                                          <p:val>
                                            <p:strVal val="#ppt_x"/>
                                          </p:val>
                                        </p:tav>
                                      </p:tavLst>
                                    </p:anim>
                                    <p:anim calcmode="lin" valueType="num">
                                      <p:cBhvr additive="base">
                                        <p:cTn id="14"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anim calcmode="lin" valueType="num">
                                      <p:cBhvr additive="base">
                                        <p:cTn id="19" dur="500" fill="hold"/>
                                        <p:tgtEl>
                                          <p:spTgt spid="31"/>
                                        </p:tgtEl>
                                        <p:attrNameLst>
                                          <p:attrName>ppt_x</p:attrName>
                                        </p:attrNameLst>
                                      </p:cBhvr>
                                      <p:tavLst>
                                        <p:tav tm="0">
                                          <p:val>
                                            <p:strVal val="0-#ppt_w/2"/>
                                          </p:val>
                                        </p:tav>
                                        <p:tav tm="100000">
                                          <p:val>
                                            <p:strVal val="#ppt_x"/>
                                          </p:val>
                                        </p:tav>
                                      </p:tavLst>
                                    </p:anim>
                                    <p:anim calcmode="lin" valueType="num">
                                      <p:cBhvr additive="base">
                                        <p:cTn id="20" dur="500" fill="hold"/>
                                        <p:tgtEl>
                                          <p:spTgt spid="31"/>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35"/>
                                        </p:tgtEl>
                                        <p:attrNameLst>
                                          <p:attrName>style.visibility</p:attrName>
                                        </p:attrNameLst>
                                      </p:cBhvr>
                                      <p:to>
                                        <p:strVal val="visible"/>
                                      </p:to>
                                    </p:set>
                                    <p:anim calcmode="lin" valueType="num">
                                      <p:cBhvr additive="base">
                                        <p:cTn id="25" dur="500" fill="hold"/>
                                        <p:tgtEl>
                                          <p:spTgt spid="35"/>
                                        </p:tgtEl>
                                        <p:attrNameLst>
                                          <p:attrName>ppt_x</p:attrName>
                                        </p:attrNameLst>
                                      </p:cBhvr>
                                      <p:tavLst>
                                        <p:tav tm="0">
                                          <p:val>
                                            <p:strVal val="0-#ppt_w/2"/>
                                          </p:val>
                                        </p:tav>
                                        <p:tav tm="100000">
                                          <p:val>
                                            <p:strVal val="#ppt_x"/>
                                          </p:val>
                                        </p:tav>
                                      </p:tavLst>
                                    </p:anim>
                                    <p:anim calcmode="lin" valueType="num">
                                      <p:cBhvr additive="base">
                                        <p:cTn id="26" dur="500" fill="hold"/>
                                        <p:tgtEl>
                                          <p:spTgt spid="35"/>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anim calcmode="lin" valueType="num">
                                      <p:cBhvr additive="base">
                                        <p:cTn id="31" dur="500" fill="hold"/>
                                        <p:tgtEl>
                                          <p:spTgt spid="39"/>
                                        </p:tgtEl>
                                        <p:attrNameLst>
                                          <p:attrName>ppt_x</p:attrName>
                                        </p:attrNameLst>
                                      </p:cBhvr>
                                      <p:tavLst>
                                        <p:tav tm="0">
                                          <p:val>
                                            <p:strVal val="0-#ppt_w/2"/>
                                          </p:val>
                                        </p:tav>
                                        <p:tav tm="100000">
                                          <p:val>
                                            <p:strVal val="#ppt_x"/>
                                          </p:val>
                                        </p:tav>
                                      </p:tavLst>
                                    </p:anim>
                                    <p:anim calcmode="lin" valueType="num">
                                      <p:cBhvr additive="base">
                                        <p:cTn id="32" dur="500" fill="hold"/>
                                        <p:tgtEl>
                                          <p:spTgt spid="39"/>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43"/>
                                        </p:tgtEl>
                                        <p:attrNameLst>
                                          <p:attrName>style.visibility</p:attrName>
                                        </p:attrNameLst>
                                      </p:cBhvr>
                                      <p:to>
                                        <p:strVal val="visible"/>
                                      </p:to>
                                    </p:set>
                                    <p:anim calcmode="lin" valueType="num">
                                      <p:cBhvr additive="base">
                                        <p:cTn id="37" dur="500" fill="hold"/>
                                        <p:tgtEl>
                                          <p:spTgt spid="43"/>
                                        </p:tgtEl>
                                        <p:attrNameLst>
                                          <p:attrName>ppt_x</p:attrName>
                                        </p:attrNameLst>
                                      </p:cBhvr>
                                      <p:tavLst>
                                        <p:tav tm="0">
                                          <p:val>
                                            <p:strVal val="0-#ppt_w/2"/>
                                          </p:val>
                                        </p:tav>
                                        <p:tav tm="100000">
                                          <p:val>
                                            <p:strVal val="#ppt_x"/>
                                          </p:val>
                                        </p:tav>
                                      </p:tavLst>
                                    </p:anim>
                                    <p:anim calcmode="lin" valueType="num">
                                      <p:cBhvr additive="base">
                                        <p:cTn id="38" dur="500" fill="hold"/>
                                        <p:tgtEl>
                                          <p:spTgt spid="43"/>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nodeType="clickEffect">
                                  <p:stCondLst>
                                    <p:cond delay="0"/>
                                  </p:stCondLst>
                                  <p:childTnLst>
                                    <p:set>
                                      <p:cBhvr>
                                        <p:cTn id="42" dur="1" fill="hold">
                                          <p:stCondLst>
                                            <p:cond delay="0"/>
                                          </p:stCondLst>
                                        </p:cTn>
                                        <p:tgtEl>
                                          <p:spTgt spid="47"/>
                                        </p:tgtEl>
                                        <p:attrNameLst>
                                          <p:attrName>style.visibility</p:attrName>
                                        </p:attrNameLst>
                                      </p:cBhvr>
                                      <p:to>
                                        <p:strVal val="visible"/>
                                      </p:to>
                                    </p:set>
                                    <p:anim calcmode="lin" valueType="num">
                                      <p:cBhvr additive="base">
                                        <p:cTn id="43" dur="500" fill="hold"/>
                                        <p:tgtEl>
                                          <p:spTgt spid="47"/>
                                        </p:tgtEl>
                                        <p:attrNameLst>
                                          <p:attrName>ppt_x</p:attrName>
                                        </p:attrNameLst>
                                      </p:cBhvr>
                                      <p:tavLst>
                                        <p:tav tm="0">
                                          <p:val>
                                            <p:strVal val="1+#ppt_w/2"/>
                                          </p:val>
                                        </p:tav>
                                        <p:tav tm="100000">
                                          <p:val>
                                            <p:strVal val="#ppt_x"/>
                                          </p:val>
                                        </p:tav>
                                      </p:tavLst>
                                    </p:anim>
                                    <p:anim calcmode="lin" valueType="num">
                                      <p:cBhvr additive="base">
                                        <p:cTn id="44" dur="500" fill="hold"/>
                                        <p:tgtEl>
                                          <p:spTgt spid="47"/>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nodeType="clickEffect">
                                  <p:stCondLst>
                                    <p:cond delay="0"/>
                                  </p:stCondLst>
                                  <p:childTnLst>
                                    <p:set>
                                      <p:cBhvr>
                                        <p:cTn id="48" dur="1" fill="hold">
                                          <p:stCondLst>
                                            <p:cond delay="0"/>
                                          </p:stCondLst>
                                        </p:cTn>
                                        <p:tgtEl>
                                          <p:spTgt spid="51"/>
                                        </p:tgtEl>
                                        <p:attrNameLst>
                                          <p:attrName>style.visibility</p:attrName>
                                        </p:attrNameLst>
                                      </p:cBhvr>
                                      <p:to>
                                        <p:strVal val="visible"/>
                                      </p:to>
                                    </p:set>
                                    <p:anim calcmode="lin" valueType="num">
                                      <p:cBhvr additive="base">
                                        <p:cTn id="49" dur="500" fill="hold"/>
                                        <p:tgtEl>
                                          <p:spTgt spid="51"/>
                                        </p:tgtEl>
                                        <p:attrNameLst>
                                          <p:attrName>ppt_x</p:attrName>
                                        </p:attrNameLst>
                                      </p:cBhvr>
                                      <p:tavLst>
                                        <p:tav tm="0">
                                          <p:val>
                                            <p:strVal val="1+#ppt_w/2"/>
                                          </p:val>
                                        </p:tav>
                                        <p:tav tm="100000">
                                          <p:val>
                                            <p:strVal val="#ppt_x"/>
                                          </p:val>
                                        </p:tav>
                                      </p:tavLst>
                                    </p:anim>
                                    <p:anim calcmode="lin" valueType="num">
                                      <p:cBhvr additive="base">
                                        <p:cTn id="50"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2" fill="hold" nodeType="clickEffect">
                                  <p:stCondLst>
                                    <p:cond delay="0"/>
                                  </p:stCondLst>
                                  <p:childTnLst>
                                    <p:set>
                                      <p:cBhvr>
                                        <p:cTn id="54" dur="1" fill="hold">
                                          <p:stCondLst>
                                            <p:cond delay="0"/>
                                          </p:stCondLst>
                                        </p:cTn>
                                        <p:tgtEl>
                                          <p:spTgt spid="55"/>
                                        </p:tgtEl>
                                        <p:attrNameLst>
                                          <p:attrName>style.visibility</p:attrName>
                                        </p:attrNameLst>
                                      </p:cBhvr>
                                      <p:to>
                                        <p:strVal val="visible"/>
                                      </p:to>
                                    </p:set>
                                    <p:anim calcmode="lin" valueType="num">
                                      <p:cBhvr additive="base">
                                        <p:cTn id="55" dur="500" fill="hold"/>
                                        <p:tgtEl>
                                          <p:spTgt spid="55"/>
                                        </p:tgtEl>
                                        <p:attrNameLst>
                                          <p:attrName>ppt_x</p:attrName>
                                        </p:attrNameLst>
                                      </p:cBhvr>
                                      <p:tavLst>
                                        <p:tav tm="0">
                                          <p:val>
                                            <p:strVal val="1+#ppt_w/2"/>
                                          </p:val>
                                        </p:tav>
                                        <p:tav tm="100000">
                                          <p:val>
                                            <p:strVal val="#ppt_x"/>
                                          </p:val>
                                        </p:tav>
                                      </p:tavLst>
                                    </p:anim>
                                    <p:anim calcmode="lin" valueType="num">
                                      <p:cBhvr additive="base">
                                        <p:cTn id="56" dur="500" fill="hold"/>
                                        <p:tgtEl>
                                          <p:spTgt spid="55"/>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2" fill="hold" nodeType="clickEffect">
                                  <p:stCondLst>
                                    <p:cond delay="0"/>
                                  </p:stCondLst>
                                  <p:childTnLst>
                                    <p:set>
                                      <p:cBhvr>
                                        <p:cTn id="60" dur="1" fill="hold">
                                          <p:stCondLst>
                                            <p:cond delay="0"/>
                                          </p:stCondLst>
                                        </p:cTn>
                                        <p:tgtEl>
                                          <p:spTgt spid="59"/>
                                        </p:tgtEl>
                                        <p:attrNameLst>
                                          <p:attrName>style.visibility</p:attrName>
                                        </p:attrNameLst>
                                      </p:cBhvr>
                                      <p:to>
                                        <p:strVal val="visible"/>
                                      </p:to>
                                    </p:set>
                                    <p:anim calcmode="lin" valueType="num">
                                      <p:cBhvr additive="base">
                                        <p:cTn id="61" dur="500" fill="hold"/>
                                        <p:tgtEl>
                                          <p:spTgt spid="59"/>
                                        </p:tgtEl>
                                        <p:attrNameLst>
                                          <p:attrName>ppt_x</p:attrName>
                                        </p:attrNameLst>
                                      </p:cBhvr>
                                      <p:tavLst>
                                        <p:tav tm="0">
                                          <p:val>
                                            <p:strVal val="1+#ppt_w/2"/>
                                          </p:val>
                                        </p:tav>
                                        <p:tav tm="100000">
                                          <p:val>
                                            <p:strVal val="#ppt_x"/>
                                          </p:val>
                                        </p:tav>
                                      </p:tavLst>
                                    </p:anim>
                                    <p:anim calcmode="lin" valueType="num">
                                      <p:cBhvr additive="base">
                                        <p:cTn id="62" dur="500" fill="hold"/>
                                        <p:tgtEl>
                                          <p:spTgt spid="59"/>
                                        </p:tgtEl>
                                        <p:attrNameLst>
                                          <p:attrName>ppt_y</p:attrName>
                                        </p:attrNameLst>
                                      </p:cBhvr>
                                      <p:tavLst>
                                        <p:tav tm="0">
                                          <p:val>
                                            <p:strVal val="#ppt_y"/>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2" fill="hold" nodeType="clickEffect">
                                  <p:stCondLst>
                                    <p:cond delay="0"/>
                                  </p:stCondLst>
                                  <p:childTnLst>
                                    <p:set>
                                      <p:cBhvr>
                                        <p:cTn id="66" dur="1" fill="hold">
                                          <p:stCondLst>
                                            <p:cond delay="0"/>
                                          </p:stCondLst>
                                        </p:cTn>
                                        <p:tgtEl>
                                          <p:spTgt spid="63"/>
                                        </p:tgtEl>
                                        <p:attrNameLst>
                                          <p:attrName>style.visibility</p:attrName>
                                        </p:attrNameLst>
                                      </p:cBhvr>
                                      <p:to>
                                        <p:strVal val="visible"/>
                                      </p:to>
                                    </p:set>
                                    <p:anim calcmode="lin" valueType="num">
                                      <p:cBhvr additive="base">
                                        <p:cTn id="67" dur="500" fill="hold"/>
                                        <p:tgtEl>
                                          <p:spTgt spid="63"/>
                                        </p:tgtEl>
                                        <p:attrNameLst>
                                          <p:attrName>ppt_x</p:attrName>
                                        </p:attrNameLst>
                                      </p:cBhvr>
                                      <p:tavLst>
                                        <p:tav tm="0">
                                          <p:val>
                                            <p:strVal val="1+#ppt_w/2"/>
                                          </p:val>
                                        </p:tav>
                                        <p:tav tm="100000">
                                          <p:val>
                                            <p:strVal val="#ppt_x"/>
                                          </p:val>
                                        </p:tav>
                                      </p:tavLst>
                                    </p:anim>
                                    <p:anim calcmode="lin" valueType="num">
                                      <p:cBhvr additive="base">
                                        <p:cTn id="68" dur="500" fill="hold"/>
                                        <p:tgtEl>
                                          <p:spTgt spid="63"/>
                                        </p:tgtEl>
                                        <p:attrNameLst>
                                          <p:attrName>ppt_y</p:attrName>
                                        </p:attrNameLst>
                                      </p:cBhvr>
                                      <p:tavLst>
                                        <p:tav tm="0">
                                          <p:val>
                                            <p:strVal val="#ppt_y"/>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2" fill="hold" nodeType="clickEffect">
                                  <p:stCondLst>
                                    <p:cond delay="0"/>
                                  </p:stCondLst>
                                  <p:childTnLst>
                                    <p:set>
                                      <p:cBhvr>
                                        <p:cTn id="72" dur="1" fill="hold">
                                          <p:stCondLst>
                                            <p:cond delay="0"/>
                                          </p:stCondLst>
                                        </p:cTn>
                                        <p:tgtEl>
                                          <p:spTgt spid="67"/>
                                        </p:tgtEl>
                                        <p:attrNameLst>
                                          <p:attrName>style.visibility</p:attrName>
                                        </p:attrNameLst>
                                      </p:cBhvr>
                                      <p:to>
                                        <p:strVal val="visible"/>
                                      </p:to>
                                    </p:set>
                                    <p:anim calcmode="lin" valueType="num">
                                      <p:cBhvr additive="base">
                                        <p:cTn id="73" dur="500" fill="hold"/>
                                        <p:tgtEl>
                                          <p:spTgt spid="67"/>
                                        </p:tgtEl>
                                        <p:attrNameLst>
                                          <p:attrName>ppt_x</p:attrName>
                                        </p:attrNameLst>
                                      </p:cBhvr>
                                      <p:tavLst>
                                        <p:tav tm="0">
                                          <p:val>
                                            <p:strVal val="1+#ppt_w/2"/>
                                          </p:val>
                                        </p:tav>
                                        <p:tav tm="100000">
                                          <p:val>
                                            <p:strVal val="#ppt_x"/>
                                          </p:val>
                                        </p:tav>
                                      </p:tavLst>
                                    </p:anim>
                                    <p:anim calcmode="lin" valueType="num">
                                      <p:cBhvr additive="base">
                                        <p:cTn id="74" dur="500" fill="hold"/>
                                        <p:tgtEl>
                                          <p:spTgt spid="6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D86EDED-B1AF-7E4B-94C9-3F0EAA36C7D5}" type="slidenum">
              <a:rPr lang="en-US" smtClean="0"/>
              <a:pPr/>
              <a:t>22</a:t>
            </a:fld>
            <a:endParaRPr lang="en-US" dirty="0"/>
          </a:p>
        </p:txBody>
      </p:sp>
      <p:grpSp>
        <p:nvGrpSpPr>
          <p:cNvPr id="2" name="Group 8"/>
          <p:cNvGrpSpPr/>
          <p:nvPr/>
        </p:nvGrpSpPr>
        <p:grpSpPr>
          <a:xfrm>
            <a:off x="3288793" y="367654"/>
            <a:ext cx="2062616" cy="2159039"/>
            <a:chOff x="3288793" y="367654"/>
            <a:chExt cx="2062616" cy="2159039"/>
          </a:xfrm>
        </p:grpSpPr>
        <p:sp>
          <p:nvSpPr>
            <p:cNvPr id="8" name="Isosceles Triangle 7"/>
            <p:cNvSpPr/>
            <p:nvPr/>
          </p:nvSpPr>
          <p:spPr>
            <a:xfrm>
              <a:off x="3288793" y="367654"/>
              <a:ext cx="2062616" cy="1038927"/>
            </a:xfrm>
            <a:prstGeom prst="triangle">
              <a:avLst/>
            </a:prstGeom>
            <a:gradFill flip="none" rotWithShape="1">
              <a:gsLst>
                <a:gs pos="48000">
                  <a:srgbClr val="FFFF00">
                    <a:alpha val="82000"/>
                  </a:srgbClr>
                </a:gs>
                <a:gs pos="100000">
                  <a:srgbClr val="FFFFFF">
                    <a:alpha val="82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4" name="Picture 33" descr="businessman copy.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6996" y="497101"/>
              <a:ext cx="834497" cy="2029592"/>
            </a:xfrm>
            <a:prstGeom prst="rect">
              <a:avLst/>
            </a:prstGeom>
          </p:spPr>
        </p:pic>
        <p:sp>
          <p:nvSpPr>
            <p:cNvPr id="12" name="Rectangle 11"/>
            <p:cNvSpPr/>
            <p:nvPr/>
          </p:nvSpPr>
          <p:spPr>
            <a:xfrm>
              <a:off x="3288793" y="1406581"/>
              <a:ext cx="2062616" cy="473571"/>
            </a:xfrm>
            <a:prstGeom prst="rect">
              <a:avLst/>
            </a:prstGeom>
            <a:solidFill>
              <a:srgbClr val="FFFF00"/>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effectLst>
                    <a:outerShdw blurRad="38100" dist="38100" dir="2700000" algn="tl">
                      <a:srgbClr val="000000">
                        <a:alpha val="43137"/>
                      </a:srgbClr>
                    </a:outerShdw>
                  </a:effectLst>
                  <a:latin typeface="Arial"/>
                  <a:cs typeface="Arial"/>
                </a:rPr>
                <a:t>PENGERUSI</a:t>
              </a:r>
              <a:endParaRPr lang="en-US" sz="1400" b="1" dirty="0">
                <a:solidFill>
                  <a:schemeClr val="tx1"/>
                </a:solidFill>
                <a:effectLst>
                  <a:outerShdw blurRad="38100" dist="38100" dir="2700000" algn="tl">
                    <a:srgbClr val="000000">
                      <a:alpha val="43137"/>
                    </a:srgbClr>
                  </a:outerShdw>
                </a:effectLst>
                <a:latin typeface="Arial"/>
                <a:cs typeface="Arial"/>
              </a:endParaRPr>
            </a:p>
          </p:txBody>
        </p:sp>
      </p:grpSp>
      <p:grpSp>
        <p:nvGrpSpPr>
          <p:cNvPr id="3" name="Group 17"/>
          <p:cNvGrpSpPr/>
          <p:nvPr/>
        </p:nvGrpSpPr>
        <p:grpSpPr>
          <a:xfrm>
            <a:off x="5233252" y="2452342"/>
            <a:ext cx="3116122" cy="2517860"/>
            <a:chOff x="5233252" y="2418918"/>
            <a:chExt cx="3116122" cy="2517860"/>
          </a:xfrm>
        </p:grpSpPr>
        <p:sp>
          <p:nvSpPr>
            <p:cNvPr id="40" name="Isosceles Triangle 39"/>
            <p:cNvSpPr/>
            <p:nvPr/>
          </p:nvSpPr>
          <p:spPr>
            <a:xfrm>
              <a:off x="6260842" y="2575416"/>
              <a:ext cx="2088532" cy="934011"/>
            </a:xfrm>
            <a:prstGeom prst="triangle">
              <a:avLst/>
            </a:prstGeom>
            <a:gradFill flip="none" rotWithShape="1">
              <a:gsLst>
                <a:gs pos="48000">
                  <a:srgbClr val="0000FF">
                    <a:alpha val="82000"/>
                  </a:srgbClr>
                </a:gs>
                <a:gs pos="100000">
                  <a:srgbClr val="FFFFFF">
                    <a:alpha val="82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5" name="Picture 34" descr="urus solo 3.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33252" y="2418918"/>
              <a:ext cx="2513727" cy="2517860"/>
            </a:xfrm>
            <a:prstGeom prst="rect">
              <a:avLst/>
            </a:prstGeom>
          </p:spPr>
        </p:pic>
        <p:sp>
          <p:nvSpPr>
            <p:cNvPr id="15" name="Rectangle 14"/>
            <p:cNvSpPr/>
            <p:nvPr/>
          </p:nvSpPr>
          <p:spPr>
            <a:xfrm>
              <a:off x="6265892" y="3505715"/>
              <a:ext cx="2062616" cy="473571"/>
            </a:xfrm>
            <a:prstGeom prst="rect">
              <a:avLst/>
            </a:prstGeom>
            <a:solidFill>
              <a:srgbClr val="0000FF"/>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effectLst>
                    <a:outerShdw blurRad="38100" dist="38100" dir="2700000" algn="tl">
                      <a:srgbClr val="000000">
                        <a:alpha val="43137"/>
                      </a:srgbClr>
                    </a:outerShdw>
                  </a:effectLst>
                  <a:latin typeface="Arial"/>
                  <a:cs typeface="Arial"/>
                </a:rPr>
                <a:t>AHLI </a:t>
              </a:r>
            </a:p>
            <a:p>
              <a:pPr algn="ctr"/>
              <a:r>
                <a:rPr lang="en-US" sz="1400" b="1" dirty="0" smtClean="0">
                  <a:effectLst>
                    <a:outerShdw blurRad="38100" dist="38100" dir="2700000" algn="tl">
                      <a:srgbClr val="000000">
                        <a:alpha val="43137"/>
                      </a:srgbClr>
                    </a:outerShdw>
                  </a:effectLst>
                  <a:latin typeface="Arial"/>
                  <a:cs typeface="Arial"/>
                </a:rPr>
                <a:t>JAWATANKUASA 3</a:t>
              </a:r>
              <a:endParaRPr lang="en-US" sz="1400" b="1" dirty="0">
                <a:effectLst>
                  <a:outerShdw blurRad="38100" dist="38100" dir="2700000" algn="tl">
                    <a:srgbClr val="000000">
                      <a:alpha val="43137"/>
                    </a:srgbClr>
                  </a:outerShdw>
                </a:effectLst>
                <a:latin typeface="Arial"/>
                <a:cs typeface="Arial"/>
              </a:endParaRPr>
            </a:p>
          </p:txBody>
        </p:sp>
      </p:grpSp>
      <p:grpSp>
        <p:nvGrpSpPr>
          <p:cNvPr id="6" name="Group 20"/>
          <p:cNvGrpSpPr/>
          <p:nvPr/>
        </p:nvGrpSpPr>
        <p:grpSpPr>
          <a:xfrm>
            <a:off x="479880" y="2471726"/>
            <a:ext cx="3111295" cy="2528378"/>
            <a:chOff x="479880" y="2438302"/>
            <a:chExt cx="3111295" cy="2528378"/>
          </a:xfrm>
        </p:grpSpPr>
        <p:sp>
          <p:nvSpPr>
            <p:cNvPr id="42" name="Isosceles Triangle 41"/>
            <p:cNvSpPr/>
            <p:nvPr/>
          </p:nvSpPr>
          <p:spPr>
            <a:xfrm>
              <a:off x="479880" y="2575416"/>
              <a:ext cx="2088532" cy="934011"/>
            </a:xfrm>
            <a:prstGeom prst="triangle">
              <a:avLst/>
            </a:prstGeom>
            <a:gradFill flip="none" rotWithShape="1">
              <a:gsLst>
                <a:gs pos="48000">
                  <a:srgbClr val="0000FF">
                    <a:alpha val="82000"/>
                  </a:srgbClr>
                </a:gs>
                <a:gs pos="100000">
                  <a:srgbClr val="FFFFFF">
                    <a:alpha val="82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8" name="Picture 67" descr="urus solo 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6947" y="2438302"/>
              <a:ext cx="2524228" cy="2528378"/>
            </a:xfrm>
            <a:prstGeom prst="rect">
              <a:avLst/>
            </a:prstGeom>
          </p:spPr>
        </p:pic>
        <p:sp>
          <p:nvSpPr>
            <p:cNvPr id="13" name="Rectangle 12"/>
            <p:cNvSpPr/>
            <p:nvPr/>
          </p:nvSpPr>
          <p:spPr>
            <a:xfrm>
              <a:off x="488235" y="3505715"/>
              <a:ext cx="2062616" cy="473571"/>
            </a:xfrm>
            <a:prstGeom prst="rect">
              <a:avLst/>
            </a:prstGeom>
            <a:solidFill>
              <a:srgbClr val="0000FF"/>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effectLst>
                    <a:outerShdw blurRad="38100" dist="38100" dir="2700000" algn="tl">
                      <a:srgbClr val="000000">
                        <a:alpha val="43137"/>
                      </a:srgbClr>
                    </a:outerShdw>
                  </a:effectLst>
                  <a:latin typeface="Arial"/>
                  <a:cs typeface="Arial"/>
                </a:rPr>
                <a:t>AHLI </a:t>
              </a:r>
            </a:p>
            <a:p>
              <a:pPr algn="ctr"/>
              <a:r>
                <a:rPr lang="en-US" sz="1400" b="1" dirty="0" smtClean="0">
                  <a:effectLst>
                    <a:outerShdw blurRad="38100" dist="38100" dir="2700000" algn="tl">
                      <a:srgbClr val="000000">
                        <a:alpha val="43137"/>
                      </a:srgbClr>
                    </a:outerShdw>
                  </a:effectLst>
                  <a:latin typeface="Arial"/>
                  <a:cs typeface="Arial"/>
                </a:rPr>
                <a:t>JAWATANKUASA 1</a:t>
              </a:r>
              <a:endParaRPr lang="en-US" sz="1400" b="1" dirty="0">
                <a:effectLst>
                  <a:outerShdw blurRad="38100" dist="38100" dir="2700000" algn="tl">
                    <a:srgbClr val="000000">
                      <a:alpha val="43137"/>
                    </a:srgbClr>
                  </a:outerShdw>
                </a:effectLst>
                <a:latin typeface="Arial"/>
                <a:cs typeface="Arial"/>
              </a:endParaRPr>
            </a:p>
          </p:txBody>
        </p:sp>
      </p:grpSp>
      <p:grpSp>
        <p:nvGrpSpPr>
          <p:cNvPr id="7" name="Group 21"/>
          <p:cNvGrpSpPr/>
          <p:nvPr/>
        </p:nvGrpSpPr>
        <p:grpSpPr>
          <a:xfrm>
            <a:off x="3290004" y="4794284"/>
            <a:ext cx="3772249" cy="2430045"/>
            <a:chOff x="3290004" y="4761437"/>
            <a:chExt cx="3772249" cy="2430045"/>
          </a:xfrm>
        </p:grpSpPr>
        <p:sp>
          <p:nvSpPr>
            <p:cNvPr id="43" name="Isosceles Triangle 42"/>
            <p:cNvSpPr/>
            <p:nvPr/>
          </p:nvSpPr>
          <p:spPr>
            <a:xfrm>
              <a:off x="3290004" y="4856718"/>
              <a:ext cx="2088532" cy="934011"/>
            </a:xfrm>
            <a:prstGeom prst="triangle">
              <a:avLst/>
            </a:prstGeom>
            <a:gradFill flip="none" rotWithShape="1">
              <a:gsLst>
                <a:gs pos="48000">
                  <a:srgbClr val="FF0000">
                    <a:alpha val="82000"/>
                  </a:srgbClr>
                </a:gs>
                <a:gs pos="100000">
                  <a:srgbClr val="FFFFFF">
                    <a:alpha val="82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2" name="Picture 71" descr="businessman-silhouette-vector.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0760" y="4761437"/>
              <a:ext cx="3471493" cy="2430045"/>
            </a:xfrm>
            <a:prstGeom prst="rect">
              <a:avLst/>
            </a:prstGeom>
          </p:spPr>
        </p:pic>
        <p:sp>
          <p:nvSpPr>
            <p:cNvPr id="17" name="Rectangle 16"/>
            <p:cNvSpPr/>
            <p:nvPr/>
          </p:nvSpPr>
          <p:spPr>
            <a:xfrm>
              <a:off x="3306714" y="5790729"/>
              <a:ext cx="2062616" cy="473571"/>
            </a:xfrm>
            <a:prstGeom prst="rect">
              <a:avLst/>
            </a:prstGeom>
            <a:solidFill>
              <a:srgbClr val="FF0000"/>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effectLst>
                    <a:outerShdw blurRad="38100" dist="38100" dir="2700000" algn="tl">
                      <a:srgbClr val="000000">
                        <a:alpha val="43137"/>
                      </a:srgbClr>
                    </a:outerShdw>
                  </a:effectLst>
                  <a:latin typeface="Arial"/>
                  <a:cs typeface="Arial"/>
                </a:rPr>
                <a:t>URUS SETIA</a:t>
              </a:r>
              <a:endParaRPr lang="en-US" sz="1400" b="1" dirty="0">
                <a:effectLst>
                  <a:outerShdw blurRad="38100" dist="38100" dir="2700000" algn="tl">
                    <a:srgbClr val="000000">
                      <a:alpha val="43137"/>
                    </a:srgbClr>
                  </a:outerShdw>
                </a:effectLst>
                <a:latin typeface="Arial"/>
                <a:cs typeface="Arial"/>
              </a:endParaRPr>
            </a:p>
          </p:txBody>
        </p:sp>
      </p:grpSp>
      <p:grpSp>
        <p:nvGrpSpPr>
          <p:cNvPr id="9" name="Group 91"/>
          <p:cNvGrpSpPr/>
          <p:nvPr/>
        </p:nvGrpSpPr>
        <p:grpSpPr>
          <a:xfrm>
            <a:off x="4801067" y="911956"/>
            <a:ext cx="1515347" cy="76308"/>
            <a:chOff x="4822963" y="922905"/>
            <a:chExt cx="1515347" cy="76308"/>
          </a:xfrm>
        </p:grpSpPr>
        <p:cxnSp>
          <p:nvCxnSpPr>
            <p:cNvPr id="48" name="Straight Connector 47"/>
            <p:cNvCxnSpPr/>
            <p:nvPr/>
          </p:nvCxnSpPr>
          <p:spPr>
            <a:xfrm flipH="1">
              <a:off x="6323339" y="922905"/>
              <a:ext cx="1" cy="76308"/>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4822963" y="931261"/>
              <a:ext cx="1515347" cy="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0" name="Group 92"/>
          <p:cNvGrpSpPr/>
          <p:nvPr/>
        </p:nvGrpSpPr>
        <p:grpSpPr>
          <a:xfrm>
            <a:off x="1497828" y="2481904"/>
            <a:ext cx="5799372" cy="120105"/>
            <a:chOff x="1497828" y="2481904"/>
            <a:chExt cx="5799372" cy="120105"/>
          </a:xfrm>
        </p:grpSpPr>
        <p:cxnSp>
          <p:nvCxnSpPr>
            <p:cNvPr id="54" name="Straight Connector 53"/>
            <p:cNvCxnSpPr/>
            <p:nvPr/>
          </p:nvCxnSpPr>
          <p:spPr>
            <a:xfrm>
              <a:off x="1497828" y="2546222"/>
              <a:ext cx="5799372" cy="2369"/>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flipV="1">
              <a:off x="1517758" y="2543578"/>
              <a:ext cx="0" cy="44288"/>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flipV="1">
              <a:off x="7280043" y="2545015"/>
              <a:ext cx="0" cy="44288"/>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flipV="1">
              <a:off x="4303120" y="2481904"/>
              <a:ext cx="0" cy="120105"/>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1" name="Group 93"/>
          <p:cNvGrpSpPr/>
          <p:nvPr/>
        </p:nvGrpSpPr>
        <p:grpSpPr>
          <a:xfrm>
            <a:off x="1500356" y="4732348"/>
            <a:ext cx="5799372" cy="113848"/>
            <a:chOff x="1500356" y="4715636"/>
            <a:chExt cx="5799372" cy="113848"/>
          </a:xfrm>
        </p:grpSpPr>
        <p:cxnSp>
          <p:nvCxnSpPr>
            <p:cNvPr id="65" name="Straight Connector 64"/>
            <p:cNvCxnSpPr/>
            <p:nvPr/>
          </p:nvCxnSpPr>
          <p:spPr>
            <a:xfrm flipV="1">
              <a:off x="1500356" y="4766992"/>
              <a:ext cx="5799372" cy="2296"/>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1520286" y="4718422"/>
              <a:ext cx="0" cy="42933"/>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7282571" y="4717029"/>
              <a:ext cx="0" cy="42933"/>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a:off x="4320476" y="4715636"/>
              <a:ext cx="0" cy="113848"/>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9"/>
          <p:cNvGrpSpPr/>
          <p:nvPr/>
        </p:nvGrpSpPr>
        <p:grpSpPr>
          <a:xfrm>
            <a:off x="5299784" y="916413"/>
            <a:ext cx="2088532" cy="2069959"/>
            <a:chOff x="5299784" y="916413"/>
            <a:chExt cx="2088532" cy="2069959"/>
          </a:xfrm>
        </p:grpSpPr>
        <p:sp>
          <p:nvSpPr>
            <p:cNvPr id="37" name="Isosceles Triangle 36"/>
            <p:cNvSpPr/>
            <p:nvPr/>
          </p:nvSpPr>
          <p:spPr>
            <a:xfrm>
              <a:off x="5299784" y="916413"/>
              <a:ext cx="2088532" cy="1038927"/>
            </a:xfrm>
            <a:prstGeom prst="triangle">
              <a:avLst/>
            </a:prstGeom>
            <a:gradFill flip="none" rotWithShape="1">
              <a:gsLst>
                <a:gs pos="48000">
                  <a:srgbClr val="008000">
                    <a:alpha val="82000"/>
                  </a:srgbClr>
                </a:gs>
                <a:gs pos="100000">
                  <a:srgbClr val="FFFFFF">
                    <a:alpha val="82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2" name="Picture 31" descr="woman-304811_640 copy.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72900" y="1011163"/>
              <a:ext cx="985983" cy="1975209"/>
            </a:xfrm>
            <a:prstGeom prst="rect">
              <a:avLst/>
            </a:prstGeom>
          </p:spPr>
        </p:pic>
        <p:sp>
          <p:nvSpPr>
            <p:cNvPr id="16" name="Rectangle 15"/>
            <p:cNvSpPr/>
            <p:nvPr/>
          </p:nvSpPr>
          <p:spPr>
            <a:xfrm>
              <a:off x="5306262" y="1952063"/>
              <a:ext cx="2062616" cy="473571"/>
            </a:xfrm>
            <a:prstGeom prst="rect">
              <a:avLst/>
            </a:prstGeom>
            <a:solidFill>
              <a:srgbClr val="008000"/>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effectLst>
                    <a:outerShdw blurRad="38100" dist="38100" dir="2700000" algn="tl">
                      <a:srgbClr val="000000">
                        <a:alpha val="43137"/>
                      </a:srgbClr>
                    </a:outerShdw>
                  </a:effectLst>
                  <a:latin typeface="Arial"/>
                  <a:cs typeface="Arial"/>
                </a:rPr>
                <a:t>SETIAUSAHA</a:t>
              </a:r>
              <a:endParaRPr lang="en-US" sz="1400" b="1" dirty="0">
                <a:solidFill>
                  <a:schemeClr val="bg1"/>
                </a:solidFill>
                <a:effectLst>
                  <a:outerShdw blurRad="38100" dist="38100" dir="2700000" algn="tl">
                    <a:srgbClr val="000000">
                      <a:alpha val="43137"/>
                    </a:srgbClr>
                  </a:outerShdw>
                </a:effectLst>
                <a:latin typeface="Arial"/>
                <a:cs typeface="Arial"/>
              </a:endParaRPr>
            </a:p>
          </p:txBody>
        </p:sp>
      </p:grpSp>
      <p:grpSp>
        <p:nvGrpSpPr>
          <p:cNvPr id="18" name="Group 19"/>
          <p:cNvGrpSpPr/>
          <p:nvPr/>
        </p:nvGrpSpPr>
        <p:grpSpPr>
          <a:xfrm>
            <a:off x="3013227" y="2491323"/>
            <a:ext cx="2467799" cy="2471857"/>
            <a:chOff x="3013227" y="2491323"/>
            <a:chExt cx="2467799" cy="2471857"/>
          </a:xfrm>
        </p:grpSpPr>
        <p:sp>
          <p:nvSpPr>
            <p:cNvPr id="50" name="Isosceles Triangle 49"/>
            <p:cNvSpPr/>
            <p:nvPr/>
          </p:nvSpPr>
          <p:spPr>
            <a:xfrm>
              <a:off x="3272443" y="2619868"/>
              <a:ext cx="2088532" cy="934011"/>
            </a:xfrm>
            <a:prstGeom prst="triangle">
              <a:avLst/>
            </a:prstGeom>
            <a:gradFill flip="none" rotWithShape="1">
              <a:gsLst>
                <a:gs pos="48000">
                  <a:srgbClr val="0000FF">
                    <a:alpha val="82000"/>
                  </a:srgbClr>
                </a:gs>
                <a:gs pos="100000">
                  <a:srgbClr val="FFFFFF">
                    <a:alpha val="82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6" name="Picture 65" descr="urus solo 1.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13227" y="2491323"/>
              <a:ext cx="2467799" cy="2471857"/>
            </a:xfrm>
            <a:prstGeom prst="rect">
              <a:avLst/>
            </a:prstGeom>
          </p:spPr>
        </p:pic>
        <p:sp>
          <p:nvSpPr>
            <p:cNvPr id="52" name="Rectangle 51"/>
            <p:cNvSpPr/>
            <p:nvPr/>
          </p:nvSpPr>
          <p:spPr>
            <a:xfrm>
              <a:off x="3277493" y="3550167"/>
              <a:ext cx="2062616" cy="473571"/>
            </a:xfrm>
            <a:prstGeom prst="rect">
              <a:avLst/>
            </a:prstGeom>
            <a:solidFill>
              <a:srgbClr val="0000FF"/>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effectLst>
                    <a:outerShdw blurRad="38100" dist="38100" dir="2700000" algn="tl">
                      <a:srgbClr val="000000">
                        <a:alpha val="43137"/>
                      </a:srgbClr>
                    </a:outerShdw>
                  </a:effectLst>
                  <a:latin typeface="Arial"/>
                  <a:cs typeface="Arial"/>
                </a:rPr>
                <a:t>AHLI </a:t>
              </a:r>
            </a:p>
            <a:p>
              <a:pPr algn="ctr"/>
              <a:r>
                <a:rPr lang="en-US" sz="1400" b="1" dirty="0" smtClean="0">
                  <a:effectLst>
                    <a:outerShdw blurRad="38100" dist="38100" dir="2700000" algn="tl">
                      <a:srgbClr val="000000">
                        <a:alpha val="43137"/>
                      </a:srgbClr>
                    </a:outerShdw>
                  </a:effectLst>
                  <a:latin typeface="Arial"/>
                  <a:cs typeface="Arial"/>
                </a:rPr>
                <a:t>JAWATANKUASA 2</a:t>
              </a:r>
              <a:endParaRPr lang="en-US" sz="1400" b="1" dirty="0">
                <a:effectLst>
                  <a:outerShdw blurRad="38100" dist="38100" dir="2700000" algn="tl">
                    <a:srgbClr val="000000">
                      <a:alpha val="43137"/>
                    </a:srgbClr>
                  </a:outerShdw>
                </a:effectLst>
                <a:latin typeface="Arial"/>
                <a:cs typeface="Arial"/>
              </a:endParaRPr>
            </a:p>
          </p:txBody>
        </p:sp>
      </p:grpSp>
      <p:sp>
        <p:nvSpPr>
          <p:cNvPr id="4" name="Footer Placeholder 3"/>
          <p:cNvSpPr>
            <a:spLocks noGrp="1"/>
          </p:cNvSpPr>
          <p:nvPr>
            <p:ph type="ftr" sz="quarter" idx="11"/>
          </p:nvPr>
        </p:nvSpPr>
        <p:spPr/>
        <p:txBody>
          <a:bodyPr/>
          <a:lstStyle/>
          <a:p>
            <a:r>
              <a:rPr lang="en-US" smtClean="0"/>
              <a:t>GURU (SEKOLAH)</a:t>
            </a:r>
            <a:endParaRPr lang="en-US" dirty="0"/>
          </a:p>
        </p:txBody>
      </p:sp>
      <p:sp>
        <p:nvSpPr>
          <p:cNvPr id="41" name="Rectangle 40"/>
          <p:cNvSpPr/>
          <p:nvPr/>
        </p:nvSpPr>
        <p:spPr>
          <a:xfrm>
            <a:off x="0" y="566276"/>
            <a:ext cx="3306714"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JK PBPPP</a:t>
            </a:r>
            <a:endParaRPr lang="en-US" sz="28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par>
                                <p:cTn id="8" presetID="4" presetClass="entr" presetSubtype="16"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ox(in)">
                                      <p:cBhvr>
                                        <p:cTn id="10" dur="500"/>
                                        <p:tgtEl>
                                          <p:spTgt spid="9"/>
                                        </p:tgtEl>
                                      </p:cBhvr>
                                    </p:animEffect>
                                  </p:childTnLst>
                                </p:cTn>
                              </p:par>
                              <p:par>
                                <p:cTn id="11" presetID="4" presetClass="entr" presetSubtype="16"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box(in)">
                                      <p:cBhvr>
                                        <p:cTn id="13" dur="500"/>
                                        <p:tgtEl>
                                          <p:spTgt spid="14"/>
                                        </p:tgtEl>
                                      </p:cBhvr>
                                    </p:animEffect>
                                  </p:childTnLst>
                                </p:cTn>
                              </p:par>
                            </p:childTnLst>
                          </p:cTn>
                        </p:par>
                      </p:childTnLst>
                    </p:cTn>
                  </p:par>
                  <p:par>
                    <p:cTn id="14" fill="hold">
                      <p:stCondLst>
                        <p:cond delay="indefinite"/>
                      </p:stCondLst>
                      <p:childTnLst>
                        <p:par>
                          <p:cTn id="15" fill="hold">
                            <p:stCondLst>
                              <p:cond delay="0"/>
                            </p:stCondLst>
                            <p:childTnLst>
                              <p:par>
                                <p:cTn id="16" presetID="47"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1000"/>
                                        <p:tgtEl>
                                          <p:spTgt spid="10"/>
                                        </p:tgtEl>
                                      </p:cBhvr>
                                    </p:animEffect>
                                    <p:anim calcmode="lin" valueType="num">
                                      <p:cBhvr>
                                        <p:cTn id="19" dur="1000" fill="hold"/>
                                        <p:tgtEl>
                                          <p:spTgt spid="10"/>
                                        </p:tgtEl>
                                        <p:attrNameLst>
                                          <p:attrName>ppt_x</p:attrName>
                                        </p:attrNameLst>
                                      </p:cBhvr>
                                      <p:tavLst>
                                        <p:tav tm="0">
                                          <p:val>
                                            <p:strVal val="#ppt_x"/>
                                          </p:val>
                                        </p:tav>
                                        <p:tav tm="100000">
                                          <p:val>
                                            <p:strVal val="#ppt_x"/>
                                          </p:val>
                                        </p:tav>
                                      </p:tavLst>
                                    </p:anim>
                                    <p:anim calcmode="lin" valueType="num">
                                      <p:cBhvr>
                                        <p:cTn id="20" dur="1000" fill="hold"/>
                                        <p:tgtEl>
                                          <p:spTgt spid="10"/>
                                        </p:tgtEl>
                                        <p:attrNameLst>
                                          <p:attrName>ppt_y</p:attrName>
                                        </p:attrNameLst>
                                      </p:cBhvr>
                                      <p:tavLst>
                                        <p:tav tm="0">
                                          <p:val>
                                            <p:strVal val="#ppt_y-.1"/>
                                          </p:val>
                                        </p:tav>
                                        <p:tav tm="100000">
                                          <p:val>
                                            <p:strVal val="#ppt_y"/>
                                          </p:val>
                                        </p:tav>
                                      </p:tavLst>
                                    </p:anim>
                                  </p:childTnLst>
                                </p:cTn>
                              </p:par>
                              <p:par>
                                <p:cTn id="21" presetID="47"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1000"/>
                                        <p:tgtEl>
                                          <p:spTgt spid="6"/>
                                        </p:tgtEl>
                                      </p:cBhvr>
                                    </p:animEffect>
                                    <p:anim calcmode="lin" valueType="num">
                                      <p:cBhvr>
                                        <p:cTn id="24" dur="1000" fill="hold"/>
                                        <p:tgtEl>
                                          <p:spTgt spid="6"/>
                                        </p:tgtEl>
                                        <p:attrNameLst>
                                          <p:attrName>ppt_x</p:attrName>
                                        </p:attrNameLst>
                                      </p:cBhvr>
                                      <p:tavLst>
                                        <p:tav tm="0">
                                          <p:val>
                                            <p:strVal val="#ppt_x"/>
                                          </p:val>
                                        </p:tav>
                                        <p:tav tm="100000">
                                          <p:val>
                                            <p:strVal val="#ppt_x"/>
                                          </p:val>
                                        </p:tav>
                                      </p:tavLst>
                                    </p:anim>
                                    <p:anim calcmode="lin" valueType="num">
                                      <p:cBhvr>
                                        <p:cTn id="25" dur="1000" fill="hold"/>
                                        <p:tgtEl>
                                          <p:spTgt spid="6"/>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1000"/>
                                        <p:tgtEl>
                                          <p:spTgt spid="18"/>
                                        </p:tgtEl>
                                      </p:cBhvr>
                                    </p:animEffect>
                                    <p:anim calcmode="lin" valueType="num">
                                      <p:cBhvr>
                                        <p:cTn id="29" dur="1000" fill="hold"/>
                                        <p:tgtEl>
                                          <p:spTgt spid="18"/>
                                        </p:tgtEl>
                                        <p:attrNameLst>
                                          <p:attrName>ppt_x</p:attrName>
                                        </p:attrNameLst>
                                      </p:cBhvr>
                                      <p:tavLst>
                                        <p:tav tm="0">
                                          <p:val>
                                            <p:strVal val="#ppt_x"/>
                                          </p:val>
                                        </p:tav>
                                        <p:tav tm="100000">
                                          <p:val>
                                            <p:strVal val="#ppt_x"/>
                                          </p:val>
                                        </p:tav>
                                      </p:tavLst>
                                    </p:anim>
                                    <p:anim calcmode="lin" valueType="num">
                                      <p:cBhvr>
                                        <p:cTn id="30" dur="1000" fill="hold"/>
                                        <p:tgtEl>
                                          <p:spTgt spid="18"/>
                                        </p:tgtEl>
                                        <p:attrNameLst>
                                          <p:attrName>ppt_y</p:attrName>
                                        </p:attrNameLst>
                                      </p:cBhvr>
                                      <p:tavLst>
                                        <p:tav tm="0">
                                          <p:val>
                                            <p:strVal val="#ppt_y-.1"/>
                                          </p:val>
                                        </p:tav>
                                        <p:tav tm="100000">
                                          <p:val>
                                            <p:strVal val="#ppt_y"/>
                                          </p:val>
                                        </p:tav>
                                      </p:tavLst>
                                    </p:anim>
                                  </p:childTnLst>
                                </p:cTn>
                              </p:par>
                              <p:par>
                                <p:cTn id="31" presetID="47" presetClass="entr" presetSubtype="0"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1000"/>
                                        <p:tgtEl>
                                          <p:spTgt spid="3"/>
                                        </p:tgtEl>
                                      </p:cBhvr>
                                    </p:animEffect>
                                    <p:anim calcmode="lin" valueType="num">
                                      <p:cBhvr>
                                        <p:cTn id="34" dur="1000" fill="hold"/>
                                        <p:tgtEl>
                                          <p:spTgt spid="3"/>
                                        </p:tgtEl>
                                        <p:attrNameLst>
                                          <p:attrName>ppt_x</p:attrName>
                                        </p:attrNameLst>
                                      </p:cBhvr>
                                      <p:tavLst>
                                        <p:tav tm="0">
                                          <p:val>
                                            <p:strVal val="#ppt_x"/>
                                          </p:val>
                                        </p:tav>
                                        <p:tav tm="100000">
                                          <p:val>
                                            <p:strVal val="#ppt_x"/>
                                          </p:val>
                                        </p:tav>
                                      </p:tavLst>
                                    </p:anim>
                                    <p:anim calcmode="lin" valueType="num">
                                      <p:cBhvr>
                                        <p:cTn id="3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 presetClass="entr" presetSubtype="16" fill="hold"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box(in)">
                                      <p:cBhvr>
                                        <p:cTn id="40" dur="500"/>
                                        <p:tgtEl>
                                          <p:spTgt spid="11"/>
                                        </p:tgtEl>
                                      </p:cBhvr>
                                    </p:animEffect>
                                  </p:childTnLst>
                                </p:cTn>
                              </p:par>
                              <p:par>
                                <p:cTn id="41" presetID="4" presetClass="entr" presetSubtype="16" fill="hold" nodeType="withEffect">
                                  <p:stCondLst>
                                    <p:cond delay="0"/>
                                  </p:stCondLst>
                                  <p:childTnLst>
                                    <p:set>
                                      <p:cBhvr>
                                        <p:cTn id="42" dur="1" fill="hold">
                                          <p:stCondLst>
                                            <p:cond delay="0"/>
                                          </p:stCondLst>
                                        </p:cTn>
                                        <p:tgtEl>
                                          <p:spTgt spid="7"/>
                                        </p:tgtEl>
                                        <p:attrNameLst>
                                          <p:attrName>style.visibility</p:attrName>
                                        </p:attrNameLst>
                                      </p:cBhvr>
                                      <p:to>
                                        <p:strVal val="visible"/>
                                      </p:to>
                                    </p:set>
                                    <p:animEffect transition="in" filter="box(in)">
                                      <p:cBhvr>
                                        <p:cTn id="4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26593" y="1127229"/>
            <a:ext cx="2534313" cy="4818388"/>
            <a:chOff x="326593" y="1127229"/>
            <a:chExt cx="2534313" cy="4818388"/>
          </a:xfrm>
        </p:grpSpPr>
        <p:pic>
          <p:nvPicPr>
            <p:cNvPr id="9" name="Picture 8" descr="businessman copy.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1464" y="1127229"/>
              <a:ext cx="1981152" cy="4818388"/>
            </a:xfrm>
            <a:prstGeom prst="rect">
              <a:avLst/>
            </a:prstGeom>
          </p:spPr>
        </p:pic>
        <p:sp>
          <p:nvSpPr>
            <p:cNvPr id="10" name="Rectangle 9"/>
            <p:cNvSpPr/>
            <p:nvPr/>
          </p:nvSpPr>
          <p:spPr>
            <a:xfrm>
              <a:off x="326593" y="3263723"/>
              <a:ext cx="2534313" cy="571055"/>
            </a:xfrm>
            <a:prstGeom prst="rect">
              <a:avLst/>
            </a:prstGeom>
            <a:solidFill>
              <a:srgbClr val="FFFF00"/>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effectLst>
                    <a:outerShdw blurRad="38100" dist="38100" dir="2700000" algn="tl">
                      <a:srgbClr val="000000">
                        <a:alpha val="43137"/>
                      </a:srgbClr>
                    </a:outerShdw>
                  </a:effectLst>
                  <a:latin typeface="Arial"/>
                  <a:cs typeface="Arial"/>
                </a:rPr>
                <a:t>PENGERUSI</a:t>
              </a:r>
              <a:endParaRPr lang="en-US" sz="2000" b="1" dirty="0">
                <a:solidFill>
                  <a:srgbClr val="000000"/>
                </a:solidFill>
                <a:effectLst>
                  <a:outerShdw blurRad="38100" dist="38100" dir="2700000" algn="tl">
                    <a:srgbClr val="000000">
                      <a:alpha val="43137"/>
                    </a:srgbClr>
                  </a:outerShdw>
                </a:effectLst>
                <a:latin typeface="Arial"/>
                <a:cs typeface="Arial"/>
              </a:endParaRPr>
            </a:p>
          </p:txBody>
        </p:sp>
      </p:grpSp>
      <p:sp>
        <p:nvSpPr>
          <p:cNvPr id="22" name="Rectangle 21"/>
          <p:cNvSpPr/>
          <p:nvPr/>
        </p:nvSpPr>
        <p:spPr>
          <a:xfrm>
            <a:off x="2950712" y="1677838"/>
            <a:ext cx="6029716" cy="307805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73050" indent="-273050">
              <a:lnSpc>
                <a:spcPct val="150000"/>
              </a:lnSpc>
              <a:buFont typeface="Wingdings" pitchFamily="2" charset="2"/>
              <a:buChar char="v"/>
            </a:pPr>
            <a:r>
              <a:rPr lang="en-US" sz="2000" b="1" dirty="0" err="1" smtClean="0">
                <a:solidFill>
                  <a:prstClr val="black"/>
                </a:solidFill>
                <a:latin typeface="Arial"/>
                <a:cs typeface="Arial"/>
              </a:rPr>
              <a:t>Menubuhkan</a:t>
            </a:r>
            <a:r>
              <a:rPr lang="en-US" sz="2000" b="1" dirty="0" smtClean="0">
                <a:solidFill>
                  <a:prstClr val="black"/>
                </a:solidFill>
                <a:latin typeface="Arial"/>
                <a:cs typeface="Arial"/>
              </a:rPr>
              <a:t> </a:t>
            </a:r>
            <a:r>
              <a:rPr lang="en-US" sz="2000" b="1" dirty="0" err="1" smtClean="0">
                <a:solidFill>
                  <a:prstClr val="black"/>
                </a:solidFill>
                <a:latin typeface="Arial"/>
                <a:cs typeface="Arial"/>
              </a:rPr>
              <a:t>dan</a:t>
            </a:r>
            <a:r>
              <a:rPr lang="en-US" sz="2000" b="1" dirty="0" smtClean="0">
                <a:solidFill>
                  <a:prstClr val="black"/>
                </a:solidFill>
                <a:latin typeface="Arial"/>
                <a:cs typeface="Arial"/>
              </a:rPr>
              <a:t> </a:t>
            </a:r>
            <a:r>
              <a:rPr lang="en-US" sz="2000" b="1" dirty="0" err="1" smtClean="0">
                <a:solidFill>
                  <a:prstClr val="black"/>
                </a:solidFill>
                <a:latin typeface="Arial"/>
                <a:cs typeface="Arial"/>
              </a:rPr>
              <a:t>melantik</a:t>
            </a:r>
            <a:r>
              <a:rPr lang="en-US" sz="2000" b="1" dirty="0" smtClean="0">
                <a:solidFill>
                  <a:prstClr val="black"/>
                </a:solidFill>
                <a:latin typeface="Arial"/>
                <a:cs typeface="Arial"/>
              </a:rPr>
              <a:t> JK</a:t>
            </a:r>
          </a:p>
          <a:p>
            <a:pPr marL="273050" indent="-273050">
              <a:lnSpc>
                <a:spcPct val="150000"/>
              </a:lnSpc>
              <a:buFont typeface="Wingdings" pitchFamily="2" charset="2"/>
              <a:buChar char="v"/>
            </a:pPr>
            <a:r>
              <a:rPr lang="en-US" sz="2000" b="1" dirty="0" err="1" smtClean="0">
                <a:solidFill>
                  <a:prstClr val="black"/>
                </a:solidFill>
                <a:latin typeface="Arial"/>
                <a:cs typeface="Arial"/>
              </a:rPr>
              <a:t>Menghadiri</a:t>
            </a:r>
            <a:r>
              <a:rPr lang="en-US" sz="2000" b="1" dirty="0" smtClean="0">
                <a:solidFill>
                  <a:prstClr val="black"/>
                </a:solidFill>
                <a:latin typeface="Arial"/>
                <a:cs typeface="Arial"/>
              </a:rPr>
              <a:t> </a:t>
            </a:r>
            <a:r>
              <a:rPr lang="en-US" sz="2000" b="1" dirty="0" err="1" smtClean="0">
                <a:solidFill>
                  <a:prstClr val="black"/>
                </a:solidFill>
                <a:latin typeface="Arial"/>
                <a:cs typeface="Arial"/>
              </a:rPr>
              <a:t>latihan</a:t>
            </a:r>
            <a:r>
              <a:rPr lang="en-US" sz="2000" b="1" dirty="0" smtClean="0">
                <a:solidFill>
                  <a:prstClr val="black"/>
                </a:solidFill>
                <a:latin typeface="Arial"/>
                <a:cs typeface="Arial"/>
              </a:rPr>
              <a:t> </a:t>
            </a:r>
            <a:r>
              <a:rPr lang="en-US" sz="2000" b="1" dirty="0" err="1" smtClean="0">
                <a:solidFill>
                  <a:prstClr val="black"/>
                </a:solidFill>
                <a:latin typeface="Arial"/>
                <a:cs typeface="Arial"/>
              </a:rPr>
              <a:t>pengurusan</a:t>
            </a:r>
            <a:r>
              <a:rPr lang="en-US" sz="2000" b="1" dirty="0" smtClean="0">
                <a:solidFill>
                  <a:prstClr val="black"/>
                </a:solidFill>
                <a:latin typeface="Arial"/>
                <a:cs typeface="Arial"/>
              </a:rPr>
              <a:t> PBPPP</a:t>
            </a:r>
          </a:p>
          <a:p>
            <a:pPr marL="273050" indent="-273050">
              <a:lnSpc>
                <a:spcPct val="150000"/>
              </a:lnSpc>
              <a:buFont typeface="Wingdings" pitchFamily="2" charset="2"/>
              <a:buChar char="v"/>
            </a:pPr>
            <a:r>
              <a:rPr lang="en-US" sz="2000" b="1" dirty="0" err="1" smtClean="0">
                <a:solidFill>
                  <a:prstClr val="black"/>
                </a:solidFill>
                <a:latin typeface="Arial"/>
                <a:cs typeface="Arial"/>
              </a:rPr>
              <a:t>Mempengerusikan</a:t>
            </a:r>
            <a:r>
              <a:rPr lang="en-US" sz="2000" b="1" dirty="0" smtClean="0">
                <a:solidFill>
                  <a:prstClr val="black"/>
                </a:solidFill>
                <a:latin typeface="Arial"/>
                <a:cs typeface="Arial"/>
              </a:rPr>
              <a:t> </a:t>
            </a:r>
            <a:r>
              <a:rPr lang="en-US" sz="2000" b="1" dirty="0" err="1" smtClean="0">
                <a:solidFill>
                  <a:prstClr val="black"/>
                </a:solidFill>
                <a:latin typeface="Arial"/>
                <a:cs typeface="Arial"/>
              </a:rPr>
              <a:t>mesyuarat</a:t>
            </a:r>
            <a:r>
              <a:rPr lang="en-US" sz="2000" b="1" dirty="0" smtClean="0">
                <a:solidFill>
                  <a:prstClr val="black"/>
                </a:solidFill>
                <a:latin typeface="Arial"/>
                <a:cs typeface="Arial"/>
              </a:rPr>
              <a:t> JK, </a:t>
            </a:r>
            <a:r>
              <a:rPr lang="en-US" sz="2000" b="1" dirty="0" err="1" smtClean="0">
                <a:solidFill>
                  <a:prstClr val="black"/>
                </a:solidFill>
                <a:latin typeface="Arial"/>
                <a:cs typeface="Arial"/>
              </a:rPr>
              <a:t>mesyuarat</a:t>
            </a:r>
            <a:r>
              <a:rPr lang="en-US" sz="2000" b="1" dirty="0" smtClean="0">
                <a:solidFill>
                  <a:prstClr val="black"/>
                </a:solidFill>
                <a:latin typeface="Arial"/>
                <a:cs typeface="Arial"/>
              </a:rPr>
              <a:t> </a:t>
            </a:r>
            <a:r>
              <a:rPr lang="en-US" sz="2000" b="1" dirty="0" err="1" smtClean="0">
                <a:solidFill>
                  <a:prstClr val="black"/>
                </a:solidFill>
                <a:latin typeface="Arial"/>
                <a:cs typeface="Arial"/>
              </a:rPr>
              <a:t>penyelarasan</a:t>
            </a:r>
            <a:r>
              <a:rPr lang="en-US" sz="2000" b="1" dirty="0" smtClean="0">
                <a:solidFill>
                  <a:prstClr val="black"/>
                </a:solidFill>
                <a:latin typeface="Arial"/>
                <a:cs typeface="Arial"/>
              </a:rPr>
              <a:t> </a:t>
            </a:r>
            <a:r>
              <a:rPr lang="en-US" sz="2000" b="1" dirty="0" err="1" smtClean="0">
                <a:solidFill>
                  <a:prstClr val="black"/>
                </a:solidFill>
                <a:latin typeface="Arial"/>
                <a:cs typeface="Arial"/>
              </a:rPr>
              <a:t>skor</a:t>
            </a:r>
            <a:r>
              <a:rPr lang="en-US" sz="2000" b="1" dirty="0" smtClean="0">
                <a:solidFill>
                  <a:prstClr val="black"/>
                </a:solidFill>
                <a:latin typeface="Arial"/>
                <a:cs typeface="Arial"/>
              </a:rPr>
              <a:t> </a:t>
            </a:r>
            <a:r>
              <a:rPr lang="en-US" sz="2000" b="1" dirty="0" err="1" smtClean="0">
                <a:solidFill>
                  <a:prstClr val="black"/>
                </a:solidFill>
                <a:latin typeface="Arial"/>
                <a:cs typeface="Arial"/>
              </a:rPr>
              <a:t>dan</a:t>
            </a:r>
            <a:r>
              <a:rPr lang="en-US" sz="2000" b="1" dirty="0" smtClean="0">
                <a:solidFill>
                  <a:prstClr val="black"/>
                </a:solidFill>
                <a:latin typeface="Arial"/>
                <a:cs typeface="Arial"/>
              </a:rPr>
              <a:t> </a:t>
            </a:r>
            <a:r>
              <a:rPr lang="en-US" sz="2000" b="1" dirty="0" err="1" smtClean="0">
                <a:solidFill>
                  <a:prstClr val="black"/>
                </a:solidFill>
                <a:latin typeface="Arial"/>
                <a:cs typeface="Arial"/>
              </a:rPr>
              <a:t>memperakukan</a:t>
            </a:r>
            <a:r>
              <a:rPr lang="en-US" sz="2000" b="1" dirty="0" smtClean="0">
                <a:solidFill>
                  <a:prstClr val="black"/>
                </a:solidFill>
                <a:latin typeface="Arial"/>
                <a:cs typeface="Arial"/>
              </a:rPr>
              <a:t> </a:t>
            </a:r>
            <a:r>
              <a:rPr lang="en-US" sz="2000" b="1" dirty="0" err="1" smtClean="0">
                <a:solidFill>
                  <a:prstClr val="black"/>
                </a:solidFill>
                <a:latin typeface="Arial"/>
                <a:cs typeface="Arial"/>
              </a:rPr>
              <a:t>skor</a:t>
            </a:r>
            <a:endParaRPr lang="en-US" sz="2000" b="1" dirty="0" smtClean="0">
              <a:solidFill>
                <a:prstClr val="black"/>
              </a:solidFill>
              <a:latin typeface="Arial"/>
              <a:cs typeface="Arial"/>
            </a:endParaRPr>
          </a:p>
          <a:p>
            <a:pPr marL="273050" indent="-273050">
              <a:lnSpc>
                <a:spcPct val="150000"/>
              </a:lnSpc>
              <a:buFont typeface="Wingdings" pitchFamily="2" charset="2"/>
              <a:buChar char="v"/>
            </a:pPr>
            <a:r>
              <a:rPr lang="en-US" sz="2000" b="1" dirty="0" err="1" smtClean="0">
                <a:solidFill>
                  <a:prstClr val="black"/>
                </a:solidFill>
                <a:latin typeface="Arial"/>
                <a:cs typeface="Arial"/>
              </a:rPr>
              <a:t>Menyampaikan</a:t>
            </a:r>
            <a:r>
              <a:rPr lang="en-US" sz="2000" b="1" dirty="0" smtClean="0">
                <a:solidFill>
                  <a:prstClr val="black"/>
                </a:solidFill>
                <a:latin typeface="Arial"/>
                <a:cs typeface="Arial"/>
              </a:rPr>
              <a:t> </a:t>
            </a:r>
            <a:r>
              <a:rPr lang="en-US" sz="2000" b="1" dirty="0" err="1" smtClean="0">
                <a:solidFill>
                  <a:prstClr val="black"/>
                </a:solidFill>
                <a:latin typeface="Arial"/>
                <a:cs typeface="Arial"/>
              </a:rPr>
              <a:t>taklimat</a:t>
            </a:r>
            <a:r>
              <a:rPr lang="en-US" sz="2000" b="1" dirty="0" smtClean="0">
                <a:solidFill>
                  <a:prstClr val="black"/>
                </a:solidFill>
                <a:latin typeface="Arial"/>
                <a:cs typeface="Arial"/>
              </a:rPr>
              <a:t> </a:t>
            </a:r>
            <a:r>
              <a:rPr lang="en-US" sz="2000" b="1" dirty="0" err="1" smtClean="0">
                <a:solidFill>
                  <a:prstClr val="black"/>
                </a:solidFill>
                <a:latin typeface="Arial"/>
                <a:cs typeface="Arial"/>
              </a:rPr>
              <a:t>diperingkat</a:t>
            </a:r>
            <a:r>
              <a:rPr lang="en-US" sz="2000" b="1" dirty="0" smtClean="0">
                <a:solidFill>
                  <a:prstClr val="black"/>
                </a:solidFill>
                <a:latin typeface="Arial"/>
                <a:cs typeface="Arial"/>
              </a:rPr>
              <a:t> </a:t>
            </a:r>
            <a:r>
              <a:rPr lang="en-US" sz="2000" b="1" dirty="0" err="1" smtClean="0">
                <a:solidFill>
                  <a:prstClr val="black"/>
                </a:solidFill>
                <a:latin typeface="Arial"/>
                <a:cs typeface="Arial"/>
              </a:rPr>
              <a:t>organisasi</a:t>
            </a:r>
            <a:endParaRPr lang="en-US" sz="2000" b="1" dirty="0" smtClean="0">
              <a:solidFill>
                <a:prstClr val="black"/>
              </a:solidFill>
              <a:latin typeface="Arial"/>
              <a:cs typeface="Arial"/>
            </a:endParaRPr>
          </a:p>
          <a:p>
            <a:pPr marL="273050" indent="-273050">
              <a:lnSpc>
                <a:spcPct val="150000"/>
              </a:lnSpc>
              <a:buFont typeface="Wingdings" pitchFamily="2" charset="2"/>
              <a:buChar char="v"/>
            </a:pPr>
            <a:r>
              <a:rPr lang="en-US" sz="2000" b="1" dirty="0" err="1" smtClean="0">
                <a:solidFill>
                  <a:prstClr val="black"/>
                </a:solidFill>
                <a:latin typeface="Arial"/>
                <a:cs typeface="Arial"/>
              </a:rPr>
              <a:t>Menjaga</a:t>
            </a:r>
            <a:r>
              <a:rPr lang="en-US" sz="2000" b="1" dirty="0" smtClean="0">
                <a:solidFill>
                  <a:prstClr val="black"/>
                </a:solidFill>
                <a:latin typeface="Arial"/>
                <a:cs typeface="Arial"/>
              </a:rPr>
              <a:t> </a:t>
            </a:r>
            <a:r>
              <a:rPr lang="en-US" sz="2000" b="1" dirty="0" err="1" smtClean="0">
                <a:solidFill>
                  <a:prstClr val="black"/>
                </a:solidFill>
                <a:latin typeface="Arial"/>
                <a:cs typeface="Arial"/>
              </a:rPr>
              <a:t>kerahsiaan</a:t>
            </a:r>
            <a:endParaRPr lang="en-US" sz="2000" b="1" dirty="0">
              <a:solidFill>
                <a:prstClr val="black"/>
              </a:solidFill>
              <a:latin typeface="Arial"/>
              <a:cs typeface="Arial"/>
            </a:endParaRPr>
          </a:p>
        </p:txBody>
      </p:sp>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23</a:t>
            </a:fld>
            <a:endParaRPr lang="en-US"/>
          </a:p>
        </p:txBody>
      </p:sp>
      <p:sp>
        <p:nvSpPr>
          <p:cNvPr id="8" name="Rectangle 7"/>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PERANAN</a:t>
            </a:r>
            <a:endParaRPr lang="en-US" sz="28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slide(fromBottom)">
                                      <p:cBhvr>
                                        <p:cTn id="1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657674" y="1182222"/>
            <a:ext cx="2669913" cy="4866019"/>
            <a:chOff x="5657674" y="1182222"/>
            <a:chExt cx="2669913" cy="4866019"/>
          </a:xfrm>
        </p:grpSpPr>
        <p:pic>
          <p:nvPicPr>
            <p:cNvPr id="8" name="Picture 7" descr="woman-304811_640 copy.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95786" y="1182222"/>
              <a:ext cx="2429015" cy="4866019"/>
            </a:xfrm>
            <a:prstGeom prst="rect">
              <a:avLst/>
            </a:prstGeom>
          </p:spPr>
        </p:pic>
        <p:sp>
          <p:nvSpPr>
            <p:cNvPr id="10" name="Rectangle 9"/>
            <p:cNvSpPr/>
            <p:nvPr/>
          </p:nvSpPr>
          <p:spPr>
            <a:xfrm>
              <a:off x="5657674" y="3443311"/>
              <a:ext cx="2669913" cy="571055"/>
            </a:xfrm>
            <a:prstGeom prst="rect">
              <a:avLst/>
            </a:prstGeom>
            <a:solidFill>
              <a:srgbClr val="008000"/>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effectLst>
                    <a:outerShdw blurRad="38100" dist="38100" dir="2700000" algn="tl">
                      <a:srgbClr val="000000">
                        <a:alpha val="43137"/>
                      </a:srgbClr>
                    </a:outerShdw>
                  </a:effectLst>
                  <a:latin typeface="Arial"/>
                  <a:cs typeface="Arial"/>
                </a:rPr>
                <a:t>SETIAUSAHA</a:t>
              </a:r>
              <a:endParaRPr lang="en-US" sz="2000" b="1" dirty="0">
                <a:effectLst>
                  <a:outerShdw blurRad="38100" dist="38100" dir="2700000" algn="tl">
                    <a:srgbClr val="000000">
                      <a:alpha val="43137"/>
                    </a:srgbClr>
                  </a:outerShdw>
                </a:effectLst>
                <a:latin typeface="Arial"/>
                <a:cs typeface="Arial"/>
              </a:endParaRPr>
            </a:p>
          </p:txBody>
        </p:sp>
      </p:grpSp>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24</a:t>
            </a:fld>
            <a:endParaRPr lang="en-US"/>
          </a:p>
        </p:txBody>
      </p:sp>
      <p:sp>
        <p:nvSpPr>
          <p:cNvPr id="19" name="Rectangle 18"/>
          <p:cNvSpPr/>
          <p:nvPr/>
        </p:nvSpPr>
        <p:spPr>
          <a:xfrm>
            <a:off x="679580" y="429110"/>
            <a:ext cx="6146799" cy="3802942"/>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73050" indent="-273050">
              <a:lnSpc>
                <a:spcPct val="150000"/>
              </a:lnSpc>
              <a:buFont typeface="Wingdings" pitchFamily="2" charset="2"/>
              <a:buChar char="v"/>
              <a:defRPr/>
            </a:pPr>
            <a:r>
              <a:rPr lang="en-US" sz="1850" b="1" dirty="0" err="1" smtClean="0">
                <a:solidFill>
                  <a:prstClr val="black"/>
                </a:solidFill>
                <a:latin typeface="Arial"/>
                <a:cs typeface="Arial"/>
              </a:rPr>
              <a:t>Menyelaras</a:t>
            </a:r>
            <a:r>
              <a:rPr lang="en-US" sz="1850" b="1" dirty="0" smtClean="0">
                <a:solidFill>
                  <a:prstClr val="black"/>
                </a:solidFill>
                <a:latin typeface="Arial"/>
                <a:cs typeface="Arial"/>
              </a:rPr>
              <a:t> JK</a:t>
            </a:r>
          </a:p>
          <a:p>
            <a:pPr marL="273050" indent="-273050">
              <a:lnSpc>
                <a:spcPct val="150000"/>
              </a:lnSpc>
              <a:buFont typeface="Wingdings" pitchFamily="2" charset="2"/>
              <a:buChar char="v"/>
              <a:defRPr/>
            </a:pPr>
            <a:r>
              <a:rPr lang="en-US" sz="1850" b="1" dirty="0" err="1" smtClean="0">
                <a:solidFill>
                  <a:prstClr val="black"/>
                </a:solidFill>
                <a:latin typeface="Arial"/>
                <a:cs typeface="Arial"/>
              </a:rPr>
              <a:t>Menghadiri</a:t>
            </a:r>
            <a:r>
              <a:rPr lang="en-US" sz="1850" b="1" dirty="0" smtClean="0">
                <a:solidFill>
                  <a:prstClr val="black"/>
                </a:solidFill>
                <a:latin typeface="Arial"/>
                <a:cs typeface="Arial"/>
              </a:rPr>
              <a:t> </a:t>
            </a:r>
            <a:r>
              <a:rPr lang="en-US" sz="1850" b="1" dirty="0" err="1" smtClean="0">
                <a:solidFill>
                  <a:prstClr val="black"/>
                </a:solidFill>
                <a:latin typeface="Arial"/>
                <a:cs typeface="Arial"/>
              </a:rPr>
              <a:t>mesyuarat</a:t>
            </a:r>
            <a:r>
              <a:rPr lang="en-US" sz="1850" b="1" dirty="0" smtClean="0">
                <a:solidFill>
                  <a:prstClr val="black"/>
                </a:solidFill>
                <a:latin typeface="Arial"/>
                <a:cs typeface="Arial"/>
              </a:rPr>
              <a:t> </a:t>
            </a:r>
          </a:p>
          <a:p>
            <a:pPr marL="273050" indent="-273050">
              <a:lnSpc>
                <a:spcPct val="150000"/>
              </a:lnSpc>
              <a:buFont typeface="Wingdings" pitchFamily="2" charset="2"/>
              <a:buChar char="v"/>
              <a:defRPr/>
            </a:pPr>
            <a:r>
              <a:rPr lang="en-US" sz="1850" b="1" dirty="0" err="1" smtClean="0">
                <a:solidFill>
                  <a:prstClr val="black"/>
                </a:solidFill>
                <a:latin typeface="Arial"/>
                <a:cs typeface="Arial"/>
              </a:rPr>
              <a:t>Menyediakan</a:t>
            </a:r>
            <a:r>
              <a:rPr lang="en-US" sz="1850" b="1" dirty="0" smtClean="0">
                <a:solidFill>
                  <a:prstClr val="black"/>
                </a:solidFill>
                <a:latin typeface="Arial"/>
                <a:cs typeface="Arial"/>
              </a:rPr>
              <a:t> </a:t>
            </a:r>
            <a:r>
              <a:rPr lang="en-US" sz="1850" b="1" dirty="0" err="1" smtClean="0">
                <a:solidFill>
                  <a:prstClr val="black"/>
                </a:solidFill>
                <a:latin typeface="Arial"/>
                <a:cs typeface="Arial"/>
              </a:rPr>
              <a:t>jadual</a:t>
            </a:r>
            <a:endParaRPr lang="en-US" sz="1850" b="1" dirty="0" smtClean="0">
              <a:solidFill>
                <a:prstClr val="black"/>
              </a:solidFill>
              <a:latin typeface="Arial"/>
              <a:cs typeface="Arial"/>
            </a:endParaRPr>
          </a:p>
          <a:p>
            <a:pPr marL="273050" indent="-273050">
              <a:lnSpc>
                <a:spcPct val="150000"/>
              </a:lnSpc>
              <a:buFont typeface="Wingdings" pitchFamily="2" charset="2"/>
              <a:buChar char="v"/>
              <a:defRPr/>
            </a:pPr>
            <a:r>
              <a:rPr lang="en-US" sz="1850" b="1" dirty="0" err="1" smtClean="0">
                <a:solidFill>
                  <a:prstClr val="black"/>
                </a:solidFill>
                <a:latin typeface="Arial"/>
                <a:cs typeface="Arial"/>
              </a:rPr>
              <a:t>Menghadiri</a:t>
            </a:r>
            <a:r>
              <a:rPr lang="en-US" sz="1850" b="1" dirty="0" smtClean="0">
                <a:solidFill>
                  <a:prstClr val="black"/>
                </a:solidFill>
                <a:latin typeface="Arial"/>
                <a:cs typeface="Arial"/>
              </a:rPr>
              <a:t> </a:t>
            </a:r>
            <a:r>
              <a:rPr lang="en-US" sz="1850" b="1" dirty="0" err="1" smtClean="0">
                <a:solidFill>
                  <a:prstClr val="black"/>
                </a:solidFill>
                <a:latin typeface="Arial"/>
                <a:cs typeface="Arial"/>
              </a:rPr>
              <a:t>latihan</a:t>
            </a:r>
            <a:r>
              <a:rPr lang="en-US" sz="1850" b="1" dirty="0" smtClean="0">
                <a:solidFill>
                  <a:prstClr val="black"/>
                </a:solidFill>
                <a:latin typeface="Arial"/>
                <a:cs typeface="Arial"/>
              </a:rPr>
              <a:t> </a:t>
            </a:r>
            <a:r>
              <a:rPr lang="en-US" sz="1850" b="1" dirty="0" err="1" smtClean="0">
                <a:solidFill>
                  <a:prstClr val="black"/>
                </a:solidFill>
                <a:latin typeface="Arial"/>
                <a:cs typeface="Arial"/>
              </a:rPr>
              <a:t>pengurusan</a:t>
            </a:r>
            <a:endParaRPr lang="en-US" sz="1850" b="1" dirty="0" smtClean="0">
              <a:solidFill>
                <a:prstClr val="black"/>
              </a:solidFill>
              <a:latin typeface="Arial"/>
              <a:cs typeface="Arial"/>
            </a:endParaRPr>
          </a:p>
          <a:p>
            <a:pPr marL="273050" indent="-273050">
              <a:lnSpc>
                <a:spcPct val="150000"/>
              </a:lnSpc>
              <a:buFont typeface="Wingdings" pitchFamily="2" charset="2"/>
              <a:buChar char="v"/>
              <a:defRPr/>
            </a:pPr>
            <a:r>
              <a:rPr lang="en-US" sz="1850" b="1" dirty="0" err="1" smtClean="0">
                <a:solidFill>
                  <a:prstClr val="black"/>
                </a:solidFill>
                <a:latin typeface="Arial"/>
                <a:cs typeface="Arial"/>
              </a:rPr>
              <a:t>Latihan</a:t>
            </a:r>
            <a:r>
              <a:rPr lang="en-US" sz="1850" b="1" dirty="0" smtClean="0">
                <a:solidFill>
                  <a:prstClr val="black"/>
                </a:solidFill>
                <a:latin typeface="Arial"/>
                <a:cs typeface="Arial"/>
              </a:rPr>
              <a:t> </a:t>
            </a:r>
            <a:r>
              <a:rPr lang="en-US" sz="1850" b="1" dirty="0" err="1" smtClean="0">
                <a:solidFill>
                  <a:prstClr val="black"/>
                </a:solidFill>
                <a:latin typeface="Arial"/>
                <a:cs typeface="Arial"/>
              </a:rPr>
              <a:t>dalaman</a:t>
            </a:r>
            <a:r>
              <a:rPr lang="en-US" sz="1850" b="1" dirty="0" smtClean="0">
                <a:solidFill>
                  <a:prstClr val="black"/>
                </a:solidFill>
                <a:latin typeface="Arial"/>
                <a:cs typeface="Arial"/>
              </a:rPr>
              <a:t> </a:t>
            </a:r>
            <a:r>
              <a:rPr lang="en-US" sz="1850" b="1" dirty="0" err="1" smtClean="0">
                <a:solidFill>
                  <a:prstClr val="black"/>
                </a:solidFill>
                <a:latin typeface="Arial"/>
                <a:cs typeface="Arial"/>
              </a:rPr>
              <a:t>kepada</a:t>
            </a:r>
            <a:r>
              <a:rPr lang="en-US" sz="1850" b="1" dirty="0" smtClean="0">
                <a:solidFill>
                  <a:prstClr val="black"/>
                </a:solidFill>
                <a:latin typeface="Arial"/>
                <a:cs typeface="Arial"/>
              </a:rPr>
              <a:t> PP</a:t>
            </a:r>
          </a:p>
          <a:p>
            <a:pPr marL="273050" indent="-273050">
              <a:lnSpc>
                <a:spcPct val="150000"/>
              </a:lnSpc>
              <a:buFont typeface="Wingdings" pitchFamily="2" charset="2"/>
              <a:buChar char="v"/>
              <a:defRPr/>
            </a:pPr>
            <a:r>
              <a:rPr lang="en-US" sz="1850" b="1" dirty="0" err="1" smtClean="0">
                <a:solidFill>
                  <a:prstClr val="black"/>
                </a:solidFill>
                <a:latin typeface="Arial"/>
                <a:cs typeface="Arial"/>
              </a:rPr>
              <a:t>Menerima</a:t>
            </a:r>
            <a:r>
              <a:rPr lang="en-US" sz="1850" b="1" dirty="0" smtClean="0">
                <a:solidFill>
                  <a:prstClr val="black"/>
                </a:solidFill>
                <a:latin typeface="Arial"/>
                <a:cs typeface="Arial"/>
              </a:rPr>
              <a:t> </a:t>
            </a:r>
            <a:r>
              <a:rPr lang="en-US" sz="1850" b="1" dirty="0" err="1" smtClean="0">
                <a:solidFill>
                  <a:prstClr val="black"/>
                </a:solidFill>
                <a:latin typeface="Arial"/>
                <a:cs typeface="Arial"/>
              </a:rPr>
              <a:t>dokumen</a:t>
            </a:r>
            <a:endParaRPr lang="en-US" sz="1850" b="1" dirty="0" smtClean="0">
              <a:solidFill>
                <a:prstClr val="black"/>
              </a:solidFill>
              <a:latin typeface="Arial"/>
              <a:cs typeface="Arial"/>
            </a:endParaRPr>
          </a:p>
          <a:p>
            <a:pPr marL="273050" indent="-273050">
              <a:lnSpc>
                <a:spcPct val="150000"/>
              </a:lnSpc>
              <a:buFont typeface="Wingdings" pitchFamily="2" charset="2"/>
              <a:buChar char="v"/>
              <a:defRPr/>
            </a:pPr>
            <a:r>
              <a:rPr lang="en-US" sz="1850" b="1" dirty="0" err="1" smtClean="0">
                <a:solidFill>
                  <a:prstClr val="black"/>
                </a:solidFill>
                <a:latin typeface="Arial"/>
                <a:cs typeface="Arial"/>
              </a:rPr>
              <a:t>Menyediakan</a:t>
            </a:r>
            <a:r>
              <a:rPr lang="en-US" sz="1850" b="1" dirty="0" smtClean="0">
                <a:solidFill>
                  <a:prstClr val="black"/>
                </a:solidFill>
                <a:latin typeface="Arial"/>
                <a:cs typeface="Arial"/>
              </a:rPr>
              <a:t> </a:t>
            </a:r>
            <a:r>
              <a:rPr lang="en-US" sz="1850" b="1" dirty="0" err="1" smtClean="0">
                <a:solidFill>
                  <a:prstClr val="black"/>
                </a:solidFill>
                <a:latin typeface="Arial"/>
                <a:cs typeface="Arial"/>
              </a:rPr>
              <a:t>cadangan</a:t>
            </a:r>
            <a:r>
              <a:rPr lang="en-US" sz="1850" b="1" dirty="0" smtClean="0">
                <a:solidFill>
                  <a:prstClr val="black"/>
                </a:solidFill>
                <a:latin typeface="Arial"/>
                <a:cs typeface="Arial"/>
              </a:rPr>
              <a:t> PP</a:t>
            </a:r>
          </a:p>
          <a:p>
            <a:pPr marL="273050" indent="-273050">
              <a:lnSpc>
                <a:spcPct val="150000"/>
              </a:lnSpc>
              <a:buFont typeface="Wingdings" pitchFamily="2" charset="2"/>
              <a:buChar char="v"/>
              <a:defRPr/>
            </a:pPr>
            <a:r>
              <a:rPr lang="en-US" sz="1850" b="1" dirty="0" err="1" smtClean="0">
                <a:solidFill>
                  <a:prstClr val="black"/>
                </a:solidFill>
                <a:latin typeface="Arial"/>
                <a:cs typeface="Arial"/>
              </a:rPr>
              <a:t>Urus</a:t>
            </a:r>
            <a:r>
              <a:rPr lang="en-US" sz="1850" b="1" dirty="0" smtClean="0">
                <a:solidFill>
                  <a:prstClr val="black"/>
                </a:solidFill>
                <a:latin typeface="Arial"/>
                <a:cs typeface="Arial"/>
              </a:rPr>
              <a:t> </a:t>
            </a:r>
            <a:r>
              <a:rPr lang="en-US" sz="1850" b="1" dirty="0" err="1" smtClean="0">
                <a:solidFill>
                  <a:prstClr val="black"/>
                </a:solidFill>
                <a:latin typeface="Arial"/>
                <a:cs typeface="Arial"/>
              </a:rPr>
              <a:t>taklimat</a:t>
            </a:r>
            <a:r>
              <a:rPr lang="en-US" sz="1850" b="1" dirty="0" smtClean="0">
                <a:solidFill>
                  <a:prstClr val="black"/>
                </a:solidFill>
                <a:latin typeface="Arial"/>
                <a:cs typeface="Arial"/>
              </a:rPr>
              <a:t> </a:t>
            </a:r>
            <a:r>
              <a:rPr lang="en-US" sz="1850" b="1" dirty="0" err="1" smtClean="0">
                <a:solidFill>
                  <a:prstClr val="black"/>
                </a:solidFill>
                <a:latin typeface="Arial"/>
                <a:cs typeface="Arial"/>
              </a:rPr>
              <a:t>kepada</a:t>
            </a:r>
            <a:r>
              <a:rPr lang="en-US" sz="1850" b="1" dirty="0" smtClean="0">
                <a:solidFill>
                  <a:prstClr val="black"/>
                </a:solidFill>
                <a:latin typeface="Arial"/>
                <a:cs typeface="Arial"/>
              </a:rPr>
              <a:t> PP </a:t>
            </a:r>
            <a:r>
              <a:rPr lang="en-US" sz="1850" b="1" dirty="0" err="1" smtClean="0">
                <a:solidFill>
                  <a:prstClr val="black"/>
                </a:solidFill>
                <a:latin typeface="Arial"/>
                <a:cs typeface="Arial"/>
              </a:rPr>
              <a:t>dan</a:t>
            </a:r>
            <a:r>
              <a:rPr lang="en-US" sz="1850" b="1" dirty="0" smtClean="0">
                <a:solidFill>
                  <a:prstClr val="black"/>
                </a:solidFill>
                <a:latin typeface="Arial"/>
                <a:cs typeface="Arial"/>
              </a:rPr>
              <a:t> PYD</a:t>
            </a:r>
          </a:p>
          <a:p>
            <a:pPr marL="273050" indent="-273050">
              <a:lnSpc>
                <a:spcPct val="150000"/>
              </a:lnSpc>
              <a:buFont typeface="Wingdings" pitchFamily="2" charset="2"/>
              <a:buChar char="v"/>
              <a:defRPr/>
            </a:pPr>
            <a:r>
              <a:rPr lang="en-US" sz="1850" b="1" dirty="0" err="1" smtClean="0">
                <a:solidFill>
                  <a:prstClr val="black"/>
                </a:solidFill>
                <a:latin typeface="Arial"/>
                <a:cs typeface="Arial"/>
              </a:rPr>
              <a:t>Pemantauan</a:t>
            </a:r>
            <a:r>
              <a:rPr lang="en-US" sz="1850" b="1" dirty="0" smtClean="0">
                <a:solidFill>
                  <a:prstClr val="black"/>
                </a:solidFill>
                <a:latin typeface="Arial"/>
                <a:cs typeface="Arial"/>
              </a:rPr>
              <a:t> </a:t>
            </a:r>
            <a:r>
              <a:rPr lang="en-US" sz="1850" b="1" dirty="0" err="1" smtClean="0">
                <a:solidFill>
                  <a:prstClr val="black"/>
                </a:solidFill>
                <a:latin typeface="Arial"/>
                <a:cs typeface="Arial"/>
              </a:rPr>
              <a:t>pengisian</a:t>
            </a:r>
            <a:r>
              <a:rPr lang="en-US" sz="1850" b="1" dirty="0" smtClean="0">
                <a:solidFill>
                  <a:prstClr val="black"/>
                </a:solidFill>
                <a:latin typeface="Arial"/>
                <a:cs typeface="Arial"/>
              </a:rPr>
              <a:t> </a:t>
            </a:r>
            <a:r>
              <a:rPr lang="en-US" sz="1850" b="1" dirty="0" err="1" smtClean="0">
                <a:solidFill>
                  <a:prstClr val="black"/>
                </a:solidFill>
                <a:latin typeface="Arial"/>
                <a:cs typeface="Arial"/>
              </a:rPr>
              <a:t>skor</a:t>
            </a:r>
            <a:endParaRPr lang="en-US" sz="1850" b="1" dirty="0" smtClean="0">
              <a:solidFill>
                <a:prstClr val="black"/>
              </a:solidFill>
              <a:latin typeface="Arial"/>
              <a:cs typeface="Arial"/>
            </a:endParaRPr>
          </a:p>
          <a:p>
            <a:pPr marL="273050" indent="-273050">
              <a:lnSpc>
                <a:spcPct val="150000"/>
              </a:lnSpc>
              <a:buFont typeface="Wingdings" pitchFamily="2" charset="2"/>
              <a:buChar char="v"/>
              <a:defRPr/>
            </a:pPr>
            <a:r>
              <a:rPr lang="en-US" sz="1850" b="1" dirty="0" err="1" smtClean="0">
                <a:solidFill>
                  <a:prstClr val="black"/>
                </a:solidFill>
                <a:latin typeface="Arial"/>
                <a:cs typeface="Arial"/>
              </a:rPr>
              <a:t>Menyediakan</a:t>
            </a:r>
            <a:r>
              <a:rPr lang="en-US" sz="1850" b="1" dirty="0" smtClean="0">
                <a:solidFill>
                  <a:prstClr val="black"/>
                </a:solidFill>
                <a:latin typeface="Arial"/>
                <a:cs typeface="Arial"/>
              </a:rPr>
              <a:t> </a:t>
            </a:r>
            <a:r>
              <a:rPr lang="en-US" sz="1850" b="1" dirty="0" err="1" smtClean="0">
                <a:solidFill>
                  <a:prstClr val="black"/>
                </a:solidFill>
                <a:latin typeface="Arial"/>
                <a:cs typeface="Arial"/>
              </a:rPr>
              <a:t>minit</a:t>
            </a:r>
            <a:r>
              <a:rPr lang="en-US" sz="1850" b="1" dirty="0" smtClean="0">
                <a:solidFill>
                  <a:prstClr val="black"/>
                </a:solidFill>
                <a:latin typeface="Arial"/>
                <a:cs typeface="Arial"/>
              </a:rPr>
              <a:t> </a:t>
            </a:r>
            <a:r>
              <a:rPr lang="en-US" sz="1850" b="1" dirty="0" err="1" smtClean="0">
                <a:solidFill>
                  <a:prstClr val="black"/>
                </a:solidFill>
                <a:latin typeface="Arial"/>
                <a:cs typeface="Arial"/>
              </a:rPr>
              <a:t>mesyuarat</a:t>
            </a:r>
            <a:endParaRPr lang="en-US" sz="1850" b="1" dirty="0" smtClean="0">
              <a:solidFill>
                <a:prstClr val="black"/>
              </a:solidFill>
              <a:latin typeface="Arial"/>
              <a:cs typeface="Arial"/>
            </a:endParaRPr>
          </a:p>
          <a:p>
            <a:pPr marL="273050" indent="-273050">
              <a:lnSpc>
                <a:spcPct val="150000"/>
              </a:lnSpc>
              <a:buFont typeface="Wingdings" pitchFamily="2" charset="2"/>
              <a:buChar char="v"/>
              <a:defRPr/>
            </a:pPr>
            <a:r>
              <a:rPr lang="en-US" sz="1850" b="1" dirty="0" err="1" smtClean="0">
                <a:solidFill>
                  <a:prstClr val="black"/>
                </a:solidFill>
                <a:latin typeface="Arial"/>
                <a:cs typeface="Arial"/>
              </a:rPr>
              <a:t>Perantara</a:t>
            </a:r>
            <a:r>
              <a:rPr lang="en-US" sz="1850" b="1" dirty="0" smtClean="0">
                <a:solidFill>
                  <a:prstClr val="black"/>
                </a:solidFill>
                <a:latin typeface="Arial"/>
                <a:cs typeface="Arial"/>
              </a:rPr>
              <a:t> </a:t>
            </a:r>
            <a:r>
              <a:rPr lang="en-US" sz="1850" b="1" dirty="0" err="1" smtClean="0">
                <a:solidFill>
                  <a:prstClr val="black"/>
                </a:solidFill>
                <a:latin typeface="Arial"/>
                <a:cs typeface="Arial"/>
              </a:rPr>
              <a:t>organisasi</a:t>
            </a:r>
            <a:r>
              <a:rPr lang="en-US" sz="1850" b="1" dirty="0" smtClean="0">
                <a:solidFill>
                  <a:prstClr val="black"/>
                </a:solidFill>
                <a:latin typeface="Arial"/>
                <a:cs typeface="Arial"/>
              </a:rPr>
              <a:t> </a:t>
            </a:r>
            <a:r>
              <a:rPr lang="en-US" sz="1850" b="1" dirty="0" err="1" smtClean="0">
                <a:solidFill>
                  <a:prstClr val="black"/>
                </a:solidFill>
                <a:latin typeface="Arial"/>
                <a:cs typeface="Arial"/>
              </a:rPr>
              <a:t>dengan</a:t>
            </a:r>
            <a:r>
              <a:rPr lang="en-US" sz="1850" b="1" dirty="0" smtClean="0">
                <a:solidFill>
                  <a:prstClr val="black"/>
                </a:solidFill>
                <a:latin typeface="Arial"/>
                <a:cs typeface="Arial"/>
              </a:rPr>
              <a:t> BPPK</a:t>
            </a:r>
          </a:p>
          <a:p>
            <a:pPr marL="273050" indent="-273050">
              <a:lnSpc>
                <a:spcPct val="150000"/>
              </a:lnSpc>
              <a:buFont typeface="Wingdings" pitchFamily="2" charset="2"/>
              <a:buChar char="v"/>
              <a:defRPr/>
            </a:pPr>
            <a:r>
              <a:rPr lang="en-US" sz="1850" b="1" dirty="0" err="1" smtClean="0">
                <a:solidFill>
                  <a:prstClr val="black"/>
                </a:solidFill>
                <a:latin typeface="Arial"/>
                <a:cs typeface="Arial"/>
              </a:rPr>
              <a:t>Penyelaras</a:t>
            </a:r>
            <a:r>
              <a:rPr lang="en-US" sz="1850" b="1" dirty="0" smtClean="0">
                <a:solidFill>
                  <a:prstClr val="black"/>
                </a:solidFill>
                <a:latin typeface="Arial"/>
                <a:cs typeface="Arial"/>
              </a:rPr>
              <a:t> </a:t>
            </a:r>
            <a:r>
              <a:rPr lang="en-US" sz="1850" b="1" dirty="0" err="1" smtClean="0">
                <a:solidFill>
                  <a:prstClr val="black"/>
                </a:solidFill>
                <a:latin typeface="Arial"/>
                <a:cs typeface="Arial"/>
              </a:rPr>
              <a:t>mesyuarat</a:t>
            </a:r>
            <a:r>
              <a:rPr lang="en-US" sz="1850" b="1" dirty="0" smtClean="0">
                <a:solidFill>
                  <a:prstClr val="black"/>
                </a:solidFill>
                <a:latin typeface="Arial"/>
                <a:cs typeface="Arial"/>
              </a:rPr>
              <a:t> </a:t>
            </a:r>
            <a:r>
              <a:rPr lang="en-US" sz="1850" b="1" dirty="0" err="1" smtClean="0">
                <a:solidFill>
                  <a:prstClr val="black"/>
                </a:solidFill>
                <a:latin typeface="Arial"/>
                <a:cs typeface="Arial"/>
              </a:rPr>
              <a:t>pasca</a:t>
            </a:r>
            <a:r>
              <a:rPr lang="en-US" sz="1850" b="1" dirty="0" smtClean="0">
                <a:solidFill>
                  <a:prstClr val="black"/>
                </a:solidFill>
                <a:latin typeface="Arial"/>
                <a:cs typeface="Arial"/>
              </a:rPr>
              <a:t> </a:t>
            </a:r>
            <a:r>
              <a:rPr lang="en-US" sz="1850" b="1" dirty="0" err="1" smtClean="0">
                <a:solidFill>
                  <a:prstClr val="black"/>
                </a:solidFill>
                <a:latin typeface="Arial"/>
                <a:cs typeface="Arial"/>
              </a:rPr>
              <a:t>pelaksanaan</a:t>
            </a:r>
            <a:r>
              <a:rPr lang="en-US" sz="1850" b="1" dirty="0" smtClean="0">
                <a:solidFill>
                  <a:prstClr val="black"/>
                </a:solidFill>
                <a:latin typeface="Arial"/>
                <a:cs typeface="Arial"/>
              </a:rPr>
              <a:t> PBPPP </a:t>
            </a:r>
          </a:p>
          <a:p>
            <a:pPr marL="273050" indent="-273050">
              <a:lnSpc>
                <a:spcPct val="150000"/>
              </a:lnSpc>
              <a:buFont typeface="Wingdings" pitchFamily="2" charset="2"/>
              <a:buChar char="v"/>
              <a:defRPr/>
            </a:pPr>
            <a:r>
              <a:rPr lang="en-US" sz="1850" b="1" dirty="0" err="1" smtClean="0">
                <a:solidFill>
                  <a:prstClr val="black"/>
                </a:solidFill>
                <a:latin typeface="Arial"/>
                <a:cs typeface="Arial"/>
              </a:rPr>
              <a:t>Menjaga</a:t>
            </a:r>
            <a:r>
              <a:rPr lang="en-US" sz="1850" b="1" dirty="0" smtClean="0">
                <a:solidFill>
                  <a:prstClr val="black"/>
                </a:solidFill>
                <a:latin typeface="Arial"/>
                <a:cs typeface="Arial"/>
              </a:rPr>
              <a:t> </a:t>
            </a:r>
            <a:r>
              <a:rPr lang="en-US" sz="1850" b="1" dirty="0" err="1" smtClean="0">
                <a:solidFill>
                  <a:prstClr val="black"/>
                </a:solidFill>
                <a:latin typeface="Arial"/>
                <a:cs typeface="Arial"/>
              </a:rPr>
              <a:t>kerahsiaan</a:t>
            </a:r>
            <a:endParaRPr lang="en-US" sz="1850" b="1" dirty="0" smtClean="0">
              <a:solidFill>
                <a:prstClr val="black"/>
              </a:solidFill>
              <a:latin typeface="Arial"/>
              <a:cs typeface="Arial"/>
            </a:endParaRPr>
          </a:p>
          <a:p>
            <a:pPr marL="273050" indent="-273050">
              <a:lnSpc>
                <a:spcPct val="150000"/>
              </a:lnSpc>
              <a:buFont typeface="Wingdings" pitchFamily="2" charset="2"/>
              <a:buChar char="v"/>
              <a:defRPr/>
            </a:pPr>
            <a:r>
              <a:rPr lang="en-US" sz="1850" b="1" dirty="0" err="1" smtClean="0">
                <a:solidFill>
                  <a:prstClr val="black"/>
                </a:solidFill>
                <a:latin typeface="Arial"/>
                <a:cs typeface="Arial"/>
              </a:rPr>
              <a:t>Memastikan</a:t>
            </a:r>
            <a:r>
              <a:rPr lang="en-US" sz="1850" b="1" dirty="0" smtClean="0">
                <a:solidFill>
                  <a:prstClr val="black"/>
                </a:solidFill>
                <a:latin typeface="Arial"/>
                <a:cs typeface="Arial"/>
              </a:rPr>
              <a:t> fail am 435 </a:t>
            </a:r>
            <a:r>
              <a:rPr lang="en-US" sz="1850" b="1" dirty="0" err="1" smtClean="0">
                <a:solidFill>
                  <a:prstClr val="black"/>
                </a:solidFill>
                <a:latin typeface="Arial"/>
                <a:cs typeface="Arial"/>
              </a:rPr>
              <a:t>disediakan</a:t>
            </a:r>
            <a:r>
              <a:rPr lang="en-US" sz="1850" b="1" dirty="0" smtClean="0">
                <a:solidFill>
                  <a:prstClr val="black"/>
                </a:solidFill>
                <a:latin typeface="Arial"/>
                <a:cs typeface="Arial"/>
              </a:rPr>
              <a:t> </a:t>
            </a:r>
            <a:r>
              <a:rPr lang="en-US" sz="1850" b="1" dirty="0" err="1" smtClean="0">
                <a:solidFill>
                  <a:prstClr val="black"/>
                </a:solidFill>
                <a:latin typeface="Arial"/>
                <a:cs typeface="Arial"/>
              </a:rPr>
              <a:t>oleh</a:t>
            </a:r>
            <a:r>
              <a:rPr lang="en-US" sz="1850" b="1" dirty="0" smtClean="0">
                <a:solidFill>
                  <a:prstClr val="black"/>
                </a:solidFill>
                <a:latin typeface="Arial"/>
                <a:cs typeface="Arial"/>
              </a:rPr>
              <a:t> </a:t>
            </a:r>
            <a:r>
              <a:rPr lang="en-US" sz="1850" b="1" dirty="0" err="1" smtClean="0">
                <a:solidFill>
                  <a:prstClr val="black"/>
                </a:solidFill>
                <a:latin typeface="Arial"/>
                <a:cs typeface="Arial"/>
              </a:rPr>
              <a:t>urus</a:t>
            </a:r>
            <a:r>
              <a:rPr lang="en-US" sz="1850" b="1" dirty="0" smtClean="0">
                <a:solidFill>
                  <a:prstClr val="black"/>
                </a:solidFill>
                <a:latin typeface="Arial"/>
                <a:cs typeface="Arial"/>
              </a:rPr>
              <a:t> </a:t>
            </a:r>
            <a:r>
              <a:rPr lang="en-US" sz="1850" b="1" dirty="0" err="1" smtClean="0">
                <a:solidFill>
                  <a:prstClr val="black"/>
                </a:solidFill>
                <a:latin typeface="Arial"/>
                <a:cs typeface="Arial"/>
              </a:rPr>
              <a:t>setia</a:t>
            </a:r>
            <a:endParaRPr lang="en-US" sz="1850" b="1" dirty="0">
              <a:solidFill>
                <a:prstClr val="black"/>
              </a:solidFill>
              <a:latin typeface="Arial"/>
              <a:cs typeface="Arial"/>
            </a:endParaRPr>
          </a:p>
        </p:txBody>
      </p:sp>
    </p:spTree>
    <p:extLst>
      <p:ext uri="{BB962C8B-B14F-4D97-AF65-F5344CB8AC3E}">
        <p14:creationId xmlns:p14="http://schemas.microsoft.com/office/powerpoint/2010/main" val="1455645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7" presetClass="entr" presetSubtype="1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anim calcmode="lin" valueType="num">
                                      <p:cBhvr>
                                        <p:cTn id="13" dur="500" fill="hold"/>
                                        <p:tgtEl>
                                          <p:spTgt spid="19"/>
                                        </p:tgtEl>
                                        <p:attrNameLst>
                                          <p:attrName>ppt_w</p:attrName>
                                        </p:attrNameLst>
                                      </p:cBhvr>
                                      <p:tavLst>
                                        <p:tav tm="0">
                                          <p:val>
                                            <p:fltVal val="0"/>
                                          </p:val>
                                        </p:tav>
                                        <p:tav tm="100000">
                                          <p:val>
                                            <p:strVal val="#ppt_w"/>
                                          </p:val>
                                        </p:tav>
                                      </p:tavLst>
                                    </p:anim>
                                    <p:anim calcmode="lin" valueType="num">
                                      <p:cBhvr>
                                        <p:cTn id="14" dur="500" fill="hold"/>
                                        <p:tgtEl>
                                          <p:spTgt spid="1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05380" y="38485"/>
            <a:ext cx="7724514" cy="5015622"/>
            <a:chOff x="705380" y="38485"/>
            <a:chExt cx="7724514" cy="5015622"/>
          </a:xfrm>
        </p:grpSpPr>
        <p:pic>
          <p:nvPicPr>
            <p:cNvPr id="21" name="Picture 20" descr="urus solo 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474" y="92905"/>
              <a:ext cx="4953057" cy="4961201"/>
            </a:xfrm>
            <a:prstGeom prst="rect">
              <a:avLst/>
            </a:prstGeom>
          </p:spPr>
        </p:pic>
        <p:pic>
          <p:nvPicPr>
            <p:cNvPr id="14" name="Picture 13" descr="urus solo 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2354" y="41594"/>
              <a:ext cx="4921573" cy="4929665"/>
            </a:xfrm>
            <a:prstGeom prst="rect">
              <a:avLst/>
            </a:prstGeom>
          </p:spPr>
        </p:pic>
        <p:pic>
          <p:nvPicPr>
            <p:cNvPr id="15" name="Picture 14" descr="urus solo 3.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78482" y="38485"/>
              <a:ext cx="5007389" cy="5015622"/>
            </a:xfrm>
            <a:prstGeom prst="rect">
              <a:avLst/>
            </a:prstGeom>
          </p:spPr>
        </p:pic>
        <p:sp>
          <p:nvSpPr>
            <p:cNvPr id="16" name="Rectangle 15"/>
            <p:cNvSpPr/>
            <p:nvPr/>
          </p:nvSpPr>
          <p:spPr>
            <a:xfrm>
              <a:off x="3386680" y="2514211"/>
              <a:ext cx="2335132" cy="604358"/>
            </a:xfrm>
            <a:prstGeom prst="rect">
              <a:avLst/>
            </a:prstGeom>
            <a:solidFill>
              <a:srgbClr val="0000FF"/>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effectLst>
                    <a:outerShdw blurRad="38100" dist="38100" dir="2700000" algn="tl">
                      <a:srgbClr val="000000">
                        <a:alpha val="43137"/>
                      </a:srgbClr>
                    </a:outerShdw>
                  </a:effectLst>
                  <a:latin typeface="Arial"/>
                  <a:cs typeface="Arial"/>
                </a:rPr>
                <a:t>AHLI </a:t>
              </a:r>
            </a:p>
            <a:p>
              <a:pPr algn="ctr"/>
              <a:r>
                <a:rPr lang="en-US" b="1" dirty="0" smtClean="0">
                  <a:effectLst>
                    <a:outerShdw blurRad="38100" dist="38100" dir="2700000" algn="tl">
                      <a:srgbClr val="000000">
                        <a:alpha val="43137"/>
                      </a:srgbClr>
                    </a:outerShdw>
                  </a:effectLst>
                  <a:latin typeface="Arial"/>
                  <a:cs typeface="Arial"/>
                </a:rPr>
                <a:t>JAWATANKUASA 2</a:t>
              </a:r>
              <a:endParaRPr lang="en-US" b="1" dirty="0">
                <a:effectLst>
                  <a:outerShdw blurRad="38100" dist="38100" dir="2700000" algn="tl">
                    <a:srgbClr val="000000">
                      <a:alpha val="43137"/>
                    </a:srgbClr>
                  </a:outerShdw>
                </a:effectLst>
                <a:latin typeface="Arial"/>
                <a:cs typeface="Arial"/>
              </a:endParaRPr>
            </a:p>
          </p:txBody>
        </p:sp>
        <p:sp>
          <p:nvSpPr>
            <p:cNvPr id="18" name="Rectangle 17"/>
            <p:cNvSpPr/>
            <p:nvPr/>
          </p:nvSpPr>
          <p:spPr>
            <a:xfrm>
              <a:off x="6094762" y="2514211"/>
              <a:ext cx="2335132" cy="604358"/>
            </a:xfrm>
            <a:prstGeom prst="rect">
              <a:avLst/>
            </a:prstGeom>
            <a:solidFill>
              <a:srgbClr val="0000FF"/>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effectLst>
                    <a:outerShdw blurRad="38100" dist="38100" dir="2700000" algn="tl">
                      <a:srgbClr val="000000">
                        <a:alpha val="43137"/>
                      </a:srgbClr>
                    </a:outerShdw>
                  </a:effectLst>
                  <a:latin typeface="Arial"/>
                  <a:cs typeface="Arial"/>
                </a:rPr>
                <a:t>AHLI </a:t>
              </a:r>
            </a:p>
            <a:p>
              <a:pPr algn="ctr"/>
              <a:r>
                <a:rPr lang="en-US" b="1" dirty="0" smtClean="0">
                  <a:effectLst>
                    <a:outerShdw blurRad="38100" dist="38100" dir="2700000" algn="tl">
                      <a:srgbClr val="000000">
                        <a:alpha val="43137"/>
                      </a:srgbClr>
                    </a:outerShdw>
                  </a:effectLst>
                  <a:latin typeface="Arial"/>
                  <a:cs typeface="Arial"/>
                </a:rPr>
                <a:t>JAWATANKUASA 3</a:t>
              </a:r>
              <a:endParaRPr lang="en-US" b="1" dirty="0">
                <a:effectLst>
                  <a:outerShdw blurRad="38100" dist="38100" dir="2700000" algn="tl">
                    <a:srgbClr val="000000">
                      <a:alpha val="43137"/>
                    </a:srgbClr>
                  </a:outerShdw>
                </a:effectLst>
                <a:latin typeface="Arial"/>
                <a:cs typeface="Arial"/>
              </a:endParaRPr>
            </a:p>
          </p:txBody>
        </p:sp>
        <p:sp>
          <p:nvSpPr>
            <p:cNvPr id="22" name="Rectangle 21"/>
            <p:cNvSpPr/>
            <p:nvPr/>
          </p:nvSpPr>
          <p:spPr>
            <a:xfrm>
              <a:off x="705380" y="2514211"/>
              <a:ext cx="2322303" cy="604358"/>
            </a:xfrm>
            <a:prstGeom prst="rect">
              <a:avLst/>
            </a:prstGeom>
            <a:solidFill>
              <a:srgbClr val="0000FF"/>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effectLst>
                    <a:outerShdw blurRad="38100" dist="38100" dir="2700000" algn="tl">
                      <a:srgbClr val="000000">
                        <a:alpha val="43137"/>
                      </a:srgbClr>
                    </a:outerShdw>
                  </a:effectLst>
                  <a:latin typeface="Arial"/>
                  <a:cs typeface="Arial"/>
                </a:rPr>
                <a:t>AHLI </a:t>
              </a:r>
            </a:p>
            <a:p>
              <a:pPr algn="ctr"/>
              <a:r>
                <a:rPr lang="en-US" b="1" dirty="0" smtClean="0">
                  <a:effectLst>
                    <a:outerShdw blurRad="38100" dist="38100" dir="2700000" algn="tl">
                      <a:srgbClr val="000000">
                        <a:alpha val="43137"/>
                      </a:srgbClr>
                    </a:outerShdw>
                  </a:effectLst>
                  <a:latin typeface="Arial"/>
                  <a:cs typeface="Arial"/>
                </a:rPr>
                <a:t>JAWATANKUASA 1</a:t>
              </a:r>
              <a:endParaRPr lang="en-US" b="1" dirty="0">
                <a:effectLst>
                  <a:outerShdw blurRad="38100" dist="38100" dir="2700000" algn="tl">
                    <a:srgbClr val="000000">
                      <a:alpha val="43137"/>
                    </a:srgbClr>
                  </a:outerShdw>
                </a:effectLst>
                <a:latin typeface="Arial"/>
                <a:cs typeface="Arial"/>
              </a:endParaRPr>
            </a:p>
          </p:txBody>
        </p:sp>
      </p:grpSp>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25</a:t>
            </a:fld>
            <a:endParaRPr lang="en-US"/>
          </a:p>
        </p:txBody>
      </p:sp>
      <p:sp>
        <p:nvSpPr>
          <p:cNvPr id="28" name="Rectangle 27"/>
          <p:cNvSpPr/>
          <p:nvPr/>
        </p:nvSpPr>
        <p:spPr>
          <a:xfrm>
            <a:off x="1424772" y="4391683"/>
            <a:ext cx="5837556" cy="124922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73050" indent="-273050" algn="ctr">
              <a:lnSpc>
                <a:spcPct val="150000"/>
              </a:lnSpc>
              <a:buFont typeface="Wingdings" pitchFamily="2" charset="2"/>
              <a:buChar char="v"/>
              <a:tabLst>
                <a:tab pos="177800" algn="l"/>
              </a:tabLst>
            </a:pPr>
            <a:r>
              <a:rPr lang="en-US" sz="2000" b="1" dirty="0" err="1" smtClean="0">
                <a:solidFill>
                  <a:schemeClr val="tx1"/>
                </a:solidFill>
                <a:latin typeface="Arial"/>
                <a:cs typeface="Arial"/>
              </a:rPr>
              <a:t>Menghadiri</a:t>
            </a:r>
            <a:r>
              <a:rPr lang="en-US" sz="2000" b="1" dirty="0" smtClean="0">
                <a:solidFill>
                  <a:schemeClr val="tx1"/>
                </a:solidFill>
                <a:latin typeface="Arial"/>
                <a:cs typeface="Arial"/>
              </a:rPr>
              <a:t> </a:t>
            </a:r>
            <a:r>
              <a:rPr lang="en-US" sz="2000" b="1" dirty="0" err="1" smtClean="0">
                <a:solidFill>
                  <a:schemeClr val="tx1"/>
                </a:solidFill>
                <a:latin typeface="Arial"/>
                <a:cs typeface="Arial"/>
              </a:rPr>
              <a:t>mesyuarat</a:t>
            </a:r>
            <a:endParaRPr lang="en-US" sz="2000" b="1" dirty="0" smtClean="0">
              <a:solidFill>
                <a:schemeClr val="tx1"/>
              </a:solidFill>
              <a:latin typeface="Arial"/>
              <a:cs typeface="Arial"/>
            </a:endParaRPr>
          </a:p>
          <a:p>
            <a:pPr marL="273050" indent="-273050" algn="ctr">
              <a:lnSpc>
                <a:spcPct val="150000"/>
              </a:lnSpc>
              <a:buFont typeface="Wingdings" pitchFamily="2" charset="2"/>
              <a:buChar char="v"/>
              <a:tabLst>
                <a:tab pos="177800" algn="l"/>
              </a:tabLst>
            </a:pPr>
            <a:r>
              <a:rPr lang="en-US" sz="2000" b="1" dirty="0" err="1" smtClean="0">
                <a:solidFill>
                  <a:schemeClr val="tx1"/>
                </a:solidFill>
                <a:latin typeface="Arial"/>
                <a:cs typeface="Arial"/>
              </a:rPr>
              <a:t>Mencadangkan</a:t>
            </a:r>
            <a:r>
              <a:rPr lang="en-US" sz="2000" b="1" dirty="0" smtClean="0">
                <a:solidFill>
                  <a:schemeClr val="tx1"/>
                </a:solidFill>
                <a:latin typeface="Arial"/>
                <a:cs typeface="Arial"/>
              </a:rPr>
              <a:t> PP</a:t>
            </a:r>
          </a:p>
          <a:p>
            <a:pPr marL="273050" indent="-273050" algn="ctr">
              <a:lnSpc>
                <a:spcPct val="150000"/>
              </a:lnSpc>
              <a:buFont typeface="Wingdings" pitchFamily="2" charset="2"/>
              <a:buChar char="v"/>
              <a:tabLst>
                <a:tab pos="177800" algn="l"/>
              </a:tabLst>
            </a:pPr>
            <a:r>
              <a:rPr lang="en-US" sz="2000" b="1" dirty="0" err="1" smtClean="0">
                <a:solidFill>
                  <a:schemeClr val="tx1"/>
                </a:solidFill>
                <a:latin typeface="Arial"/>
                <a:cs typeface="Arial"/>
              </a:rPr>
              <a:t>Menjaga</a:t>
            </a:r>
            <a:r>
              <a:rPr lang="en-US" sz="2000" b="1" dirty="0" smtClean="0">
                <a:solidFill>
                  <a:schemeClr val="tx1"/>
                </a:solidFill>
                <a:latin typeface="Arial"/>
                <a:cs typeface="Arial"/>
              </a:rPr>
              <a:t> </a:t>
            </a:r>
            <a:r>
              <a:rPr lang="en-US" sz="2000" b="1" dirty="0" err="1" smtClean="0">
                <a:solidFill>
                  <a:schemeClr val="tx1"/>
                </a:solidFill>
                <a:latin typeface="Arial"/>
                <a:cs typeface="Arial"/>
              </a:rPr>
              <a:t>kerahsiaan</a:t>
            </a:r>
            <a:endParaRPr lang="en-US" sz="2000" b="1" dirty="0" smtClean="0">
              <a:solidFill>
                <a:schemeClr val="tx1"/>
              </a:solidFill>
              <a:latin typeface="Arial"/>
              <a:cs typeface="Arial"/>
            </a:endParaRPr>
          </a:p>
          <a:p>
            <a:pPr marL="273050" indent="-273050" algn="ctr">
              <a:lnSpc>
                <a:spcPct val="150000"/>
              </a:lnSpc>
              <a:buFont typeface="Wingdings" pitchFamily="2" charset="2"/>
              <a:buChar char="v"/>
              <a:tabLst>
                <a:tab pos="177800" algn="l"/>
              </a:tabLst>
            </a:pPr>
            <a:r>
              <a:rPr lang="en-US" sz="2000" b="1" dirty="0" err="1" smtClean="0">
                <a:solidFill>
                  <a:schemeClr val="tx1"/>
                </a:solidFill>
                <a:latin typeface="Arial"/>
                <a:cs typeface="Arial"/>
              </a:rPr>
              <a:t>Memantau</a:t>
            </a:r>
            <a:r>
              <a:rPr lang="en-US" sz="2000" b="1" dirty="0" smtClean="0">
                <a:solidFill>
                  <a:schemeClr val="tx1"/>
                </a:solidFill>
                <a:latin typeface="Arial"/>
                <a:cs typeface="Arial"/>
              </a:rPr>
              <a:t> </a:t>
            </a:r>
            <a:r>
              <a:rPr lang="en-US" sz="2000" b="1" dirty="0" err="1" smtClean="0">
                <a:solidFill>
                  <a:schemeClr val="tx1"/>
                </a:solidFill>
                <a:latin typeface="Arial"/>
                <a:cs typeface="Arial"/>
              </a:rPr>
              <a:t>pelaksanaan</a:t>
            </a:r>
            <a:r>
              <a:rPr lang="en-US" sz="2000" b="1" dirty="0" smtClean="0">
                <a:solidFill>
                  <a:schemeClr val="tx1"/>
                </a:solidFill>
                <a:latin typeface="Arial"/>
                <a:cs typeface="Arial"/>
              </a:rPr>
              <a:t> PBPPP</a:t>
            </a:r>
            <a:endParaRPr lang="en-US" sz="2000" b="1" dirty="0">
              <a:solidFill>
                <a:schemeClr val="tx1"/>
              </a:solidFill>
              <a:latin typeface="Arial"/>
              <a:cs typeface="Arial"/>
            </a:endParaRPr>
          </a:p>
        </p:txBody>
      </p:sp>
    </p:spTree>
    <p:extLst>
      <p:ext uri="{BB962C8B-B14F-4D97-AF65-F5344CB8AC3E}">
        <p14:creationId xmlns:p14="http://schemas.microsoft.com/office/powerpoint/2010/main" val="1066858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 calcmode="lin" valueType="num">
                                      <p:cBhvr additive="base">
                                        <p:cTn id="12" dur="500" fill="hold"/>
                                        <p:tgtEl>
                                          <p:spTgt spid="28"/>
                                        </p:tgtEl>
                                        <p:attrNameLst>
                                          <p:attrName>ppt_x</p:attrName>
                                        </p:attrNameLst>
                                      </p:cBhvr>
                                      <p:tavLst>
                                        <p:tav tm="0">
                                          <p:val>
                                            <p:strVal val="#ppt_x"/>
                                          </p:val>
                                        </p:tav>
                                        <p:tav tm="100000">
                                          <p:val>
                                            <p:strVal val="#ppt_x"/>
                                          </p:val>
                                        </p:tav>
                                      </p:tavLst>
                                    </p:anim>
                                    <p:anim calcmode="lin" valueType="num">
                                      <p:cBhvr additive="base">
                                        <p:cTn id="13"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0" y="679867"/>
            <a:ext cx="7550008" cy="5285005"/>
            <a:chOff x="0" y="679867"/>
            <a:chExt cx="7550008" cy="5285005"/>
          </a:xfrm>
        </p:grpSpPr>
        <p:pic>
          <p:nvPicPr>
            <p:cNvPr id="8" name="Picture 7" descr="businessman-silhouette-vector.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9867"/>
              <a:ext cx="7550008" cy="5285005"/>
            </a:xfrm>
            <a:prstGeom prst="rect">
              <a:avLst/>
            </a:prstGeom>
          </p:spPr>
        </p:pic>
        <p:sp>
          <p:nvSpPr>
            <p:cNvPr id="10" name="Rectangle 9"/>
            <p:cNvSpPr/>
            <p:nvPr/>
          </p:nvSpPr>
          <p:spPr>
            <a:xfrm>
              <a:off x="183844" y="2949224"/>
              <a:ext cx="2548771" cy="558227"/>
            </a:xfrm>
            <a:prstGeom prst="rect">
              <a:avLst/>
            </a:prstGeom>
            <a:solidFill>
              <a:srgbClr val="FF0000"/>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effectLst>
                    <a:outerShdw blurRad="38100" dist="38100" dir="2700000" algn="tl">
                      <a:srgbClr val="000000">
                        <a:alpha val="43137"/>
                      </a:srgbClr>
                    </a:outerShdw>
                  </a:effectLst>
                  <a:latin typeface="Arial"/>
                  <a:cs typeface="Arial"/>
                </a:rPr>
                <a:t>URUS SETIA</a:t>
              </a:r>
              <a:endParaRPr lang="en-US" sz="2000" b="1" dirty="0">
                <a:effectLst>
                  <a:outerShdw blurRad="38100" dist="38100" dir="2700000" algn="tl">
                    <a:srgbClr val="000000">
                      <a:alpha val="43137"/>
                    </a:srgbClr>
                  </a:outerShdw>
                </a:effectLst>
                <a:latin typeface="Arial"/>
                <a:cs typeface="Arial"/>
              </a:endParaRPr>
            </a:p>
          </p:txBody>
        </p:sp>
      </p:grpSp>
      <p:sp>
        <p:nvSpPr>
          <p:cNvPr id="25" name="Rectangle 24"/>
          <p:cNvSpPr/>
          <p:nvPr/>
        </p:nvSpPr>
        <p:spPr>
          <a:xfrm>
            <a:off x="2681299" y="1522972"/>
            <a:ext cx="6178796" cy="2172423"/>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342900" indent="-342900">
              <a:lnSpc>
                <a:spcPct val="150000"/>
              </a:lnSpc>
              <a:buFont typeface="Wingdings" pitchFamily="2" charset="2"/>
              <a:buChar char="v"/>
            </a:pPr>
            <a:r>
              <a:rPr lang="en-US" sz="2000" b="1" dirty="0" err="1" smtClean="0">
                <a:solidFill>
                  <a:schemeClr val="tx1"/>
                </a:solidFill>
                <a:latin typeface="Arial"/>
                <a:cs typeface="Arial"/>
              </a:rPr>
              <a:t>Mengurus</a:t>
            </a:r>
            <a:r>
              <a:rPr lang="en-US" sz="2000" b="1" dirty="0" smtClean="0">
                <a:solidFill>
                  <a:schemeClr val="tx1"/>
                </a:solidFill>
                <a:latin typeface="Arial"/>
                <a:cs typeface="Arial"/>
              </a:rPr>
              <a:t> </a:t>
            </a:r>
            <a:r>
              <a:rPr lang="en-US" sz="2000" b="1" dirty="0" err="1" smtClean="0">
                <a:solidFill>
                  <a:schemeClr val="tx1"/>
                </a:solidFill>
                <a:latin typeface="Arial"/>
                <a:cs typeface="Arial"/>
              </a:rPr>
              <a:t>keperluan</a:t>
            </a:r>
            <a:r>
              <a:rPr lang="en-US" sz="2000" b="1" dirty="0" smtClean="0">
                <a:solidFill>
                  <a:schemeClr val="tx1"/>
                </a:solidFill>
                <a:latin typeface="Arial"/>
                <a:cs typeface="Arial"/>
              </a:rPr>
              <a:t> </a:t>
            </a:r>
            <a:r>
              <a:rPr lang="en-US" sz="2000" b="1" dirty="0" err="1" smtClean="0">
                <a:solidFill>
                  <a:schemeClr val="tx1"/>
                </a:solidFill>
                <a:latin typeface="Arial"/>
                <a:cs typeface="Arial"/>
              </a:rPr>
              <a:t>mesyuarat</a:t>
            </a:r>
            <a:endParaRPr lang="en-US" sz="2000" b="1" dirty="0" smtClean="0">
              <a:solidFill>
                <a:schemeClr val="tx1"/>
              </a:solidFill>
              <a:latin typeface="Arial"/>
              <a:cs typeface="Arial"/>
            </a:endParaRPr>
          </a:p>
          <a:p>
            <a:pPr marL="342900" indent="-342900">
              <a:lnSpc>
                <a:spcPct val="150000"/>
              </a:lnSpc>
              <a:buFont typeface="Wingdings" pitchFamily="2" charset="2"/>
              <a:buChar char="v"/>
            </a:pPr>
            <a:r>
              <a:rPr lang="en-US" sz="2000" b="1" dirty="0" err="1" smtClean="0">
                <a:solidFill>
                  <a:schemeClr val="tx1"/>
                </a:solidFill>
                <a:latin typeface="Arial"/>
                <a:cs typeface="Arial"/>
              </a:rPr>
              <a:t>Menghadiri</a:t>
            </a:r>
            <a:r>
              <a:rPr lang="en-US" sz="2000" b="1" dirty="0" smtClean="0">
                <a:solidFill>
                  <a:schemeClr val="tx1"/>
                </a:solidFill>
                <a:latin typeface="Arial"/>
                <a:cs typeface="Arial"/>
              </a:rPr>
              <a:t> </a:t>
            </a:r>
            <a:r>
              <a:rPr lang="en-US" sz="2000" b="1" dirty="0" err="1" smtClean="0">
                <a:solidFill>
                  <a:schemeClr val="tx1"/>
                </a:solidFill>
                <a:latin typeface="Arial"/>
                <a:cs typeface="Arial"/>
              </a:rPr>
              <a:t>mesyuarat</a:t>
            </a:r>
            <a:endParaRPr lang="en-US" sz="2000" b="1" dirty="0" smtClean="0">
              <a:solidFill>
                <a:schemeClr val="tx1"/>
              </a:solidFill>
              <a:latin typeface="Arial"/>
              <a:cs typeface="Arial"/>
            </a:endParaRPr>
          </a:p>
          <a:p>
            <a:pPr marL="342900" indent="-342900">
              <a:lnSpc>
                <a:spcPct val="150000"/>
              </a:lnSpc>
              <a:buFont typeface="Wingdings" pitchFamily="2" charset="2"/>
              <a:buChar char="v"/>
            </a:pPr>
            <a:r>
              <a:rPr lang="en-US" sz="2000" b="1" dirty="0" err="1" smtClean="0">
                <a:solidFill>
                  <a:schemeClr val="tx1"/>
                </a:solidFill>
                <a:latin typeface="Arial"/>
                <a:cs typeface="Arial"/>
              </a:rPr>
              <a:t>Mempastikan</a:t>
            </a:r>
            <a:r>
              <a:rPr lang="en-US" sz="2000" b="1" dirty="0" smtClean="0">
                <a:solidFill>
                  <a:schemeClr val="tx1"/>
                </a:solidFill>
                <a:latin typeface="Arial"/>
                <a:cs typeface="Arial"/>
              </a:rPr>
              <a:t> </a:t>
            </a:r>
            <a:r>
              <a:rPr lang="en-US" sz="2000" b="1" dirty="0" err="1" smtClean="0">
                <a:solidFill>
                  <a:schemeClr val="tx1"/>
                </a:solidFill>
                <a:latin typeface="Arial"/>
                <a:cs typeface="Arial"/>
              </a:rPr>
              <a:t>dokumen</a:t>
            </a:r>
            <a:r>
              <a:rPr lang="en-US" sz="2000" b="1" dirty="0" smtClean="0">
                <a:solidFill>
                  <a:schemeClr val="tx1"/>
                </a:solidFill>
                <a:latin typeface="Arial"/>
                <a:cs typeface="Arial"/>
              </a:rPr>
              <a:t> </a:t>
            </a:r>
            <a:r>
              <a:rPr lang="en-US" sz="2000" b="1" dirty="0" err="1" smtClean="0">
                <a:solidFill>
                  <a:schemeClr val="tx1"/>
                </a:solidFill>
                <a:latin typeface="Arial"/>
                <a:cs typeface="Arial"/>
              </a:rPr>
              <a:t>diklasifikasikan</a:t>
            </a:r>
            <a:r>
              <a:rPr lang="en-US" sz="2000" b="1" dirty="0" smtClean="0">
                <a:solidFill>
                  <a:schemeClr val="tx1"/>
                </a:solidFill>
                <a:latin typeface="Arial"/>
                <a:cs typeface="Arial"/>
              </a:rPr>
              <a:t> </a:t>
            </a:r>
            <a:r>
              <a:rPr lang="en-US" sz="2000" b="1" dirty="0" err="1" smtClean="0">
                <a:solidFill>
                  <a:schemeClr val="tx1"/>
                </a:solidFill>
                <a:latin typeface="Arial"/>
                <a:cs typeface="Arial"/>
              </a:rPr>
              <a:t>ikut</a:t>
            </a:r>
            <a:r>
              <a:rPr lang="en-US" sz="2000" b="1" dirty="0" smtClean="0">
                <a:solidFill>
                  <a:schemeClr val="tx1"/>
                </a:solidFill>
                <a:latin typeface="Arial"/>
                <a:cs typeface="Arial"/>
              </a:rPr>
              <a:t> </a:t>
            </a:r>
            <a:r>
              <a:rPr lang="en-US" sz="2000" b="1" dirty="0" err="1" smtClean="0">
                <a:solidFill>
                  <a:schemeClr val="tx1"/>
                </a:solidFill>
                <a:latin typeface="Arial"/>
                <a:cs typeface="Arial"/>
              </a:rPr>
              <a:t>arahan</a:t>
            </a:r>
            <a:endParaRPr lang="en-US" sz="2000" b="1" dirty="0" smtClean="0">
              <a:solidFill>
                <a:schemeClr val="tx1"/>
              </a:solidFill>
              <a:latin typeface="Arial"/>
              <a:cs typeface="Arial"/>
            </a:endParaRPr>
          </a:p>
          <a:p>
            <a:pPr marL="342900" indent="-342900">
              <a:lnSpc>
                <a:spcPct val="150000"/>
              </a:lnSpc>
              <a:buFont typeface="Wingdings" pitchFamily="2" charset="2"/>
              <a:buChar char="v"/>
            </a:pPr>
            <a:r>
              <a:rPr lang="en-US" sz="2000" b="1" dirty="0" err="1" smtClean="0">
                <a:solidFill>
                  <a:schemeClr val="tx1"/>
                </a:solidFill>
                <a:latin typeface="Arial"/>
                <a:cs typeface="Arial"/>
              </a:rPr>
              <a:t>Menyediakan</a:t>
            </a:r>
            <a:r>
              <a:rPr lang="en-US" sz="2000" b="1" dirty="0" smtClean="0">
                <a:solidFill>
                  <a:schemeClr val="tx1"/>
                </a:solidFill>
                <a:latin typeface="Arial"/>
                <a:cs typeface="Arial"/>
              </a:rPr>
              <a:t> fail am 435</a:t>
            </a:r>
          </a:p>
          <a:p>
            <a:pPr marL="342900" indent="-342900">
              <a:lnSpc>
                <a:spcPct val="150000"/>
              </a:lnSpc>
              <a:buFont typeface="Wingdings" pitchFamily="2" charset="2"/>
              <a:buChar char="v"/>
            </a:pPr>
            <a:r>
              <a:rPr lang="en-US" sz="2000" b="1" dirty="0" err="1" smtClean="0">
                <a:solidFill>
                  <a:schemeClr val="tx1"/>
                </a:solidFill>
                <a:latin typeface="Arial"/>
                <a:cs typeface="Arial"/>
              </a:rPr>
              <a:t>Menyimpan</a:t>
            </a:r>
            <a:r>
              <a:rPr lang="en-US" sz="2000" b="1" dirty="0" smtClean="0">
                <a:solidFill>
                  <a:schemeClr val="tx1"/>
                </a:solidFill>
                <a:latin typeface="Arial"/>
                <a:cs typeface="Arial"/>
              </a:rPr>
              <a:t> </a:t>
            </a:r>
            <a:r>
              <a:rPr lang="en-US" sz="2000" b="1" dirty="0" err="1" smtClean="0">
                <a:solidFill>
                  <a:schemeClr val="tx1"/>
                </a:solidFill>
                <a:latin typeface="Arial"/>
                <a:cs typeface="Arial"/>
              </a:rPr>
              <a:t>borang</a:t>
            </a:r>
            <a:r>
              <a:rPr lang="en-US" sz="2000" b="1" dirty="0" smtClean="0">
                <a:solidFill>
                  <a:schemeClr val="tx1"/>
                </a:solidFill>
                <a:latin typeface="Arial"/>
                <a:cs typeface="Arial"/>
              </a:rPr>
              <a:t> </a:t>
            </a:r>
            <a:r>
              <a:rPr lang="en-US" sz="2000" b="1" dirty="0" err="1" smtClean="0">
                <a:solidFill>
                  <a:schemeClr val="tx1"/>
                </a:solidFill>
                <a:latin typeface="Arial"/>
                <a:cs typeface="Arial"/>
              </a:rPr>
              <a:t>markah</a:t>
            </a:r>
            <a:r>
              <a:rPr lang="en-US" sz="2000" b="1" dirty="0" smtClean="0">
                <a:solidFill>
                  <a:schemeClr val="tx1"/>
                </a:solidFill>
                <a:latin typeface="Arial"/>
                <a:cs typeface="Arial"/>
              </a:rPr>
              <a:t> </a:t>
            </a:r>
            <a:r>
              <a:rPr lang="en-US" sz="2000" b="1" dirty="0" err="1" smtClean="0">
                <a:solidFill>
                  <a:schemeClr val="tx1"/>
                </a:solidFill>
                <a:latin typeface="Arial"/>
                <a:cs typeface="Arial"/>
              </a:rPr>
              <a:t>dalam</a:t>
            </a:r>
            <a:r>
              <a:rPr lang="en-US" sz="2000" b="1" dirty="0" smtClean="0">
                <a:solidFill>
                  <a:schemeClr val="tx1"/>
                </a:solidFill>
                <a:latin typeface="Arial"/>
                <a:cs typeface="Arial"/>
              </a:rPr>
              <a:t> fail </a:t>
            </a:r>
            <a:r>
              <a:rPr lang="en-US" sz="2000" b="1" dirty="0" err="1" smtClean="0">
                <a:solidFill>
                  <a:schemeClr val="tx1"/>
                </a:solidFill>
                <a:latin typeface="Arial"/>
                <a:cs typeface="Arial"/>
              </a:rPr>
              <a:t>peribadi</a:t>
            </a:r>
            <a:r>
              <a:rPr lang="en-US" sz="2000" b="1" dirty="0" smtClean="0">
                <a:solidFill>
                  <a:schemeClr val="tx1"/>
                </a:solidFill>
                <a:latin typeface="Arial"/>
                <a:cs typeface="Arial"/>
              </a:rPr>
              <a:t> PYD</a:t>
            </a:r>
          </a:p>
          <a:p>
            <a:pPr marL="342900" indent="-342900">
              <a:lnSpc>
                <a:spcPct val="150000"/>
              </a:lnSpc>
              <a:buFont typeface="Wingdings" pitchFamily="2" charset="2"/>
              <a:buChar char="v"/>
            </a:pPr>
            <a:r>
              <a:rPr lang="en-US" sz="2000" b="1" dirty="0" err="1" smtClean="0">
                <a:solidFill>
                  <a:schemeClr val="tx1"/>
                </a:solidFill>
                <a:latin typeface="Arial"/>
                <a:cs typeface="Arial"/>
              </a:rPr>
              <a:t>Menjaga</a:t>
            </a:r>
            <a:r>
              <a:rPr lang="en-US" sz="2000" b="1" dirty="0" smtClean="0">
                <a:solidFill>
                  <a:schemeClr val="tx1"/>
                </a:solidFill>
                <a:latin typeface="Arial"/>
                <a:cs typeface="Arial"/>
              </a:rPr>
              <a:t> </a:t>
            </a:r>
            <a:r>
              <a:rPr lang="en-US" sz="2000" b="1" dirty="0" err="1" smtClean="0">
                <a:solidFill>
                  <a:schemeClr val="tx1"/>
                </a:solidFill>
                <a:latin typeface="Arial"/>
                <a:cs typeface="Arial"/>
              </a:rPr>
              <a:t>kerahsiaan</a:t>
            </a:r>
            <a:endParaRPr lang="en-US" sz="2000" b="1" dirty="0" smtClean="0">
              <a:solidFill>
                <a:schemeClr val="tx1"/>
              </a:solidFill>
              <a:latin typeface="Arial"/>
              <a:cs typeface="Arial"/>
            </a:endParaRPr>
          </a:p>
        </p:txBody>
      </p:sp>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26</a:t>
            </a:fld>
            <a:endParaRPr lang="en-US"/>
          </a:p>
        </p:txBody>
      </p:sp>
    </p:spTree>
    <p:extLst>
      <p:ext uri="{BB962C8B-B14F-4D97-AF65-F5344CB8AC3E}">
        <p14:creationId xmlns:p14="http://schemas.microsoft.com/office/powerpoint/2010/main" val="2632699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box(in)">
                                      <p:cBhvr>
                                        <p:cTn id="1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o 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80553" y="-5184943"/>
            <a:ext cx="12289828" cy="17384159"/>
          </a:xfrm>
          <a:prstGeom prst="rect">
            <a:avLst/>
          </a:prstGeom>
        </p:spPr>
      </p:pic>
      <p:sp>
        <p:nvSpPr>
          <p:cNvPr id="4" name="Footer Placeholder 3"/>
          <p:cNvSpPr>
            <a:spLocks noGrp="1"/>
          </p:cNvSpPr>
          <p:nvPr>
            <p:ph type="ftr" sz="quarter" idx="11"/>
          </p:nvPr>
        </p:nvSpPr>
        <p:spPr>
          <a:xfrm>
            <a:off x="3308887" y="6367394"/>
            <a:ext cx="4958521" cy="365125"/>
          </a:xfrm>
        </p:spPr>
        <p:txBody>
          <a:bodyPr/>
          <a:lstStyle/>
          <a:p>
            <a:r>
              <a:rPr lang="en-US" smtClean="0"/>
              <a:t>GURU (SEKOLAH)</a:t>
            </a:r>
            <a:endParaRPr lang="en-US"/>
          </a:p>
        </p:txBody>
      </p:sp>
      <p:sp>
        <p:nvSpPr>
          <p:cNvPr id="5" name="Slide Number Placeholder 4"/>
          <p:cNvSpPr>
            <a:spLocks noGrp="1"/>
          </p:cNvSpPr>
          <p:nvPr>
            <p:ph type="sldNum" sz="quarter" idx="12"/>
          </p:nvPr>
        </p:nvSpPr>
        <p:spPr>
          <a:xfrm>
            <a:off x="6571129" y="6356351"/>
            <a:ext cx="2133600" cy="365125"/>
          </a:xfrm>
        </p:spPr>
        <p:txBody>
          <a:bodyPr/>
          <a:lstStyle/>
          <a:p>
            <a:fld id="{4D86EDED-B1AF-7E4B-94C9-3F0EAA36C7D5}" type="slidenum">
              <a:rPr lang="en-US" smtClean="0"/>
              <a:pPr/>
              <a:t>27</a:t>
            </a:fld>
            <a:endParaRPr lang="en-US"/>
          </a:p>
        </p:txBody>
      </p:sp>
      <p:sp>
        <p:nvSpPr>
          <p:cNvPr id="38" name="Rectangle 37"/>
          <p:cNvSpPr/>
          <p:nvPr/>
        </p:nvSpPr>
        <p:spPr>
          <a:xfrm>
            <a:off x="4833302" y="1105241"/>
            <a:ext cx="1647007" cy="707886"/>
          </a:xfrm>
          <a:prstGeom prst="rect">
            <a:avLst/>
          </a:prstGeom>
        </p:spPr>
        <p:txBody>
          <a:bodyPr wrap="square">
            <a:spAutoFit/>
          </a:bodyPr>
          <a:lstStyle/>
          <a:p>
            <a:pPr algn="ctr"/>
            <a:r>
              <a:rPr lang="en-US" sz="4000" b="1" dirty="0" smtClean="0">
                <a:solidFill>
                  <a:schemeClr val="bg1"/>
                </a:solidFill>
                <a:latin typeface="Segoe UI" pitchFamily="34" charset="0"/>
                <a:ea typeface="Segoe UI" pitchFamily="34" charset="0"/>
                <a:cs typeface="Segoe UI" pitchFamily="34" charset="0"/>
              </a:rPr>
              <a:t>JPN</a:t>
            </a:r>
            <a:endParaRPr lang="en-US" sz="4000" b="1" dirty="0">
              <a:solidFill>
                <a:schemeClr val="bg1"/>
              </a:solidFill>
              <a:latin typeface="Segoe UI" pitchFamily="34" charset="0"/>
              <a:ea typeface="Segoe UI" pitchFamily="34" charset="0"/>
              <a:cs typeface="Segoe UI" pitchFamily="34" charset="0"/>
            </a:endParaRPr>
          </a:p>
        </p:txBody>
      </p:sp>
      <p:sp>
        <p:nvSpPr>
          <p:cNvPr id="39" name="Rectangle 38"/>
          <p:cNvSpPr/>
          <p:nvPr/>
        </p:nvSpPr>
        <p:spPr>
          <a:xfrm>
            <a:off x="1353667" y="1640922"/>
            <a:ext cx="2673694" cy="761747"/>
          </a:xfrm>
          <a:prstGeom prst="rect">
            <a:avLst/>
          </a:prstGeom>
        </p:spPr>
        <p:txBody>
          <a:bodyPr wrap="square">
            <a:spAutoFit/>
          </a:bodyPr>
          <a:lstStyle/>
          <a:p>
            <a:pPr algn="ctr">
              <a:lnSpc>
                <a:spcPct val="70000"/>
              </a:lnSpc>
            </a:pPr>
            <a:r>
              <a:rPr lang="en-US" sz="3000" b="1" dirty="0" smtClean="0">
                <a:solidFill>
                  <a:schemeClr val="bg1"/>
                </a:solidFill>
                <a:latin typeface="Segoe UI" pitchFamily="34" charset="0"/>
                <a:ea typeface="Segoe UI" pitchFamily="34" charset="0"/>
                <a:cs typeface="Segoe UI" pitchFamily="34" charset="0"/>
              </a:rPr>
              <a:t>KPM</a:t>
            </a:r>
          </a:p>
          <a:p>
            <a:pPr algn="ctr">
              <a:lnSpc>
                <a:spcPct val="70000"/>
              </a:lnSpc>
            </a:pPr>
            <a:r>
              <a:rPr lang="en-US" sz="3000" b="1" dirty="0" smtClean="0">
                <a:solidFill>
                  <a:schemeClr val="bg1"/>
                </a:solidFill>
                <a:latin typeface="Segoe UI" pitchFamily="34" charset="0"/>
                <a:ea typeface="Segoe UI" pitchFamily="34" charset="0"/>
                <a:cs typeface="Segoe UI" pitchFamily="34" charset="0"/>
              </a:rPr>
              <a:t>(BAHAGIAN)</a:t>
            </a:r>
            <a:endParaRPr lang="en-US" sz="3000" b="1" dirty="0">
              <a:solidFill>
                <a:schemeClr val="bg1"/>
              </a:solidFill>
              <a:latin typeface="Segoe UI" pitchFamily="34" charset="0"/>
              <a:ea typeface="Segoe UI" pitchFamily="34" charset="0"/>
              <a:cs typeface="Segoe UI" pitchFamily="34" charset="0"/>
            </a:endParaRPr>
          </a:p>
        </p:txBody>
      </p:sp>
      <p:sp>
        <p:nvSpPr>
          <p:cNvPr id="40" name="Rectangle 39"/>
          <p:cNvSpPr/>
          <p:nvPr/>
        </p:nvSpPr>
        <p:spPr>
          <a:xfrm>
            <a:off x="1293905" y="4040851"/>
            <a:ext cx="1970696" cy="523220"/>
          </a:xfrm>
          <a:prstGeom prst="rect">
            <a:avLst/>
          </a:prstGeom>
        </p:spPr>
        <p:txBody>
          <a:bodyPr wrap="square">
            <a:spAutoFit/>
          </a:bodyPr>
          <a:lstStyle/>
          <a:p>
            <a:pPr algn="ctr"/>
            <a:r>
              <a:rPr lang="en-US" sz="2800" b="1" dirty="0" smtClean="0">
                <a:solidFill>
                  <a:schemeClr val="bg1"/>
                </a:solidFill>
                <a:latin typeface="Segoe UI" pitchFamily="34" charset="0"/>
                <a:ea typeface="Segoe UI" pitchFamily="34" charset="0"/>
                <a:cs typeface="Segoe UI" pitchFamily="34" charset="0"/>
              </a:rPr>
              <a:t>SEKOLAH</a:t>
            </a:r>
            <a:endParaRPr lang="en-US" sz="2800" b="1" dirty="0">
              <a:solidFill>
                <a:schemeClr val="bg1"/>
              </a:solidFill>
              <a:latin typeface="Segoe UI" pitchFamily="34" charset="0"/>
              <a:ea typeface="Segoe UI" pitchFamily="34" charset="0"/>
              <a:cs typeface="Segoe UI" pitchFamily="34" charset="0"/>
            </a:endParaRPr>
          </a:p>
        </p:txBody>
      </p:sp>
      <p:sp>
        <p:nvSpPr>
          <p:cNvPr id="41" name="Rectangle 40"/>
          <p:cNvSpPr/>
          <p:nvPr/>
        </p:nvSpPr>
        <p:spPr>
          <a:xfrm>
            <a:off x="4090022" y="5463525"/>
            <a:ext cx="2219785" cy="707886"/>
          </a:xfrm>
          <a:prstGeom prst="rect">
            <a:avLst/>
          </a:prstGeom>
        </p:spPr>
        <p:txBody>
          <a:bodyPr wrap="square">
            <a:spAutoFit/>
          </a:bodyPr>
          <a:lstStyle/>
          <a:p>
            <a:pPr algn="ctr"/>
            <a:r>
              <a:rPr lang="en-US" sz="4000" b="1" dirty="0" smtClean="0">
                <a:solidFill>
                  <a:schemeClr val="bg1"/>
                </a:solidFill>
                <a:latin typeface="Segoe UI" pitchFamily="34" charset="0"/>
                <a:ea typeface="Segoe UI" pitchFamily="34" charset="0"/>
                <a:cs typeface="Segoe UI" pitchFamily="34" charset="0"/>
              </a:rPr>
              <a:t>PPWKL</a:t>
            </a:r>
            <a:endParaRPr lang="en-US" sz="4000" b="1" dirty="0">
              <a:solidFill>
                <a:schemeClr val="bg1"/>
              </a:solidFill>
              <a:latin typeface="Segoe UI" pitchFamily="34" charset="0"/>
              <a:ea typeface="Segoe UI" pitchFamily="34" charset="0"/>
              <a:cs typeface="Segoe UI" pitchFamily="34" charset="0"/>
            </a:endParaRPr>
          </a:p>
        </p:txBody>
      </p:sp>
      <p:sp>
        <p:nvSpPr>
          <p:cNvPr id="52" name="Rectangle 51"/>
          <p:cNvSpPr/>
          <p:nvPr/>
        </p:nvSpPr>
        <p:spPr>
          <a:xfrm>
            <a:off x="6062213" y="3393312"/>
            <a:ext cx="1647007" cy="707886"/>
          </a:xfrm>
          <a:prstGeom prst="rect">
            <a:avLst/>
          </a:prstGeom>
        </p:spPr>
        <p:txBody>
          <a:bodyPr wrap="square">
            <a:spAutoFit/>
          </a:bodyPr>
          <a:lstStyle/>
          <a:p>
            <a:pPr algn="ctr"/>
            <a:r>
              <a:rPr lang="en-US" sz="4000" b="1" dirty="0" smtClean="0">
                <a:solidFill>
                  <a:schemeClr val="bg1"/>
                </a:solidFill>
                <a:latin typeface="Segoe UI" pitchFamily="34" charset="0"/>
                <a:ea typeface="Segoe UI" pitchFamily="34" charset="0"/>
                <a:cs typeface="Segoe UI" pitchFamily="34" charset="0"/>
              </a:rPr>
              <a:t>PPD</a:t>
            </a:r>
            <a:endParaRPr lang="en-US" sz="4000" b="1" dirty="0">
              <a:solidFill>
                <a:schemeClr val="bg1"/>
              </a:solidFill>
              <a:latin typeface="Segoe UI" pitchFamily="34" charset="0"/>
              <a:ea typeface="Segoe UI" pitchFamily="34" charset="0"/>
              <a:cs typeface="Segoe UI" pitchFamily="34" charset="0"/>
            </a:endParaRPr>
          </a:p>
        </p:txBody>
      </p:sp>
      <p:sp>
        <p:nvSpPr>
          <p:cNvPr id="10" name="Content Placeholder 2"/>
          <p:cNvSpPr>
            <a:spLocks noGrp="1"/>
          </p:cNvSpPr>
          <p:nvPr>
            <p:ph idx="1"/>
          </p:nvPr>
        </p:nvSpPr>
        <p:spPr>
          <a:xfrm>
            <a:off x="1461663" y="2800305"/>
            <a:ext cx="6150586" cy="1385077"/>
          </a:xfrm>
        </p:spPr>
        <p:txBody>
          <a:bodyPr>
            <a:noAutofit/>
          </a:bodyPr>
          <a:lstStyle/>
          <a:p>
            <a:pPr marL="0" indent="0" algn="ctr">
              <a:lnSpc>
                <a:spcPct val="50000"/>
              </a:lnSpc>
              <a:buNone/>
            </a:pPr>
            <a:r>
              <a:rPr lang="en-US" sz="3600" dirty="0" smtClean="0">
                <a:ln w="18415" cmpd="sng">
                  <a:solidFill>
                    <a:srgbClr val="FFFFFF"/>
                  </a:solidFill>
                  <a:prstDash val="solid"/>
                </a:ln>
                <a:solidFill>
                  <a:srgbClr val="002060"/>
                </a:solidFill>
                <a:effectLst>
                  <a:outerShdw blurRad="63500" dir="3600000" algn="tl" rotWithShape="0">
                    <a:srgbClr val="000000">
                      <a:alpha val="70000"/>
                    </a:srgbClr>
                  </a:outerShdw>
                </a:effectLst>
                <a:latin typeface="Rockwell" pitchFamily="18" charset="0"/>
              </a:rPr>
              <a:t>CADANGAN</a:t>
            </a:r>
          </a:p>
          <a:p>
            <a:pPr marL="0" indent="0" algn="ctr">
              <a:lnSpc>
                <a:spcPct val="50000"/>
              </a:lnSpc>
              <a:buNone/>
            </a:pPr>
            <a:r>
              <a:rPr lang="en-US" sz="7200" dirty="0" smtClean="0">
                <a:ln w="18415" cmpd="sng">
                  <a:solidFill>
                    <a:srgbClr val="FFFFFF"/>
                  </a:solidFill>
                  <a:prstDash val="solid"/>
                </a:ln>
                <a:solidFill>
                  <a:srgbClr val="002060"/>
                </a:solidFill>
                <a:effectLst>
                  <a:outerShdw blurRad="63500" dir="3600000" algn="tl" rotWithShape="0">
                    <a:srgbClr val="000000">
                      <a:alpha val="70000"/>
                    </a:srgbClr>
                  </a:outerShdw>
                </a:effectLst>
                <a:latin typeface="Rockwell" pitchFamily="18" charset="0"/>
              </a:rPr>
              <a:t> JK</a:t>
            </a:r>
          </a:p>
          <a:p>
            <a:pPr marL="0" indent="0" algn="ctr">
              <a:lnSpc>
                <a:spcPct val="50000"/>
              </a:lnSpc>
              <a:buNone/>
            </a:pPr>
            <a:r>
              <a:rPr lang="en-US" sz="7200" dirty="0" smtClean="0">
                <a:ln w="18415" cmpd="sng">
                  <a:solidFill>
                    <a:srgbClr val="FFFFFF"/>
                  </a:solidFill>
                  <a:prstDash val="solid"/>
                </a:ln>
                <a:solidFill>
                  <a:srgbClr val="002060"/>
                </a:solidFill>
                <a:effectLst>
                  <a:outerShdw blurRad="63500" dir="3600000" algn="tl" rotWithShape="0">
                    <a:srgbClr val="000000">
                      <a:alpha val="70000"/>
                    </a:srgbClr>
                  </a:outerShdw>
                </a:effectLst>
                <a:latin typeface="Rockwell" pitchFamily="18" charset="0"/>
              </a:rPr>
              <a:t>PBPPP</a:t>
            </a:r>
            <a:endParaRPr lang="en-US" sz="7200" dirty="0">
              <a:ln w="18415" cmpd="sng">
                <a:solidFill>
                  <a:srgbClr val="FFFFFF"/>
                </a:solidFill>
                <a:prstDash val="solid"/>
              </a:ln>
              <a:solidFill>
                <a:srgbClr val="002060"/>
              </a:solidFill>
              <a:effectLst>
                <a:outerShdw blurRad="63500" dir="3600000" algn="tl" rotWithShape="0">
                  <a:srgbClr val="000000">
                    <a:alpha val="70000"/>
                  </a:srgbClr>
                </a:outerShdw>
              </a:effectLst>
              <a:latin typeface="Rockwell" pitchFamily="18"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descr="no 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77671" y="-2267212"/>
            <a:ext cx="7999638" cy="11315619"/>
          </a:xfrm>
          <a:prstGeom prst="rect">
            <a:avLst/>
          </a:prstGeom>
        </p:spPr>
      </p:pic>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28</a:t>
            </a:fld>
            <a:endParaRPr lang="en-US"/>
          </a:p>
        </p:txBody>
      </p:sp>
      <p:sp>
        <p:nvSpPr>
          <p:cNvPr id="9" name="Footer Placeholder 3"/>
          <p:cNvSpPr txBox="1">
            <a:spLocks/>
          </p:cNvSpPr>
          <p:nvPr/>
        </p:nvSpPr>
        <p:spPr>
          <a:xfrm>
            <a:off x="3290958" y="6367394"/>
            <a:ext cx="4958521"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BAHAGIAN, JABATAN PENDIDIKAN NEGERI &amp; PEJABAT PENDIDIKAN DAERAH</a:t>
            </a:r>
            <a:endParaRPr lang="en-US"/>
          </a:p>
        </p:txBody>
      </p:sp>
      <p:sp>
        <p:nvSpPr>
          <p:cNvPr id="10" name="Slide Number Placeholder 4"/>
          <p:cNvSpPr txBox="1">
            <a:spLocks/>
          </p:cNvSpPr>
          <p:nvPr/>
        </p:nvSpPr>
        <p:spPr>
          <a:xfrm>
            <a:off x="6553200" y="635635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D86EDED-B1AF-7E4B-94C9-3F0EAA36C7D5}" type="slidenum">
              <a:rPr lang="en-US" smtClean="0"/>
              <a:pPr/>
              <a:t>28</a:t>
            </a:fld>
            <a:endParaRPr lang="en-US"/>
          </a:p>
        </p:txBody>
      </p:sp>
      <p:sp>
        <p:nvSpPr>
          <p:cNvPr id="47" name="Content Placeholder 2"/>
          <p:cNvSpPr>
            <a:spLocks noGrp="1"/>
          </p:cNvSpPr>
          <p:nvPr>
            <p:ph idx="1"/>
          </p:nvPr>
        </p:nvSpPr>
        <p:spPr>
          <a:xfrm>
            <a:off x="5597271" y="2940776"/>
            <a:ext cx="2714644" cy="1101258"/>
          </a:xfrm>
        </p:spPr>
        <p:txBody>
          <a:bodyPr>
            <a:normAutofit/>
          </a:bodyPr>
          <a:lstStyle/>
          <a:p>
            <a:pPr marL="0" indent="0" algn="ctr">
              <a:lnSpc>
                <a:spcPct val="50000"/>
              </a:lnSpc>
              <a:buNone/>
            </a:pPr>
            <a:r>
              <a:rPr lang="en-US" sz="4000" dirty="0" smtClean="0">
                <a:ln w="18415" cmpd="sng">
                  <a:solidFill>
                    <a:srgbClr val="FFFFFF"/>
                  </a:solidFill>
                  <a:prstDash val="solid"/>
                </a:ln>
                <a:solidFill>
                  <a:srgbClr val="002060"/>
                </a:solidFill>
                <a:effectLst>
                  <a:outerShdw blurRad="63500" dir="3600000" algn="tl" rotWithShape="0">
                    <a:srgbClr val="000000">
                      <a:alpha val="70000"/>
                    </a:srgbClr>
                  </a:outerShdw>
                </a:effectLst>
                <a:latin typeface="Rockwell" pitchFamily="18" charset="0"/>
              </a:rPr>
              <a:t>JK </a:t>
            </a:r>
          </a:p>
          <a:p>
            <a:pPr marL="0" indent="0" algn="ctr">
              <a:lnSpc>
                <a:spcPct val="50000"/>
              </a:lnSpc>
              <a:buNone/>
            </a:pPr>
            <a:r>
              <a:rPr lang="en-US" sz="4000" dirty="0" smtClean="0">
                <a:ln w="18415" cmpd="sng">
                  <a:solidFill>
                    <a:srgbClr val="FFFFFF"/>
                  </a:solidFill>
                  <a:prstDash val="solid"/>
                </a:ln>
                <a:solidFill>
                  <a:srgbClr val="002060"/>
                </a:solidFill>
                <a:effectLst>
                  <a:outerShdw blurRad="63500" dir="3600000" algn="tl" rotWithShape="0">
                    <a:srgbClr val="000000">
                      <a:alpha val="70000"/>
                    </a:srgbClr>
                  </a:outerShdw>
                </a:effectLst>
                <a:latin typeface="Rockwell" pitchFamily="18" charset="0"/>
              </a:rPr>
              <a:t>PBPPP</a:t>
            </a:r>
            <a:endParaRPr lang="en-US" sz="4000" dirty="0">
              <a:ln w="18415" cmpd="sng">
                <a:solidFill>
                  <a:srgbClr val="FFFFFF"/>
                </a:solidFill>
                <a:prstDash val="solid"/>
              </a:ln>
              <a:solidFill>
                <a:srgbClr val="002060"/>
              </a:solidFill>
              <a:effectLst>
                <a:outerShdw blurRad="63500" dir="3600000" algn="tl" rotWithShape="0">
                  <a:srgbClr val="000000">
                    <a:alpha val="70000"/>
                  </a:srgbClr>
                </a:outerShdw>
              </a:effectLst>
              <a:latin typeface="Rockwell" pitchFamily="18" charset="0"/>
            </a:endParaRPr>
          </a:p>
        </p:txBody>
      </p:sp>
      <p:sp>
        <p:nvSpPr>
          <p:cNvPr id="48" name="TextBox 47"/>
          <p:cNvSpPr txBox="1"/>
          <p:nvPr/>
        </p:nvSpPr>
        <p:spPr>
          <a:xfrm>
            <a:off x="1832133" y="1061574"/>
            <a:ext cx="3793814" cy="400110"/>
          </a:xfrm>
          <a:prstGeom prst="rect">
            <a:avLst/>
          </a:prstGeom>
          <a:noFill/>
        </p:spPr>
        <p:txBody>
          <a:bodyPr wrap="square" rtlCol="0">
            <a:spAutoFit/>
          </a:bodyPr>
          <a:lstStyle/>
          <a:p>
            <a:r>
              <a:rPr lang="en-US" sz="2000" dirty="0" err="1" smtClean="0">
                <a:latin typeface="Arial"/>
                <a:cs typeface="Arial"/>
              </a:rPr>
              <a:t>Pengetua</a:t>
            </a:r>
            <a:r>
              <a:rPr lang="en-US" sz="2000" dirty="0" smtClean="0">
                <a:latin typeface="Arial"/>
                <a:cs typeface="Arial"/>
              </a:rPr>
              <a:t>/ Guru </a:t>
            </a:r>
            <a:r>
              <a:rPr lang="en-US" sz="2000" dirty="0" err="1">
                <a:latin typeface="Arial"/>
                <a:cs typeface="Arial"/>
              </a:rPr>
              <a:t>Besar</a:t>
            </a:r>
            <a:endParaRPr lang="en-US" sz="2000" dirty="0">
              <a:latin typeface="Arial"/>
              <a:cs typeface="Arial"/>
            </a:endParaRPr>
          </a:p>
        </p:txBody>
      </p:sp>
      <p:sp>
        <p:nvSpPr>
          <p:cNvPr id="49" name="TextBox 48"/>
          <p:cNvSpPr txBox="1"/>
          <p:nvPr/>
        </p:nvSpPr>
        <p:spPr>
          <a:xfrm>
            <a:off x="1804081" y="2517938"/>
            <a:ext cx="2722921" cy="400110"/>
          </a:xfrm>
          <a:prstGeom prst="rect">
            <a:avLst/>
          </a:prstGeom>
          <a:noFill/>
        </p:spPr>
        <p:txBody>
          <a:bodyPr wrap="none" rtlCol="0">
            <a:spAutoFit/>
          </a:bodyPr>
          <a:lstStyle/>
          <a:p>
            <a:r>
              <a:rPr lang="en-US" sz="2000" dirty="0">
                <a:latin typeface="Arial"/>
                <a:cs typeface="Arial"/>
              </a:rPr>
              <a:t>Guru </a:t>
            </a:r>
            <a:r>
              <a:rPr lang="en-US" sz="2000" dirty="0" err="1">
                <a:latin typeface="Arial"/>
                <a:cs typeface="Arial"/>
              </a:rPr>
              <a:t>Penolong</a:t>
            </a:r>
            <a:r>
              <a:rPr lang="en-US" sz="2000" dirty="0">
                <a:latin typeface="Arial"/>
                <a:cs typeface="Arial"/>
              </a:rPr>
              <a:t> </a:t>
            </a:r>
            <a:r>
              <a:rPr lang="en-US" sz="2000" dirty="0" err="1">
                <a:latin typeface="Arial"/>
                <a:cs typeface="Arial"/>
              </a:rPr>
              <a:t>Kanan</a:t>
            </a:r>
            <a:endParaRPr lang="en-US" sz="2000" dirty="0">
              <a:latin typeface="Arial"/>
              <a:cs typeface="Arial"/>
            </a:endParaRPr>
          </a:p>
        </p:txBody>
      </p:sp>
      <p:sp>
        <p:nvSpPr>
          <p:cNvPr id="51" name="TextBox 50"/>
          <p:cNvSpPr txBox="1"/>
          <p:nvPr/>
        </p:nvSpPr>
        <p:spPr>
          <a:xfrm>
            <a:off x="1845146" y="3967526"/>
            <a:ext cx="2933816" cy="1015663"/>
          </a:xfrm>
          <a:prstGeom prst="rect">
            <a:avLst/>
          </a:prstGeom>
          <a:noFill/>
        </p:spPr>
        <p:txBody>
          <a:bodyPr wrap="none" rtlCol="0">
            <a:spAutoFit/>
          </a:bodyPr>
          <a:lstStyle/>
          <a:p>
            <a:r>
              <a:rPr lang="en-US" sz="2000" dirty="0">
                <a:latin typeface="Arial"/>
                <a:cs typeface="Arial"/>
              </a:rPr>
              <a:t>Guru </a:t>
            </a:r>
            <a:r>
              <a:rPr lang="en-US" sz="2000" dirty="0" err="1">
                <a:latin typeface="Arial"/>
                <a:cs typeface="Arial"/>
              </a:rPr>
              <a:t>Penolong</a:t>
            </a:r>
            <a:r>
              <a:rPr lang="en-US" sz="2000" dirty="0">
                <a:latin typeface="Arial"/>
                <a:cs typeface="Arial"/>
              </a:rPr>
              <a:t> </a:t>
            </a:r>
            <a:r>
              <a:rPr lang="en-US" sz="2000" dirty="0" err="1" smtClean="0">
                <a:latin typeface="Arial"/>
                <a:cs typeface="Arial"/>
              </a:rPr>
              <a:t>Kanan</a:t>
            </a:r>
            <a:r>
              <a:rPr lang="en-US" sz="2000" dirty="0" smtClean="0">
                <a:latin typeface="Arial"/>
                <a:cs typeface="Arial"/>
              </a:rPr>
              <a:t> / </a:t>
            </a:r>
          </a:p>
          <a:p>
            <a:r>
              <a:rPr lang="en-US" sz="2000" dirty="0" err="1" smtClean="0">
                <a:latin typeface="Arial"/>
                <a:cs typeface="Arial"/>
              </a:rPr>
              <a:t>Ketua</a:t>
            </a:r>
            <a:r>
              <a:rPr lang="en-US" sz="2000" dirty="0" smtClean="0">
                <a:latin typeface="Arial"/>
                <a:cs typeface="Arial"/>
              </a:rPr>
              <a:t> </a:t>
            </a:r>
            <a:r>
              <a:rPr lang="en-US" sz="2000" dirty="0" err="1" smtClean="0">
                <a:latin typeface="Arial"/>
                <a:cs typeface="Arial"/>
              </a:rPr>
              <a:t>Bidang</a:t>
            </a:r>
            <a:r>
              <a:rPr lang="en-US" sz="2000" dirty="0" smtClean="0">
                <a:latin typeface="Arial"/>
                <a:cs typeface="Arial"/>
              </a:rPr>
              <a:t>/</a:t>
            </a:r>
          </a:p>
          <a:p>
            <a:r>
              <a:rPr lang="en-US" sz="2000" dirty="0" err="1" smtClean="0">
                <a:latin typeface="Arial"/>
                <a:cs typeface="Arial"/>
              </a:rPr>
              <a:t>Ketua</a:t>
            </a:r>
            <a:r>
              <a:rPr lang="en-US" sz="2000" dirty="0" smtClean="0">
                <a:latin typeface="Arial"/>
                <a:cs typeface="Arial"/>
              </a:rPr>
              <a:t> </a:t>
            </a:r>
            <a:r>
              <a:rPr lang="en-US" sz="2000" dirty="0" err="1">
                <a:latin typeface="Arial"/>
                <a:cs typeface="Arial"/>
              </a:rPr>
              <a:t>Panitia</a:t>
            </a:r>
            <a:endParaRPr lang="en-US" sz="2000" dirty="0">
              <a:latin typeface="Arial"/>
              <a:cs typeface="Arial"/>
            </a:endParaRPr>
          </a:p>
        </p:txBody>
      </p:sp>
      <p:sp>
        <p:nvSpPr>
          <p:cNvPr id="52" name="TextBox 51"/>
          <p:cNvSpPr txBox="1"/>
          <p:nvPr/>
        </p:nvSpPr>
        <p:spPr>
          <a:xfrm>
            <a:off x="1845145" y="5559616"/>
            <a:ext cx="3441683" cy="707886"/>
          </a:xfrm>
          <a:prstGeom prst="rect">
            <a:avLst/>
          </a:prstGeom>
          <a:noFill/>
        </p:spPr>
        <p:txBody>
          <a:bodyPr wrap="square" rtlCol="0">
            <a:spAutoFit/>
          </a:bodyPr>
          <a:lstStyle/>
          <a:p>
            <a:r>
              <a:rPr lang="en-US" sz="2000" dirty="0" err="1">
                <a:latin typeface="Arial"/>
                <a:cs typeface="Arial"/>
              </a:rPr>
              <a:t>Ketua</a:t>
            </a:r>
            <a:r>
              <a:rPr lang="en-US" sz="2000" dirty="0">
                <a:latin typeface="Arial"/>
                <a:cs typeface="Arial"/>
              </a:rPr>
              <a:t> </a:t>
            </a:r>
            <a:r>
              <a:rPr lang="en-US" sz="2000" dirty="0" err="1">
                <a:latin typeface="Arial"/>
                <a:cs typeface="Arial"/>
              </a:rPr>
              <a:t>Pembantu</a:t>
            </a:r>
            <a:r>
              <a:rPr lang="en-US" sz="2000" dirty="0">
                <a:latin typeface="Arial"/>
                <a:cs typeface="Arial"/>
              </a:rPr>
              <a:t> </a:t>
            </a:r>
            <a:r>
              <a:rPr lang="en-US" sz="2000" dirty="0" err="1" smtClean="0">
                <a:latin typeface="Arial"/>
                <a:cs typeface="Arial"/>
              </a:rPr>
              <a:t>Tadbir</a:t>
            </a:r>
            <a:r>
              <a:rPr lang="en-US" sz="2000" dirty="0" smtClean="0">
                <a:latin typeface="Arial"/>
                <a:cs typeface="Arial"/>
              </a:rPr>
              <a:t> / </a:t>
            </a:r>
            <a:r>
              <a:rPr lang="en-US" sz="2000" dirty="0" err="1">
                <a:latin typeface="Arial"/>
                <a:cs typeface="Arial"/>
              </a:rPr>
              <a:t>Pembantu</a:t>
            </a:r>
            <a:r>
              <a:rPr lang="en-US" sz="2000" dirty="0">
                <a:latin typeface="Arial"/>
                <a:cs typeface="Arial"/>
              </a:rPr>
              <a:t> </a:t>
            </a:r>
            <a:r>
              <a:rPr lang="en-US" sz="2000" dirty="0" err="1">
                <a:latin typeface="Arial"/>
                <a:cs typeface="Arial"/>
              </a:rPr>
              <a:t>Tadbir</a:t>
            </a:r>
            <a:endParaRPr lang="en-US" sz="2000" dirty="0">
              <a:latin typeface="Arial"/>
              <a:cs typeface="Arial"/>
            </a:endParaRPr>
          </a:p>
        </p:txBody>
      </p:sp>
      <p:sp>
        <p:nvSpPr>
          <p:cNvPr id="34" name="Rectangle 33"/>
          <p:cNvSpPr/>
          <p:nvPr/>
        </p:nvSpPr>
        <p:spPr>
          <a:xfrm>
            <a:off x="4492279" y="3613583"/>
            <a:ext cx="1827840" cy="523220"/>
          </a:xfrm>
          <a:prstGeom prst="rect">
            <a:avLst/>
          </a:prstGeom>
        </p:spPr>
        <p:txBody>
          <a:bodyPr wrap="square">
            <a:spAutoFit/>
          </a:bodyPr>
          <a:lstStyle/>
          <a:p>
            <a:pPr algn="ctr"/>
            <a:r>
              <a:rPr lang="en-US" sz="2800" b="1" dirty="0" smtClean="0">
                <a:solidFill>
                  <a:schemeClr val="bg1"/>
                </a:solidFill>
                <a:latin typeface="Segoe UI" pitchFamily="34" charset="0"/>
                <a:ea typeface="Segoe UI" pitchFamily="34" charset="0"/>
                <a:cs typeface="Segoe UI" pitchFamily="34" charset="0"/>
              </a:rPr>
              <a:t>SEKOLAH</a:t>
            </a:r>
            <a:endParaRPr lang="en-US" sz="2800" b="1" dirty="0">
              <a:solidFill>
                <a:schemeClr val="bg1"/>
              </a:solidFill>
              <a:latin typeface="Segoe UI" pitchFamily="34" charset="0"/>
              <a:ea typeface="Segoe UI" pitchFamily="34" charset="0"/>
              <a:cs typeface="Segoe UI" pitchFamily="34" charset="0"/>
            </a:endParaRPr>
          </a:p>
        </p:txBody>
      </p:sp>
      <p:grpSp>
        <p:nvGrpSpPr>
          <p:cNvPr id="2" name="Group 56"/>
          <p:cNvGrpSpPr/>
          <p:nvPr/>
        </p:nvGrpSpPr>
        <p:grpSpPr>
          <a:xfrm>
            <a:off x="281937" y="542814"/>
            <a:ext cx="1407034" cy="1384506"/>
            <a:chOff x="231810" y="542814"/>
            <a:chExt cx="1407034" cy="1384506"/>
          </a:xfrm>
        </p:grpSpPr>
        <p:pic>
          <p:nvPicPr>
            <p:cNvPr id="35" name="Picture 34" descr="businessman copy.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438" y="542814"/>
              <a:ext cx="569260" cy="1384506"/>
            </a:xfrm>
            <a:prstGeom prst="rect">
              <a:avLst/>
            </a:prstGeom>
          </p:spPr>
        </p:pic>
        <p:sp>
          <p:nvSpPr>
            <p:cNvPr id="36" name="Rectangle 35"/>
            <p:cNvSpPr/>
            <p:nvPr/>
          </p:nvSpPr>
          <p:spPr>
            <a:xfrm>
              <a:off x="231810" y="1217071"/>
              <a:ext cx="1407034" cy="323051"/>
            </a:xfrm>
            <a:prstGeom prst="rect">
              <a:avLst/>
            </a:prstGeom>
            <a:solidFill>
              <a:srgbClr val="FFFF00"/>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tx1"/>
                  </a:solidFill>
                  <a:effectLst>
                    <a:outerShdw blurRad="38100" dist="38100" dir="2700000" algn="tl">
                      <a:srgbClr val="000000">
                        <a:alpha val="43137"/>
                      </a:srgbClr>
                    </a:outerShdw>
                  </a:effectLst>
                  <a:latin typeface="Arial"/>
                  <a:cs typeface="Arial"/>
                </a:rPr>
                <a:t>PENGERUSI</a:t>
              </a:r>
              <a:endParaRPr lang="en-US" sz="1050" b="1" dirty="0">
                <a:solidFill>
                  <a:schemeClr val="tx1"/>
                </a:solidFill>
                <a:effectLst>
                  <a:outerShdw blurRad="38100" dist="38100" dir="2700000" algn="tl">
                    <a:srgbClr val="000000">
                      <a:alpha val="43137"/>
                    </a:srgbClr>
                  </a:outerShdw>
                </a:effectLst>
                <a:latin typeface="Arial"/>
                <a:cs typeface="Arial"/>
              </a:endParaRPr>
            </a:p>
          </p:txBody>
        </p:sp>
      </p:grpSp>
      <p:grpSp>
        <p:nvGrpSpPr>
          <p:cNvPr id="3" name="Group 53"/>
          <p:cNvGrpSpPr/>
          <p:nvPr/>
        </p:nvGrpSpPr>
        <p:grpSpPr>
          <a:xfrm>
            <a:off x="-462948" y="3313630"/>
            <a:ext cx="2660080" cy="1737587"/>
            <a:chOff x="-513075" y="3313630"/>
            <a:chExt cx="2660080" cy="1737587"/>
          </a:xfrm>
        </p:grpSpPr>
        <p:grpSp>
          <p:nvGrpSpPr>
            <p:cNvPr id="6" name="Group 40"/>
            <p:cNvGrpSpPr/>
            <p:nvPr/>
          </p:nvGrpSpPr>
          <p:grpSpPr>
            <a:xfrm>
              <a:off x="-513075" y="3313630"/>
              <a:ext cx="2660080" cy="1737587"/>
              <a:chOff x="-423270" y="3829382"/>
              <a:chExt cx="2660080" cy="1737587"/>
            </a:xfrm>
          </p:grpSpPr>
          <p:pic>
            <p:nvPicPr>
              <p:cNvPr id="45" name="Picture 44" descr="urus solo 1.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3375" y="3835107"/>
                <a:ext cx="1683435" cy="1686204"/>
              </a:xfrm>
              <a:prstGeom prst="rect">
                <a:avLst/>
              </a:prstGeom>
            </p:spPr>
          </p:pic>
          <p:pic>
            <p:nvPicPr>
              <p:cNvPr id="46" name="Picture 45" descr="urus solo 3.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3270" y="3829382"/>
                <a:ext cx="1714766" cy="1717585"/>
              </a:xfrm>
              <a:prstGeom prst="rect">
                <a:avLst/>
              </a:prstGeom>
            </p:spPr>
          </p:pic>
          <p:pic>
            <p:nvPicPr>
              <p:cNvPr id="50" name="Picture 49" descr="urus solo 2.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0010" y="3842210"/>
                <a:ext cx="1721928" cy="1724759"/>
              </a:xfrm>
              <a:prstGeom prst="rect">
                <a:avLst/>
              </a:prstGeom>
            </p:spPr>
          </p:pic>
        </p:grpSp>
        <p:grpSp>
          <p:nvGrpSpPr>
            <p:cNvPr id="7" name="Group 41"/>
            <p:cNvGrpSpPr/>
            <p:nvPr/>
          </p:nvGrpSpPr>
          <p:grpSpPr>
            <a:xfrm>
              <a:off x="206152" y="3874847"/>
              <a:ext cx="1419863" cy="1067382"/>
              <a:chOff x="1755634" y="3859373"/>
              <a:chExt cx="1419863" cy="1067382"/>
            </a:xfrm>
          </p:grpSpPr>
          <p:sp>
            <p:nvSpPr>
              <p:cNvPr id="42" name="Rectangle 41"/>
              <p:cNvSpPr/>
              <p:nvPr/>
            </p:nvSpPr>
            <p:spPr>
              <a:xfrm>
                <a:off x="1756107" y="4603704"/>
                <a:ext cx="1407034" cy="323051"/>
              </a:xfrm>
              <a:prstGeom prst="rect">
                <a:avLst/>
              </a:prstGeom>
              <a:solidFill>
                <a:srgbClr val="0000FF"/>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effectLst>
                      <a:outerShdw blurRad="38100" dist="38100" dir="2700000" algn="tl">
                        <a:srgbClr val="000000">
                          <a:alpha val="43137"/>
                        </a:srgbClr>
                      </a:outerShdw>
                    </a:effectLst>
                    <a:latin typeface="Arial"/>
                    <a:cs typeface="Arial"/>
                  </a:rPr>
                  <a:t>AHLI </a:t>
                </a:r>
              </a:p>
              <a:p>
                <a:pPr algn="ctr"/>
                <a:r>
                  <a:rPr lang="en-US" sz="1050" b="1" dirty="0" smtClean="0">
                    <a:effectLst>
                      <a:outerShdw blurRad="38100" dist="38100" dir="2700000" algn="tl">
                        <a:srgbClr val="000000">
                          <a:alpha val="43137"/>
                        </a:srgbClr>
                      </a:outerShdw>
                    </a:effectLst>
                    <a:latin typeface="Arial"/>
                    <a:cs typeface="Arial"/>
                  </a:rPr>
                  <a:t>JAWATANKUASA 2</a:t>
                </a:r>
                <a:endParaRPr lang="en-US" sz="1050" b="1" dirty="0">
                  <a:effectLst>
                    <a:outerShdw blurRad="38100" dist="38100" dir="2700000" algn="tl">
                      <a:srgbClr val="000000">
                        <a:alpha val="43137"/>
                      </a:srgbClr>
                    </a:outerShdw>
                  </a:effectLst>
                  <a:latin typeface="Arial"/>
                  <a:cs typeface="Arial"/>
                </a:endParaRPr>
              </a:p>
            </p:txBody>
          </p:sp>
          <p:sp>
            <p:nvSpPr>
              <p:cNvPr id="43" name="Rectangle 42"/>
              <p:cNvSpPr/>
              <p:nvPr/>
            </p:nvSpPr>
            <p:spPr>
              <a:xfrm>
                <a:off x="1755634" y="4226595"/>
                <a:ext cx="1407034" cy="323051"/>
              </a:xfrm>
              <a:prstGeom prst="rect">
                <a:avLst/>
              </a:prstGeom>
              <a:solidFill>
                <a:srgbClr val="0000FF"/>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effectLst>
                      <a:outerShdw blurRad="38100" dist="38100" dir="2700000" algn="tl">
                        <a:srgbClr val="000000">
                          <a:alpha val="43137"/>
                        </a:srgbClr>
                      </a:outerShdw>
                    </a:effectLst>
                    <a:latin typeface="Arial"/>
                    <a:cs typeface="Arial"/>
                  </a:rPr>
                  <a:t>AHLI </a:t>
                </a:r>
              </a:p>
              <a:p>
                <a:pPr algn="ctr"/>
                <a:r>
                  <a:rPr lang="en-US" sz="1050" b="1" dirty="0" smtClean="0">
                    <a:effectLst>
                      <a:outerShdw blurRad="38100" dist="38100" dir="2700000" algn="tl">
                        <a:srgbClr val="000000">
                          <a:alpha val="43137"/>
                        </a:srgbClr>
                      </a:outerShdw>
                    </a:effectLst>
                    <a:latin typeface="Arial"/>
                    <a:cs typeface="Arial"/>
                  </a:rPr>
                  <a:t>JAWATANKUASA 3</a:t>
                </a:r>
                <a:endParaRPr lang="en-US" sz="1050" b="1" dirty="0">
                  <a:effectLst>
                    <a:outerShdw blurRad="38100" dist="38100" dir="2700000" algn="tl">
                      <a:srgbClr val="000000">
                        <a:alpha val="43137"/>
                      </a:srgbClr>
                    </a:outerShdw>
                  </a:effectLst>
                  <a:latin typeface="Arial"/>
                  <a:cs typeface="Arial"/>
                </a:endParaRPr>
              </a:p>
            </p:txBody>
          </p:sp>
          <p:sp>
            <p:nvSpPr>
              <p:cNvPr id="44" name="Rectangle 43"/>
              <p:cNvSpPr/>
              <p:nvPr/>
            </p:nvSpPr>
            <p:spPr>
              <a:xfrm>
                <a:off x="1768463" y="3859373"/>
                <a:ext cx="1407034" cy="323051"/>
              </a:xfrm>
              <a:prstGeom prst="rect">
                <a:avLst/>
              </a:prstGeom>
              <a:solidFill>
                <a:srgbClr val="0000FF"/>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effectLst>
                      <a:outerShdw blurRad="38100" dist="38100" dir="2700000" algn="tl">
                        <a:srgbClr val="000000">
                          <a:alpha val="43137"/>
                        </a:srgbClr>
                      </a:outerShdw>
                    </a:effectLst>
                    <a:latin typeface="Arial"/>
                    <a:cs typeface="Arial"/>
                  </a:rPr>
                  <a:t>AHLI </a:t>
                </a:r>
              </a:p>
              <a:p>
                <a:pPr algn="ctr"/>
                <a:r>
                  <a:rPr lang="en-US" sz="1050" b="1" dirty="0" smtClean="0">
                    <a:effectLst>
                      <a:outerShdw blurRad="38100" dist="38100" dir="2700000" algn="tl">
                        <a:srgbClr val="000000">
                          <a:alpha val="43137"/>
                        </a:srgbClr>
                      </a:outerShdw>
                    </a:effectLst>
                    <a:latin typeface="Arial"/>
                    <a:cs typeface="Arial"/>
                  </a:rPr>
                  <a:t>JAWATANKUASA 1</a:t>
                </a:r>
                <a:endParaRPr lang="en-US" sz="1050" b="1" dirty="0">
                  <a:effectLst>
                    <a:outerShdw blurRad="38100" dist="38100" dir="2700000" algn="tl">
                      <a:srgbClr val="000000">
                        <a:alpha val="43137"/>
                      </a:srgbClr>
                    </a:outerShdw>
                  </a:effectLst>
                  <a:latin typeface="Arial"/>
                  <a:cs typeface="Arial"/>
                </a:endParaRPr>
              </a:p>
            </p:txBody>
          </p:sp>
        </p:grpSp>
      </p:grpSp>
      <p:grpSp>
        <p:nvGrpSpPr>
          <p:cNvPr id="8" name="Group 55"/>
          <p:cNvGrpSpPr/>
          <p:nvPr/>
        </p:nvGrpSpPr>
        <p:grpSpPr>
          <a:xfrm>
            <a:off x="281937" y="4942229"/>
            <a:ext cx="2552604" cy="1657680"/>
            <a:chOff x="231810" y="4942229"/>
            <a:chExt cx="2552604" cy="1657680"/>
          </a:xfrm>
        </p:grpSpPr>
        <p:pic>
          <p:nvPicPr>
            <p:cNvPr id="54" name="Picture 53" descr="businessman-silhouette-vector.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6299" y="4942229"/>
              <a:ext cx="2368115" cy="1657680"/>
            </a:xfrm>
            <a:prstGeom prst="rect">
              <a:avLst/>
            </a:prstGeom>
          </p:spPr>
        </p:pic>
        <p:sp>
          <p:nvSpPr>
            <p:cNvPr id="55" name="Rectangle 54"/>
            <p:cNvSpPr/>
            <p:nvPr/>
          </p:nvSpPr>
          <p:spPr>
            <a:xfrm>
              <a:off x="231810" y="5774420"/>
              <a:ext cx="1407034" cy="323051"/>
            </a:xfrm>
            <a:prstGeom prst="rect">
              <a:avLst/>
            </a:prstGeom>
            <a:solidFill>
              <a:srgbClr val="FF0000"/>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effectLst>
                    <a:outerShdw blurRad="38100" dist="38100" dir="2700000" algn="tl">
                      <a:srgbClr val="000000">
                        <a:alpha val="43137"/>
                      </a:srgbClr>
                    </a:outerShdw>
                  </a:effectLst>
                  <a:latin typeface="Arial"/>
                  <a:cs typeface="Arial"/>
                </a:rPr>
                <a:t>URUS SETIA</a:t>
              </a:r>
              <a:endParaRPr lang="en-US" sz="1050" b="1" dirty="0">
                <a:effectLst>
                  <a:outerShdw blurRad="38100" dist="38100" dir="2700000" algn="tl">
                    <a:srgbClr val="000000">
                      <a:alpha val="43137"/>
                    </a:srgbClr>
                  </a:outerShdw>
                </a:effectLst>
                <a:latin typeface="Arial"/>
                <a:cs typeface="Arial"/>
              </a:endParaRPr>
            </a:p>
          </p:txBody>
        </p:sp>
      </p:grpSp>
      <p:grpSp>
        <p:nvGrpSpPr>
          <p:cNvPr id="11" name="Group 54"/>
          <p:cNvGrpSpPr/>
          <p:nvPr/>
        </p:nvGrpSpPr>
        <p:grpSpPr>
          <a:xfrm>
            <a:off x="281937" y="2043189"/>
            <a:ext cx="1407034" cy="1347409"/>
            <a:chOff x="231810" y="2043189"/>
            <a:chExt cx="1407034" cy="1347409"/>
          </a:xfrm>
        </p:grpSpPr>
        <p:pic>
          <p:nvPicPr>
            <p:cNvPr id="57" name="Picture 56" descr="woman-304811_640 copy.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1587" y="2043189"/>
              <a:ext cx="672598" cy="1347409"/>
            </a:xfrm>
            <a:prstGeom prst="rect">
              <a:avLst/>
            </a:prstGeom>
          </p:spPr>
        </p:pic>
        <p:sp>
          <p:nvSpPr>
            <p:cNvPr id="58" name="Rectangle 57"/>
            <p:cNvSpPr/>
            <p:nvPr/>
          </p:nvSpPr>
          <p:spPr>
            <a:xfrm>
              <a:off x="231810" y="2716894"/>
              <a:ext cx="1407034" cy="323051"/>
            </a:xfrm>
            <a:prstGeom prst="rect">
              <a:avLst/>
            </a:prstGeom>
            <a:solidFill>
              <a:srgbClr val="008000"/>
            </a:solidFill>
            <a:ln>
              <a:noFill/>
            </a:ln>
            <a:scene3d>
              <a:camera prst="orthographicFront"/>
              <a:lightRig rig="threePt" dir="t"/>
            </a:scene3d>
            <a:sp3d>
              <a:bevelT w="2540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effectLst>
                    <a:outerShdw blurRad="38100" dist="38100" dir="2700000" algn="tl">
                      <a:srgbClr val="000000">
                        <a:alpha val="43137"/>
                      </a:srgbClr>
                    </a:outerShdw>
                  </a:effectLst>
                  <a:latin typeface="Arial"/>
                  <a:cs typeface="Arial"/>
                </a:rPr>
                <a:t>SETIAUSAHA</a:t>
              </a:r>
              <a:endParaRPr lang="en-US" sz="1050" b="1" dirty="0">
                <a:effectLst>
                  <a:outerShdw blurRad="38100" dist="38100" dir="2700000" algn="tl">
                    <a:srgbClr val="000000">
                      <a:alpha val="43137"/>
                    </a:srgbClr>
                  </a:outerShdw>
                </a:effectLst>
                <a:latin typeface="Arial"/>
                <a:cs typeface="Arial"/>
              </a:endParaRPr>
            </a:p>
          </p:txBody>
        </p:sp>
      </p:grpSp>
    </p:spTree>
    <p:extLst>
      <p:ext uri="{BB962C8B-B14F-4D97-AF65-F5344CB8AC3E}">
        <p14:creationId xmlns:p14="http://schemas.microsoft.com/office/powerpoint/2010/main" val="1537383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ox(in)">
                                      <p:cBhvr>
                                        <p:cTn id="7" dur="500"/>
                                        <p:tgtEl>
                                          <p:spTgt spid="48"/>
                                        </p:tgtEl>
                                      </p:cBhvr>
                                    </p:animEffect>
                                  </p:childTnLst>
                                </p:cTn>
                              </p:par>
                              <p:par>
                                <p:cTn id="8" presetID="4" presetClass="entr" presetSubtype="16"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ox(in)">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47" presetClass="entr" presetSubtype="0" fill="hold" grpId="0" nodeType="clickEffect">
                                  <p:stCondLst>
                                    <p:cond delay="0"/>
                                  </p:stCondLst>
                                  <p:childTnLst>
                                    <p:set>
                                      <p:cBhvr>
                                        <p:cTn id="14" dur="1" fill="hold">
                                          <p:stCondLst>
                                            <p:cond delay="0"/>
                                          </p:stCondLst>
                                        </p:cTn>
                                        <p:tgtEl>
                                          <p:spTgt spid="49"/>
                                        </p:tgtEl>
                                        <p:attrNameLst>
                                          <p:attrName>style.visibility</p:attrName>
                                        </p:attrNameLst>
                                      </p:cBhvr>
                                      <p:to>
                                        <p:strVal val="visible"/>
                                      </p:to>
                                    </p:set>
                                    <p:animEffect transition="in" filter="fade">
                                      <p:cBhvr>
                                        <p:cTn id="15" dur="1000"/>
                                        <p:tgtEl>
                                          <p:spTgt spid="49"/>
                                        </p:tgtEl>
                                      </p:cBhvr>
                                    </p:animEffect>
                                    <p:anim calcmode="lin" valueType="num">
                                      <p:cBhvr>
                                        <p:cTn id="16" dur="1000" fill="hold"/>
                                        <p:tgtEl>
                                          <p:spTgt spid="49"/>
                                        </p:tgtEl>
                                        <p:attrNameLst>
                                          <p:attrName>ppt_x</p:attrName>
                                        </p:attrNameLst>
                                      </p:cBhvr>
                                      <p:tavLst>
                                        <p:tav tm="0">
                                          <p:val>
                                            <p:strVal val="#ppt_x"/>
                                          </p:val>
                                        </p:tav>
                                        <p:tav tm="100000">
                                          <p:val>
                                            <p:strVal val="#ppt_x"/>
                                          </p:val>
                                        </p:tav>
                                      </p:tavLst>
                                    </p:anim>
                                    <p:anim calcmode="lin" valueType="num">
                                      <p:cBhvr>
                                        <p:cTn id="17" dur="1000" fill="hold"/>
                                        <p:tgtEl>
                                          <p:spTgt spid="49"/>
                                        </p:tgtEl>
                                        <p:attrNameLst>
                                          <p:attrName>ppt_y</p:attrName>
                                        </p:attrNameLst>
                                      </p:cBhvr>
                                      <p:tavLst>
                                        <p:tav tm="0">
                                          <p:val>
                                            <p:strVal val="#ppt_y-.1"/>
                                          </p:val>
                                        </p:tav>
                                        <p:tav tm="100000">
                                          <p:val>
                                            <p:strVal val="#ppt_y"/>
                                          </p:val>
                                        </p:tav>
                                      </p:tavLst>
                                    </p:anim>
                                  </p:childTnLst>
                                </p:cTn>
                              </p:par>
                              <p:par>
                                <p:cTn id="18" presetID="47"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1000"/>
                                        <p:tgtEl>
                                          <p:spTgt spid="11"/>
                                        </p:tgtEl>
                                      </p:cBhvr>
                                    </p:animEffect>
                                    <p:anim calcmode="lin" valueType="num">
                                      <p:cBhvr>
                                        <p:cTn id="21" dur="1000" fill="hold"/>
                                        <p:tgtEl>
                                          <p:spTgt spid="11"/>
                                        </p:tgtEl>
                                        <p:attrNameLst>
                                          <p:attrName>ppt_x</p:attrName>
                                        </p:attrNameLst>
                                      </p:cBhvr>
                                      <p:tavLst>
                                        <p:tav tm="0">
                                          <p:val>
                                            <p:strVal val="#ppt_x"/>
                                          </p:val>
                                        </p:tav>
                                        <p:tav tm="100000">
                                          <p:val>
                                            <p:strVal val="#ppt_x"/>
                                          </p:val>
                                        </p:tav>
                                      </p:tavLst>
                                    </p:anim>
                                    <p:anim calcmode="lin" valueType="num">
                                      <p:cBhvr>
                                        <p:cTn id="22"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51"/>
                                        </p:tgtEl>
                                        <p:attrNameLst>
                                          <p:attrName>style.visibility</p:attrName>
                                        </p:attrNameLst>
                                      </p:cBhvr>
                                      <p:to>
                                        <p:strVal val="visible"/>
                                      </p:to>
                                    </p:set>
                                    <p:animEffect transition="in" filter="box(in)">
                                      <p:cBhvr>
                                        <p:cTn id="27" dur="500"/>
                                        <p:tgtEl>
                                          <p:spTgt spid="51"/>
                                        </p:tgtEl>
                                      </p:cBhvr>
                                    </p:animEffect>
                                  </p:childTnLst>
                                </p:cTn>
                              </p:par>
                              <p:par>
                                <p:cTn id="28" presetID="4" presetClass="entr" presetSubtype="16" fill="hold" nodeType="with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box(in)">
                                      <p:cBhvr>
                                        <p:cTn id="30" dur="500"/>
                                        <p:tgtEl>
                                          <p:spTgt spid="3"/>
                                        </p:tgtEl>
                                      </p:cBhvr>
                                    </p:animEffect>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1000"/>
                                        <p:tgtEl>
                                          <p:spTgt spid="52"/>
                                        </p:tgtEl>
                                      </p:cBhvr>
                                    </p:animEffect>
                                    <p:anim calcmode="lin" valueType="num">
                                      <p:cBhvr>
                                        <p:cTn id="36" dur="1000" fill="hold"/>
                                        <p:tgtEl>
                                          <p:spTgt spid="52"/>
                                        </p:tgtEl>
                                        <p:attrNameLst>
                                          <p:attrName>ppt_x</p:attrName>
                                        </p:attrNameLst>
                                      </p:cBhvr>
                                      <p:tavLst>
                                        <p:tav tm="0">
                                          <p:val>
                                            <p:strVal val="#ppt_x"/>
                                          </p:val>
                                        </p:tav>
                                        <p:tav tm="100000">
                                          <p:val>
                                            <p:strVal val="#ppt_x"/>
                                          </p:val>
                                        </p:tav>
                                      </p:tavLst>
                                    </p:anim>
                                    <p:anim calcmode="lin" valueType="num">
                                      <p:cBhvr>
                                        <p:cTn id="37" dur="1000" fill="hold"/>
                                        <p:tgtEl>
                                          <p:spTgt spid="52"/>
                                        </p:tgtEl>
                                        <p:attrNameLst>
                                          <p:attrName>ppt_y</p:attrName>
                                        </p:attrNameLst>
                                      </p:cBhvr>
                                      <p:tavLst>
                                        <p:tav tm="0">
                                          <p:val>
                                            <p:strVal val="#ppt_y-.1"/>
                                          </p:val>
                                        </p:tav>
                                        <p:tav tm="100000">
                                          <p:val>
                                            <p:strVal val="#ppt_y"/>
                                          </p:val>
                                        </p:tav>
                                      </p:tavLst>
                                    </p:anim>
                                  </p:childTnLst>
                                </p:cTn>
                              </p:par>
                              <p:par>
                                <p:cTn id="38" presetID="47" presetClass="entr" presetSubtype="0" fill="hold" nodeType="with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1000"/>
                                        <p:tgtEl>
                                          <p:spTgt spid="8"/>
                                        </p:tgtEl>
                                      </p:cBhvr>
                                    </p:animEffect>
                                    <p:anim calcmode="lin" valueType="num">
                                      <p:cBhvr>
                                        <p:cTn id="41" dur="1000" fill="hold"/>
                                        <p:tgtEl>
                                          <p:spTgt spid="8"/>
                                        </p:tgtEl>
                                        <p:attrNameLst>
                                          <p:attrName>ppt_x</p:attrName>
                                        </p:attrNameLst>
                                      </p:cBhvr>
                                      <p:tavLst>
                                        <p:tav tm="0">
                                          <p:val>
                                            <p:strVal val="#ppt_x"/>
                                          </p:val>
                                        </p:tav>
                                        <p:tav tm="100000">
                                          <p:val>
                                            <p:strVal val="#ppt_x"/>
                                          </p:val>
                                        </p:tav>
                                      </p:tavLst>
                                    </p:anim>
                                    <p:anim calcmode="lin" valueType="num">
                                      <p:cBhvr>
                                        <p:cTn id="4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1" grpId="0"/>
      <p:bldP spid="5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3290958" y="6481694"/>
            <a:ext cx="4958521" cy="365125"/>
          </a:xfrm>
        </p:spPr>
        <p:txBody>
          <a:bodyPr/>
          <a:lstStyle/>
          <a:p>
            <a:r>
              <a:rPr lang="en-US" smtClean="0"/>
              <a:t>GURU (SEKOLAH)</a:t>
            </a:r>
            <a:endParaRPr lang="en-US"/>
          </a:p>
        </p:txBody>
      </p:sp>
      <p:sp>
        <p:nvSpPr>
          <p:cNvPr id="5" name="Slide Number Placeholder 4"/>
          <p:cNvSpPr>
            <a:spLocks noGrp="1"/>
          </p:cNvSpPr>
          <p:nvPr>
            <p:ph type="sldNum" sz="quarter" idx="12"/>
          </p:nvPr>
        </p:nvSpPr>
        <p:spPr>
          <a:xfrm>
            <a:off x="6553200" y="6470651"/>
            <a:ext cx="2133600" cy="365125"/>
          </a:xfrm>
        </p:spPr>
        <p:txBody>
          <a:bodyPr/>
          <a:lstStyle/>
          <a:p>
            <a:fld id="{4D86EDED-B1AF-7E4B-94C9-3F0EAA36C7D5}" type="slidenum">
              <a:rPr lang="en-US" smtClean="0"/>
              <a:pPr/>
              <a:t>29</a:t>
            </a:fld>
            <a:endParaRPr lang="en-US"/>
          </a:p>
        </p:txBody>
      </p:sp>
      <p:sp>
        <p:nvSpPr>
          <p:cNvPr id="16" name="TextBox 15"/>
          <p:cNvSpPr txBox="1"/>
          <p:nvPr/>
        </p:nvSpPr>
        <p:spPr>
          <a:xfrm>
            <a:off x="405143" y="906979"/>
            <a:ext cx="1000132" cy="1862048"/>
          </a:xfrm>
          <a:prstGeom prst="rect">
            <a:avLst/>
          </a:prstGeom>
          <a:noFill/>
        </p:spPr>
        <p:txBody>
          <a:bodyPr wrap="square" rtlCol="0">
            <a:spAutoFit/>
          </a:bodyPr>
          <a:lstStyle/>
          <a:p>
            <a:r>
              <a:rPr lang="en-US" sz="11500" b="1" dirty="0" smtClean="0">
                <a:ln w="19050">
                  <a:solidFill>
                    <a:schemeClr val="tx2">
                      <a:tint val="1000"/>
                    </a:schemeClr>
                  </a:solidFill>
                  <a:prstDash val="solid"/>
                </a:ln>
                <a:solidFill>
                  <a:srgbClr val="006600"/>
                </a:solidFill>
                <a:effectLst>
                  <a:outerShdw blurRad="50000" dist="50800" dir="7500000" algn="tl">
                    <a:srgbClr val="000000">
                      <a:shade val="5000"/>
                      <a:alpha val="35000"/>
                    </a:srgbClr>
                  </a:outerShdw>
                </a:effectLst>
                <a:latin typeface="Rockwell"/>
                <a:cs typeface="Rockwell"/>
              </a:rPr>
              <a:t>3</a:t>
            </a:r>
            <a:endParaRPr lang="en-US" sz="11500" b="1" dirty="0">
              <a:ln w="19050">
                <a:solidFill>
                  <a:schemeClr val="tx2">
                    <a:tint val="1000"/>
                  </a:schemeClr>
                </a:solidFill>
                <a:prstDash val="solid"/>
              </a:ln>
              <a:solidFill>
                <a:srgbClr val="006600"/>
              </a:solidFill>
              <a:effectLst>
                <a:outerShdw blurRad="50000" dist="50800" dir="7500000" algn="tl">
                  <a:srgbClr val="000000">
                    <a:shade val="5000"/>
                    <a:alpha val="35000"/>
                  </a:srgbClr>
                </a:outerShdw>
              </a:effectLst>
              <a:latin typeface="Rockwell"/>
              <a:cs typeface="Rockwell"/>
            </a:endParaRPr>
          </a:p>
        </p:txBody>
      </p:sp>
      <p:grpSp>
        <p:nvGrpSpPr>
          <p:cNvPr id="2" name="Group 25"/>
          <p:cNvGrpSpPr/>
          <p:nvPr/>
        </p:nvGrpSpPr>
        <p:grpSpPr>
          <a:xfrm>
            <a:off x="116387" y="-264699"/>
            <a:ext cx="8281657" cy="7479578"/>
            <a:chOff x="-5319042" y="-689728"/>
            <a:chExt cx="5919292" cy="5400000"/>
          </a:xfrm>
        </p:grpSpPr>
        <p:sp>
          <p:nvSpPr>
            <p:cNvPr id="21" name="Ellipse 15"/>
            <p:cNvSpPr/>
            <p:nvPr/>
          </p:nvSpPr>
          <p:spPr bwMode="auto">
            <a:xfrm rot="2481755">
              <a:off x="-3389185" y="-689728"/>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FF00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1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22" name="Ellipse 15"/>
            <p:cNvSpPr/>
            <p:nvPr/>
          </p:nvSpPr>
          <p:spPr bwMode="auto">
            <a:xfrm rot="2933186">
              <a:off x="-3207642" y="-526985"/>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0080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23" name="Ellipse 15"/>
            <p:cNvSpPr/>
            <p:nvPr/>
          </p:nvSpPr>
          <p:spPr bwMode="auto">
            <a:xfrm rot="4936605">
              <a:off x="-2688350" y="628534"/>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FF99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1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24" name="Ellipse 15"/>
            <p:cNvSpPr/>
            <p:nvPr/>
          </p:nvSpPr>
          <p:spPr bwMode="auto">
            <a:xfrm rot="5400000">
              <a:off x="-2688350" y="915067"/>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00206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1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25" name="Ellipse 10"/>
            <p:cNvSpPr/>
            <p:nvPr/>
          </p:nvSpPr>
          <p:spPr bwMode="auto">
            <a:xfrm>
              <a:off x="-4500926" y="3318067"/>
              <a:ext cx="594000" cy="594000"/>
            </a:xfrm>
            <a:prstGeom prst="ellipse">
              <a:avLst/>
            </a:prstGeom>
            <a:gradFill>
              <a:gsLst>
                <a:gs pos="0">
                  <a:schemeClr val="bg1">
                    <a:lumMod val="85000"/>
                  </a:schemeClr>
                </a:gs>
                <a:gs pos="80000">
                  <a:schemeClr val="bg1">
                    <a:lumMod val="95000"/>
                  </a:schemeClr>
                </a:gs>
                <a:gs pos="100000">
                  <a:schemeClr val="bg1"/>
                </a:gs>
              </a:gsLst>
            </a:gradFill>
            <a:ln>
              <a:no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fr-FR" sz="1400" b="1">
                <a:solidFill>
                  <a:schemeClr val="tx1"/>
                </a:solidFill>
                <a:latin typeface="Lucida Sans Unicode" pitchFamily="34" charset="0"/>
              </a:endParaRPr>
            </a:p>
          </p:txBody>
        </p:sp>
      </p:grpSp>
      <p:sp>
        <p:nvSpPr>
          <p:cNvPr id="15" name="Rectangle 14"/>
          <p:cNvSpPr/>
          <p:nvPr/>
        </p:nvSpPr>
        <p:spPr>
          <a:xfrm rot="19144577">
            <a:off x="1866010" y="2243962"/>
            <a:ext cx="5377757" cy="1569660"/>
          </a:xfrm>
          <a:prstGeom prst="rect">
            <a:avLst/>
          </a:prstGeom>
        </p:spPr>
        <p:txBody>
          <a:bodyPr wrap="square">
            <a:spAutoFit/>
          </a:bodyPr>
          <a:lstStyle/>
          <a:p>
            <a:pPr algn="ctr" fontAlgn="base">
              <a:spcBef>
                <a:spcPct val="0"/>
              </a:spcBef>
              <a:spcAft>
                <a:spcPct val="0"/>
              </a:spcAft>
            </a:pPr>
            <a:r>
              <a:rPr lang="en-US" sz="3200" b="1" dirty="0" err="1" smtClean="0">
                <a:solidFill>
                  <a:schemeClr val="bg1"/>
                </a:solidFill>
                <a:effectLst>
                  <a:outerShdw blurRad="38100" dist="38100" dir="2700000" algn="tl">
                    <a:srgbClr val="000000">
                      <a:alpha val="43137"/>
                    </a:srgbClr>
                  </a:outerShdw>
                </a:effectLst>
                <a:latin typeface="Arial"/>
                <a:cs typeface="Arial"/>
              </a:rPr>
              <a:t>Pegawai</a:t>
            </a:r>
            <a:r>
              <a:rPr lang="en-US" sz="3200" b="1" dirty="0" smtClean="0">
                <a:solidFill>
                  <a:schemeClr val="bg1"/>
                </a:solidFill>
                <a:effectLst>
                  <a:outerShdw blurRad="38100" dist="38100" dir="2700000" algn="tl">
                    <a:srgbClr val="000000">
                      <a:alpha val="43137"/>
                    </a:srgbClr>
                  </a:outerShdw>
                </a:effectLst>
                <a:latin typeface="Arial"/>
                <a:cs typeface="Arial"/>
              </a:rPr>
              <a:t> </a:t>
            </a:r>
            <a:r>
              <a:rPr lang="en-US" sz="3200" b="1" dirty="0" err="1" smtClean="0">
                <a:solidFill>
                  <a:schemeClr val="bg1"/>
                </a:solidFill>
                <a:effectLst>
                  <a:outerShdw blurRad="38100" dist="38100" dir="2700000" algn="tl">
                    <a:srgbClr val="000000">
                      <a:alpha val="43137"/>
                    </a:srgbClr>
                  </a:outerShdw>
                </a:effectLst>
                <a:latin typeface="Arial"/>
                <a:cs typeface="Arial"/>
              </a:rPr>
              <a:t>Penilai</a:t>
            </a:r>
            <a:r>
              <a:rPr lang="en-US" sz="3200" b="1" dirty="0" smtClean="0">
                <a:solidFill>
                  <a:schemeClr val="bg1"/>
                </a:solidFill>
                <a:effectLst>
                  <a:outerShdw blurRad="38100" dist="38100" dir="2700000" algn="tl">
                    <a:srgbClr val="000000">
                      <a:alpha val="43137"/>
                    </a:srgbClr>
                  </a:outerShdw>
                </a:effectLst>
                <a:latin typeface="Arial"/>
                <a:cs typeface="Arial"/>
              </a:rPr>
              <a:t> (PP) &amp;</a:t>
            </a:r>
          </a:p>
          <a:p>
            <a:pPr algn="ctr" fontAlgn="base">
              <a:spcBef>
                <a:spcPct val="0"/>
              </a:spcBef>
              <a:spcAft>
                <a:spcPct val="0"/>
              </a:spcAft>
            </a:pPr>
            <a:r>
              <a:rPr lang="en-US" sz="3200" b="1" dirty="0" err="1" smtClean="0">
                <a:solidFill>
                  <a:schemeClr val="bg1"/>
                </a:solidFill>
                <a:effectLst>
                  <a:outerShdw blurRad="38100" dist="38100" dir="2700000" algn="tl">
                    <a:srgbClr val="000000">
                      <a:alpha val="43137"/>
                    </a:srgbClr>
                  </a:outerShdw>
                </a:effectLst>
                <a:latin typeface="Arial"/>
                <a:cs typeface="Arial"/>
              </a:rPr>
              <a:t>Pegawai</a:t>
            </a:r>
            <a:r>
              <a:rPr lang="en-US" sz="3200" b="1" dirty="0" smtClean="0">
                <a:solidFill>
                  <a:schemeClr val="bg1"/>
                </a:solidFill>
                <a:effectLst>
                  <a:outerShdw blurRad="38100" dist="38100" dir="2700000" algn="tl">
                    <a:srgbClr val="000000">
                      <a:alpha val="43137"/>
                    </a:srgbClr>
                  </a:outerShdw>
                </a:effectLst>
                <a:latin typeface="Arial"/>
                <a:cs typeface="Arial"/>
              </a:rPr>
              <a:t> Yang </a:t>
            </a:r>
            <a:r>
              <a:rPr lang="en-US" sz="3200" b="1" dirty="0" err="1" smtClean="0">
                <a:solidFill>
                  <a:schemeClr val="bg1"/>
                </a:solidFill>
                <a:effectLst>
                  <a:outerShdw blurRad="38100" dist="38100" dir="2700000" algn="tl">
                    <a:srgbClr val="000000">
                      <a:alpha val="43137"/>
                    </a:srgbClr>
                  </a:outerShdw>
                </a:effectLst>
                <a:latin typeface="Arial"/>
                <a:cs typeface="Arial"/>
              </a:rPr>
              <a:t>Dinilai</a:t>
            </a:r>
            <a:r>
              <a:rPr lang="en-US" sz="3200" b="1" dirty="0" smtClean="0">
                <a:solidFill>
                  <a:schemeClr val="bg1"/>
                </a:solidFill>
                <a:effectLst>
                  <a:outerShdw blurRad="38100" dist="38100" dir="2700000" algn="tl">
                    <a:srgbClr val="000000">
                      <a:alpha val="43137"/>
                    </a:srgbClr>
                  </a:outerShdw>
                </a:effectLst>
                <a:latin typeface="Arial"/>
                <a:cs typeface="Arial"/>
              </a:rPr>
              <a:t> (PYD)</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15"/>
                                        </p:tgtEl>
                                      </p:cBhvr>
                                    </p:animEffect>
                                    <p:animScale>
                                      <p:cBhvr>
                                        <p:cTn id="7" dur="250" autoRev="1" fill="hold"/>
                                        <p:tgtEl>
                                          <p:spTgt spid="15"/>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16"/>
                                        </p:tgtEl>
                                      </p:cBhvr>
                                    </p:animEffect>
                                    <p:animScale>
                                      <p:cBhvr>
                                        <p:cTn id="10" dur="250" autoRev="1" fill="hold"/>
                                        <p:tgtEl>
                                          <p:spTgt spid="1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3</a:t>
            </a:fld>
            <a:endParaRPr lang="en-US"/>
          </a:p>
        </p:txBody>
      </p:sp>
      <p:sp>
        <p:nvSpPr>
          <p:cNvPr id="17" name="Ellipse 15"/>
          <p:cNvSpPr/>
          <p:nvPr/>
        </p:nvSpPr>
        <p:spPr bwMode="auto">
          <a:xfrm rot="3949669">
            <a:off x="3342798" y="127699"/>
            <a:ext cx="1502194" cy="7604613"/>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FF00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2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8" name="Ellipse 15"/>
          <p:cNvSpPr/>
          <p:nvPr/>
        </p:nvSpPr>
        <p:spPr bwMode="auto">
          <a:xfrm rot="4401100">
            <a:off x="3473548" y="498950"/>
            <a:ext cx="1502194" cy="7604613"/>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0080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2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9" name="Ellipse 15"/>
          <p:cNvSpPr/>
          <p:nvPr/>
        </p:nvSpPr>
        <p:spPr bwMode="auto">
          <a:xfrm rot="4936605">
            <a:off x="3535596" y="867380"/>
            <a:ext cx="1502194" cy="7604613"/>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FF99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1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20" name="Ellipse 15"/>
          <p:cNvSpPr/>
          <p:nvPr/>
        </p:nvSpPr>
        <p:spPr bwMode="auto">
          <a:xfrm rot="5400000">
            <a:off x="3535596" y="1233017"/>
            <a:ext cx="1502194" cy="7604613"/>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00206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r>
              <a:rPr lang="en-US" sz="3200" b="1" dirty="0" err="1" smtClean="0">
                <a:solidFill>
                  <a:schemeClr val="bg1"/>
                </a:solidFill>
                <a:effectLst>
                  <a:outerShdw blurRad="38100" dist="38100" dir="2700000" algn="tl">
                    <a:srgbClr val="000000">
                      <a:alpha val="43137"/>
                    </a:srgbClr>
                  </a:outerShdw>
                </a:effectLst>
                <a:latin typeface="Arial"/>
                <a:cs typeface="Arial"/>
              </a:rPr>
              <a:t>Latar</a:t>
            </a:r>
            <a:endParaRPr lang="en-US" sz="3200" b="1" dirty="0">
              <a:solidFill>
                <a:schemeClr val="bg1"/>
              </a:solidFill>
              <a:effectLst>
                <a:outerShdw blurRad="38100" dist="38100" dir="2700000" algn="tl">
                  <a:srgbClr val="000000">
                    <a:alpha val="43137"/>
                  </a:srgbClr>
                </a:outerShdw>
              </a:effectLst>
              <a:latin typeface="Arial"/>
              <a:cs typeface="Arial"/>
            </a:endParaRPr>
          </a:p>
          <a:p>
            <a:pPr algn="r" fontAlgn="base">
              <a:spcBef>
                <a:spcPct val="0"/>
              </a:spcBef>
              <a:spcAft>
                <a:spcPct val="0"/>
              </a:spcAft>
            </a:pPr>
            <a:r>
              <a:rPr lang="en-US" sz="3200" b="1" dirty="0" err="1" smtClean="0">
                <a:solidFill>
                  <a:schemeClr val="bg1"/>
                </a:solidFill>
                <a:effectLst>
                  <a:outerShdw blurRad="38100" dist="38100" dir="2700000" algn="tl">
                    <a:srgbClr val="000000">
                      <a:alpha val="43137"/>
                    </a:srgbClr>
                  </a:outerShdw>
                </a:effectLst>
                <a:latin typeface="Arial"/>
                <a:cs typeface="Arial"/>
              </a:rPr>
              <a:t>Belakang</a:t>
            </a:r>
            <a:endParaRPr lang="en-US" b="1" dirty="0">
              <a:solidFill>
                <a:schemeClr val="bg1"/>
              </a:solidFill>
              <a:effectLst>
                <a:outerShdw blurRad="38100" dist="38100" dir="2700000" algn="tl">
                  <a:srgbClr val="000000">
                    <a:alpha val="43137"/>
                  </a:srgbClr>
                </a:outerShdw>
              </a:effectLst>
              <a:latin typeface="Arial"/>
              <a:cs typeface="Arial"/>
            </a:endParaRPr>
          </a:p>
        </p:txBody>
      </p:sp>
      <p:sp>
        <p:nvSpPr>
          <p:cNvPr id="10" name="TextBox 9"/>
          <p:cNvSpPr txBox="1"/>
          <p:nvPr/>
        </p:nvSpPr>
        <p:spPr>
          <a:xfrm>
            <a:off x="405143" y="906979"/>
            <a:ext cx="1000132" cy="1862048"/>
          </a:xfrm>
          <a:prstGeom prst="rect">
            <a:avLst/>
          </a:prstGeom>
          <a:noFill/>
        </p:spPr>
        <p:txBody>
          <a:bodyPr wrap="square" rtlCol="0">
            <a:spAutoFit/>
          </a:bodyPr>
          <a:lstStyle/>
          <a:p>
            <a:r>
              <a:rPr lang="en-US" sz="11500" b="1" dirty="0" smtClean="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rPr>
              <a:t>1</a:t>
            </a:r>
            <a:endParaRPr lang="en-US" sz="11500" b="1" dirty="0">
              <a:ln w="19050">
                <a:solidFill>
                  <a:schemeClr val="tx2">
                    <a:tint val="1000"/>
                  </a:schemeClr>
                </a:solidFill>
                <a:prstDash val="solid"/>
              </a:ln>
              <a:solidFill>
                <a:srgbClr val="002060"/>
              </a:solidFill>
              <a:effectLst>
                <a:outerShdw blurRad="50000" dist="50800" dir="7500000" algn="tl">
                  <a:srgbClr val="000000">
                    <a:shade val="5000"/>
                    <a:alpha val="35000"/>
                  </a:srgbClr>
                </a:outerShdw>
              </a:effectLst>
              <a:latin typeface="Rockwell"/>
              <a:cs typeface="Rockwe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20"/>
                                        </p:tgtEl>
                                      </p:cBhvr>
                                    </p:animEffect>
                                    <p:animScale>
                                      <p:cBhvr>
                                        <p:cTn id="7" dur="250" autoRev="1" fill="hold"/>
                                        <p:tgtEl>
                                          <p:spTgt spid="20"/>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10"/>
                                        </p:tgtEl>
                                      </p:cBhvr>
                                    </p:animEffect>
                                    <p:animScale>
                                      <p:cBhvr>
                                        <p:cTn id="10" dur="250" autoRev="1" fill="hold"/>
                                        <p:tgtEl>
                                          <p:spTgt spid="1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Documents and Settings\dalida.nordin\Desktop\ppp template\Daily-Notebook-and-Pen-Backgrounds.jpg"/>
          <p:cNvPicPr>
            <a:picLocks noChangeAspect="1" noChangeArrowheads="1"/>
          </p:cNvPicPr>
          <p:nvPr/>
        </p:nvPicPr>
        <p:blipFill>
          <a:blip r:embed="rId5" cstate="print"/>
          <a:srcRect l="781" t="1250" r="1719" b="5625"/>
          <a:stretch>
            <a:fillRect/>
          </a:stretch>
        </p:blipFill>
        <p:spPr bwMode="auto">
          <a:xfrm>
            <a:off x="285721" y="928670"/>
            <a:ext cx="8562971" cy="5786478"/>
          </a:xfrm>
          <a:prstGeom prst="rect">
            <a:avLst/>
          </a:prstGeom>
          <a:noFill/>
        </p:spPr>
      </p:pic>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30</a:t>
            </a:fld>
            <a:endParaRPr lang="en-US"/>
          </a:p>
        </p:txBody>
      </p:sp>
      <p:sp>
        <p:nvSpPr>
          <p:cNvPr id="6" name="TextBox 5"/>
          <p:cNvSpPr txBox="1"/>
          <p:nvPr/>
        </p:nvSpPr>
        <p:spPr>
          <a:xfrm>
            <a:off x="5286380" y="1714489"/>
            <a:ext cx="3143272" cy="2954655"/>
          </a:xfrm>
          <a:prstGeom prst="rect">
            <a:avLst/>
          </a:prstGeom>
          <a:noFill/>
        </p:spPr>
        <p:txBody>
          <a:bodyPr wrap="square" rtlCol="0">
            <a:spAutoFit/>
          </a:bodyPr>
          <a:lstStyle/>
          <a:p>
            <a:pPr marL="342900" indent="-342900"/>
            <a:endParaRPr lang="en-US" sz="2400" dirty="0" smtClean="0">
              <a:latin typeface="Arial" pitchFamily="34" charset="0"/>
              <a:cs typeface="Arial" pitchFamily="34" charset="0"/>
            </a:endParaRPr>
          </a:p>
          <a:p>
            <a:pPr>
              <a:tabLst>
                <a:tab pos="0" algn="l"/>
              </a:tabLst>
            </a:pPr>
            <a:r>
              <a:rPr lang="en-US" sz="2400" dirty="0" err="1" smtClean="0">
                <a:latin typeface="Arial" pitchFamily="34" charset="0"/>
                <a:cs typeface="Arial" pitchFamily="34" charset="0"/>
              </a:rPr>
              <a:t>Menggalakkan</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persaingan</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positif</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dalam</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meningkatkan</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kualiti</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dan</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produktiviti</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ke</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arah</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pencapaian</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objektif</a:t>
            </a:r>
            <a:r>
              <a:rPr lang="en-US" sz="2400" dirty="0" smtClean="0">
                <a:latin typeface="Arial" pitchFamily="34" charset="0"/>
                <a:cs typeface="Arial" pitchFamily="34" charset="0"/>
              </a:rPr>
              <a:t> </a:t>
            </a:r>
            <a:r>
              <a:rPr lang="en-US" sz="2400" dirty="0" err="1" smtClean="0">
                <a:latin typeface="Arial" pitchFamily="34" charset="0"/>
                <a:cs typeface="Arial" pitchFamily="34" charset="0"/>
              </a:rPr>
              <a:t>organisasi</a:t>
            </a:r>
            <a:r>
              <a:rPr lang="en-US" sz="2400" dirty="0" smtClean="0">
                <a:latin typeface="Arial" pitchFamily="34" charset="0"/>
                <a:cs typeface="Arial" pitchFamily="34" charset="0"/>
              </a:rPr>
              <a:t>.</a:t>
            </a:r>
          </a:p>
          <a:p>
            <a:endParaRPr lang="en-US" dirty="0">
              <a:latin typeface="Arial" pitchFamily="34" charset="0"/>
              <a:cs typeface="Arial" pitchFamily="34" charset="0"/>
            </a:endParaRPr>
          </a:p>
        </p:txBody>
      </p:sp>
      <p:sp>
        <p:nvSpPr>
          <p:cNvPr id="7" name="TextBox 6"/>
          <p:cNvSpPr txBox="1"/>
          <p:nvPr/>
        </p:nvSpPr>
        <p:spPr>
          <a:xfrm>
            <a:off x="971600" y="2132857"/>
            <a:ext cx="3138712" cy="3262432"/>
          </a:xfrm>
          <a:prstGeom prst="rect">
            <a:avLst/>
          </a:prstGeom>
          <a:noFill/>
        </p:spPr>
        <p:txBody>
          <a:bodyPr wrap="square" rtlCol="0">
            <a:spAutoFit/>
          </a:bodyPr>
          <a:lstStyle/>
          <a:p>
            <a:r>
              <a:rPr lang="en-US" sz="2400" dirty="0" err="1" smtClean="0">
                <a:latin typeface="Arial" pitchFamily="34" charset="0"/>
                <a:ea typeface="Segoe UI" pitchFamily="34" charset="0"/>
                <a:cs typeface="Arial" pitchFamily="34" charset="0"/>
              </a:rPr>
              <a:t>Penilaian</a:t>
            </a:r>
            <a:r>
              <a:rPr lang="en-US" sz="2400" dirty="0" smtClean="0">
                <a:latin typeface="Arial" pitchFamily="34" charset="0"/>
                <a:ea typeface="Segoe UI" pitchFamily="34" charset="0"/>
                <a:cs typeface="Arial" pitchFamily="34" charset="0"/>
              </a:rPr>
              <a:t> yang </a:t>
            </a:r>
            <a:r>
              <a:rPr lang="en-US" sz="2400" dirty="0" err="1" smtClean="0">
                <a:latin typeface="Arial" pitchFamily="34" charset="0"/>
                <a:ea typeface="Segoe UI" pitchFamily="34" charset="0"/>
                <a:cs typeface="Arial" pitchFamily="34" charset="0"/>
              </a:rPr>
              <a:t>adil</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dan</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telus</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berasaskan</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kepada</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kompetensi</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potensi</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dan</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keberhasilan</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dalam</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melaksanakan</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tugas</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dan</a:t>
            </a:r>
            <a:r>
              <a:rPr lang="en-US" sz="2400" dirty="0" smtClean="0">
                <a:latin typeface="Arial" pitchFamily="34" charset="0"/>
                <a:ea typeface="Segoe UI" pitchFamily="34" charset="0"/>
                <a:cs typeface="Arial" pitchFamily="34" charset="0"/>
              </a:rPr>
              <a:t> </a:t>
            </a:r>
            <a:r>
              <a:rPr lang="en-US" sz="2400" dirty="0" err="1" smtClean="0">
                <a:latin typeface="Arial" pitchFamily="34" charset="0"/>
                <a:ea typeface="Segoe UI" pitchFamily="34" charset="0"/>
                <a:cs typeface="Arial" pitchFamily="34" charset="0"/>
              </a:rPr>
              <a:t>tanggungjawab</a:t>
            </a:r>
            <a:endParaRPr lang="en-US" sz="2400" dirty="0" smtClean="0">
              <a:latin typeface="Arial" pitchFamily="34" charset="0"/>
              <a:ea typeface="Segoe UI" pitchFamily="34" charset="0"/>
              <a:cs typeface="Arial" pitchFamily="34" charset="0"/>
            </a:endParaRPr>
          </a:p>
          <a:p>
            <a:pPr marL="342900" indent="-342900">
              <a:buFont typeface="+mj-lt"/>
              <a:buAutoNum type="arabicPeriod"/>
            </a:pPr>
            <a:endParaRPr lang="en-US" sz="2000" dirty="0" smtClean="0">
              <a:latin typeface="Arial" pitchFamily="34" charset="0"/>
              <a:ea typeface="Segoe UI" pitchFamily="34" charset="0"/>
              <a:cs typeface="Arial" pitchFamily="34" charset="0"/>
            </a:endParaRPr>
          </a:p>
          <a:p>
            <a:endParaRPr lang="en-US" dirty="0">
              <a:latin typeface="Arial" pitchFamily="34" charset="0"/>
              <a:ea typeface="Segoe UI" pitchFamily="34" charset="0"/>
              <a:cs typeface="Arial" pitchFamily="34" charset="0"/>
            </a:endParaRPr>
          </a:p>
        </p:txBody>
      </p:sp>
      <p:sp>
        <p:nvSpPr>
          <p:cNvPr id="16" name="Oval 34"/>
          <p:cNvSpPr>
            <a:spLocks noChangeArrowheads="1"/>
          </p:cNvSpPr>
          <p:nvPr>
            <p:custDataLst>
              <p:tags r:id="rId1"/>
            </p:custDataLst>
          </p:nvPr>
        </p:nvSpPr>
        <p:spPr bwMode="gray">
          <a:xfrm>
            <a:off x="500034" y="2103110"/>
            <a:ext cx="357191" cy="349475"/>
          </a:xfrm>
          <a:prstGeom prst="ellipse">
            <a:avLst/>
          </a:prstGeom>
          <a:solidFill>
            <a:schemeClr val="folHlink"/>
          </a:solidFill>
          <a:ln w="19050" algn="ctr">
            <a:solidFill>
              <a:schemeClr val="bg1"/>
            </a:solidFill>
            <a:round/>
            <a:headEnd/>
            <a:tailEnd/>
          </a:ln>
          <a:effectLst>
            <a:outerShdw dist="35921" dir="2700000" algn="ctr" rotWithShape="0">
              <a:srgbClr val="808080">
                <a:alpha val="50000"/>
              </a:srgbClr>
            </a:outerShdw>
          </a:effectLst>
        </p:spPr>
        <p:txBody>
          <a:bodyPr wrap="none" lIns="0" tIns="0" rIns="0" bIns="0" anchor="ctr" anchorCtr="1"/>
          <a:lstStyle/>
          <a:p>
            <a:pPr>
              <a:buClrTx/>
              <a:defRPr/>
            </a:pPr>
            <a:r>
              <a:rPr lang="en-US" sz="2000" b="1" dirty="0">
                <a:solidFill>
                  <a:schemeClr val="bg1"/>
                </a:solidFill>
                <a:latin typeface="Arial" pitchFamily="34" charset="0"/>
                <a:ea typeface="MS PGothic" pitchFamily="34" charset="-128"/>
                <a:cs typeface="Arial" pitchFamily="34" charset="0"/>
              </a:rPr>
              <a:t>I</a:t>
            </a:r>
          </a:p>
        </p:txBody>
      </p:sp>
      <p:sp>
        <p:nvSpPr>
          <p:cNvPr id="17" name="Oval 42"/>
          <p:cNvSpPr>
            <a:spLocks noChangeArrowheads="1"/>
          </p:cNvSpPr>
          <p:nvPr>
            <p:custDataLst>
              <p:tags r:id="rId2"/>
            </p:custDataLst>
          </p:nvPr>
        </p:nvSpPr>
        <p:spPr bwMode="gray">
          <a:xfrm>
            <a:off x="4857753" y="2079393"/>
            <a:ext cx="357191" cy="349475"/>
          </a:xfrm>
          <a:prstGeom prst="ellipse">
            <a:avLst/>
          </a:prstGeom>
          <a:solidFill>
            <a:schemeClr val="folHlink"/>
          </a:solidFill>
          <a:ln w="19050" algn="ctr">
            <a:solidFill>
              <a:schemeClr val="bg1"/>
            </a:solidFill>
            <a:round/>
            <a:headEnd/>
            <a:tailEnd/>
          </a:ln>
          <a:effectLst>
            <a:outerShdw dist="35921" dir="2700000" algn="ctr" rotWithShape="0">
              <a:srgbClr val="808080">
                <a:alpha val="50000"/>
              </a:srgbClr>
            </a:outerShdw>
          </a:effectLst>
        </p:spPr>
        <p:txBody>
          <a:bodyPr wrap="none" lIns="0" tIns="0" rIns="0" bIns="0" anchor="ctr" anchorCtr="1"/>
          <a:lstStyle/>
          <a:p>
            <a:pPr>
              <a:buClrTx/>
              <a:defRPr/>
            </a:pPr>
            <a:r>
              <a:rPr lang="en-US" sz="2000" b="1" dirty="0">
                <a:solidFill>
                  <a:schemeClr val="bg1"/>
                </a:solidFill>
                <a:latin typeface="Arial" pitchFamily="34" charset="0"/>
                <a:ea typeface="MS PGothic" pitchFamily="34" charset="-128"/>
                <a:cs typeface="Arial" pitchFamily="34" charset="0"/>
              </a:rPr>
              <a:t>II</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8" presetClass="entr" presetSubtype="0" accel="10000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strVal val="#ppt_w*2.5"/>
                                          </p:val>
                                        </p:tav>
                                        <p:tav tm="100000">
                                          <p:val>
                                            <p:strVal val="#ppt_w"/>
                                          </p:val>
                                        </p:tav>
                                      </p:tavLst>
                                    </p:anim>
                                    <p:anim calcmode="lin" valueType="num">
                                      <p:cBhvr>
                                        <p:cTn id="8" dur="500" fill="hold"/>
                                        <p:tgtEl>
                                          <p:spTgt spid="16"/>
                                        </p:tgtEl>
                                        <p:attrNameLst>
                                          <p:attrName>ppt_h</p:attrName>
                                        </p:attrNameLst>
                                      </p:cBhvr>
                                      <p:tavLst>
                                        <p:tav tm="0">
                                          <p:val>
                                            <p:strVal val="#ppt_h*0.01"/>
                                          </p:val>
                                        </p:tav>
                                        <p:tav tm="100000">
                                          <p:val>
                                            <p:strVal val="#ppt_h"/>
                                          </p:val>
                                        </p:tav>
                                      </p:tavLst>
                                    </p:anim>
                                    <p:anim calcmode="lin" valueType="num">
                                      <p:cBhvr>
                                        <p:cTn id="9" dur="500" fill="hold"/>
                                        <p:tgtEl>
                                          <p:spTgt spid="16"/>
                                        </p:tgtEl>
                                        <p:attrNameLst>
                                          <p:attrName>ppt_x</p:attrName>
                                        </p:attrNameLst>
                                      </p:cBhvr>
                                      <p:tavLst>
                                        <p:tav tm="0">
                                          <p:val>
                                            <p:strVal val="#ppt_x"/>
                                          </p:val>
                                        </p:tav>
                                        <p:tav tm="100000">
                                          <p:val>
                                            <p:strVal val="#ppt_x"/>
                                          </p:val>
                                        </p:tav>
                                      </p:tavLst>
                                    </p:anim>
                                    <p:anim calcmode="lin" valueType="num">
                                      <p:cBhvr>
                                        <p:cTn id="10" dur="500" fill="hold"/>
                                        <p:tgtEl>
                                          <p:spTgt spid="16"/>
                                        </p:tgtEl>
                                        <p:attrNameLst>
                                          <p:attrName>ppt_y</p:attrName>
                                        </p:attrNameLst>
                                      </p:cBhvr>
                                      <p:tavLst>
                                        <p:tav tm="0">
                                          <p:val>
                                            <p:strVal val="#ppt_h+1"/>
                                          </p:val>
                                        </p:tav>
                                        <p:tav tm="100000">
                                          <p:val>
                                            <p:strVal val="#ppt_y"/>
                                          </p:val>
                                        </p:tav>
                                      </p:tavLst>
                                    </p:anim>
                                    <p:animEffect transition="in" filter="fade">
                                      <p:cBhvr>
                                        <p:cTn id="11" dur="500"/>
                                        <p:tgtEl>
                                          <p:spTgt spid="16"/>
                                        </p:tgtEl>
                                      </p:cBhvr>
                                    </p:animEffect>
                                  </p:childTnLst>
                                </p:cTn>
                              </p:par>
                              <p:par>
                                <p:cTn id="12" presetID="58" presetClass="entr" presetSubtype="0" accel="100000"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strVal val="#ppt_w*2.5"/>
                                          </p:val>
                                        </p:tav>
                                        <p:tav tm="100000">
                                          <p:val>
                                            <p:strVal val="#ppt_w"/>
                                          </p:val>
                                        </p:tav>
                                      </p:tavLst>
                                    </p:anim>
                                    <p:anim calcmode="lin" valueType="num">
                                      <p:cBhvr>
                                        <p:cTn id="15" dur="500" fill="hold"/>
                                        <p:tgtEl>
                                          <p:spTgt spid="7"/>
                                        </p:tgtEl>
                                        <p:attrNameLst>
                                          <p:attrName>ppt_h</p:attrName>
                                        </p:attrNameLst>
                                      </p:cBhvr>
                                      <p:tavLst>
                                        <p:tav tm="0">
                                          <p:val>
                                            <p:strVal val="#ppt_h*0.01"/>
                                          </p:val>
                                        </p:tav>
                                        <p:tav tm="100000">
                                          <p:val>
                                            <p:strVal val="#ppt_h"/>
                                          </p:val>
                                        </p:tav>
                                      </p:tavLst>
                                    </p:anim>
                                    <p:anim calcmode="lin" valueType="num">
                                      <p:cBhvr>
                                        <p:cTn id="16" dur="500" fill="hold"/>
                                        <p:tgtEl>
                                          <p:spTgt spid="7"/>
                                        </p:tgtEl>
                                        <p:attrNameLst>
                                          <p:attrName>ppt_x</p:attrName>
                                        </p:attrNameLst>
                                      </p:cBhvr>
                                      <p:tavLst>
                                        <p:tav tm="0">
                                          <p:val>
                                            <p:strVal val="#ppt_x"/>
                                          </p:val>
                                        </p:tav>
                                        <p:tav tm="100000">
                                          <p:val>
                                            <p:strVal val="#ppt_x"/>
                                          </p:val>
                                        </p:tav>
                                      </p:tavLst>
                                    </p:anim>
                                    <p:anim calcmode="lin" valueType="num">
                                      <p:cBhvr>
                                        <p:cTn id="17" dur="500" fill="hold"/>
                                        <p:tgtEl>
                                          <p:spTgt spid="7"/>
                                        </p:tgtEl>
                                        <p:attrNameLst>
                                          <p:attrName>ppt_y</p:attrName>
                                        </p:attrNameLst>
                                      </p:cBhvr>
                                      <p:tavLst>
                                        <p:tav tm="0">
                                          <p:val>
                                            <p:strVal val="#ppt_h+1"/>
                                          </p:val>
                                        </p:tav>
                                        <p:tav tm="100000">
                                          <p:val>
                                            <p:strVal val="#ppt_y"/>
                                          </p:val>
                                        </p:tav>
                                      </p:tavLst>
                                    </p:anim>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34"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anim from="(-#ppt_w/2)" to="(#ppt_x)" calcmode="lin" valueType="num">
                                      <p:cBhvr>
                                        <p:cTn id="23" dur="600" fill="hold">
                                          <p:stCondLst>
                                            <p:cond delay="0"/>
                                          </p:stCondLst>
                                        </p:cTn>
                                        <p:tgtEl>
                                          <p:spTgt spid="17"/>
                                        </p:tgtEl>
                                        <p:attrNameLst>
                                          <p:attrName>ppt_x</p:attrName>
                                        </p:attrNameLst>
                                      </p:cBhvr>
                                    </p:anim>
                                    <p:anim from="0" to="-1.0" calcmode="lin" valueType="num">
                                      <p:cBhvr>
                                        <p:cTn id="24" dur="200" decel="50000" autoRev="1" fill="hold">
                                          <p:stCondLst>
                                            <p:cond delay="600"/>
                                          </p:stCondLst>
                                        </p:cTn>
                                        <p:tgtEl>
                                          <p:spTgt spid="17"/>
                                        </p:tgtEl>
                                        <p:attrNameLst>
                                          <p:attrName>xshear</p:attrName>
                                        </p:attrNameLst>
                                      </p:cBhvr>
                                    </p:anim>
                                    <p:animScale>
                                      <p:cBhvr>
                                        <p:cTn id="25" dur="200" decel="100000" autoRev="1" fill="hold">
                                          <p:stCondLst>
                                            <p:cond delay="600"/>
                                          </p:stCondLst>
                                        </p:cTn>
                                        <p:tgtEl>
                                          <p:spTgt spid="17"/>
                                        </p:tgtEl>
                                      </p:cBhvr>
                                      <p:from x="100000" y="100000"/>
                                      <p:to x="80000" y="100000"/>
                                    </p:animScale>
                                    <p:anim by="(#ppt_h/3+#ppt_w*0.1)" calcmode="lin" valueType="num">
                                      <p:cBhvr additive="sum">
                                        <p:cTn id="26" dur="200" decel="100000" autoRev="1" fill="hold">
                                          <p:stCondLst>
                                            <p:cond delay="600"/>
                                          </p:stCondLst>
                                        </p:cTn>
                                        <p:tgtEl>
                                          <p:spTgt spid="17"/>
                                        </p:tgtEl>
                                        <p:attrNameLst>
                                          <p:attrName>ppt_x</p:attrName>
                                        </p:attrNameLst>
                                      </p:cBhvr>
                                    </p:anim>
                                  </p:childTnLst>
                                </p:cTn>
                              </p:par>
                              <p:par>
                                <p:cTn id="27" presetID="34"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 from="(-#ppt_w/2)" to="(#ppt_x)" calcmode="lin" valueType="num">
                                      <p:cBhvr>
                                        <p:cTn id="29" dur="600" fill="hold">
                                          <p:stCondLst>
                                            <p:cond delay="0"/>
                                          </p:stCondLst>
                                        </p:cTn>
                                        <p:tgtEl>
                                          <p:spTgt spid="6"/>
                                        </p:tgtEl>
                                        <p:attrNameLst>
                                          <p:attrName>ppt_x</p:attrName>
                                        </p:attrNameLst>
                                      </p:cBhvr>
                                    </p:anim>
                                    <p:anim from="0" to="-1.0" calcmode="lin" valueType="num">
                                      <p:cBhvr>
                                        <p:cTn id="30" dur="200" decel="50000" autoRev="1" fill="hold">
                                          <p:stCondLst>
                                            <p:cond delay="600"/>
                                          </p:stCondLst>
                                        </p:cTn>
                                        <p:tgtEl>
                                          <p:spTgt spid="6"/>
                                        </p:tgtEl>
                                        <p:attrNameLst>
                                          <p:attrName>xshear</p:attrName>
                                        </p:attrNameLst>
                                      </p:cBhvr>
                                    </p:anim>
                                    <p:animScale>
                                      <p:cBhvr>
                                        <p:cTn id="31" dur="200" decel="100000" autoRev="1" fill="hold">
                                          <p:stCondLst>
                                            <p:cond delay="600"/>
                                          </p:stCondLst>
                                        </p:cTn>
                                        <p:tgtEl>
                                          <p:spTgt spid="6"/>
                                        </p:tgtEl>
                                      </p:cBhvr>
                                      <p:from x="100000" y="100000"/>
                                      <p:to x="80000" y="100000"/>
                                    </p:animScale>
                                    <p:anim by="(#ppt_h/3+#ppt_w*0.1)" calcmode="lin" valueType="num">
                                      <p:cBhvr additive="sum">
                                        <p:cTn id="32" dur="200" decel="100000" autoRev="1" fill="hold">
                                          <p:stCondLst>
                                            <p:cond delay="600"/>
                                          </p:stCondLst>
                                        </p:cTn>
                                        <p:tgtEl>
                                          <p:spTgt spid="6"/>
                                        </p:tgtEl>
                                        <p:attrNameLst>
                                          <p:attrName>ppt_x</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6" grpId="0" animBg="1"/>
      <p:bldP spid="1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31</a:t>
            </a:fld>
            <a:endParaRPr lang="en-US"/>
          </a:p>
        </p:txBody>
      </p:sp>
      <p:sp>
        <p:nvSpPr>
          <p:cNvPr id="6" name="Oval 5"/>
          <p:cNvSpPr/>
          <p:nvPr/>
        </p:nvSpPr>
        <p:spPr>
          <a:xfrm rot="302816">
            <a:off x="226755" y="1406425"/>
            <a:ext cx="2867359" cy="2867358"/>
          </a:xfrm>
          <a:prstGeom prst="ellipse">
            <a:avLst/>
          </a:prstGeom>
          <a:solidFill>
            <a:schemeClr val="bg1"/>
          </a:solidFill>
          <a:ln>
            <a:noFill/>
          </a:ln>
          <a:effectLst>
            <a:innerShdw blurRad="1270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p:cNvSpPr/>
          <p:nvPr/>
        </p:nvSpPr>
        <p:spPr>
          <a:xfrm>
            <a:off x="1885976" y="5878015"/>
            <a:ext cx="6400800" cy="522290"/>
          </a:xfrm>
          <a:prstGeom prst="ellipse">
            <a:avLst/>
          </a:prstGeom>
          <a:gradFill flip="none" rotWithShape="1">
            <a:gsLst>
              <a:gs pos="0">
                <a:sysClr val="windowText" lastClr="000000">
                  <a:lumMod val="50000"/>
                  <a:lumOff val="50000"/>
                  <a:alpha val="98000"/>
                </a:sys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8" name="Rectangle 12"/>
          <p:cNvSpPr/>
          <p:nvPr/>
        </p:nvSpPr>
        <p:spPr>
          <a:xfrm rot="3600000" flipH="1">
            <a:off x="5550930" y="3833017"/>
            <a:ext cx="2217609" cy="842675"/>
          </a:xfrm>
          <a:custGeom>
            <a:avLst/>
            <a:gdLst/>
            <a:ahLst/>
            <a:cxnLst/>
            <a:rect l="l" t="t" r="r" b="b"/>
            <a:pathLst>
              <a:path w="1583255" h="1124712">
                <a:moveTo>
                  <a:pt x="0" y="1124712"/>
                </a:moveTo>
                <a:lnTo>
                  <a:pt x="0" y="0"/>
                </a:lnTo>
                <a:lnTo>
                  <a:pt x="1583255" y="0"/>
                </a:lnTo>
                <a:lnTo>
                  <a:pt x="1583255" y="1124712"/>
                </a:lnTo>
                <a:close/>
              </a:path>
            </a:pathLst>
          </a:custGeom>
          <a:gradFill flip="none" rotWithShape="1">
            <a:gsLst>
              <a:gs pos="81000">
                <a:srgbClr val="0E618F"/>
              </a:gs>
              <a:gs pos="0">
                <a:srgbClr val="00B0F0"/>
              </a:gs>
              <a:gs pos="100000">
                <a:srgbClr val="18284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2"/>
          <p:cNvSpPr/>
          <p:nvPr/>
        </p:nvSpPr>
        <p:spPr>
          <a:xfrm rot="10800000" flipH="1">
            <a:off x="3091220" y="5004138"/>
            <a:ext cx="2217611" cy="842674"/>
          </a:xfrm>
          <a:custGeom>
            <a:avLst/>
            <a:gdLst/>
            <a:ahLst/>
            <a:cxnLst/>
            <a:rect l="l" t="t" r="r" b="b"/>
            <a:pathLst>
              <a:path w="1583255" h="1124712">
                <a:moveTo>
                  <a:pt x="0" y="1124712"/>
                </a:moveTo>
                <a:lnTo>
                  <a:pt x="0" y="0"/>
                </a:lnTo>
                <a:lnTo>
                  <a:pt x="1583255" y="0"/>
                </a:lnTo>
                <a:lnTo>
                  <a:pt x="1583255" y="1124712"/>
                </a:lnTo>
                <a:close/>
              </a:path>
            </a:pathLst>
          </a:custGeom>
          <a:gradFill flip="none" rotWithShape="1">
            <a:gsLst>
              <a:gs pos="81000">
                <a:srgbClr val="910808"/>
              </a:gs>
              <a:gs pos="0">
                <a:srgbClr val="ED1111"/>
              </a:gs>
              <a:gs pos="100000">
                <a:srgbClr val="3E000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2"/>
          <p:cNvSpPr/>
          <p:nvPr/>
        </p:nvSpPr>
        <p:spPr>
          <a:xfrm rot="18000000" flipH="1">
            <a:off x="3308610" y="2297512"/>
            <a:ext cx="2217609" cy="842675"/>
          </a:xfrm>
          <a:custGeom>
            <a:avLst/>
            <a:gdLst/>
            <a:ahLst/>
            <a:cxnLst/>
            <a:rect l="l" t="t" r="r" b="b"/>
            <a:pathLst>
              <a:path w="1583255" h="1124712">
                <a:moveTo>
                  <a:pt x="0" y="1124712"/>
                </a:moveTo>
                <a:lnTo>
                  <a:pt x="0" y="0"/>
                </a:lnTo>
                <a:lnTo>
                  <a:pt x="1583255" y="0"/>
                </a:lnTo>
                <a:lnTo>
                  <a:pt x="1583255" y="1124712"/>
                </a:lnTo>
                <a:close/>
              </a:path>
            </a:pathLst>
          </a:custGeom>
          <a:gradFill flip="none" rotWithShape="1">
            <a:gsLst>
              <a:gs pos="83000">
                <a:srgbClr val="5A930E"/>
              </a:gs>
              <a:gs pos="0">
                <a:srgbClr val="9BED17"/>
              </a:gs>
              <a:gs pos="100000">
                <a:srgbClr val="30580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Arrow 2"/>
          <p:cNvSpPr/>
          <p:nvPr/>
        </p:nvSpPr>
        <p:spPr>
          <a:xfrm rot="3600000">
            <a:off x="4245675" y="1918857"/>
            <a:ext cx="2904939" cy="1353224"/>
          </a:xfrm>
          <a:custGeom>
            <a:avLst/>
            <a:gdLst/>
            <a:ahLst/>
            <a:cxnLst/>
            <a:rect l="l" t="t" r="r" b="b"/>
            <a:pathLst>
              <a:path w="3142212" h="1463754">
                <a:moveTo>
                  <a:pt x="0" y="1188546"/>
                </a:moveTo>
                <a:lnTo>
                  <a:pt x="527316" y="275208"/>
                </a:lnTo>
                <a:lnTo>
                  <a:pt x="2464187" y="275208"/>
                </a:lnTo>
                <a:lnTo>
                  <a:pt x="2464187" y="0"/>
                </a:lnTo>
                <a:lnTo>
                  <a:pt x="3142212" y="731877"/>
                </a:lnTo>
                <a:lnTo>
                  <a:pt x="2464187" y="1463754"/>
                </a:lnTo>
                <a:lnTo>
                  <a:pt x="2464187" y="1188546"/>
                </a:lnTo>
                <a:close/>
              </a:path>
            </a:pathLst>
          </a:custGeom>
          <a:gradFill flip="none" rotWithShape="1">
            <a:gsLst>
              <a:gs pos="83000">
                <a:srgbClr val="5A930E"/>
              </a:gs>
              <a:gs pos="0">
                <a:srgbClr val="9BED17"/>
              </a:gs>
              <a:gs pos="100000">
                <a:srgbClr val="30580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Arrow 2"/>
          <p:cNvSpPr/>
          <p:nvPr/>
        </p:nvSpPr>
        <p:spPr>
          <a:xfrm rot="10800000">
            <a:off x="4673750" y="4748578"/>
            <a:ext cx="2904940" cy="1353224"/>
          </a:xfrm>
          <a:custGeom>
            <a:avLst/>
            <a:gdLst/>
            <a:ahLst/>
            <a:cxnLst/>
            <a:rect l="l" t="t" r="r" b="b"/>
            <a:pathLst>
              <a:path w="3142212" h="1463754">
                <a:moveTo>
                  <a:pt x="0" y="1188546"/>
                </a:moveTo>
                <a:lnTo>
                  <a:pt x="527316" y="275208"/>
                </a:lnTo>
                <a:lnTo>
                  <a:pt x="2464187" y="275208"/>
                </a:lnTo>
                <a:lnTo>
                  <a:pt x="2464187" y="0"/>
                </a:lnTo>
                <a:lnTo>
                  <a:pt x="3142212" y="731877"/>
                </a:lnTo>
                <a:lnTo>
                  <a:pt x="2464187" y="1463754"/>
                </a:lnTo>
                <a:lnTo>
                  <a:pt x="2464187" y="1188546"/>
                </a:lnTo>
                <a:close/>
              </a:path>
            </a:pathLst>
          </a:custGeom>
          <a:gradFill flip="none" rotWithShape="1">
            <a:gsLst>
              <a:gs pos="81000">
                <a:srgbClr val="0E618F"/>
              </a:gs>
              <a:gs pos="0">
                <a:srgbClr val="00B0F0"/>
              </a:gs>
              <a:gs pos="100000">
                <a:srgbClr val="18284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Arrow 2"/>
          <p:cNvSpPr/>
          <p:nvPr/>
        </p:nvSpPr>
        <p:spPr>
          <a:xfrm rot="18000000">
            <a:off x="2000341" y="3701408"/>
            <a:ext cx="2904939" cy="1353224"/>
          </a:xfrm>
          <a:custGeom>
            <a:avLst/>
            <a:gdLst/>
            <a:ahLst/>
            <a:cxnLst/>
            <a:rect l="l" t="t" r="r" b="b"/>
            <a:pathLst>
              <a:path w="3142212" h="1463754">
                <a:moveTo>
                  <a:pt x="0" y="1188546"/>
                </a:moveTo>
                <a:lnTo>
                  <a:pt x="527316" y="275208"/>
                </a:lnTo>
                <a:lnTo>
                  <a:pt x="2464187" y="275208"/>
                </a:lnTo>
                <a:lnTo>
                  <a:pt x="2464187" y="0"/>
                </a:lnTo>
                <a:lnTo>
                  <a:pt x="3142212" y="731877"/>
                </a:lnTo>
                <a:lnTo>
                  <a:pt x="2464187" y="1463754"/>
                </a:lnTo>
                <a:lnTo>
                  <a:pt x="2464187" y="1188546"/>
                </a:lnTo>
                <a:close/>
              </a:path>
            </a:pathLst>
          </a:custGeom>
          <a:gradFill flip="none" rotWithShape="1">
            <a:gsLst>
              <a:gs pos="77000">
                <a:srgbClr val="A90808"/>
              </a:gs>
              <a:gs pos="0">
                <a:srgbClr val="EF2525"/>
              </a:gs>
              <a:gs pos="100000">
                <a:srgbClr val="68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rot="3600000">
            <a:off x="4627893" y="2299153"/>
            <a:ext cx="2274172" cy="830997"/>
          </a:xfrm>
          <a:prstGeom prst="rect">
            <a:avLst/>
          </a:prstGeom>
          <a:noFill/>
        </p:spPr>
        <p:txBody>
          <a:bodyPr wrap="square" rtlCol="0" anchor="ctr">
            <a:spAutoFit/>
          </a:bodyPr>
          <a:lstStyle/>
          <a:p>
            <a:pPr algn="ctr"/>
            <a:r>
              <a:rPr lang="en-US" sz="2400" b="1" smtClean="0">
                <a:solidFill>
                  <a:schemeClr val="bg1"/>
                </a:solidFill>
                <a:effectLst>
                  <a:outerShdw blurRad="50800" dist="38100" dir="5400000" algn="t" rotWithShape="0">
                    <a:prstClr val="black">
                      <a:alpha val="40000"/>
                    </a:prstClr>
                  </a:outerShdw>
                </a:effectLst>
                <a:latin typeface="Arial" pitchFamily="34" charset="0"/>
                <a:ea typeface="Kozuka Gothic Pro M" pitchFamily="34" charset="-128"/>
                <a:cs typeface="Arial" pitchFamily="34" charset="0"/>
              </a:rPr>
              <a:t>Kesesuaian Masa</a:t>
            </a:r>
            <a:endParaRPr lang="en-US" sz="2400" b="1" dirty="0">
              <a:solidFill>
                <a:schemeClr val="bg1"/>
              </a:solidFill>
              <a:effectLst>
                <a:outerShdw blurRad="50800" dist="38100" dir="5400000" algn="t" rotWithShape="0">
                  <a:prstClr val="black">
                    <a:alpha val="40000"/>
                  </a:prstClr>
                </a:outerShdw>
              </a:effectLst>
              <a:latin typeface="Arial" pitchFamily="34" charset="0"/>
              <a:ea typeface="Kozuka Gothic Pro M" pitchFamily="34" charset="-128"/>
              <a:cs typeface="Arial" pitchFamily="34" charset="0"/>
            </a:endParaRPr>
          </a:p>
        </p:txBody>
      </p:sp>
      <p:sp>
        <p:nvSpPr>
          <p:cNvPr id="15" name="TextBox 14"/>
          <p:cNvSpPr txBox="1"/>
          <p:nvPr/>
        </p:nvSpPr>
        <p:spPr>
          <a:xfrm>
            <a:off x="5098221" y="5072075"/>
            <a:ext cx="2274172" cy="830997"/>
          </a:xfrm>
          <a:prstGeom prst="rect">
            <a:avLst/>
          </a:prstGeom>
          <a:noFill/>
        </p:spPr>
        <p:txBody>
          <a:bodyPr wrap="square" rtlCol="0" anchor="ctr">
            <a:spAutoFit/>
          </a:bodyPr>
          <a:lstStyle/>
          <a:p>
            <a:pPr algn="ctr"/>
            <a:r>
              <a:rPr lang="en-US" sz="2400" b="1" smtClean="0">
                <a:solidFill>
                  <a:schemeClr val="bg1"/>
                </a:solidFill>
                <a:effectLst>
                  <a:outerShdw blurRad="50800" dist="38100" dir="5400000" algn="t" rotWithShape="0">
                    <a:prstClr val="black">
                      <a:alpha val="40000"/>
                    </a:prstClr>
                  </a:outerShdw>
                </a:effectLst>
                <a:latin typeface="Arial" pitchFamily="34" charset="0"/>
                <a:ea typeface="Kozuka Gothic Pro M" pitchFamily="34" charset="-128"/>
                <a:cs typeface="Arial" pitchFamily="34" charset="0"/>
              </a:rPr>
              <a:t>Kesesuaian Tempat</a:t>
            </a:r>
            <a:endParaRPr lang="en-US" sz="2400" b="1" dirty="0">
              <a:solidFill>
                <a:schemeClr val="bg1"/>
              </a:solidFill>
              <a:effectLst>
                <a:outerShdw blurRad="50800" dist="38100" dir="5400000" algn="t" rotWithShape="0">
                  <a:prstClr val="black">
                    <a:alpha val="40000"/>
                  </a:prstClr>
                </a:outerShdw>
              </a:effectLst>
              <a:latin typeface="Arial" pitchFamily="34" charset="0"/>
              <a:ea typeface="Kozuka Gothic Pro M" pitchFamily="34" charset="-128"/>
              <a:cs typeface="Arial" pitchFamily="34" charset="0"/>
            </a:endParaRPr>
          </a:p>
        </p:txBody>
      </p:sp>
      <p:sp>
        <p:nvSpPr>
          <p:cNvPr id="16" name="TextBox 15"/>
          <p:cNvSpPr txBox="1"/>
          <p:nvPr/>
        </p:nvSpPr>
        <p:spPr>
          <a:xfrm rot="18000000">
            <a:off x="2391545" y="3843670"/>
            <a:ext cx="2274172" cy="830997"/>
          </a:xfrm>
          <a:prstGeom prst="rect">
            <a:avLst/>
          </a:prstGeom>
          <a:noFill/>
        </p:spPr>
        <p:txBody>
          <a:bodyPr wrap="square" rtlCol="0" anchor="ctr">
            <a:spAutoFit/>
          </a:bodyPr>
          <a:lstStyle/>
          <a:p>
            <a:pPr algn="ctr"/>
            <a:r>
              <a:rPr lang="en-US" sz="2400" b="1" smtClean="0">
                <a:solidFill>
                  <a:schemeClr val="bg1"/>
                </a:solidFill>
                <a:effectLst>
                  <a:outerShdw blurRad="50800" dist="38100" dir="5400000" algn="t" rotWithShape="0">
                    <a:prstClr val="black">
                      <a:alpha val="40000"/>
                    </a:prstClr>
                  </a:outerShdw>
                </a:effectLst>
                <a:latin typeface="Arial" pitchFamily="34" charset="0"/>
                <a:ea typeface="Kozuka Gothic Pro M" pitchFamily="34" charset="-128"/>
                <a:cs typeface="Arial" pitchFamily="34" charset="0"/>
              </a:rPr>
              <a:t>Kepelbagaian Kaedah</a:t>
            </a:r>
            <a:endParaRPr lang="en-US" sz="2400" b="1" dirty="0">
              <a:solidFill>
                <a:schemeClr val="bg1"/>
              </a:solidFill>
              <a:effectLst>
                <a:outerShdw blurRad="50800" dist="38100" dir="5400000" algn="t" rotWithShape="0">
                  <a:prstClr val="black">
                    <a:alpha val="40000"/>
                  </a:prstClr>
                </a:outerShdw>
              </a:effectLst>
              <a:latin typeface="Arial" pitchFamily="34" charset="0"/>
              <a:ea typeface="Kozuka Gothic Pro M" pitchFamily="34" charset="-128"/>
              <a:cs typeface="Arial" pitchFamily="34" charset="0"/>
            </a:endParaRPr>
          </a:p>
        </p:txBody>
      </p:sp>
      <p:sp>
        <p:nvSpPr>
          <p:cNvPr id="17" name="Rectangle 141"/>
          <p:cNvSpPr>
            <a:spLocks noChangeArrowheads="1"/>
          </p:cNvSpPr>
          <p:nvPr/>
        </p:nvSpPr>
        <p:spPr bwMode="auto">
          <a:xfrm>
            <a:off x="357159" y="1857365"/>
            <a:ext cx="2568576" cy="2031325"/>
          </a:xfrm>
          <a:prstGeom prst="rect">
            <a:avLst/>
          </a:prstGeom>
          <a:noFill/>
          <a:ln w="9525">
            <a:noFill/>
            <a:miter lim="800000"/>
            <a:headEnd/>
            <a:tailEnd/>
          </a:ln>
        </p:spPr>
        <p:txBody>
          <a:bodyPr wrap="square">
            <a:spAutoFit/>
          </a:bodyPr>
          <a:lstStyle/>
          <a:p>
            <a:pPr algn="ctr" defTabSz="914400"/>
            <a:r>
              <a:rPr lang="en-US" noProof="1" smtClean="0">
                <a:solidFill>
                  <a:srgbClr val="1E1C11"/>
                </a:solidFill>
                <a:latin typeface="Arial" pitchFamily="34" charset="0"/>
                <a:cs typeface="Arial" pitchFamily="34" charset="0"/>
              </a:rPr>
              <a:t>Pengupayaan (</a:t>
            </a:r>
            <a:r>
              <a:rPr lang="en-US" i="1" noProof="1" smtClean="0">
                <a:solidFill>
                  <a:srgbClr val="1E1C11"/>
                </a:solidFill>
                <a:latin typeface="Arial" pitchFamily="34" charset="0"/>
                <a:cs typeface="Arial" pitchFamily="34" charset="0"/>
              </a:rPr>
              <a:t>empowerment</a:t>
            </a:r>
            <a:r>
              <a:rPr lang="en-US" noProof="1" smtClean="0">
                <a:solidFill>
                  <a:srgbClr val="1E1C11"/>
                </a:solidFill>
                <a:latin typeface="Arial" pitchFamily="34" charset="0"/>
                <a:cs typeface="Arial" pitchFamily="34" charset="0"/>
              </a:rPr>
              <a:t>) kepada organisasi untuk merealisasikan Penilaian  berasaskan tugas dan tempat bertugas</a:t>
            </a:r>
            <a:endParaRPr lang="en-US" sz="1600" dirty="0">
              <a:latin typeface="Arial" pitchFamily="34" charset="0"/>
              <a:cs typeface="Arial" pitchFamily="34" charset="0"/>
            </a:endParaRPr>
          </a:p>
        </p:txBody>
      </p:sp>
      <p:grpSp>
        <p:nvGrpSpPr>
          <p:cNvPr id="2" name="Group 19"/>
          <p:cNvGrpSpPr/>
          <p:nvPr/>
        </p:nvGrpSpPr>
        <p:grpSpPr>
          <a:xfrm rot="19010343">
            <a:off x="2901970" y="1605267"/>
            <a:ext cx="773559" cy="668735"/>
            <a:chOff x="2984302" y="5909483"/>
            <a:chExt cx="906459" cy="668735"/>
          </a:xfrm>
          <a:gradFill flip="none" rotWithShape="1">
            <a:gsLst>
              <a:gs pos="0">
                <a:srgbClr val="00B0F0"/>
              </a:gs>
              <a:gs pos="98000">
                <a:srgbClr val="69AB19"/>
              </a:gs>
            </a:gsLst>
            <a:lin ang="10800000" scaled="1"/>
            <a:tileRect/>
          </a:gradFill>
        </p:grpSpPr>
        <p:sp>
          <p:nvSpPr>
            <p:cNvPr id="21" name="Oval 20"/>
            <p:cNvSpPr/>
            <p:nvPr/>
          </p:nvSpPr>
          <p:spPr>
            <a:xfrm>
              <a:off x="2984302" y="5909483"/>
              <a:ext cx="191072" cy="191072"/>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22" name="Oval 21"/>
            <p:cNvSpPr/>
            <p:nvPr/>
          </p:nvSpPr>
          <p:spPr>
            <a:xfrm>
              <a:off x="3280010" y="6196074"/>
              <a:ext cx="191072" cy="191072"/>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23" name="Oval 22"/>
            <p:cNvSpPr/>
            <p:nvPr/>
          </p:nvSpPr>
          <p:spPr>
            <a:xfrm>
              <a:off x="3699689" y="6387146"/>
              <a:ext cx="191072" cy="191072"/>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pic>
        <p:nvPicPr>
          <p:cNvPr id="32" name="Picture 2" descr="C:\Documents and Settings\dalida.nordin\My Documents\My Pictures\icon\ujnjrl.png"/>
          <p:cNvPicPr>
            <a:picLocks noChangeAspect="1" noChangeArrowheads="1"/>
          </p:cNvPicPr>
          <p:nvPr/>
        </p:nvPicPr>
        <p:blipFill>
          <a:blip r:embed="rId3" cstate="print"/>
          <a:srcRect/>
          <a:stretch>
            <a:fillRect/>
          </a:stretch>
        </p:blipFill>
        <p:spPr bwMode="auto">
          <a:xfrm>
            <a:off x="6786578" y="1347019"/>
            <a:ext cx="2111887" cy="1571636"/>
          </a:xfrm>
          <a:prstGeom prst="rect">
            <a:avLst/>
          </a:prstGeom>
          <a:noFill/>
        </p:spPr>
      </p:pic>
      <p:sp>
        <p:nvSpPr>
          <p:cNvPr id="33" name="TextBox 32"/>
          <p:cNvSpPr txBox="1"/>
          <p:nvPr/>
        </p:nvSpPr>
        <p:spPr>
          <a:xfrm>
            <a:off x="4086226" y="4016395"/>
            <a:ext cx="2143125" cy="553998"/>
          </a:xfrm>
          <a:prstGeom prst="rect">
            <a:avLst/>
          </a:prstGeom>
          <a:noFill/>
        </p:spPr>
        <p:txBody>
          <a:bodyPr anchor="ctr">
            <a:spAutoFit/>
          </a:bodyPr>
          <a:lstStyle/>
          <a:p>
            <a:pPr algn="ctr" fontAlgn="auto">
              <a:spcBef>
                <a:spcPts val="0"/>
              </a:spcBef>
              <a:spcAft>
                <a:spcPts val="0"/>
              </a:spcAft>
              <a:defRPr/>
            </a:pPr>
            <a:r>
              <a:rPr lang="en-US" sz="3000" b="1" dirty="0" err="1">
                <a:effectLst>
                  <a:outerShdw blurRad="50800" dist="38100" dir="5400000" algn="t" rotWithShape="0">
                    <a:prstClr val="black">
                      <a:alpha val="40000"/>
                    </a:prstClr>
                  </a:outerShdw>
                </a:effectLst>
                <a:latin typeface="Arial" pitchFamily="34" charset="0"/>
                <a:ea typeface="Kozuka Gothic Pro M" pitchFamily="34" charset="-128"/>
              </a:rPr>
              <a:t>Fleksibiliti</a:t>
            </a:r>
            <a:endParaRPr lang="en-US" sz="3000" b="1" dirty="0">
              <a:effectLst>
                <a:outerShdw blurRad="50800" dist="38100" dir="5400000" algn="t" rotWithShape="0">
                  <a:prstClr val="black">
                    <a:alpha val="40000"/>
                  </a:prstClr>
                </a:outerShdw>
              </a:effectLst>
              <a:latin typeface="Arial" pitchFamily="34" charset="0"/>
              <a:ea typeface="Kozuka Gothic Pro M" pitchFamily="34" charset="-128"/>
            </a:endParaRPr>
          </a:p>
        </p:txBody>
      </p:sp>
      <p:sp>
        <p:nvSpPr>
          <p:cNvPr id="24" name="Rectangle 23"/>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KONSEP PENILAIAN</a:t>
            </a:r>
            <a:endParaRPr lang="en-US" sz="28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900" decel="100000" fill="hold"/>
                                        <p:tgtEl>
                                          <p:spTgt spid="10"/>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anim calcmode="lin" valueType="num">
                                      <p:cBhvr>
                                        <p:cTn id="14" dur="1000" fill="hold"/>
                                        <p:tgtEl>
                                          <p:spTgt spid="14"/>
                                        </p:tgtEl>
                                        <p:attrNameLst>
                                          <p:attrName>ppt_x</p:attrName>
                                        </p:attrNameLst>
                                      </p:cBhvr>
                                      <p:tavLst>
                                        <p:tav tm="0">
                                          <p:val>
                                            <p:strVal val="#ppt_x"/>
                                          </p:val>
                                        </p:tav>
                                        <p:tav tm="100000">
                                          <p:val>
                                            <p:strVal val="#ppt_x"/>
                                          </p:val>
                                        </p:tav>
                                      </p:tavLst>
                                    </p:anim>
                                    <p:anim calcmode="lin" valueType="num">
                                      <p:cBhvr>
                                        <p:cTn id="15" dur="900" decel="100000" fill="hold"/>
                                        <p:tgtEl>
                                          <p:spTgt spid="14"/>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14"/>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anim calcmode="lin" valueType="num">
                                      <p:cBhvr>
                                        <p:cTn id="20" dur="1000" fill="hold"/>
                                        <p:tgtEl>
                                          <p:spTgt spid="11"/>
                                        </p:tgtEl>
                                        <p:attrNameLst>
                                          <p:attrName>ppt_x</p:attrName>
                                        </p:attrNameLst>
                                      </p:cBhvr>
                                      <p:tavLst>
                                        <p:tav tm="0">
                                          <p:val>
                                            <p:strVal val="#ppt_x"/>
                                          </p:val>
                                        </p:tav>
                                        <p:tav tm="100000">
                                          <p:val>
                                            <p:strVal val="#ppt_x"/>
                                          </p:val>
                                        </p:tav>
                                      </p:tavLst>
                                    </p:anim>
                                    <p:anim calcmode="lin" valueType="num">
                                      <p:cBhvr>
                                        <p:cTn id="21" dur="900" decel="100000" fill="hold"/>
                                        <p:tgtEl>
                                          <p:spTgt spid="11"/>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11"/>
                                        </p:tgtEl>
                                        <p:attrNameLst>
                                          <p:attrName>ppt_y</p:attrName>
                                        </p:attrNameLst>
                                      </p:cBhvr>
                                      <p:tavLst>
                                        <p:tav tm="0">
                                          <p:val>
                                            <p:strVal val="#ppt_y-.03"/>
                                          </p:val>
                                        </p:tav>
                                        <p:tav tm="100000">
                                          <p:val>
                                            <p:strVal val="#ppt_y"/>
                                          </p:val>
                                        </p:tav>
                                      </p:tavLst>
                                    </p:anim>
                                  </p:childTnLst>
                                </p:cTn>
                              </p:par>
                              <p:par>
                                <p:cTn id="23" presetID="37"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1000"/>
                                        <p:tgtEl>
                                          <p:spTgt spid="33"/>
                                        </p:tgtEl>
                                      </p:cBhvr>
                                    </p:animEffect>
                                    <p:anim calcmode="lin" valueType="num">
                                      <p:cBhvr>
                                        <p:cTn id="26" dur="1000" fill="hold"/>
                                        <p:tgtEl>
                                          <p:spTgt spid="33"/>
                                        </p:tgtEl>
                                        <p:attrNameLst>
                                          <p:attrName>ppt_x</p:attrName>
                                        </p:attrNameLst>
                                      </p:cBhvr>
                                      <p:tavLst>
                                        <p:tav tm="0">
                                          <p:val>
                                            <p:strVal val="#ppt_x"/>
                                          </p:val>
                                        </p:tav>
                                        <p:tav tm="100000">
                                          <p:val>
                                            <p:strVal val="#ppt_x"/>
                                          </p:val>
                                        </p:tav>
                                      </p:tavLst>
                                    </p:anim>
                                    <p:anim calcmode="lin" valueType="num">
                                      <p:cBhvr>
                                        <p:cTn id="27" dur="900" decel="100000" fill="hold"/>
                                        <p:tgtEl>
                                          <p:spTgt spid="33"/>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33"/>
                                        </p:tgtEl>
                                        <p:attrNameLst>
                                          <p:attrName>ppt_y</p:attrName>
                                        </p:attrNameLst>
                                      </p:cBhvr>
                                      <p:tavLst>
                                        <p:tav tm="0">
                                          <p:val>
                                            <p:strVal val="#ppt_y-.03"/>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50" presetClass="entr" presetSubtype="0" decel="10000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anim calcmode="lin" valueType="num">
                                      <p:cBhvr>
                                        <p:cTn id="33" dur="1000" fill="hold"/>
                                        <p:tgtEl>
                                          <p:spTgt spid="8"/>
                                        </p:tgtEl>
                                        <p:attrNameLst>
                                          <p:attrName>ppt_w</p:attrName>
                                        </p:attrNameLst>
                                      </p:cBhvr>
                                      <p:tavLst>
                                        <p:tav tm="0">
                                          <p:val>
                                            <p:strVal val="#ppt_w+.3"/>
                                          </p:val>
                                        </p:tav>
                                        <p:tav tm="100000">
                                          <p:val>
                                            <p:strVal val="#ppt_w"/>
                                          </p:val>
                                        </p:tav>
                                      </p:tavLst>
                                    </p:anim>
                                    <p:anim calcmode="lin" valueType="num">
                                      <p:cBhvr>
                                        <p:cTn id="34" dur="1000" fill="hold"/>
                                        <p:tgtEl>
                                          <p:spTgt spid="8"/>
                                        </p:tgtEl>
                                        <p:attrNameLst>
                                          <p:attrName>ppt_h</p:attrName>
                                        </p:attrNameLst>
                                      </p:cBhvr>
                                      <p:tavLst>
                                        <p:tav tm="0">
                                          <p:val>
                                            <p:strVal val="#ppt_h"/>
                                          </p:val>
                                        </p:tav>
                                        <p:tav tm="100000">
                                          <p:val>
                                            <p:strVal val="#ppt_h"/>
                                          </p:val>
                                        </p:tav>
                                      </p:tavLst>
                                    </p:anim>
                                    <p:animEffect transition="in" filter="fade">
                                      <p:cBhvr>
                                        <p:cTn id="35" dur="1000"/>
                                        <p:tgtEl>
                                          <p:spTgt spid="8"/>
                                        </p:tgtEl>
                                      </p:cBhvr>
                                    </p:animEffect>
                                  </p:childTnLst>
                                </p:cTn>
                              </p:par>
                              <p:par>
                                <p:cTn id="36" presetID="50" presetClass="entr" presetSubtype="0" decel="100000"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 calcmode="lin" valueType="num">
                                      <p:cBhvr>
                                        <p:cTn id="38" dur="1000" fill="hold"/>
                                        <p:tgtEl>
                                          <p:spTgt spid="15"/>
                                        </p:tgtEl>
                                        <p:attrNameLst>
                                          <p:attrName>ppt_w</p:attrName>
                                        </p:attrNameLst>
                                      </p:cBhvr>
                                      <p:tavLst>
                                        <p:tav tm="0">
                                          <p:val>
                                            <p:strVal val="#ppt_w+.3"/>
                                          </p:val>
                                        </p:tav>
                                        <p:tav tm="100000">
                                          <p:val>
                                            <p:strVal val="#ppt_w"/>
                                          </p:val>
                                        </p:tav>
                                      </p:tavLst>
                                    </p:anim>
                                    <p:anim calcmode="lin" valueType="num">
                                      <p:cBhvr>
                                        <p:cTn id="39" dur="1000" fill="hold"/>
                                        <p:tgtEl>
                                          <p:spTgt spid="15"/>
                                        </p:tgtEl>
                                        <p:attrNameLst>
                                          <p:attrName>ppt_h</p:attrName>
                                        </p:attrNameLst>
                                      </p:cBhvr>
                                      <p:tavLst>
                                        <p:tav tm="0">
                                          <p:val>
                                            <p:strVal val="#ppt_h"/>
                                          </p:val>
                                        </p:tav>
                                        <p:tav tm="100000">
                                          <p:val>
                                            <p:strVal val="#ppt_h"/>
                                          </p:val>
                                        </p:tav>
                                      </p:tavLst>
                                    </p:anim>
                                    <p:animEffect transition="in" filter="fade">
                                      <p:cBhvr>
                                        <p:cTn id="40" dur="1000"/>
                                        <p:tgtEl>
                                          <p:spTgt spid="15"/>
                                        </p:tgtEl>
                                      </p:cBhvr>
                                    </p:animEffect>
                                  </p:childTnLst>
                                </p:cTn>
                              </p:par>
                              <p:par>
                                <p:cTn id="41" presetID="50" presetClass="entr" presetSubtype="0" decel="10000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p:cTn id="43" dur="1000" fill="hold"/>
                                        <p:tgtEl>
                                          <p:spTgt spid="12"/>
                                        </p:tgtEl>
                                        <p:attrNameLst>
                                          <p:attrName>ppt_w</p:attrName>
                                        </p:attrNameLst>
                                      </p:cBhvr>
                                      <p:tavLst>
                                        <p:tav tm="0">
                                          <p:val>
                                            <p:strVal val="#ppt_w+.3"/>
                                          </p:val>
                                        </p:tav>
                                        <p:tav tm="100000">
                                          <p:val>
                                            <p:strVal val="#ppt_w"/>
                                          </p:val>
                                        </p:tav>
                                      </p:tavLst>
                                    </p:anim>
                                    <p:anim calcmode="lin" valueType="num">
                                      <p:cBhvr>
                                        <p:cTn id="44" dur="1000" fill="hold"/>
                                        <p:tgtEl>
                                          <p:spTgt spid="12"/>
                                        </p:tgtEl>
                                        <p:attrNameLst>
                                          <p:attrName>ppt_h</p:attrName>
                                        </p:attrNameLst>
                                      </p:cBhvr>
                                      <p:tavLst>
                                        <p:tav tm="0">
                                          <p:val>
                                            <p:strVal val="#ppt_h"/>
                                          </p:val>
                                        </p:tav>
                                        <p:tav tm="100000">
                                          <p:val>
                                            <p:strVal val="#ppt_h"/>
                                          </p:val>
                                        </p:tav>
                                      </p:tavLst>
                                    </p:anim>
                                    <p:animEffect transition="in" filter="fade">
                                      <p:cBhvr>
                                        <p:cTn id="45" dur="1000"/>
                                        <p:tgtEl>
                                          <p:spTgt spid="12"/>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grpId="0" nodeType="clickEffect">
                                  <p:stCondLst>
                                    <p:cond delay="0"/>
                                  </p:stCondLst>
                                  <p:childTnLst>
                                    <p:set>
                                      <p:cBhvr>
                                        <p:cTn id="49" dur="1" fill="hold">
                                          <p:stCondLst>
                                            <p:cond delay="0"/>
                                          </p:stCondLst>
                                        </p:cTn>
                                        <p:tgtEl>
                                          <p:spTgt spid="9"/>
                                        </p:tgtEl>
                                        <p:attrNameLst>
                                          <p:attrName>style.visibility</p:attrName>
                                        </p:attrNameLst>
                                      </p:cBhvr>
                                      <p:to>
                                        <p:strVal val="visible"/>
                                      </p:to>
                                    </p:set>
                                    <p:animEffect transition="in" filter="wipe(down)">
                                      <p:cBhvr>
                                        <p:cTn id="50" dur="500"/>
                                        <p:tgtEl>
                                          <p:spTgt spid="9"/>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wipe(down)">
                                      <p:cBhvr>
                                        <p:cTn id="53" dur="500"/>
                                        <p:tgtEl>
                                          <p:spTgt spid="16"/>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wipe(down)">
                                      <p:cBhvr>
                                        <p:cTn id="56" dur="500"/>
                                        <p:tgtEl>
                                          <p:spTgt spid="13"/>
                                        </p:tgtEl>
                                      </p:cBhvr>
                                    </p:animEffect>
                                  </p:childTnLst>
                                </p:cTn>
                              </p:par>
                            </p:childTnLst>
                          </p:cTn>
                        </p:par>
                      </p:childTnLst>
                    </p:cTn>
                  </p:par>
                  <p:par>
                    <p:cTn id="57" fill="hold">
                      <p:stCondLst>
                        <p:cond delay="indefinite"/>
                      </p:stCondLst>
                      <p:childTnLst>
                        <p:par>
                          <p:cTn id="58" fill="hold">
                            <p:stCondLst>
                              <p:cond delay="0"/>
                            </p:stCondLst>
                            <p:childTnLst>
                              <p:par>
                                <p:cTn id="59" presetID="17" presetClass="entr" presetSubtype="10" fill="hold" grpId="0" nodeType="clickEffect">
                                  <p:stCondLst>
                                    <p:cond delay="0"/>
                                  </p:stCondLst>
                                  <p:childTnLst>
                                    <p:set>
                                      <p:cBhvr>
                                        <p:cTn id="60" dur="1" fill="hold">
                                          <p:stCondLst>
                                            <p:cond delay="0"/>
                                          </p:stCondLst>
                                        </p:cTn>
                                        <p:tgtEl>
                                          <p:spTgt spid="17"/>
                                        </p:tgtEl>
                                        <p:attrNameLst>
                                          <p:attrName>style.visibility</p:attrName>
                                        </p:attrNameLst>
                                      </p:cBhvr>
                                      <p:to>
                                        <p:strVal val="visible"/>
                                      </p:to>
                                    </p:set>
                                    <p:anim calcmode="lin" valueType="num">
                                      <p:cBhvr>
                                        <p:cTn id="61" dur="500" fill="hold"/>
                                        <p:tgtEl>
                                          <p:spTgt spid="17"/>
                                        </p:tgtEl>
                                        <p:attrNameLst>
                                          <p:attrName>ppt_w</p:attrName>
                                        </p:attrNameLst>
                                      </p:cBhvr>
                                      <p:tavLst>
                                        <p:tav tm="0">
                                          <p:val>
                                            <p:fltVal val="0"/>
                                          </p:val>
                                        </p:tav>
                                        <p:tav tm="100000">
                                          <p:val>
                                            <p:strVal val="#ppt_w"/>
                                          </p:val>
                                        </p:tav>
                                      </p:tavLst>
                                    </p:anim>
                                    <p:anim calcmode="lin" valueType="num">
                                      <p:cBhvr>
                                        <p:cTn id="62" dur="500" fill="hold"/>
                                        <p:tgtEl>
                                          <p:spTgt spid="17"/>
                                        </p:tgtEl>
                                        <p:attrNameLst>
                                          <p:attrName>ppt_h</p:attrName>
                                        </p:attrNameLst>
                                      </p:cBhvr>
                                      <p:tavLst>
                                        <p:tav tm="0">
                                          <p:val>
                                            <p:strVal val="#ppt_h"/>
                                          </p:val>
                                        </p:tav>
                                        <p:tav tm="100000">
                                          <p:val>
                                            <p:strVal val="#ppt_h"/>
                                          </p:val>
                                        </p:tav>
                                      </p:tavLst>
                                    </p:anim>
                                  </p:childTnLst>
                                </p:cTn>
                              </p:par>
                              <p:par>
                                <p:cTn id="63" presetID="17" presetClass="entr" presetSubtype="10" fill="hold" grpId="0" nodeType="withEffect">
                                  <p:stCondLst>
                                    <p:cond delay="0"/>
                                  </p:stCondLst>
                                  <p:childTnLst>
                                    <p:set>
                                      <p:cBhvr>
                                        <p:cTn id="64" dur="1" fill="hold">
                                          <p:stCondLst>
                                            <p:cond delay="0"/>
                                          </p:stCondLst>
                                        </p:cTn>
                                        <p:tgtEl>
                                          <p:spTgt spid="6"/>
                                        </p:tgtEl>
                                        <p:attrNameLst>
                                          <p:attrName>style.visibility</p:attrName>
                                        </p:attrNameLst>
                                      </p:cBhvr>
                                      <p:to>
                                        <p:strVal val="visible"/>
                                      </p:to>
                                    </p:set>
                                    <p:anim calcmode="lin" valueType="num">
                                      <p:cBhvr>
                                        <p:cTn id="65" dur="500" fill="hold"/>
                                        <p:tgtEl>
                                          <p:spTgt spid="6"/>
                                        </p:tgtEl>
                                        <p:attrNameLst>
                                          <p:attrName>ppt_w</p:attrName>
                                        </p:attrNameLst>
                                      </p:cBhvr>
                                      <p:tavLst>
                                        <p:tav tm="0">
                                          <p:val>
                                            <p:fltVal val="0"/>
                                          </p:val>
                                        </p:tav>
                                        <p:tav tm="100000">
                                          <p:val>
                                            <p:strVal val="#ppt_w"/>
                                          </p:val>
                                        </p:tav>
                                      </p:tavLst>
                                    </p:anim>
                                    <p:anim calcmode="lin" valueType="num">
                                      <p:cBhvr>
                                        <p:cTn id="66" dur="500" fill="hold"/>
                                        <p:tgtEl>
                                          <p:spTgt spid="6"/>
                                        </p:tgtEl>
                                        <p:attrNameLst>
                                          <p:attrName>ppt_h</p:attrName>
                                        </p:attrNameLst>
                                      </p:cBhvr>
                                      <p:tavLst>
                                        <p:tav tm="0">
                                          <p:val>
                                            <p:strVal val="#ppt_h"/>
                                          </p:val>
                                        </p:tav>
                                        <p:tav tm="100000">
                                          <p:val>
                                            <p:strVal val="#ppt_h"/>
                                          </p:val>
                                        </p:tav>
                                      </p:tavLst>
                                    </p:anim>
                                  </p:childTnLst>
                                </p:cTn>
                              </p:par>
                              <p:par>
                                <p:cTn id="67" presetID="17" presetClass="entr" presetSubtype="10"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500" fill="hold"/>
                                        <p:tgtEl>
                                          <p:spTgt spid="2"/>
                                        </p:tgtEl>
                                        <p:attrNameLst>
                                          <p:attrName>ppt_w</p:attrName>
                                        </p:attrNameLst>
                                      </p:cBhvr>
                                      <p:tavLst>
                                        <p:tav tm="0">
                                          <p:val>
                                            <p:fltVal val="0"/>
                                          </p:val>
                                        </p:tav>
                                        <p:tav tm="100000">
                                          <p:val>
                                            <p:strVal val="#ppt_w"/>
                                          </p:val>
                                        </p:tav>
                                      </p:tavLst>
                                    </p:anim>
                                    <p:anim calcmode="lin" valueType="num">
                                      <p:cBhvr>
                                        <p:cTn id="70" dur="5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animBg="1"/>
      <p:bldP spid="13" grpId="0" animBg="1"/>
      <p:bldP spid="14" grpId="0"/>
      <p:bldP spid="15" grpId="0"/>
      <p:bldP spid="16" grpId="0"/>
      <p:bldP spid="17" grpId="0"/>
      <p:bldP spid="3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AutoShape 1899"/>
          <p:cNvSpPr>
            <a:spLocks noChangeArrowheads="1"/>
          </p:cNvSpPr>
          <p:nvPr/>
        </p:nvSpPr>
        <p:spPr bwMode="auto">
          <a:xfrm rot="5400000">
            <a:off x="4133983" y="1398468"/>
            <a:ext cx="860268" cy="9128231"/>
          </a:xfrm>
          <a:prstGeom prst="roundRect">
            <a:avLst>
              <a:gd name="adj" fmla="val 50000"/>
            </a:avLst>
          </a:prstGeom>
          <a:gradFill rotWithShape="1">
            <a:gsLst>
              <a:gs pos="0">
                <a:srgbClr val="0099FF"/>
              </a:gs>
              <a:gs pos="100000">
                <a:srgbClr val="0033CC"/>
              </a:gs>
            </a:gsLst>
            <a:lin ang="5400000" scaled="1"/>
          </a:gradFill>
          <a:ln w="9525">
            <a:noFill/>
            <a:round/>
            <a:headEnd/>
            <a:tailEnd/>
          </a:ln>
        </p:spPr>
        <p:txBody>
          <a:bodyPr wrap="none" anchor="ctr"/>
          <a:lstStyle/>
          <a:p>
            <a:endParaRPr lang="en-US">
              <a:ea typeface="Gulim" pitchFamily="34" charset="-127"/>
              <a:sym typeface="Gulim" pitchFamily="34" charset="-127"/>
            </a:endParaRPr>
          </a:p>
        </p:txBody>
      </p:sp>
      <p:sp>
        <p:nvSpPr>
          <p:cNvPr id="42" name="AutoShape 1898"/>
          <p:cNvSpPr>
            <a:spLocks noChangeArrowheads="1"/>
          </p:cNvSpPr>
          <p:nvPr/>
        </p:nvSpPr>
        <p:spPr bwMode="auto">
          <a:xfrm>
            <a:off x="5919788" y="1209329"/>
            <a:ext cx="633413" cy="5343934"/>
          </a:xfrm>
          <a:prstGeom prst="roundRect">
            <a:avLst>
              <a:gd name="adj" fmla="val 50000"/>
            </a:avLst>
          </a:prstGeom>
          <a:gradFill rotWithShape="1">
            <a:gsLst>
              <a:gs pos="0">
                <a:srgbClr val="99CC00"/>
              </a:gs>
              <a:gs pos="100000">
                <a:srgbClr val="009900"/>
              </a:gs>
            </a:gsLst>
            <a:lin ang="5400000" scaled="1"/>
          </a:gradFill>
          <a:ln w="9525">
            <a:noFill/>
            <a:round/>
            <a:headEnd/>
            <a:tailEnd/>
          </a:ln>
        </p:spPr>
        <p:txBody>
          <a:bodyPr wrap="none" anchor="ctr"/>
          <a:lstStyle/>
          <a:p>
            <a:endParaRPr lang="en-US">
              <a:ea typeface="Gulim" pitchFamily="34" charset="-127"/>
              <a:sym typeface="Gulim" pitchFamily="34" charset="-127"/>
            </a:endParaRPr>
          </a:p>
        </p:txBody>
      </p:sp>
      <p:sp>
        <p:nvSpPr>
          <p:cNvPr id="41" name="AutoShape 1899"/>
          <p:cNvSpPr>
            <a:spLocks noChangeArrowheads="1"/>
          </p:cNvSpPr>
          <p:nvPr/>
        </p:nvSpPr>
        <p:spPr bwMode="auto">
          <a:xfrm rot="5400000">
            <a:off x="3834746" y="-884095"/>
            <a:ext cx="1442975" cy="9144003"/>
          </a:xfrm>
          <a:prstGeom prst="roundRect">
            <a:avLst>
              <a:gd name="adj" fmla="val 50000"/>
            </a:avLst>
          </a:prstGeom>
          <a:gradFill rotWithShape="1">
            <a:gsLst>
              <a:gs pos="0">
                <a:srgbClr val="0099FF"/>
              </a:gs>
              <a:gs pos="100000">
                <a:srgbClr val="0033CC"/>
              </a:gs>
            </a:gsLst>
            <a:lin ang="5400000" scaled="1"/>
          </a:gradFill>
          <a:ln w="9525">
            <a:noFill/>
            <a:round/>
            <a:headEnd/>
            <a:tailEnd/>
          </a:ln>
        </p:spPr>
        <p:txBody>
          <a:bodyPr wrap="none" anchor="ctr"/>
          <a:lstStyle/>
          <a:p>
            <a:endParaRPr lang="en-US">
              <a:ea typeface="Gulim" pitchFamily="34" charset="-127"/>
              <a:sym typeface="Gulim" pitchFamily="34" charset="-127"/>
            </a:endParaRPr>
          </a:p>
        </p:txBody>
      </p:sp>
      <p:sp>
        <p:nvSpPr>
          <p:cNvPr id="40" name="AutoShape 1896"/>
          <p:cNvSpPr>
            <a:spLocks noChangeArrowheads="1"/>
          </p:cNvSpPr>
          <p:nvPr/>
        </p:nvSpPr>
        <p:spPr bwMode="auto">
          <a:xfrm rot="5400000">
            <a:off x="4156057" y="407092"/>
            <a:ext cx="831895" cy="9144003"/>
          </a:xfrm>
          <a:prstGeom prst="roundRect">
            <a:avLst>
              <a:gd name="adj" fmla="val 50000"/>
            </a:avLst>
          </a:prstGeom>
          <a:gradFill rotWithShape="1">
            <a:gsLst>
              <a:gs pos="0">
                <a:srgbClr val="33CCFF"/>
              </a:gs>
              <a:gs pos="100000">
                <a:srgbClr val="0099FF"/>
              </a:gs>
            </a:gsLst>
            <a:lin ang="5400000" scaled="1"/>
          </a:gradFill>
          <a:ln w="9525">
            <a:noFill/>
            <a:round/>
            <a:headEnd/>
            <a:tailEnd/>
          </a:ln>
        </p:spPr>
        <p:txBody>
          <a:bodyPr wrap="none" anchor="ctr"/>
          <a:lstStyle/>
          <a:p>
            <a:endParaRPr lang="en-US">
              <a:ea typeface="Gulim" pitchFamily="34" charset="-127"/>
              <a:sym typeface="Gulim" pitchFamily="34" charset="-127"/>
            </a:endParaRPr>
          </a:p>
        </p:txBody>
      </p:sp>
      <p:sp>
        <p:nvSpPr>
          <p:cNvPr id="4" name="Footer Placeholder 3"/>
          <p:cNvSpPr>
            <a:spLocks noGrp="1"/>
          </p:cNvSpPr>
          <p:nvPr>
            <p:ph type="ftr" sz="quarter" idx="11"/>
          </p:nvPr>
        </p:nvSpPr>
        <p:spPr>
          <a:xfrm>
            <a:off x="3290958" y="6412217"/>
            <a:ext cx="4958521" cy="365125"/>
          </a:xfrm>
        </p:spPr>
        <p:txBody>
          <a:bodyPr/>
          <a:lstStyle/>
          <a:p>
            <a:r>
              <a:rPr lang="en-US" smtClean="0"/>
              <a:t>GURU (SEKOLAH)</a:t>
            </a:r>
            <a:endParaRPr lang="en-US"/>
          </a:p>
        </p:txBody>
      </p:sp>
      <p:sp>
        <p:nvSpPr>
          <p:cNvPr id="5" name="Slide Number Placeholder 4"/>
          <p:cNvSpPr>
            <a:spLocks noGrp="1"/>
          </p:cNvSpPr>
          <p:nvPr>
            <p:ph type="sldNum" sz="quarter" idx="12"/>
          </p:nvPr>
        </p:nvSpPr>
        <p:spPr>
          <a:xfrm>
            <a:off x="6553200" y="6401174"/>
            <a:ext cx="2133600" cy="365125"/>
          </a:xfrm>
        </p:spPr>
        <p:txBody>
          <a:bodyPr/>
          <a:lstStyle/>
          <a:p>
            <a:fld id="{4D86EDED-B1AF-7E4B-94C9-3F0EAA36C7D5}" type="slidenum">
              <a:rPr lang="en-US" smtClean="0"/>
              <a:pPr/>
              <a:t>32</a:t>
            </a:fld>
            <a:endParaRPr lang="en-US"/>
          </a:p>
        </p:txBody>
      </p:sp>
      <p:sp>
        <p:nvSpPr>
          <p:cNvPr id="9" name="AutoShape 1896"/>
          <p:cNvSpPr>
            <a:spLocks noChangeArrowheads="1"/>
          </p:cNvSpPr>
          <p:nvPr/>
        </p:nvSpPr>
        <p:spPr bwMode="auto">
          <a:xfrm rot="5400000">
            <a:off x="4045673" y="-2292518"/>
            <a:ext cx="1052657" cy="9144003"/>
          </a:xfrm>
          <a:prstGeom prst="roundRect">
            <a:avLst>
              <a:gd name="adj" fmla="val 50000"/>
            </a:avLst>
          </a:prstGeom>
          <a:gradFill rotWithShape="1">
            <a:gsLst>
              <a:gs pos="0">
                <a:srgbClr val="33CCFF"/>
              </a:gs>
              <a:gs pos="100000">
                <a:srgbClr val="0099FF"/>
              </a:gs>
            </a:gsLst>
            <a:lin ang="5400000" scaled="1"/>
          </a:gradFill>
          <a:ln w="9525">
            <a:noFill/>
            <a:round/>
            <a:headEnd/>
            <a:tailEnd/>
          </a:ln>
        </p:spPr>
        <p:txBody>
          <a:bodyPr wrap="none" anchor="ctr"/>
          <a:lstStyle/>
          <a:p>
            <a:endParaRPr lang="en-US">
              <a:ea typeface="Gulim" pitchFamily="34" charset="-127"/>
              <a:sym typeface="Gulim" pitchFamily="34" charset="-127"/>
            </a:endParaRPr>
          </a:p>
        </p:txBody>
      </p:sp>
      <p:grpSp>
        <p:nvGrpSpPr>
          <p:cNvPr id="2" name="Group 10"/>
          <p:cNvGrpSpPr/>
          <p:nvPr/>
        </p:nvGrpSpPr>
        <p:grpSpPr>
          <a:xfrm>
            <a:off x="356879" y="5772600"/>
            <a:ext cx="381003" cy="382918"/>
            <a:chOff x="2590800" y="5408282"/>
            <a:chExt cx="381002" cy="382918"/>
          </a:xfrm>
          <a:effectLst>
            <a:outerShdw blurRad="63500" sx="102000" sy="102000" algn="ctr" rotWithShape="0">
              <a:prstClr val="black">
                <a:alpha val="40000"/>
              </a:prstClr>
            </a:outerShdw>
          </a:effectLst>
        </p:grpSpPr>
        <p:sp>
          <p:nvSpPr>
            <p:cNvPr id="12" name="Rounded Rectangle 11"/>
            <p:cNvSpPr/>
            <p:nvPr/>
          </p:nvSpPr>
          <p:spPr>
            <a:xfrm>
              <a:off x="2590800" y="5408282"/>
              <a:ext cx="172529" cy="172529"/>
            </a:xfrm>
            <a:prstGeom prst="roundRect">
              <a:avLst>
                <a:gd name="adj" fmla="val 11987"/>
              </a:avLst>
            </a:prstGeom>
            <a:gradFill flip="none" rotWithShape="1">
              <a:gsLst>
                <a:gs pos="0">
                  <a:srgbClr val="0070C0"/>
                </a:gs>
                <a:gs pos="100000">
                  <a:srgbClr val="00B0F0"/>
                </a:gs>
              </a:gsLst>
              <a:lin ang="16200000" scaled="1"/>
              <a:tileRect/>
            </a:gradFill>
            <a:ln w="12700">
              <a:solidFill>
                <a:srgbClr val="002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a:off x="2799273" y="5408282"/>
              <a:ext cx="172529" cy="172529"/>
            </a:xfrm>
            <a:prstGeom prst="roundRect">
              <a:avLst>
                <a:gd name="adj" fmla="val 11987"/>
              </a:avLst>
            </a:prstGeom>
            <a:gradFill flip="none" rotWithShape="1">
              <a:gsLst>
                <a:gs pos="0">
                  <a:srgbClr val="0070C0"/>
                </a:gs>
                <a:gs pos="100000">
                  <a:srgbClr val="00B0F0"/>
                </a:gs>
              </a:gsLst>
              <a:lin ang="16200000" scaled="1"/>
              <a:tileRect/>
            </a:gradFill>
            <a:ln w="12700">
              <a:solidFill>
                <a:srgbClr val="002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a:off x="2590800" y="5618671"/>
              <a:ext cx="172529" cy="172529"/>
            </a:xfrm>
            <a:prstGeom prst="roundRect">
              <a:avLst>
                <a:gd name="adj" fmla="val 11987"/>
              </a:avLst>
            </a:prstGeom>
            <a:gradFill flip="none" rotWithShape="1">
              <a:gsLst>
                <a:gs pos="0">
                  <a:srgbClr val="0070C0"/>
                </a:gs>
                <a:gs pos="100000">
                  <a:srgbClr val="00B0F0"/>
                </a:gs>
              </a:gsLst>
              <a:lin ang="16200000" scaled="1"/>
              <a:tileRect/>
            </a:gradFill>
            <a:ln w="12700">
              <a:solidFill>
                <a:srgbClr val="002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a:off x="2799273" y="5618671"/>
              <a:ext cx="172529" cy="172529"/>
            </a:xfrm>
            <a:prstGeom prst="roundRect">
              <a:avLst>
                <a:gd name="adj" fmla="val 11987"/>
              </a:avLst>
            </a:prstGeom>
            <a:gradFill flip="none" rotWithShape="1">
              <a:gsLst>
                <a:gs pos="0">
                  <a:srgbClr val="0070C0"/>
                </a:gs>
                <a:gs pos="100000">
                  <a:srgbClr val="00B0F0"/>
                </a:gs>
              </a:gsLst>
              <a:lin ang="16200000" scaled="1"/>
              <a:tileRect/>
            </a:gradFill>
            <a:ln w="12700">
              <a:solidFill>
                <a:srgbClr val="002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 name="Group 15"/>
          <p:cNvGrpSpPr/>
          <p:nvPr/>
        </p:nvGrpSpPr>
        <p:grpSpPr>
          <a:xfrm>
            <a:off x="356879" y="4771076"/>
            <a:ext cx="381003" cy="382918"/>
            <a:chOff x="3784600" y="5408282"/>
            <a:chExt cx="381002" cy="382918"/>
          </a:xfrm>
          <a:effectLst>
            <a:outerShdw blurRad="63500" sx="102000" sy="102000" algn="ctr" rotWithShape="0">
              <a:prstClr val="black">
                <a:alpha val="40000"/>
              </a:prstClr>
            </a:outerShdw>
          </a:effectLst>
        </p:grpSpPr>
        <p:sp>
          <p:nvSpPr>
            <p:cNvPr id="17" name="Rounded Rectangle 16"/>
            <p:cNvSpPr/>
            <p:nvPr/>
          </p:nvSpPr>
          <p:spPr>
            <a:xfrm>
              <a:off x="3784600" y="5408282"/>
              <a:ext cx="172529" cy="172529"/>
            </a:xfrm>
            <a:prstGeom prst="roundRect">
              <a:avLst>
                <a:gd name="adj" fmla="val 11987"/>
              </a:avLst>
            </a:prstGeom>
            <a:gradFill flip="none" rotWithShape="1">
              <a:gsLst>
                <a:gs pos="0">
                  <a:srgbClr val="0070C0"/>
                </a:gs>
                <a:gs pos="100000">
                  <a:srgbClr val="00B0F0"/>
                </a:gs>
              </a:gsLst>
              <a:lin ang="16200000" scaled="1"/>
              <a:tileRect/>
            </a:gradFill>
            <a:ln w="12700">
              <a:solidFill>
                <a:srgbClr val="002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p:cNvSpPr/>
            <p:nvPr/>
          </p:nvSpPr>
          <p:spPr>
            <a:xfrm>
              <a:off x="3993073" y="5408282"/>
              <a:ext cx="172529" cy="172529"/>
            </a:xfrm>
            <a:prstGeom prst="roundRect">
              <a:avLst>
                <a:gd name="adj" fmla="val 11987"/>
              </a:avLst>
            </a:prstGeom>
            <a:gradFill flip="none" rotWithShape="1">
              <a:gsLst>
                <a:gs pos="0">
                  <a:schemeClr val="tx1">
                    <a:lumMod val="50000"/>
                    <a:lumOff val="50000"/>
                  </a:schemeClr>
                </a:gs>
                <a:gs pos="100000">
                  <a:schemeClr val="bg1">
                    <a:lumMod val="85000"/>
                  </a:schemeClr>
                </a:gs>
              </a:gsLst>
              <a:lin ang="16200000" scaled="1"/>
              <a:tileRect/>
            </a:gra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p:cNvSpPr/>
            <p:nvPr/>
          </p:nvSpPr>
          <p:spPr>
            <a:xfrm>
              <a:off x="3784600" y="5618671"/>
              <a:ext cx="172529" cy="172529"/>
            </a:xfrm>
            <a:prstGeom prst="roundRect">
              <a:avLst>
                <a:gd name="adj" fmla="val 11987"/>
              </a:avLst>
            </a:prstGeom>
            <a:gradFill flip="none" rotWithShape="1">
              <a:gsLst>
                <a:gs pos="0">
                  <a:srgbClr val="0070C0"/>
                </a:gs>
                <a:gs pos="100000">
                  <a:srgbClr val="00B0F0"/>
                </a:gs>
              </a:gsLst>
              <a:lin ang="16200000" scaled="1"/>
              <a:tileRect/>
            </a:gradFill>
            <a:ln w="12700">
              <a:solidFill>
                <a:srgbClr val="002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p:cNvSpPr/>
            <p:nvPr/>
          </p:nvSpPr>
          <p:spPr>
            <a:xfrm>
              <a:off x="3993073" y="5618671"/>
              <a:ext cx="172529" cy="172529"/>
            </a:xfrm>
            <a:prstGeom prst="roundRect">
              <a:avLst>
                <a:gd name="adj" fmla="val 11987"/>
              </a:avLst>
            </a:prstGeom>
            <a:gradFill flip="none" rotWithShape="1">
              <a:gsLst>
                <a:gs pos="0">
                  <a:srgbClr val="0070C0"/>
                </a:gs>
                <a:gs pos="100000">
                  <a:srgbClr val="00B0F0"/>
                </a:gs>
              </a:gsLst>
              <a:lin ang="16200000" scaled="1"/>
              <a:tileRect/>
            </a:gradFill>
            <a:ln w="12700">
              <a:solidFill>
                <a:srgbClr val="002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20"/>
          <p:cNvGrpSpPr/>
          <p:nvPr/>
        </p:nvGrpSpPr>
        <p:grpSpPr>
          <a:xfrm>
            <a:off x="299124" y="3375282"/>
            <a:ext cx="381003" cy="382918"/>
            <a:chOff x="4978400" y="5408282"/>
            <a:chExt cx="381002" cy="382918"/>
          </a:xfrm>
          <a:effectLst>
            <a:outerShdw blurRad="63500" sx="102000" sy="102000" algn="ctr" rotWithShape="0">
              <a:prstClr val="black">
                <a:alpha val="40000"/>
              </a:prstClr>
            </a:outerShdw>
          </a:effectLst>
        </p:grpSpPr>
        <p:sp>
          <p:nvSpPr>
            <p:cNvPr id="22" name="Rounded Rectangle 21"/>
            <p:cNvSpPr/>
            <p:nvPr/>
          </p:nvSpPr>
          <p:spPr>
            <a:xfrm>
              <a:off x="4978400" y="5408282"/>
              <a:ext cx="172529" cy="172529"/>
            </a:xfrm>
            <a:prstGeom prst="roundRect">
              <a:avLst>
                <a:gd name="adj" fmla="val 11987"/>
              </a:avLst>
            </a:prstGeom>
            <a:gradFill flip="none" rotWithShape="1">
              <a:gsLst>
                <a:gs pos="0">
                  <a:schemeClr val="tx1">
                    <a:lumMod val="50000"/>
                    <a:lumOff val="50000"/>
                  </a:schemeClr>
                </a:gs>
                <a:gs pos="100000">
                  <a:schemeClr val="bg1">
                    <a:lumMod val="85000"/>
                  </a:schemeClr>
                </a:gs>
              </a:gsLst>
              <a:lin ang="16200000" scaled="1"/>
              <a:tileRect/>
            </a:gra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ed Rectangle 22"/>
            <p:cNvSpPr/>
            <p:nvPr/>
          </p:nvSpPr>
          <p:spPr>
            <a:xfrm>
              <a:off x="5186873" y="5408282"/>
              <a:ext cx="172529" cy="172529"/>
            </a:xfrm>
            <a:prstGeom prst="roundRect">
              <a:avLst>
                <a:gd name="adj" fmla="val 11987"/>
              </a:avLst>
            </a:prstGeom>
            <a:gradFill flip="none" rotWithShape="1">
              <a:gsLst>
                <a:gs pos="0">
                  <a:schemeClr val="tx1">
                    <a:lumMod val="50000"/>
                    <a:lumOff val="50000"/>
                  </a:schemeClr>
                </a:gs>
                <a:gs pos="100000">
                  <a:schemeClr val="bg1">
                    <a:lumMod val="85000"/>
                  </a:schemeClr>
                </a:gs>
              </a:gsLst>
              <a:lin ang="16200000" scaled="1"/>
              <a:tileRect/>
            </a:gra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23"/>
            <p:cNvSpPr/>
            <p:nvPr/>
          </p:nvSpPr>
          <p:spPr>
            <a:xfrm>
              <a:off x="4978400" y="5618671"/>
              <a:ext cx="172529" cy="172529"/>
            </a:xfrm>
            <a:prstGeom prst="roundRect">
              <a:avLst>
                <a:gd name="adj" fmla="val 11987"/>
              </a:avLst>
            </a:prstGeom>
            <a:gradFill flip="none" rotWithShape="1">
              <a:gsLst>
                <a:gs pos="0">
                  <a:srgbClr val="0070C0"/>
                </a:gs>
                <a:gs pos="100000">
                  <a:srgbClr val="00B0F0"/>
                </a:gs>
              </a:gsLst>
              <a:lin ang="16200000" scaled="1"/>
              <a:tileRect/>
            </a:gradFill>
            <a:ln w="12700">
              <a:solidFill>
                <a:srgbClr val="002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24"/>
            <p:cNvSpPr/>
            <p:nvPr/>
          </p:nvSpPr>
          <p:spPr>
            <a:xfrm>
              <a:off x="5186873" y="5618671"/>
              <a:ext cx="172529" cy="172529"/>
            </a:xfrm>
            <a:prstGeom prst="roundRect">
              <a:avLst>
                <a:gd name="adj" fmla="val 11987"/>
              </a:avLst>
            </a:prstGeom>
            <a:gradFill flip="none" rotWithShape="1">
              <a:gsLst>
                <a:gs pos="0">
                  <a:srgbClr val="0070C0"/>
                </a:gs>
                <a:gs pos="100000">
                  <a:srgbClr val="00B0F0"/>
                </a:gs>
              </a:gsLst>
              <a:lin ang="16200000" scaled="1"/>
              <a:tileRect/>
            </a:gradFill>
            <a:ln w="12700">
              <a:solidFill>
                <a:srgbClr val="002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25"/>
          <p:cNvGrpSpPr/>
          <p:nvPr/>
        </p:nvGrpSpPr>
        <p:grpSpPr>
          <a:xfrm>
            <a:off x="328449" y="2040140"/>
            <a:ext cx="381003" cy="382918"/>
            <a:chOff x="6172200" y="5408282"/>
            <a:chExt cx="381002" cy="382918"/>
          </a:xfrm>
          <a:effectLst>
            <a:outerShdw blurRad="63500" sx="102000" sy="102000" algn="ctr" rotWithShape="0">
              <a:prstClr val="black">
                <a:alpha val="40000"/>
              </a:prstClr>
            </a:outerShdw>
          </a:effectLst>
        </p:grpSpPr>
        <p:sp>
          <p:nvSpPr>
            <p:cNvPr id="27" name="Rounded Rectangle 26"/>
            <p:cNvSpPr/>
            <p:nvPr/>
          </p:nvSpPr>
          <p:spPr>
            <a:xfrm>
              <a:off x="6172200" y="5408282"/>
              <a:ext cx="172529" cy="172529"/>
            </a:xfrm>
            <a:prstGeom prst="roundRect">
              <a:avLst>
                <a:gd name="adj" fmla="val 11987"/>
              </a:avLst>
            </a:prstGeom>
            <a:gradFill flip="none" rotWithShape="1">
              <a:gsLst>
                <a:gs pos="0">
                  <a:schemeClr val="tx1">
                    <a:lumMod val="50000"/>
                    <a:lumOff val="50000"/>
                  </a:schemeClr>
                </a:gs>
                <a:gs pos="100000">
                  <a:schemeClr val="bg1">
                    <a:lumMod val="85000"/>
                  </a:schemeClr>
                </a:gs>
              </a:gsLst>
              <a:lin ang="16200000" scaled="1"/>
              <a:tileRect/>
            </a:gra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p:cNvSpPr/>
            <p:nvPr/>
          </p:nvSpPr>
          <p:spPr>
            <a:xfrm>
              <a:off x="6380673" y="5408282"/>
              <a:ext cx="172529" cy="172529"/>
            </a:xfrm>
            <a:prstGeom prst="roundRect">
              <a:avLst>
                <a:gd name="adj" fmla="val 11987"/>
              </a:avLst>
            </a:prstGeom>
            <a:gradFill flip="none" rotWithShape="1">
              <a:gsLst>
                <a:gs pos="0">
                  <a:schemeClr val="tx1">
                    <a:lumMod val="50000"/>
                    <a:lumOff val="50000"/>
                  </a:schemeClr>
                </a:gs>
                <a:gs pos="100000">
                  <a:schemeClr val="bg1">
                    <a:lumMod val="85000"/>
                  </a:schemeClr>
                </a:gs>
              </a:gsLst>
              <a:lin ang="16200000" scaled="1"/>
              <a:tileRect/>
            </a:gra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p:nvSpPr>
          <p:spPr>
            <a:xfrm>
              <a:off x="6172200" y="5618671"/>
              <a:ext cx="172529" cy="172529"/>
            </a:xfrm>
            <a:prstGeom prst="roundRect">
              <a:avLst>
                <a:gd name="adj" fmla="val 11987"/>
              </a:avLst>
            </a:prstGeom>
            <a:gradFill flip="none" rotWithShape="1">
              <a:gsLst>
                <a:gs pos="0">
                  <a:srgbClr val="0070C0"/>
                </a:gs>
                <a:gs pos="100000">
                  <a:srgbClr val="00B0F0"/>
                </a:gs>
              </a:gsLst>
              <a:lin ang="16200000" scaled="1"/>
              <a:tileRect/>
            </a:gradFill>
            <a:ln w="12700">
              <a:solidFill>
                <a:srgbClr val="002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ounded Rectangle 29"/>
            <p:cNvSpPr/>
            <p:nvPr/>
          </p:nvSpPr>
          <p:spPr>
            <a:xfrm>
              <a:off x="6380673" y="5618671"/>
              <a:ext cx="172529" cy="172529"/>
            </a:xfrm>
            <a:prstGeom prst="roundRect">
              <a:avLst>
                <a:gd name="adj" fmla="val 11987"/>
              </a:avLst>
            </a:prstGeom>
            <a:gradFill flip="none" rotWithShape="1">
              <a:gsLst>
                <a:gs pos="0">
                  <a:schemeClr val="tx1">
                    <a:lumMod val="50000"/>
                    <a:lumOff val="50000"/>
                  </a:schemeClr>
                </a:gs>
                <a:gs pos="100000">
                  <a:schemeClr val="bg1">
                    <a:lumMod val="85000"/>
                  </a:schemeClr>
                </a:gs>
              </a:gsLst>
              <a:lin ang="16200000" scaled="1"/>
              <a:tileRect/>
            </a:gra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TextBox 6"/>
          <p:cNvSpPr txBox="1">
            <a:spLocks noChangeArrowheads="1"/>
          </p:cNvSpPr>
          <p:nvPr/>
        </p:nvSpPr>
        <p:spPr bwMode="auto">
          <a:xfrm>
            <a:off x="895345" y="1835182"/>
            <a:ext cx="7744159" cy="923330"/>
          </a:xfrm>
          <a:prstGeom prst="rect">
            <a:avLst/>
          </a:prstGeom>
          <a:noFill/>
          <a:ln w="9525">
            <a:noFill/>
            <a:miter lim="800000"/>
            <a:headEnd/>
            <a:tailEnd/>
          </a:ln>
        </p:spPr>
        <p:txBody>
          <a:bodyPr wrap="square">
            <a:spAutoFit/>
          </a:bodyPr>
          <a:lstStyle/>
          <a:p>
            <a:pPr algn="just">
              <a:buClr>
                <a:srgbClr val="FF0000"/>
              </a:buClr>
              <a:buSzPct val="150000"/>
            </a:pPr>
            <a:r>
              <a:rPr lang="ms-MY" dirty="0">
                <a:latin typeface="Arial" pitchFamily="34" charset="0"/>
              </a:rPr>
              <a:t>PBPPP ini melibatkan </a:t>
            </a:r>
            <a:r>
              <a:rPr lang="ms-MY" b="1" dirty="0">
                <a:latin typeface="Arial" pitchFamily="34" charset="0"/>
              </a:rPr>
              <a:t>dua Pegawai Penilai</a:t>
            </a:r>
            <a:r>
              <a:rPr lang="ms-MY" dirty="0">
                <a:latin typeface="Arial" pitchFamily="34" charset="0"/>
              </a:rPr>
              <a:t>, iaitu </a:t>
            </a:r>
            <a:r>
              <a:rPr lang="ms-MY" b="1" dirty="0">
                <a:latin typeface="Arial" pitchFamily="34" charset="0"/>
              </a:rPr>
              <a:t>Pegawai Penilai </a:t>
            </a:r>
            <a:r>
              <a:rPr lang="ms-MY" b="1" dirty="0" smtClean="0">
                <a:latin typeface="Arial" pitchFamily="34" charset="0"/>
              </a:rPr>
              <a:t>Satu (PP1</a:t>
            </a:r>
            <a:r>
              <a:rPr lang="ms-MY" b="1" dirty="0">
                <a:latin typeface="Arial" pitchFamily="34" charset="0"/>
              </a:rPr>
              <a:t>)</a:t>
            </a:r>
            <a:r>
              <a:rPr lang="ms-MY" dirty="0">
                <a:latin typeface="Arial" pitchFamily="34" charset="0"/>
              </a:rPr>
              <a:t> dan </a:t>
            </a:r>
            <a:r>
              <a:rPr lang="ms-MY" b="1" dirty="0">
                <a:latin typeface="Arial" pitchFamily="34" charset="0"/>
              </a:rPr>
              <a:t>Pegawai Penilai Dua (PP2)</a:t>
            </a:r>
            <a:r>
              <a:rPr lang="ms-MY" dirty="0">
                <a:latin typeface="Arial" pitchFamily="34" charset="0"/>
              </a:rPr>
              <a:t>. Penilaian mesti dijalankan oleh PP yang mempunyai hubungan kerja dengan PYD. </a:t>
            </a:r>
            <a:endParaRPr lang="en-US" dirty="0">
              <a:latin typeface="Arial" pitchFamily="34" charset="0"/>
            </a:endParaRPr>
          </a:p>
        </p:txBody>
      </p:sp>
      <p:sp>
        <p:nvSpPr>
          <p:cNvPr id="37" name="TextBox 6"/>
          <p:cNvSpPr txBox="1">
            <a:spLocks noChangeArrowheads="1"/>
          </p:cNvSpPr>
          <p:nvPr/>
        </p:nvSpPr>
        <p:spPr bwMode="auto">
          <a:xfrm>
            <a:off x="800749" y="2932066"/>
            <a:ext cx="8201359" cy="1523494"/>
          </a:xfrm>
          <a:prstGeom prst="rect">
            <a:avLst/>
          </a:prstGeom>
          <a:noFill/>
          <a:ln w="9525">
            <a:noFill/>
            <a:miter lim="800000"/>
            <a:headEnd/>
            <a:tailEnd/>
          </a:ln>
        </p:spPr>
        <p:txBody>
          <a:bodyPr wrap="square">
            <a:spAutoFit/>
          </a:bodyPr>
          <a:lstStyle/>
          <a:p>
            <a:pPr marL="347663" indent="-347663" algn="just">
              <a:buClr>
                <a:srgbClr val="FF0000"/>
              </a:buClr>
              <a:buSzPct val="150000"/>
            </a:pPr>
            <a:endParaRPr lang="en-US" dirty="0">
              <a:latin typeface="Arial" pitchFamily="34" charset="0"/>
            </a:endParaRPr>
          </a:p>
          <a:p>
            <a:pPr algn="just">
              <a:buClr>
                <a:srgbClr val="FF0000"/>
              </a:buClr>
              <a:buSzPct val="150000"/>
            </a:pPr>
            <a:r>
              <a:rPr lang="ms-MY" dirty="0">
                <a:solidFill>
                  <a:schemeClr val="bg1"/>
                </a:solidFill>
                <a:latin typeface="Arial" pitchFamily="34" charset="0"/>
              </a:rPr>
              <a:t>Pemberian markah antara kedua-dua PP kepada PYD adalah </a:t>
            </a:r>
            <a:r>
              <a:rPr lang="ms-MY" b="1" dirty="0">
                <a:solidFill>
                  <a:schemeClr val="bg1"/>
                </a:solidFill>
                <a:latin typeface="Arial" pitchFamily="34" charset="0"/>
              </a:rPr>
              <a:t>SULIT</a:t>
            </a:r>
            <a:r>
              <a:rPr lang="ms-MY" dirty="0" smtClean="0">
                <a:solidFill>
                  <a:schemeClr val="bg1"/>
                </a:solidFill>
                <a:latin typeface="Arial" pitchFamily="34" charset="0"/>
              </a:rPr>
              <a:t>. PP1 dan PP2 boleh mengadakan perbincangan berkaitan prestasi PYD namun</a:t>
            </a:r>
            <a:r>
              <a:rPr lang="ms-MY" b="1" dirty="0" smtClean="0">
                <a:solidFill>
                  <a:schemeClr val="bg1"/>
                </a:solidFill>
                <a:latin typeface="Arial" pitchFamily="34" charset="0"/>
              </a:rPr>
              <a:t> TIDAK </a:t>
            </a:r>
            <a:r>
              <a:rPr lang="ms-MY" b="1" dirty="0">
                <a:solidFill>
                  <a:schemeClr val="bg1"/>
                </a:solidFill>
                <a:latin typeface="Arial" pitchFamily="34" charset="0"/>
              </a:rPr>
              <a:t>BOLEH BERBINCANG</a:t>
            </a:r>
            <a:r>
              <a:rPr lang="ms-MY" dirty="0">
                <a:solidFill>
                  <a:schemeClr val="bg1"/>
                </a:solidFill>
                <a:latin typeface="Arial" pitchFamily="34" charset="0"/>
              </a:rPr>
              <a:t> dalam </a:t>
            </a:r>
            <a:r>
              <a:rPr lang="ms-MY" dirty="0" smtClean="0">
                <a:solidFill>
                  <a:schemeClr val="bg1"/>
                </a:solidFill>
                <a:latin typeface="Arial" pitchFamily="34" charset="0"/>
              </a:rPr>
              <a:t>penetapan </a:t>
            </a:r>
            <a:r>
              <a:rPr lang="ms-MY" dirty="0">
                <a:solidFill>
                  <a:schemeClr val="bg1"/>
                </a:solidFill>
                <a:latin typeface="Arial" pitchFamily="34" charset="0"/>
              </a:rPr>
              <a:t>pemberian markah PYD. </a:t>
            </a:r>
          </a:p>
          <a:p>
            <a:pPr marL="347663" indent="-347663" algn="just">
              <a:buClr>
                <a:srgbClr val="FF0000"/>
              </a:buClr>
              <a:buSzPct val="150000"/>
            </a:pPr>
            <a:endParaRPr lang="ms-MY" dirty="0">
              <a:latin typeface="Arial" pitchFamily="34" charset="0"/>
            </a:endParaRPr>
          </a:p>
        </p:txBody>
      </p:sp>
      <p:sp>
        <p:nvSpPr>
          <p:cNvPr id="38" name="TextBox 6"/>
          <p:cNvSpPr txBox="1">
            <a:spLocks noChangeArrowheads="1"/>
          </p:cNvSpPr>
          <p:nvPr/>
        </p:nvSpPr>
        <p:spPr bwMode="auto">
          <a:xfrm>
            <a:off x="872757" y="5469386"/>
            <a:ext cx="7722795" cy="646331"/>
          </a:xfrm>
          <a:prstGeom prst="rect">
            <a:avLst/>
          </a:prstGeom>
          <a:noFill/>
          <a:ln w="9525">
            <a:noFill/>
            <a:miter lim="800000"/>
            <a:headEnd/>
            <a:tailEnd/>
          </a:ln>
        </p:spPr>
        <p:txBody>
          <a:bodyPr wrap="square">
            <a:spAutoFit/>
          </a:bodyPr>
          <a:lstStyle/>
          <a:p>
            <a:pPr marL="347663" indent="-347663" algn="just">
              <a:buClr>
                <a:srgbClr val="FF0000"/>
              </a:buClr>
              <a:buSzPct val="150000"/>
            </a:pPr>
            <a:endParaRPr lang="ms-MY" dirty="0">
              <a:solidFill>
                <a:schemeClr val="bg1"/>
              </a:solidFill>
              <a:latin typeface="Arial" pitchFamily="34" charset="0"/>
            </a:endParaRPr>
          </a:p>
          <a:p>
            <a:pPr marL="347663" indent="-347663" algn="just">
              <a:buClr>
                <a:srgbClr val="FF0000"/>
              </a:buClr>
              <a:buSzPct val="150000"/>
            </a:pPr>
            <a:r>
              <a:rPr lang="ms-MY" dirty="0">
                <a:solidFill>
                  <a:schemeClr val="bg1"/>
                </a:solidFill>
                <a:latin typeface="Arial" pitchFamily="34" charset="0"/>
              </a:rPr>
              <a:t>Penilaian juga dilaksanakan secara </a:t>
            </a:r>
            <a:r>
              <a:rPr lang="ms-MY" dirty="0" smtClean="0">
                <a:solidFill>
                  <a:schemeClr val="bg1"/>
                </a:solidFill>
                <a:latin typeface="Arial" pitchFamily="34" charset="0"/>
              </a:rPr>
              <a:t>berasingan</a:t>
            </a:r>
            <a:endParaRPr lang="ms-MY" dirty="0">
              <a:latin typeface="Arial" pitchFamily="34" charset="0"/>
            </a:endParaRPr>
          </a:p>
        </p:txBody>
      </p:sp>
      <p:sp>
        <p:nvSpPr>
          <p:cNvPr id="39" name="TextBox 6"/>
          <p:cNvSpPr txBox="1">
            <a:spLocks noChangeArrowheads="1"/>
          </p:cNvSpPr>
          <p:nvPr/>
        </p:nvSpPr>
        <p:spPr bwMode="auto">
          <a:xfrm>
            <a:off x="879578" y="4534586"/>
            <a:ext cx="7794804" cy="646331"/>
          </a:xfrm>
          <a:prstGeom prst="rect">
            <a:avLst/>
          </a:prstGeom>
          <a:noFill/>
          <a:ln w="9525">
            <a:noFill/>
            <a:miter lim="800000"/>
            <a:headEnd/>
            <a:tailEnd/>
          </a:ln>
        </p:spPr>
        <p:txBody>
          <a:bodyPr wrap="square">
            <a:spAutoFit/>
          </a:bodyPr>
          <a:lstStyle/>
          <a:p>
            <a:pPr marL="347663" indent="-347663" algn="just">
              <a:buClr>
                <a:srgbClr val="FF0000"/>
              </a:buClr>
              <a:buSzPct val="150000"/>
            </a:pPr>
            <a:endParaRPr lang="ms-MY" dirty="0">
              <a:latin typeface="Arial" pitchFamily="34" charset="0"/>
            </a:endParaRPr>
          </a:p>
          <a:p>
            <a:pPr marL="347663" indent="-347663" algn="just">
              <a:buClr>
                <a:srgbClr val="FF0000"/>
              </a:buClr>
              <a:buSzPct val="150000"/>
            </a:pPr>
            <a:r>
              <a:rPr lang="ms-MY" dirty="0">
                <a:latin typeface="Arial" pitchFamily="34" charset="0"/>
              </a:rPr>
              <a:t>PP dilantik oleh Jawatankuasa PBPPP Organisasi. </a:t>
            </a:r>
            <a:endParaRPr lang="en-US" dirty="0">
              <a:latin typeface="Arial" pitchFamily="34" charset="0"/>
            </a:endParaRPr>
          </a:p>
        </p:txBody>
      </p:sp>
      <p:pic>
        <p:nvPicPr>
          <p:cNvPr id="44" name="Picture 6" descr="http://www.onlinetranscription.com.au/images/icons/128/confidential.png"/>
          <p:cNvPicPr>
            <a:picLocks noChangeAspect="1" noChangeArrowheads="1"/>
          </p:cNvPicPr>
          <p:nvPr/>
        </p:nvPicPr>
        <p:blipFill>
          <a:blip r:embed="rId3" cstate="print"/>
          <a:srcRect/>
          <a:stretch>
            <a:fillRect/>
          </a:stretch>
        </p:blipFill>
        <p:spPr bwMode="auto">
          <a:xfrm rot="1061757">
            <a:off x="7694555" y="3693628"/>
            <a:ext cx="757387" cy="757387"/>
          </a:xfrm>
          <a:prstGeom prst="rect">
            <a:avLst/>
          </a:prstGeom>
          <a:noFill/>
        </p:spPr>
      </p:pic>
      <p:pic>
        <p:nvPicPr>
          <p:cNvPr id="45" name="Picture 8" descr="http://www.clker.com/cliparts/2/0/7/4/13665396651732878723free-red-cloud-site_map-md.png"/>
          <p:cNvPicPr>
            <a:picLocks noChangeAspect="1" noChangeArrowheads="1"/>
          </p:cNvPicPr>
          <p:nvPr/>
        </p:nvPicPr>
        <p:blipFill>
          <a:blip r:embed="rId4" cstate="print"/>
          <a:srcRect/>
          <a:stretch>
            <a:fillRect/>
          </a:stretch>
        </p:blipFill>
        <p:spPr bwMode="auto">
          <a:xfrm>
            <a:off x="6223751" y="4725365"/>
            <a:ext cx="428628" cy="428628"/>
          </a:xfrm>
          <a:prstGeom prst="rect">
            <a:avLst/>
          </a:prstGeom>
          <a:noFill/>
        </p:spPr>
      </p:pic>
      <p:sp>
        <p:nvSpPr>
          <p:cNvPr id="47" name="AutoShape 1893"/>
          <p:cNvSpPr>
            <a:spLocks noChangeArrowheads="1"/>
          </p:cNvSpPr>
          <p:nvPr/>
        </p:nvSpPr>
        <p:spPr bwMode="auto">
          <a:xfrm rot="5400000">
            <a:off x="5479250" y="-1209947"/>
            <a:ext cx="646297" cy="4192253"/>
          </a:xfrm>
          <a:prstGeom prst="roundRect">
            <a:avLst>
              <a:gd name="adj" fmla="val 50000"/>
            </a:avLst>
          </a:prstGeom>
          <a:gradFill rotWithShape="1">
            <a:gsLst>
              <a:gs pos="0">
                <a:srgbClr val="FFCC00"/>
              </a:gs>
              <a:gs pos="100000">
                <a:srgbClr val="FF9933"/>
              </a:gs>
            </a:gsLst>
            <a:lin ang="5400000" scaled="1"/>
          </a:gradFill>
          <a:ln w="9525">
            <a:noFill/>
            <a:round/>
            <a:headEnd/>
            <a:tailEnd/>
          </a:ln>
        </p:spPr>
        <p:txBody>
          <a:bodyPr wrap="none" anchor="ctr"/>
          <a:lstStyle/>
          <a:p>
            <a:endParaRPr lang="en-US">
              <a:ea typeface="Gulim" pitchFamily="34" charset="-127"/>
              <a:sym typeface="Gulim" pitchFamily="34" charset="-127"/>
            </a:endParaRPr>
          </a:p>
        </p:txBody>
      </p:sp>
      <p:sp>
        <p:nvSpPr>
          <p:cNvPr id="48" name="TextBox 17"/>
          <p:cNvSpPr txBox="1">
            <a:spLocks noChangeArrowheads="1"/>
          </p:cNvSpPr>
          <p:nvPr/>
        </p:nvSpPr>
        <p:spPr bwMode="auto">
          <a:xfrm>
            <a:off x="4405465" y="629421"/>
            <a:ext cx="2730876" cy="461665"/>
          </a:xfrm>
          <a:prstGeom prst="rect">
            <a:avLst/>
          </a:prstGeom>
          <a:noFill/>
          <a:ln w="9525">
            <a:noFill/>
            <a:miter lim="800000"/>
            <a:headEnd/>
            <a:tailEnd/>
          </a:ln>
        </p:spPr>
        <p:txBody>
          <a:bodyPr wrap="none">
            <a:spAutoFit/>
          </a:bodyPr>
          <a:lstStyle/>
          <a:p>
            <a:r>
              <a:rPr lang="en-US" sz="2400" b="1" dirty="0" err="1" smtClean="0">
                <a:latin typeface="Segoe UI Light"/>
                <a:ea typeface="Segoe UI Light"/>
                <a:cs typeface="Segoe UI Light"/>
              </a:rPr>
              <a:t>Pegawai</a:t>
            </a:r>
            <a:r>
              <a:rPr lang="en-US" sz="2400" b="1" dirty="0" smtClean="0">
                <a:latin typeface="Segoe UI Light"/>
                <a:ea typeface="Segoe UI Light"/>
                <a:cs typeface="Segoe UI Light"/>
              </a:rPr>
              <a:t> </a:t>
            </a:r>
            <a:r>
              <a:rPr lang="en-US" sz="2400" b="1" dirty="0" err="1" smtClean="0">
                <a:latin typeface="Segoe UI Light"/>
                <a:ea typeface="Segoe UI Light"/>
                <a:cs typeface="Segoe UI Light"/>
              </a:rPr>
              <a:t>Penilai</a:t>
            </a:r>
            <a:r>
              <a:rPr lang="en-US" sz="2400" b="1" dirty="0" smtClean="0">
                <a:latin typeface="Segoe UI Light"/>
                <a:ea typeface="Segoe UI Light"/>
                <a:cs typeface="Segoe UI Light"/>
              </a:rPr>
              <a:t> (PP)</a:t>
            </a:r>
            <a:endParaRPr lang="en-US" sz="2400" b="1" dirty="0">
              <a:latin typeface="Segoe UI Light"/>
              <a:ea typeface="Segoe UI Light"/>
              <a:cs typeface="Segoe UI Light"/>
            </a:endParaRPr>
          </a:p>
        </p:txBody>
      </p:sp>
      <p:pic>
        <p:nvPicPr>
          <p:cNvPr id="49" name="Picture 5" descr="officer.png"/>
          <p:cNvPicPr>
            <a:picLocks noChangeAspect="1"/>
          </p:cNvPicPr>
          <p:nvPr/>
        </p:nvPicPr>
        <p:blipFill>
          <a:blip r:embed="rId5" cstate="print"/>
          <a:srcRect/>
          <a:stretch>
            <a:fillRect/>
          </a:stretch>
        </p:blipFill>
        <p:spPr bwMode="auto">
          <a:xfrm>
            <a:off x="7175522" y="74029"/>
            <a:ext cx="2147913" cy="2028967"/>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ox(in)">
                                      <p:cBhvr>
                                        <p:cTn id="7" dur="500"/>
                                        <p:tgtEl>
                                          <p:spTgt spid="48"/>
                                        </p:tgtEl>
                                      </p:cBhvr>
                                    </p:animEffect>
                                  </p:childTnLst>
                                </p:cTn>
                              </p:par>
                              <p:par>
                                <p:cTn id="8" presetID="4" presetClass="entr" presetSubtype="16"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box(in)">
                                      <p:cBhvr>
                                        <p:cTn id="10" dur="500"/>
                                        <p:tgtEl>
                                          <p:spTgt spid="49"/>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box(in)">
                                      <p:cBhvr>
                                        <p:cTn id="15" dur="500"/>
                                        <p:tgtEl>
                                          <p:spTgt spid="36"/>
                                        </p:tgtEl>
                                      </p:cBhvr>
                                    </p:animEffect>
                                  </p:childTnLst>
                                </p:cTn>
                              </p:par>
                            </p:childTnLst>
                          </p:cTn>
                        </p:par>
                      </p:childTnLst>
                    </p:cTn>
                  </p:par>
                  <p:par>
                    <p:cTn id="16" fill="hold">
                      <p:stCondLst>
                        <p:cond delay="indefinite"/>
                      </p:stCondLst>
                      <p:childTnLst>
                        <p:par>
                          <p:cTn id="17" fill="hold">
                            <p:stCondLst>
                              <p:cond delay="0"/>
                            </p:stCondLst>
                            <p:childTnLst>
                              <p:par>
                                <p:cTn id="18" presetID="47" presetClass="entr" presetSubtype="0" fill="hold" grpId="0" nodeType="clickEffect">
                                  <p:stCondLst>
                                    <p:cond delay="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anim calcmode="lin" valueType="num">
                                      <p:cBhvr>
                                        <p:cTn id="21" dur="500" fill="hold"/>
                                        <p:tgtEl>
                                          <p:spTgt spid="37"/>
                                        </p:tgtEl>
                                        <p:attrNameLst>
                                          <p:attrName>ppt_x</p:attrName>
                                        </p:attrNameLst>
                                      </p:cBhvr>
                                      <p:tavLst>
                                        <p:tav tm="0">
                                          <p:val>
                                            <p:strVal val="#ppt_x"/>
                                          </p:val>
                                        </p:tav>
                                        <p:tav tm="100000">
                                          <p:val>
                                            <p:strVal val="#ppt_x"/>
                                          </p:val>
                                        </p:tav>
                                      </p:tavLst>
                                    </p:anim>
                                    <p:anim calcmode="lin" valueType="num">
                                      <p:cBhvr>
                                        <p:cTn id="22" dur="500" fill="hold"/>
                                        <p:tgtEl>
                                          <p:spTgt spid="37"/>
                                        </p:tgtEl>
                                        <p:attrNameLst>
                                          <p:attrName>ppt_y</p:attrName>
                                        </p:attrNameLst>
                                      </p:cBhvr>
                                      <p:tavLst>
                                        <p:tav tm="0">
                                          <p:val>
                                            <p:strVal val="#ppt_y-.1"/>
                                          </p:val>
                                        </p:tav>
                                        <p:tav tm="100000">
                                          <p:val>
                                            <p:strVal val="#ppt_y"/>
                                          </p:val>
                                        </p:tav>
                                      </p:tavLst>
                                    </p:anim>
                                  </p:childTnLst>
                                </p:cTn>
                              </p:par>
                              <p:par>
                                <p:cTn id="23" presetID="47"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anim calcmode="lin" valueType="num">
                                      <p:cBhvr>
                                        <p:cTn id="26" dur="500" fill="hold"/>
                                        <p:tgtEl>
                                          <p:spTgt spid="44"/>
                                        </p:tgtEl>
                                        <p:attrNameLst>
                                          <p:attrName>ppt_x</p:attrName>
                                        </p:attrNameLst>
                                      </p:cBhvr>
                                      <p:tavLst>
                                        <p:tav tm="0">
                                          <p:val>
                                            <p:strVal val="#ppt_x"/>
                                          </p:val>
                                        </p:tav>
                                        <p:tav tm="100000">
                                          <p:val>
                                            <p:strVal val="#ppt_x"/>
                                          </p:val>
                                        </p:tav>
                                      </p:tavLst>
                                    </p:anim>
                                    <p:anim calcmode="lin" valueType="num">
                                      <p:cBhvr>
                                        <p:cTn id="27" dur="5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2" presetClass="entr" presetSubtype="4" fill="hold" grpId="0" nodeType="click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slide(fromBottom)">
                                      <p:cBhvr>
                                        <p:cTn id="32" dur="500"/>
                                        <p:tgtEl>
                                          <p:spTgt spid="39"/>
                                        </p:tgtEl>
                                      </p:cBhvr>
                                    </p:animEffect>
                                  </p:childTnLst>
                                </p:cTn>
                              </p:par>
                              <p:par>
                                <p:cTn id="33" presetID="12" presetClass="entr" presetSubtype="4" fill="hold" nodeType="withEffect">
                                  <p:stCondLst>
                                    <p:cond delay="0"/>
                                  </p:stCondLst>
                                  <p:childTnLst>
                                    <p:set>
                                      <p:cBhvr>
                                        <p:cTn id="34" dur="1" fill="hold">
                                          <p:stCondLst>
                                            <p:cond delay="0"/>
                                          </p:stCondLst>
                                        </p:cTn>
                                        <p:tgtEl>
                                          <p:spTgt spid="45"/>
                                        </p:tgtEl>
                                        <p:attrNameLst>
                                          <p:attrName>style.visibility</p:attrName>
                                        </p:attrNameLst>
                                      </p:cBhvr>
                                      <p:to>
                                        <p:strVal val="visible"/>
                                      </p:to>
                                    </p:set>
                                    <p:animEffect transition="in" filter="slide(fromBottom)">
                                      <p:cBhvr>
                                        <p:cTn id="35" dur="500"/>
                                        <p:tgtEl>
                                          <p:spTgt spid="45"/>
                                        </p:tgtEl>
                                      </p:cBhvr>
                                    </p:animEffect>
                                  </p:childTnLst>
                                </p:cTn>
                              </p:par>
                            </p:childTnLst>
                          </p:cTn>
                        </p:par>
                      </p:childTnLst>
                    </p:cTn>
                  </p:par>
                  <p:par>
                    <p:cTn id="36" fill="hold">
                      <p:stCondLst>
                        <p:cond delay="indefinite"/>
                      </p:stCondLst>
                      <p:childTnLst>
                        <p:par>
                          <p:cTn id="37" fill="hold">
                            <p:stCondLst>
                              <p:cond delay="0"/>
                            </p:stCondLst>
                            <p:childTnLst>
                              <p:par>
                                <p:cTn id="38" presetID="4" presetClass="entr" presetSubtype="16" fill="hold" grpId="0" nodeType="clickEffect">
                                  <p:stCondLst>
                                    <p:cond delay="0"/>
                                  </p:stCondLst>
                                  <p:childTnLst>
                                    <p:set>
                                      <p:cBhvr>
                                        <p:cTn id="39" dur="1" fill="hold">
                                          <p:stCondLst>
                                            <p:cond delay="0"/>
                                          </p:stCondLst>
                                        </p:cTn>
                                        <p:tgtEl>
                                          <p:spTgt spid="38"/>
                                        </p:tgtEl>
                                        <p:attrNameLst>
                                          <p:attrName>style.visibility</p:attrName>
                                        </p:attrNameLst>
                                      </p:cBhvr>
                                      <p:to>
                                        <p:strVal val="visible"/>
                                      </p:to>
                                    </p:set>
                                    <p:animEffect transition="in" filter="box(in)">
                                      <p:cBhvr>
                                        <p:cTn id="40"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ounded Rectangle 52"/>
          <p:cNvSpPr/>
          <p:nvPr/>
        </p:nvSpPr>
        <p:spPr>
          <a:xfrm>
            <a:off x="1295400" y="1827305"/>
            <a:ext cx="7086600" cy="4106364"/>
          </a:xfrm>
          <a:prstGeom prst="roundRect">
            <a:avLst>
              <a:gd name="adj" fmla="val 11111"/>
            </a:avLst>
          </a:prstGeom>
          <a:gradFill flip="none" rotWithShape="1">
            <a:gsLst>
              <a:gs pos="27936">
                <a:srgbClr val="7EC301">
                  <a:alpha val="15000"/>
                </a:srgbClr>
              </a:gs>
              <a:gs pos="73000">
                <a:srgbClr val="7EC301">
                  <a:alpha val="15000"/>
                </a:srgbClr>
              </a:gs>
              <a:gs pos="48000">
                <a:srgbClr val="7EC301">
                  <a:alpha val="15000"/>
                </a:srgbClr>
              </a:gs>
              <a:gs pos="0">
                <a:srgbClr val="7EC301">
                  <a:alpha val="99000"/>
                </a:srgbClr>
              </a:gs>
              <a:gs pos="100000">
                <a:srgbClr val="7EC301"/>
              </a:gs>
            </a:gsLst>
            <a:lin ang="0" scaled="1"/>
            <a:tileRect/>
          </a:gradFill>
          <a:ln w="0">
            <a:solidFill>
              <a:srgbClr val="007005">
                <a:alpha val="29000"/>
              </a:srgb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400" b="1" dirty="0">
              <a:solidFill>
                <a:schemeClr val="tx2"/>
              </a:solidFill>
            </a:endParaRPr>
          </a:p>
        </p:txBody>
      </p:sp>
      <p:sp>
        <p:nvSpPr>
          <p:cNvPr id="4" name="Footer Placeholder 3"/>
          <p:cNvSpPr>
            <a:spLocks noGrp="1"/>
          </p:cNvSpPr>
          <p:nvPr>
            <p:ph type="ftr" sz="quarter" idx="11"/>
          </p:nvPr>
        </p:nvSpPr>
        <p:spPr>
          <a:xfrm>
            <a:off x="3290958" y="6442099"/>
            <a:ext cx="4958521" cy="365125"/>
          </a:xfrm>
        </p:spPr>
        <p:txBody>
          <a:bodyPr/>
          <a:lstStyle/>
          <a:p>
            <a:r>
              <a:rPr lang="en-US" smtClean="0"/>
              <a:t>GURU (SEKOLAH)</a:t>
            </a:r>
            <a:endParaRPr lang="en-US" dirty="0"/>
          </a:p>
        </p:txBody>
      </p:sp>
      <p:sp>
        <p:nvSpPr>
          <p:cNvPr id="5" name="Slide Number Placeholder 4"/>
          <p:cNvSpPr>
            <a:spLocks noGrp="1"/>
          </p:cNvSpPr>
          <p:nvPr>
            <p:ph type="sldNum" sz="quarter" idx="12"/>
          </p:nvPr>
        </p:nvSpPr>
        <p:spPr>
          <a:xfrm>
            <a:off x="6553200" y="6431056"/>
            <a:ext cx="2133600" cy="365125"/>
          </a:xfrm>
        </p:spPr>
        <p:txBody>
          <a:bodyPr/>
          <a:lstStyle/>
          <a:p>
            <a:fld id="{4D86EDED-B1AF-7E4B-94C9-3F0EAA36C7D5}" type="slidenum">
              <a:rPr lang="en-US" smtClean="0"/>
              <a:pPr/>
              <a:t>33</a:t>
            </a:fld>
            <a:endParaRPr lang="en-US"/>
          </a:p>
        </p:txBody>
      </p:sp>
      <p:grpSp>
        <p:nvGrpSpPr>
          <p:cNvPr id="2" name="Group 31"/>
          <p:cNvGrpSpPr/>
          <p:nvPr/>
        </p:nvGrpSpPr>
        <p:grpSpPr>
          <a:xfrm>
            <a:off x="454617" y="1522959"/>
            <a:ext cx="1632196" cy="4766624"/>
            <a:chOff x="-914400" y="2133600"/>
            <a:chExt cx="2258573" cy="6595877"/>
          </a:xfrm>
          <a:effectLst>
            <a:outerShdw blurRad="457200" dist="38100" dir="8100000" algn="tr" rotWithShape="0">
              <a:srgbClr val="007005">
                <a:alpha val="40000"/>
              </a:srgbClr>
            </a:outerShdw>
          </a:effectLst>
        </p:grpSpPr>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4400" y="2133600"/>
              <a:ext cx="2258573" cy="2261621"/>
            </a:xfrm>
            <a:prstGeom prst="rect">
              <a:avLst/>
            </a:prstGeom>
          </p:spPr>
        </p:pic>
        <p:pic>
          <p:nvPicPr>
            <p:cNvPr id="34" name="Picture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4400" y="3810000"/>
              <a:ext cx="2258573" cy="3304039"/>
            </a:xfrm>
            <a:prstGeom prst="rect">
              <a:avLst/>
            </a:prstGeom>
          </p:spPr>
        </p:pic>
        <p:pic>
          <p:nvPicPr>
            <p:cNvPr id="35" name="Picture 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4400" y="6477000"/>
              <a:ext cx="2258573" cy="2252477"/>
            </a:xfrm>
            <a:prstGeom prst="rect">
              <a:avLst/>
            </a:prstGeom>
          </p:spPr>
        </p:pic>
      </p:grpSp>
      <p:grpSp>
        <p:nvGrpSpPr>
          <p:cNvPr id="3" name="Group 35"/>
          <p:cNvGrpSpPr/>
          <p:nvPr/>
        </p:nvGrpSpPr>
        <p:grpSpPr>
          <a:xfrm>
            <a:off x="7297848" y="1529716"/>
            <a:ext cx="1636603" cy="4759866"/>
            <a:chOff x="3048000" y="2057400"/>
            <a:chExt cx="2264669" cy="6586526"/>
          </a:xfrm>
          <a:effectLst>
            <a:outerShdw blurRad="457200" dist="38100" dir="8100000" algn="tr" rotWithShape="0">
              <a:srgbClr val="007005">
                <a:alpha val="40000"/>
              </a:srgbClr>
            </a:outerShdw>
          </a:effectLst>
        </p:grpSpPr>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48000" y="2057400"/>
              <a:ext cx="2261621" cy="2258573"/>
            </a:xfrm>
            <a:prstGeom prst="rect">
              <a:avLst/>
            </a:prstGeom>
          </p:spPr>
        </p:pic>
        <p:pic>
          <p:nvPicPr>
            <p:cNvPr id="38" name="Picture 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048000" y="6400593"/>
              <a:ext cx="2264669" cy="2243333"/>
            </a:xfrm>
            <a:prstGeom prst="rect">
              <a:avLst/>
            </a:prstGeom>
          </p:spPr>
        </p:pic>
        <p:pic>
          <p:nvPicPr>
            <p:cNvPr id="39" name="Picture 3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00" y="3733800"/>
              <a:ext cx="2261621" cy="3307087"/>
            </a:xfrm>
            <a:prstGeom prst="rect">
              <a:avLst/>
            </a:prstGeom>
          </p:spPr>
        </p:pic>
      </p:grpSp>
      <p:pic>
        <p:nvPicPr>
          <p:cNvPr id="40" name="Picture 3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2400" y="1332605"/>
            <a:ext cx="1841084" cy="1609149"/>
          </a:xfrm>
          <a:prstGeom prst="rect">
            <a:avLst/>
          </a:prstGeom>
          <a:effectLst>
            <a:outerShdw blurRad="76200" dir="13500000" sy="23000" kx="1200000" algn="br" rotWithShape="0">
              <a:prstClr val="black">
                <a:alpha val="20000"/>
              </a:prstClr>
            </a:outerShdw>
          </a:effectLst>
        </p:spPr>
      </p:pic>
      <p:sp>
        <p:nvSpPr>
          <p:cNvPr id="42" name="Content Placeholder 5"/>
          <p:cNvSpPr>
            <a:spLocks noGrp="1"/>
          </p:cNvSpPr>
          <p:nvPr>
            <p:ph idx="1"/>
          </p:nvPr>
        </p:nvSpPr>
        <p:spPr>
          <a:xfrm>
            <a:off x="2457448" y="2050466"/>
            <a:ext cx="4715757" cy="1211479"/>
          </a:xfrm>
        </p:spPr>
        <p:txBody>
          <a:bodyPr>
            <a:noAutofit/>
          </a:bodyPr>
          <a:lstStyle/>
          <a:p>
            <a:pPr marL="0" lvl="0" indent="0" algn="just">
              <a:buClr>
                <a:srgbClr val="FF0000"/>
              </a:buClr>
              <a:buSzPct val="150000"/>
              <a:buNone/>
            </a:pPr>
            <a:r>
              <a:rPr lang="en-US" sz="1800" dirty="0" err="1" smtClean="0">
                <a:latin typeface="Arial" pitchFamily="34" charset="0"/>
                <a:cs typeface="Arial" pitchFamily="34" charset="0"/>
              </a:rPr>
              <a:t>Mempunyai</a:t>
            </a:r>
            <a:r>
              <a:rPr lang="en-US" sz="1800" dirty="0" smtClean="0">
                <a:latin typeface="Arial" pitchFamily="34" charset="0"/>
                <a:cs typeface="Arial" pitchFamily="34" charset="0"/>
              </a:rPr>
              <a:t> </a:t>
            </a:r>
            <a:r>
              <a:rPr lang="en-US" sz="1800" dirty="0" err="1">
                <a:latin typeface="Arial" pitchFamily="34" charset="0"/>
                <a:cs typeface="Arial" pitchFamily="34" charset="0"/>
              </a:rPr>
              <a:t>pengetahuan</a:t>
            </a:r>
            <a:r>
              <a:rPr lang="en-US" sz="1800" dirty="0">
                <a:latin typeface="Arial" pitchFamily="34" charset="0"/>
                <a:cs typeface="Arial" pitchFamily="34" charset="0"/>
              </a:rPr>
              <a:t> </a:t>
            </a:r>
            <a:r>
              <a:rPr lang="en-US" sz="1800" dirty="0" err="1">
                <a:latin typeface="Arial" pitchFamily="34" charset="0"/>
                <a:cs typeface="Arial" pitchFamily="34" charset="0"/>
              </a:rPr>
              <a:t>dan</a:t>
            </a:r>
            <a:r>
              <a:rPr lang="en-US" sz="1800" dirty="0">
                <a:latin typeface="Arial" pitchFamily="34" charset="0"/>
                <a:cs typeface="Arial" pitchFamily="34" charset="0"/>
              </a:rPr>
              <a:t> </a:t>
            </a:r>
            <a:r>
              <a:rPr lang="en-US" sz="1800" dirty="0" err="1">
                <a:latin typeface="Arial" pitchFamily="34" charset="0"/>
                <a:cs typeface="Arial" pitchFamily="34" charset="0"/>
              </a:rPr>
              <a:t>kemahiran</a:t>
            </a:r>
            <a:r>
              <a:rPr lang="en-US" sz="1800" dirty="0">
                <a:latin typeface="Arial" pitchFamily="34" charset="0"/>
                <a:cs typeface="Arial" pitchFamily="34" charset="0"/>
              </a:rPr>
              <a:t> </a:t>
            </a:r>
            <a:r>
              <a:rPr lang="en-US" sz="1800" dirty="0" err="1" smtClean="0">
                <a:latin typeface="Arial" pitchFamily="34" charset="0"/>
                <a:cs typeface="Arial" pitchFamily="34" charset="0"/>
              </a:rPr>
              <a:t>dalam</a:t>
            </a:r>
            <a:r>
              <a:rPr lang="en-US" sz="1800" dirty="0">
                <a:latin typeface="Arial" pitchFamily="34" charset="0"/>
                <a:cs typeface="Arial" pitchFamily="34" charset="0"/>
              </a:rPr>
              <a:t> </a:t>
            </a:r>
            <a:r>
              <a:rPr lang="en-US" sz="1800" dirty="0" err="1" smtClean="0">
                <a:latin typeface="Arial" pitchFamily="34" charset="0"/>
                <a:cs typeface="Arial" pitchFamily="34" charset="0"/>
              </a:rPr>
              <a:t>bidang</a:t>
            </a:r>
            <a:r>
              <a:rPr lang="en-US" sz="1800" dirty="0" smtClean="0">
                <a:latin typeface="Arial" pitchFamily="34" charset="0"/>
                <a:cs typeface="Arial" pitchFamily="34" charset="0"/>
              </a:rPr>
              <a:t> </a:t>
            </a:r>
            <a:r>
              <a:rPr lang="en-US" sz="1800" dirty="0">
                <a:latin typeface="Arial" pitchFamily="34" charset="0"/>
                <a:cs typeface="Arial" pitchFamily="34" charset="0"/>
              </a:rPr>
              <a:t>PYD </a:t>
            </a:r>
            <a:r>
              <a:rPr lang="en-US" sz="1800" dirty="0" err="1">
                <a:latin typeface="Arial" pitchFamily="34" charset="0"/>
                <a:cs typeface="Arial" pitchFamily="34" charset="0"/>
              </a:rPr>
              <a:t>dan</a:t>
            </a:r>
            <a:r>
              <a:rPr lang="en-US" sz="1800" dirty="0">
                <a:latin typeface="Arial" pitchFamily="34" charset="0"/>
                <a:cs typeface="Arial" pitchFamily="34" charset="0"/>
              </a:rPr>
              <a:t> </a:t>
            </a:r>
            <a:r>
              <a:rPr lang="en-US" sz="1800" dirty="0" err="1">
                <a:latin typeface="Arial" pitchFamily="34" charset="0"/>
                <a:cs typeface="Arial" pitchFamily="34" charset="0"/>
              </a:rPr>
              <a:t>mempunyai</a:t>
            </a:r>
            <a:r>
              <a:rPr lang="en-US" sz="1800" dirty="0">
                <a:latin typeface="Arial" pitchFamily="34" charset="0"/>
                <a:cs typeface="Arial" pitchFamily="34" charset="0"/>
              </a:rPr>
              <a:t> </a:t>
            </a:r>
            <a:r>
              <a:rPr lang="en-US" sz="1800" dirty="0" err="1">
                <a:latin typeface="Arial" pitchFamily="34" charset="0"/>
                <a:cs typeface="Arial" pitchFamily="34" charset="0"/>
              </a:rPr>
              <a:t>kemahiran</a:t>
            </a:r>
            <a:r>
              <a:rPr lang="en-US" sz="1800" dirty="0">
                <a:latin typeface="Arial" pitchFamily="34" charset="0"/>
                <a:cs typeface="Arial" pitchFamily="34" charset="0"/>
              </a:rPr>
              <a:t> </a:t>
            </a:r>
            <a:r>
              <a:rPr lang="en-US" sz="1800" dirty="0" err="1">
                <a:latin typeface="Arial" pitchFamily="34" charset="0"/>
                <a:cs typeface="Arial" pitchFamily="34" charset="0"/>
              </a:rPr>
              <a:t>menilai</a:t>
            </a:r>
            <a:r>
              <a:rPr lang="en-US" sz="1800" dirty="0">
                <a:latin typeface="Arial" pitchFamily="34" charset="0"/>
                <a:cs typeface="Arial" pitchFamily="34" charset="0"/>
              </a:rPr>
              <a:t> </a:t>
            </a:r>
            <a:r>
              <a:rPr lang="en-US" sz="1800" dirty="0" err="1">
                <a:latin typeface="Arial" pitchFamily="34" charset="0"/>
                <a:cs typeface="Arial" pitchFamily="34" charset="0"/>
              </a:rPr>
              <a:t>secara</a:t>
            </a:r>
            <a:r>
              <a:rPr lang="en-US" sz="1800" dirty="0">
                <a:latin typeface="Arial" pitchFamily="34" charset="0"/>
                <a:cs typeface="Arial" pitchFamily="34" charset="0"/>
              </a:rPr>
              <a:t> </a:t>
            </a:r>
            <a:r>
              <a:rPr lang="en-US" sz="1800" dirty="0" err="1" smtClean="0">
                <a:latin typeface="Arial" pitchFamily="34" charset="0"/>
                <a:cs typeface="Arial" pitchFamily="34" charset="0"/>
              </a:rPr>
              <a:t>objektif</a:t>
            </a:r>
            <a:r>
              <a:rPr lang="en-US" sz="1800" dirty="0" smtClean="0">
                <a:latin typeface="Arial" pitchFamily="34" charset="0"/>
                <a:cs typeface="Arial" pitchFamily="34" charset="0"/>
              </a:rPr>
              <a:t>;</a:t>
            </a:r>
          </a:p>
          <a:p>
            <a:pPr marL="361950" lvl="0" indent="-361950" algn="just">
              <a:buClr>
                <a:srgbClr val="FF0000"/>
              </a:buClr>
              <a:buSzPct val="150000"/>
              <a:buNone/>
            </a:pPr>
            <a:endParaRPr lang="en-US" sz="1800" dirty="0" smtClean="0">
              <a:latin typeface="Arial" pitchFamily="34" charset="0"/>
              <a:cs typeface="Arial" pitchFamily="34" charset="0"/>
            </a:endParaRPr>
          </a:p>
        </p:txBody>
      </p:sp>
      <p:sp>
        <p:nvSpPr>
          <p:cNvPr id="43" name="Content Placeholder 5"/>
          <p:cNvSpPr txBox="1">
            <a:spLocks/>
          </p:cNvSpPr>
          <p:nvPr/>
        </p:nvSpPr>
        <p:spPr>
          <a:xfrm>
            <a:off x="2457448" y="2930494"/>
            <a:ext cx="4821349" cy="1728192"/>
          </a:xfrm>
          <a:prstGeom prst="rect">
            <a:avLst/>
          </a:prstGeom>
        </p:spPr>
        <p:txBody>
          <a:bodyPr vert="horz" lIns="91440" tIns="45720" rIns="91440" bIns="45720" rtlCol="0">
            <a:noAutofit/>
          </a:bodyPr>
          <a:lstStyle/>
          <a:p>
            <a:pPr marL="361950" marR="0" lvl="0" indent="-361950" algn="just" defTabSz="914400" rtl="0" eaLnBrk="1" fontAlgn="auto" latinLnBrk="0" hangingPunct="1">
              <a:lnSpc>
                <a:spcPct val="100000"/>
              </a:lnSpc>
              <a:spcBef>
                <a:spcPct val="20000"/>
              </a:spcBef>
              <a:spcAft>
                <a:spcPts val="0"/>
              </a:spcAft>
              <a:buClr>
                <a:srgbClr val="FF0000"/>
              </a:buClr>
              <a:buSzPct val="150000"/>
              <a:buFont typeface="Wingdings" pitchFamily="2" charset="2"/>
              <a:buChar char="ü"/>
              <a:tabLst/>
              <a:defRPr/>
            </a:pPr>
            <a:endPar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R="0" lvl="0" algn="just" defTabSz="914400" rtl="0" eaLnBrk="1" fontAlgn="auto" latinLnBrk="0" hangingPunct="1">
              <a:lnSpc>
                <a:spcPct val="100000"/>
              </a:lnSpc>
              <a:spcBef>
                <a:spcPct val="20000"/>
              </a:spcBef>
              <a:spcAft>
                <a:spcPts val="0"/>
              </a:spcAft>
              <a:buClr>
                <a:srgbClr val="FF0000"/>
              </a:buClr>
              <a:buSzPct val="150000"/>
              <a:tabLst/>
              <a:defRPr/>
            </a:pP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Sekurang-kurangnya</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1" i="0" u="none" strike="noStrike" kern="1200" cap="none" spc="0" normalizeH="0" baseline="0" noProof="0" dirty="0" err="1" smtClean="0">
                <a:ln>
                  <a:noFill/>
                </a:ln>
                <a:solidFill>
                  <a:schemeClr val="tx1"/>
                </a:solidFill>
                <a:effectLst/>
                <a:uLnTx/>
                <a:uFillTx/>
                <a:latin typeface="Arial" pitchFamily="34" charset="0"/>
                <a:cs typeface="Arial" pitchFamily="34" charset="0"/>
              </a:rPr>
              <a:t>satu</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gred</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lebih</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tinggi</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aripada</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pegawai</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yang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inilai</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1" i="0" u="none" strike="noStrike" kern="1200" cap="none" spc="0" normalizeH="0" baseline="0" noProof="0" dirty="0" smtClean="0">
                <a:ln>
                  <a:noFill/>
                </a:ln>
                <a:solidFill>
                  <a:schemeClr val="tx1"/>
                </a:solidFill>
                <a:effectLst/>
                <a:uLnTx/>
                <a:uFillTx/>
                <a:latin typeface="Arial" pitchFamily="34" charset="0"/>
                <a:cs typeface="Arial" pitchFamily="34" charset="0"/>
              </a:rPr>
              <a:t>ATAU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Ketua</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Organisasi</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Penyelia</a:t>
            </a:r>
            <a:r>
              <a:rPr lang="en-US" dirty="0">
                <a:latin typeface="Arial" pitchFamily="34" charset="0"/>
                <a:cs typeface="Arial" pitchFamily="34" charset="0"/>
              </a:rPr>
              <a:t> </a:t>
            </a:r>
            <a:r>
              <a:rPr lang="en-US" dirty="0" err="1" smtClean="0">
                <a:latin typeface="Arial" pitchFamily="34" charset="0"/>
                <a:cs typeface="Arial" pitchFamily="34" charset="0"/>
              </a:rPr>
              <a:t>kepada</a:t>
            </a:r>
            <a:r>
              <a:rPr lang="en-US" dirty="0" smtClean="0">
                <a:latin typeface="Arial" pitchFamily="34" charset="0"/>
                <a:cs typeface="Arial" pitchFamily="34" charset="0"/>
              </a:rPr>
              <a:t> PYD</a:t>
            </a:r>
          </a:p>
        </p:txBody>
      </p:sp>
      <p:sp>
        <p:nvSpPr>
          <p:cNvPr id="44" name="Content Placeholder 5"/>
          <p:cNvSpPr txBox="1">
            <a:spLocks/>
          </p:cNvSpPr>
          <p:nvPr/>
        </p:nvSpPr>
        <p:spPr>
          <a:xfrm>
            <a:off x="2457448" y="4157663"/>
            <a:ext cx="4821349" cy="1728192"/>
          </a:xfrm>
          <a:prstGeom prst="rect">
            <a:avLst/>
          </a:prstGeom>
        </p:spPr>
        <p:txBody>
          <a:bodyPr vert="horz" lIns="91440" tIns="45720" rIns="91440" bIns="45720" rtlCol="0">
            <a:noAutofit/>
          </a:bodyPr>
          <a:lstStyle/>
          <a:p>
            <a:pPr marL="361950" marR="0" lvl="0" indent="-361950" algn="just" defTabSz="914400" rtl="0" eaLnBrk="1" fontAlgn="auto" latinLnBrk="0" hangingPunct="1">
              <a:lnSpc>
                <a:spcPct val="100000"/>
              </a:lnSpc>
              <a:spcBef>
                <a:spcPct val="20000"/>
              </a:spcBef>
              <a:spcAft>
                <a:spcPts val="0"/>
              </a:spcAft>
              <a:buClr>
                <a:srgbClr val="FF0000"/>
              </a:buClr>
              <a:buSzPct val="150000"/>
              <a:buFont typeface="Wingdings" pitchFamily="2" charset="2"/>
              <a:buChar char="ü"/>
              <a:tabLst/>
              <a:defRPr/>
            </a:pPr>
            <a:endPar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R="0" lvl="0" algn="just" defTabSz="914400" rtl="0" eaLnBrk="1" fontAlgn="auto" latinLnBrk="0" hangingPunct="1">
              <a:lnSpc>
                <a:spcPct val="100000"/>
              </a:lnSpc>
              <a:spcBef>
                <a:spcPct val="20000"/>
              </a:spcBef>
              <a:spcAft>
                <a:spcPts val="0"/>
              </a:spcAft>
              <a:buClr>
                <a:srgbClr val="FF0000"/>
              </a:buClr>
              <a:buSzPct val="150000"/>
              <a:tabLst/>
              <a:defRPr/>
            </a:pPr>
            <a:r>
              <a:rPr lang="en-US" dirty="0" smtClean="0">
                <a:latin typeface="Arial" pitchFamily="34" charset="0"/>
                <a:cs typeface="Arial" pitchFamily="34" charset="0"/>
              </a:rPr>
              <a:t>Se</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kiranya</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kriteria</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PP di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atas</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tidak</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apat</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ipenuhi</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maka</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PP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boleh</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ilantik</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mengikut</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kekananan</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lama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tempoh</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berkhidmat</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alam</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gred</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semasa</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a:t>
            </a:r>
            <a:r>
              <a:rPr kumimoji="0" lang="en-US" b="0" i="0" u="none" strike="noStrike" kern="1200" cap="none" spc="0" normalizeH="0" baseline="0" noProof="0" dirty="0" err="1" smtClean="0">
                <a:ln>
                  <a:noFill/>
                </a:ln>
                <a:solidFill>
                  <a:schemeClr val="tx1"/>
                </a:solidFill>
                <a:effectLst/>
                <a:uLnTx/>
                <a:uFillTx/>
                <a:latin typeface="Arial" pitchFamily="34" charset="0"/>
                <a:cs typeface="Arial" pitchFamily="34" charset="0"/>
              </a:rPr>
              <a:t>ditentukan</a:t>
            </a:r>
            <a:r>
              <a:rPr kumimoji="0" lang="en-US" b="0" i="0" u="none" strike="noStrike" kern="1200" cap="none" spc="0" normalizeH="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noProof="0" dirty="0" err="1" smtClean="0">
                <a:ln>
                  <a:noFill/>
                </a:ln>
                <a:solidFill>
                  <a:schemeClr val="tx1"/>
                </a:solidFill>
                <a:effectLst/>
                <a:uLnTx/>
                <a:uFillTx/>
                <a:latin typeface="Arial" pitchFamily="34" charset="0"/>
                <a:cs typeface="Arial" pitchFamily="34" charset="0"/>
              </a:rPr>
              <a:t>oleh</a:t>
            </a:r>
            <a:r>
              <a:rPr kumimoji="0" lang="en-US" b="0" i="0" u="none" strike="noStrike" kern="1200" cap="none" spc="0" normalizeH="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noProof="0" dirty="0" err="1" smtClean="0">
                <a:ln>
                  <a:noFill/>
                </a:ln>
                <a:solidFill>
                  <a:schemeClr val="tx1"/>
                </a:solidFill>
                <a:effectLst/>
                <a:uLnTx/>
                <a:uFillTx/>
                <a:latin typeface="Arial" pitchFamily="34" charset="0"/>
                <a:cs typeface="Arial" pitchFamily="34" charset="0"/>
              </a:rPr>
              <a:t>jawatankuasa</a:t>
            </a:r>
            <a:r>
              <a:rPr kumimoji="0" lang="en-US" b="0" i="0" u="none" strike="noStrike" kern="1200" cap="none" spc="0" normalizeH="0" noProof="0" dirty="0" smtClean="0">
                <a:ln>
                  <a:noFill/>
                </a:ln>
                <a:solidFill>
                  <a:schemeClr val="tx1"/>
                </a:solidFill>
                <a:effectLst/>
                <a:uLnTx/>
                <a:uFillTx/>
                <a:latin typeface="Arial" pitchFamily="34" charset="0"/>
                <a:cs typeface="Arial" pitchFamily="34" charset="0"/>
              </a:rPr>
              <a:t> PBPPP </a:t>
            </a:r>
            <a:r>
              <a:rPr kumimoji="0" lang="en-US" b="0" i="0" u="none" strike="noStrike" kern="1200" cap="none" spc="0" normalizeH="0" noProof="0" dirty="0" err="1" smtClean="0">
                <a:ln>
                  <a:noFill/>
                </a:ln>
                <a:solidFill>
                  <a:schemeClr val="tx1"/>
                </a:solidFill>
                <a:effectLst/>
                <a:uLnTx/>
                <a:uFillTx/>
                <a:latin typeface="Arial" pitchFamily="34" charset="0"/>
                <a:cs typeface="Arial" pitchFamily="34" charset="0"/>
              </a:rPr>
              <a:t>organisasi</a:t>
            </a:r>
            <a:r>
              <a:rPr kumimoji="0" lang="en-US" b="0" i="0" u="none" strike="noStrike" kern="1200" cap="none" spc="0" normalizeH="0" noProof="0" dirty="0" smtClean="0">
                <a:ln>
                  <a:noFill/>
                </a:ln>
                <a:solidFill>
                  <a:schemeClr val="tx1"/>
                </a:solidFill>
                <a:effectLst/>
                <a:uLnTx/>
                <a:uFillTx/>
                <a:latin typeface="Arial" pitchFamily="34" charset="0"/>
                <a:cs typeface="Arial" pitchFamily="34" charset="0"/>
              </a:rPr>
              <a:t> </a:t>
            </a: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 </a:t>
            </a:r>
            <a:endParaRPr kumimoji="0" lang="en-US" b="0"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sp>
        <p:nvSpPr>
          <p:cNvPr id="19" name="Content Placeholder 5"/>
          <p:cNvSpPr txBox="1">
            <a:spLocks/>
          </p:cNvSpPr>
          <p:nvPr/>
        </p:nvSpPr>
        <p:spPr>
          <a:xfrm>
            <a:off x="2038306" y="5797497"/>
            <a:ext cx="5315863" cy="492086"/>
          </a:xfrm>
          <a:prstGeom prst="rect">
            <a:avLst/>
          </a:prstGeom>
        </p:spPr>
        <p:txBody>
          <a:bodyPr vert="horz" lIns="91440" tIns="45720" rIns="91440" bIns="45720" rtlCol="0">
            <a:noAutofit/>
          </a:bodyPr>
          <a:lstStyle/>
          <a:p>
            <a:pPr marR="0" lvl="0" algn="just" defTabSz="914400" rtl="0" eaLnBrk="1" fontAlgn="auto" latinLnBrk="0" hangingPunct="1">
              <a:lnSpc>
                <a:spcPct val="100000"/>
              </a:lnSpc>
              <a:spcBef>
                <a:spcPct val="20000"/>
              </a:spcBef>
              <a:spcAft>
                <a:spcPts val="0"/>
              </a:spcAft>
              <a:buClr>
                <a:srgbClr val="FF0000"/>
              </a:buClr>
              <a:buSzPct val="150000"/>
              <a:tabLst/>
              <a:defRPr/>
            </a:pPr>
            <a:endParaRPr kumimoji="0" lang="en-US" sz="1200" b="1"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endParaRPr>
          </a:p>
          <a:p>
            <a:pPr marR="0" lvl="0" algn="just" defTabSz="914400" rtl="0" eaLnBrk="1" fontAlgn="auto" latinLnBrk="0" hangingPunct="1">
              <a:lnSpc>
                <a:spcPct val="100000"/>
              </a:lnSpc>
              <a:spcBef>
                <a:spcPct val="20000"/>
              </a:spcBef>
              <a:spcAft>
                <a:spcPts val="0"/>
              </a:spcAft>
              <a:buClr>
                <a:srgbClr val="FF0000"/>
              </a:buClr>
              <a:buSzPct val="150000"/>
              <a:tabLst/>
              <a:defRPr/>
            </a:pPr>
            <a:r>
              <a:rPr kumimoji="0" lang="en-US" sz="1200" b="1"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 PP </a:t>
            </a:r>
            <a:r>
              <a:rPr kumimoji="0" lang="en-US" sz="1200" b="1" i="0" u="none" strike="noStrike" kern="1200" cap="none" spc="0" normalizeH="0" baseline="0" noProof="0" dirty="0" err="1" smtClean="0">
                <a:ln>
                  <a:noFill/>
                </a:ln>
                <a:solidFill>
                  <a:srgbClr val="FF0000"/>
                </a:solidFill>
                <a:effectLst/>
                <a:uLnTx/>
                <a:uFillTx/>
                <a:latin typeface="Arial" pitchFamily="34" charset="0"/>
                <a:ea typeface="+mn-ea"/>
                <a:cs typeface="Arial" pitchFamily="34" charset="0"/>
              </a:rPr>
              <a:t>boleh</a:t>
            </a:r>
            <a:r>
              <a:rPr kumimoji="0" lang="en-US" sz="1200" b="1" i="0" u="none" strike="noStrike" kern="1200" cap="none" spc="0" normalizeH="0" noProof="0" dirty="0" smtClean="0">
                <a:ln>
                  <a:noFill/>
                </a:ln>
                <a:solidFill>
                  <a:srgbClr val="FF0000"/>
                </a:solidFill>
                <a:effectLst/>
                <a:uLnTx/>
                <a:uFillTx/>
                <a:latin typeface="Arial" pitchFamily="34" charset="0"/>
                <a:ea typeface="+mn-ea"/>
                <a:cs typeface="Arial" pitchFamily="34" charset="0"/>
              </a:rPr>
              <a:t> </a:t>
            </a:r>
            <a:r>
              <a:rPr kumimoji="0" lang="en-US" sz="1200" b="1" i="0" u="none" strike="noStrike" kern="1200" cap="none" spc="0" normalizeH="0" noProof="0" dirty="0" err="1" smtClean="0">
                <a:ln>
                  <a:noFill/>
                </a:ln>
                <a:solidFill>
                  <a:srgbClr val="FF0000"/>
                </a:solidFill>
                <a:effectLst/>
                <a:uLnTx/>
                <a:uFillTx/>
                <a:latin typeface="Arial" pitchFamily="34" charset="0"/>
                <a:ea typeface="+mn-ea"/>
                <a:cs typeface="Arial" pitchFamily="34" charset="0"/>
              </a:rPr>
              <a:t>dilantik</a:t>
            </a:r>
            <a:r>
              <a:rPr kumimoji="0" lang="en-US" sz="1200" b="1" i="0" u="none" strike="noStrike" kern="1200" cap="none" spc="0" normalizeH="0" noProof="0" dirty="0" smtClean="0">
                <a:ln>
                  <a:noFill/>
                </a:ln>
                <a:solidFill>
                  <a:srgbClr val="FF0000"/>
                </a:solidFill>
                <a:effectLst/>
                <a:uLnTx/>
                <a:uFillTx/>
                <a:latin typeface="Arial" pitchFamily="34" charset="0"/>
                <a:ea typeface="+mn-ea"/>
                <a:cs typeface="Arial" pitchFamily="34" charset="0"/>
              </a:rPr>
              <a:t> </a:t>
            </a:r>
            <a:r>
              <a:rPr kumimoji="0" lang="en-US" sz="1200" b="1" i="0" u="none" strike="noStrike" kern="1200" cap="none" spc="0" normalizeH="0" noProof="0" dirty="0" err="1" smtClean="0">
                <a:ln>
                  <a:noFill/>
                </a:ln>
                <a:solidFill>
                  <a:srgbClr val="FF0000"/>
                </a:solidFill>
                <a:effectLst/>
                <a:uLnTx/>
                <a:uFillTx/>
                <a:latin typeface="Arial" pitchFamily="34" charset="0"/>
                <a:ea typeface="+mn-ea"/>
                <a:cs typeface="Arial" pitchFamily="34" charset="0"/>
              </a:rPr>
              <a:t>dalam</a:t>
            </a:r>
            <a:r>
              <a:rPr kumimoji="0" lang="en-US" sz="1200" b="1" i="0" u="none" strike="noStrike" kern="1200" cap="none" spc="0" normalizeH="0" noProof="0" dirty="0" smtClean="0">
                <a:ln>
                  <a:noFill/>
                </a:ln>
                <a:solidFill>
                  <a:srgbClr val="FF0000"/>
                </a:solidFill>
                <a:effectLst/>
                <a:uLnTx/>
                <a:uFillTx/>
                <a:latin typeface="Arial" pitchFamily="34" charset="0"/>
                <a:ea typeface="+mn-ea"/>
                <a:cs typeface="Arial" pitchFamily="34" charset="0"/>
              </a:rPr>
              <a:t> </a:t>
            </a:r>
            <a:r>
              <a:rPr kumimoji="0" lang="en-US" sz="1200" b="1" i="0" u="none" strike="noStrike" kern="1200" cap="none" spc="0" normalizeH="0" noProof="0" dirty="0" err="1" smtClean="0">
                <a:ln>
                  <a:noFill/>
                </a:ln>
                <a:solidFill>
                  <a:srgbClr val="FF0000"/>
                </a:solidFill>
                <a:effectLst/>
                <a:uLnTx/>
                <a:uFillTx/>
                <a:latin typeface="Arial" pitchFamily="34" charset="0"/>
                <a:ea typeface="+mn-ea"/>
                <a:cs typeface="Arial" pitchFamily="34" charset="0"/>
              </a:rPr>
              <a:t>kalangan</a:t>
            </a:r>
            <a:r>
              <a:rPr kumimoji="0" lang="en-US" sz="1200" b="1" i="0" u="none" strike="noStrike" kern="1200" cap="none" spc="0" normalizeH="0" noProof="0" dirty="0" smtClean="0">
                <a:ln>
                  <a:noFill/>
                </a:ln>
                <a:solidFill>
                  <a:srgbClr val="FF0000"/>
                </a:solidFill>
                <a:effectLst/>
                <a:uLnTx/>
                <a:uFillTx/>
                <a:latin typeface="Arial" pitchFamily="34" charset="0"/>
                <a:ea typeface="+mn-ea"/>
                <a:cs typeface="Arial" pitchFamily="34" charset="0"/>
              </a:rPr>
              <a:t> </a:t>
            </a:r>
            <a:r>
              <a:rPr lang="en-US" sz="1200" b="1" dirty="0" smtClean="0">
                <a:solidFill>
                  <a:srgbClr val="FF0000"/>
                </a:solidFill>
                <a:latin typeface="Arial" pitchFamily="34" charset="0"/>
                <a:cs typeface="Arial" pitchFamily="34" charset="0"/>
              </a:rPr>
              <a:t>Guru </a:t>
            </a:r>
            <a:r>
              <a:rPr lang="en-US" sz="1200" b="1" dirty="0" err="1" smtClean="0">
                <a:solidFill>
                  <a:srgbClr val="FF0000"/>
                </a:solidFill>
                <a:latin typeface="Arial" pitchFamily="34" charset="0"/>
                <a:cs typeface="Arial" pitchFamily="34" charset="0"/>
              </a:rPr>
              <a:t>kanan</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mata</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pelajaran</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Ketua</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Panitia</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atau</a:t>
            </a:r>
            <a:r>
              <a:rPr lang="en-US" sz="1200" b="1" dirty="0" smtClean="0">
                <a:solidFill>
                  <a:srgbClr val="FF0000"/>
                </a:solidFill>
                <a:latin typeface="Arial" pitchFamily="34" charset="0"/>
                <a:cs typeface="Arial" pitchFamily="34" charset="0"/>
              </a:rPr>
              <a:t> Guru </a:t>
            </a:r>
            <a:r>
              <a:rPr lang="en-US" sz="1200" b="1" dirty="0" err="1" smtClean="0">
                <a:solidFill>
                  <a:srgbClr val="FF0000"/>
                </a:solidFill>
                <a:latin typeface="Arial" pitchFamily="34" charset="0"/>
                <a:cs typeface="Arial" pitchFamily="34" charset="0"/>
              </a:rPr>
              <a:t>Penolong</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dan</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tidak</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terhad</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dalam</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kalangan</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pentadbir</a:t>
            </a:r>
            <a:r>
              <a:rPr lang="en-US" sz="1200" b="1" dirty="0" smtClean="0">
                <a:solidFill>
                  <a:srgbClr val="FF0000"/>
                </a:solidFill>
                <a:latin typeface="Arial" pitchFamily="34" charset="0"/>
                <a:cs typeface="Arial" pitchFamily="34" charset="0"/>
              </a:rPr>
              <a:t> </a:t>
            </a:r>
            <a:r>
              <a:rPr lang="en-US" sz="1200" b="1" dirty="0" err="1" smtClean="0">
                <a:solidFill>
                  <a:srgbClr val="FF0000"/>
                </a:solidFill>
                <a:latin typeface="Arial" pitchFamily="34" charset="0"/>
                <a:cs typeface="Arial" pitchFamily="34" charset="0"/>
              </a:rPr>
              <a:t>sahaja</a:t>
            </a:r>
            <a:r>
              <a:rPr kumimoji="0" lang="en-US" sz="1200" b="1"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  </a:t>
            </a:r>
            <a:endParaRPr kumimoji="0" lang="en-US" sz="1200" b="1" i="0" u="none" strike="noStrike" kern="1200" cap="none" spc="0" normalizeH="0" baseline="0" noProof="0" dirty="0">
              <a:ln>
                <a:noFill/>
              </a:ln>
              <a:solidFill>
                <a:srgbClr val="FF0000"/>
              </a:solidFill>
              <a:effectLst/>
              <a:uLnTx/>
              <a:uFillTx/>
              <a:latin typeface="Arial" pitchFamily="34" charset="0"/>
              <a:ea typeface="+mn-ea"/>
              <a:cs typeface="Arial" pitchFamily="34" charset="0"/>
            </a:endParaRPr>
          </a:p>
        </p:txBody>
      </p:sp>
      <p:sp>
        <p:nvSpPr>
          <p:cNvPr id="20" name="Up Arrow 19"/>
          <p:cNvSpPr/>
          <p:nvPr/>
        </p:nvSpPr>
        <p:spPr>
          <a:xfrm rot="8100000">
            <a:off x="2049732" y="2042014"/>
            <a:ext cx="381000" cy="457200"/>
          </a:xfrm>
          <a:prstGeom prst="upArrow">
            <a:avLst>
              <a:gd name="adj1" fmla="val 42000"/>
              <a:gd name="adj2" fmla="val 55500"/>
            </a:avLst>
          </a:prstGeom>
          <a:gradFill flip="none" rotWithShape="1">
            <a:gsLst>
              <a:gs pos="0">
                <a:schemeClr val="accent6">
                  <a:lumMod val="75000"/>
                </a:schemeClr>
              </a:gs>
              <a:gs pos="100000">
                <a:srgbClr val="FFC000"/>
              </a:gs>
            </a:gsLst>
            <a:lin ang="18900000" scaled="1"/>
            <a:tileRect/>
          </a:gradFill>
          <a:ln w="12700">
            <a:solidFill>
              <a:schemeClr val="accent6">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Up Arrow 20"/>
          <p:cNvSpPr/>
          <p:nvPr/>
        </p:nvSpPr>
        <p:spPr>
          <a:xfrm rot="8100000">
            <a:off x="2144153" y="3334249"/>
            <a:ext cx="381000" cy="457200"/>
          </a:xfrm>
          <a:prstGeom prst="upArrow">
            <a:avLst>
              <a:gd name="adj1" fmla="val 42000"/>
              <a:gd name="adj2" fmla="val 55500"/>
            </a:avLst>
          </a:prstGeom>
          <a:gradFill flip="none" rotWithShape="1">
            <a:gsLst>
              <a:gs pos="0">
                <a:schemeClr val="accent6">
                  <a:lumMod val="75000"/>
                </a:schemeClr>
              </a:gs>
              <a:gs pos="100000">
                <a:srgbClr val="FFC000"/>
              </a:gs>
            </a:gsLst>
            <a:lin ang="18900000" scaled="1"/>
            <a:tileRect/>
          </a:gradFill>
          <a:ln w="12700">
            <a:solidFill>
              <a:schemeClr val="accent6">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Up Arrow 21"/>
          <p:cNvSpPr/>
          <p:nvPr/>
        </p:nvSpPr>
        <p:spPr>
          <a:xfrm rot="8100000">
            <a:off x="2144155" y="4840734"/>
            <a:ext cx="381000" cy="457200"/>
          </a:xfrm>
          <a:prstGeom prst="upArrow">
            <a:avLst>
              <a:gd name="adj1" fmla="val 42000"/>
              <a:gd name="adj2" fmla="val 55500"/>
            </a:avLst>
          </a:prstGeom>
          <a:gradFill flip="none" rotWithShape="1">
            <a:gsLst>
              <a:gs pos="0">
                <a:schemeClr val="accent6">
                  <a:lumMod val="75000"/>
                </a:schemeClr>
              </a:gs>
              <a:gs pos="100000">
                <a:srgbClr val="FFC000"/>
              </a:gs>
            </a:gsLst>
            <a:lin ang="18900000" scaled="1"/>
            <a:tileRect/>
          </a:gradFill>
          <a:ln w="12700">
            <a:solidFill>
              <a:schemeClr val="accent6">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utoShape 1893"/>
          <p:cNvSpPr>
            <a:spLocks noChangeArrowheads="1"/>
          </p:cNvSpPr>
          <p:nvPr/>
        </p:nvSpPr>
        <p:spPr bwMode="auto">
          <a:xfrm rot="5400000">
            <a:off x="4492180" y="-1147848"/>
            <a:ext cx="646299" cy="4715759"/>
          </a:xfrm>
          <a:prstGeom prst="roundRect">
            <a:avLst>
              <a:gd name="adj" fmla="val 50000"/>
            </a:avLst>
          </a:prstGeom>
          <a:gradFill rotWithShape="1">
            <a:gsLst>
              <a:gs pos="0">
                <a:srgbClr val="FFCC00"/>
              </a:gs>
              <a:gs pos="100000">
                <a:srgbClr val="FF9933"/>
              </a:gs>
            </a:gsLst>
            <a:lin ang="5400000" scaled="1"/>
          </a:gradFill>
          <a:ln w="9525">
            <a:noFill/>
            <a:round/>
            <a:headEnd/>
            <a:tailEnd/>
          </a:ln>
        </p:spPr>
        <p:txBody>
          <a:bodyPr wrap="none" anchor="ctr"/>
          <a:lstStyle/>
          <a:p>
            <a:endParaRPr lang="en-US">
              <a:ea typeface="Gulim" pitchFamily="34" charset="-127"/>
              <a:sym typeface="Gulim" pitchFamily="34" charset="-127"/>
            </a:endParaRPr>
          </a:p>
        </p:txBody>
      </p:sp>
      <p:sp>
        <p:nvSpPr>
          <p:cNvPr id="25" name="TextBox 17"/>
          <p:cNvSpPr txBox="1">
            <a:spLocks noChangeArrowheads="1"/>
          </p:cNvSpPr>
          <p:nvPr/>
        </p:nvSpPr>
        <p:spPr bwMode="auto">
          <a:xfrm>
            <a:off x="2749888" y="955247"/>
            <a:ext cx="4043736" cy="461665"/>
          </a:xfrm>
          <a:prstGeom prst="rect">
            <a:avLst/>
          </a:prstGeom>
          <a:noFill/>
          <a:ln w="9525">
            <a:noFill/>
            <a:miter lim="800000"/>
            <a:headEnd/>
            <a:tailEnd/>
          </a:ln>
        </p:spPr>
        <p:txBody>
          <a:bodyPr wrap="square">
            <a:spAutoFit/>
          </a:bodyPr>
          <a:lstStyle/>
          <a:p>
            <a:r>
              <a:rPr lang="en-US" sz="2400" b="1" dirty="0" err="1" smtClean="0">
                <a:latin typeface="Segoe UI Light"/>
                <a:ea typeface="Segoe UI Light"/>
                <a:cs typeface="Segoe UI Light"/>
              </a:rPr>
              <a:t>Kriteria</a:t>
            </a:r>
            <a:r>
              <a:rPr lang="en-US" sz="2400" b="1" dirty="0" smtClean="0">
                <a:latin typeface="Segoe UI Light"/>
                <a:ea typeface="Segoe UI Light"/>
                <a:cs typeface="Segoe UI Light"/>
              </a:rPr>
              <a:t> </a:t>
            </a:r>
            <a:r>
              <a:rPr lang="en-US" sz="2400" b="1" dirty="0" err="1" smtClean="0">
                <a:latin typeface="Segoe UI Light"/>
                <a:ea typeface="Segoe UI Light"/>
                <a:cs typeface="Segoe UI Light"/>
              </a:rPr>
              <a:t>Utama</a:t>
            </a:r>
            <a:r>
              <a:rPr lang="en-US" sz="2400" b="1" dirty="0" smtClean="0">
                <a:latin typeface="Segoe UI Light"/>
                <a:ea typeface="Segoe UI Light"/>
                <a:cs typeface="Segoe UI Light"/>
              </a:rPr>
              <a:t> </a:t>
            </a:r>
            <a:r>
              <a:rPr lang="en-US" sz="2400" b="1" dirty="0" err="1" smtClean="0">
                <a:latin typeface="Segoe UI Light"/>
                <a:ea typeface="Segoe UI Light"/>
                <a:cs typeface="Segoe UI Light"/>
              </a:rPr>
              <a:t>Pegawai</a:t>
            </a:r>
            <a:r>
              <a:rPr lang="en-US" sz="2400" b="1" dirty="0" smtClean="0">
                <a:latin typeface="Segoe UI Light"/>
                <a:ea typeface="Segoe UI Light"/>
                <a:cs typeface="Segoe UI Light"/>
              </a:rPr>
              <a:t> </a:t>
            </a:r>
            <a:r>
              <a:rPr lang="en-US" sz="2400" b="1" dirty="0" err="1" smtClean="0">
                <a:latin typeface="Segoe UI Light"/>
                <a:ea typeface="Segoe UI Light"/>
                <a:cs typeface="Segoe UI Light"/>
              </a:rPr>
              <a:t>Penilai</a:t>
            </a:r>
            <a:endParaRPr lang="en-US" sz="2400" b="1" dirty="0">
              <a:latin typeface="Segoe UI Light"/>
              <a:ea typeface="Segoe UI Light"/>
              <a:cs typeface="Segoe UI Ligh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ox(in)">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grpId="0" nodeType="clickEffect">
                                  <p:stCondLst>
                                    <p:cond delay="0"/>
                                  </p:stCondLst>
                                  <p:childTnLst>
                                    <p:set>
                                      <p:cBhvr>
                                        <p:cTn id="11" dur="1" fill="hold">
                                          <p:stCondLst>
                                            <p:cond delay="0"/>
                                          </p:stCondLst>
                                        </p:cTn>
                                        <p:tgtEl>
                                          <p:spTgt spid="42">
                                            <p:txEl>
                                              <p:pRg st="0" end="0"/>
                                            </p:txEl>
                                          </p:spTgt>
                                        </p:tgtEl>
                                        <p:attrNameLst>
                                          <p:attrName>style.visibility</p:attrName>
                                        </p:attrNameLst>
                                      </p:cBhvr>
                                      <p:to>
                                        <p:strVal val="visible"/>
                                      </p:to>
                                    </p:set>
                                    <p:animEffect transition="in" filter="fade">
                                      <p:cBhvr>
                                        <p:cTn id="12" dur="1000"/>
                                        <p:tgtEl>
                                          <p:spTgt spid="42">
                                            <p:txEl>
                                              <p:pRg st="0" end="0"/>
                                            </p:txEl>
                                          </p:spTgt>
                                        </p:tgtEl>
                                      </p:cBhvr>
                                    </p:animEffect>
                                    <p:anim calcmode="lin" valueType="num">
                                      <p:cBhvr>
                                        <p:cTn id="13" dur="1000" fill="hold"/>
                                        <p:tgtEl>
                                          <p:spTgt spid="42">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4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 presetClass="entr" presetSubtype="16" fill="hold" grpId="0" nodeType="click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box(in)">
                                      <p:cBhvr>
                                        <p:cTn id="19" dur="500"/>
                                        <p:tgtEl>
                                          <p:spTgt spid="43"/>
                                        </p:tgtEl>
                                      </p:cBhvr>
                                    </p:animEffect>
                                  </p:childTnLst>
                                </p:cTn>
                              </p:par>
                            </p:childTnLst>
                          </p:cTn>
                        </p:par>
                      </p:childTnLst>
                    </p:cTn>
                  </p:par>
                  <p:par>
                    <p:cTn id="20" fill="hold">
                      <p:stCondLst>
                        <p:cond delay="indefinite"/>
                      </p:stCondLst>
                      <p:childTnLst>
                        <p:par>
                          <p:cTn id="21" fill="hold">
                            <p:stCondLst>
                              <p:cond delay="0"/>
                            </p:stCondLst>
                            <p:childTnLst>
                              <p:par>
                                <p:cTn id="22" presetID="4" presetClass="entr" presetSubtype="16" fill="hold" grpId="0" nodeType="click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box(in)">
                                      <p:cBhvr>
                                        <p:cTn id="24" dur="500"/>
                                        <p:tgtEl>
                                          <p:spTgt spid="44"/>
                                        </p:tgtEl>
                                      </p:cBhvr>
                                    </p:animEffect>
                                  </p:childTnLst>
                                </p:cTn>
                              </p:par>
                            </p:childTnLst>
                          </p:cTn>
                        </p:par>
                      </p:childTnLst>
                    </p:cTn>
                  </p:par>
                  <p:par>
                    <p:cTn id="25" fill="hold">
                      <p:stCondLst>
                        <p:cond delay="indefinite"/>
                      </p:stCondLst>
                      <p:childTnLst>
                        <p:par>
                          <p:cTn id="26" fill="hold">
                            <p:stCondLst>
                              <p:cond delay="0"/>
                            </p:stCondLst>
                            <p:childTnLst>
                              <p:par>
                                <p:cTn id="27" presetID="4" presetClass="entr" presetSubtype="16"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box(in)">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build="p"/>
      <p:bldP spid="43" grpId="0"/>
      <p:bldP spid="44" grpId="0"/>
      <p:bldP spid="19" grpId="0"/>
      <p:bldP spid="2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938507"/>
            <a:ext cx="9144001" cy="242888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1" y="1464234"/>
            <a:ext cx="9144000" cy="24288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34</a:t>
            </a:fld>
            <a:endParaRPr lang="en-US"/>
          </a:p>
        </p:txBody>
      </p:sp>
      <p:pic>
        <p:nvPicPr>
          <p:cNvPr id="7" name="Picture 6" descr="banned copy.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29" y="1688353"/>
            <a:ext cx="2412357" cy="2493934"/>
          </a:xfrm>
          <a:prstGeom prst="rect">
            <a:avLst/>
          </a:prstGeom>
        </p:spPr>
      </p:pic>
      <p:sp>
        <p:nvSpPr>
          <p:cNvPr id="30" name="Rectangle 29"/>
          <p:cNvSpPr/>
          <p:nvPr/>
        </p:nvSpPr>
        <p:spPr>
          <a:xfrm>
            <a:off x="124440" y="4435628"/>
            <a:ext cx="2436421" cy="1384995"/>
          </a:xfrm>
          <a:prstGeom prst="rect">
            <a:avLst/>
          </a:prstGeom>
        </p:spPr>
        <p:txBody>
          <a:bodyPr wrap="square">
            <a:spAutoFit/>
          </a:bodyPr>
          <a:lstStyle/>
          <a:p>
            <a:pPr lvl="0" algn="ctr"/>
            <a:r>
              <a:rPr lang="ms-MY" sz="2800" dirty="0" smtClean="0"/>
              <a:t>Tiada hubungan kekeluargaan</a:t>
            </a:r>
          </a:p>
        </p:txBody>
      </p:sp>
      <p:pic>
        <p:nvPicPr>
          <p:cNvPr id="3" name="Picture 2" descr="CT_HANDSHAKE_3 copy.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 y="1797257"/>
            <a:ext cx="2503785" cy="2364802"/>
          </a:xfrm>
          <a:prstGeom prst="rect">
            <a:avLst/>
          </a:prstGeom>
        </p:spPr>
      </p:pic>
      <p:grpSp>
        <p:nvGrpSpPr>
          <p:cNvPr id="8" name="Group 18"/>
          <p:cNvGrpSpPr/>
          <p:nvPr/>
        </p:nvGrpSpPr>
        <p:grpSpPr>
          <a:xfrm>
            <a:off x="2341221" y="981900"/>
            <a:ext cx="2202768" cy="4856109"/>
            <a:chOff x="2341221" y="981900"/>
            <a:chExt cx="2202768" cy="4856109"/>
          </a:xfrm>
        </p:grpSpPr>
        <p:sp>
          <p:nvSpPr>
            <p:cNvPr id="31" name="Rectangle 30"/>
            <p:cNvSpPr/>
            <p:nvPr/>
          </p:nvSpPr>
          <p:spPr>
            <a:xfrm>
              <a:off x="2341221" y="4453014"/>
              <a:ext cx="2202768" cy="1384995"/>
            </a:xfrm>
            <a:prstGeom prst="rect">
              <a:avLst/>
            </a:prstGeom>
          </p:spPr>
          <p:txBody>
            <a:bodyPr wrap="square">
              <a:spAutoFit/>
            </a:bodyPr>
            <a:lstStyle/>
            <a:p>
              <a:pPr lvl="0" algn="ctr"/>
              <a:r>
                <a:rPr lang="ms-MY" sz="2800" dirty="0" smtClean="0"/>
                <a:t>1 </a:t>
              </a:r>
            </a:p>
            <a:p>
              <a:pPr lvl="0" algn="ctr"/>
              <a:r>
                <a:rPr lang="ms-MY" sz="2800" dirty="0" smtClean="0"/>
                <a:t>Gred lebih tinggi</a:t>
              </a:r>
              <a:endParaRPr lang="en-US" sz="2800" dirty="0"/>
            </a:p>
          </p:txBody>
        </p:sp>
        <p:pic>
          <p:nvPicPr>
            <p:cNvPr id="2" name="Picture 1" descr="LADDER MAN.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05653" y="981900"/>
              <a:ext cx="853758" cy="3055554"/>
            </a:xfrm>
            <a:prstGeom prst="rect">
              <a:avLst/>
            </a:prstGeom>
          </p:spPr>
        </p:pic>
      </p:grpSp>
      <p:grpSp>
        <p:nvGrpSpPr>
          <p:cNvPr id="11" name="Group 19"/>
          <p:cNvGrpSpPr/>
          <p:nvPr/>
        </p:nvGrpSpPr>
        <p:grpSpPr>
          <a:xfrm>
            <a:off x="4773683" y="1940145"/>
            <a:ext cx="1981200" cy="3675008"/>
            <a:chOff x="4773683" y="1940145"/>
            <a:chExt cx="1981200" cy="3675008"/>
          </a:xfrm>
        </p:grpSpPr>
        <p:sp>
          <p:nvSpPr>
            <p:cNvPr id="32" name="Rectangle 31"/>
            <p:cNvSpPr/>
            <p:nvPr/>
          </p:nvSpPr>
          <p:spPr>
            <a:xfrm>
              <a:off x="4773683" y="4661046"/>
              <a:ext cx="1981200" cy="954107"/>
            </a:xfrm>
            <a:prstGeom prst="rect">
              <a:avLst/>
            </a:prstGeom>
          </p:spPr>
          <p:txBody>
            <a:bodyPr wrap="square">
              <a:spAutoFit/>
            </a:bodyPr>
            <a:lstStyle/>
            <a:p>
              <a:pPr algn="ctr"/>
              <a:r>
                <a:rPr lang="ms-MY" sz="2800" dirty="0" smtClean="0"/>
                <a:t>Mengikut Kekananan</a:t>
              </a:r>
              <a:endParaRPr lang="en-US" sz="2800" dirty="0">
                <a:latin typeface="Calibri" pitchFamily="-105" charset="0"/>
              </a:endParaRPr>
            </a:p>
          </p:txBody>
        </p:sp>
        <p:pic>
          <p:nvPicPr>
            <p:cNvPr id="9" name="Picture 8" descr="ashkar.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06059" y="1940145"/>
              <a:ext cx="1039219" cy="2012740"/>
            </a:xfrm>
            <a:prstGeom prst="rect">
              <a:avLst/>
            </a:prstGeom>
          </p:spPr>
        </p:pic>
      </p:grpSp>
      <p:grpSp>
        <p:nvGrpSpPr>
          <p:cNvPr id="12" name="Group 20"/>
          <p:cNvGrpSpPr/>
          <p:nvPr/>
        </p:nvGrpSpPr>
        <p:grpSpPr>
          <a:xfrm>
            <a:off x="6866970" y="1688353"/>
            <a:ext cx="2052301" cy="3985614"/>
            <a:chOff x="6866970" y="1688353"/>
            <a:chExt cx="2052301" cy="3985614"/>
          </a:xfrm>
        </p:grpSpPr>
        <p:sp>
          <p:nvSpPr>
            <p:cNvPr id="33" name="Rectangle 32"/>
            <p:cNvSpPr/>
            <p:nvPr/>
          </p:nvSpPr>
          <p:spPr>
            <a:xfrm>
              <a:off x="6866970" y="4719860"/>
              <a:ext cx="2052301" cy="954107"/>
            </a:xfrm>
            <a:prstGeom prst="rect">
              <a:avLst/>
            </a:prstGeom>
          </p:spPr>
          <p:txBody>
            <a:bodyPr wrap="square">
              <a:spAutoFit/>
            </a:bodyPr>
            <a:lstStyle/>
            <a:p>
              <a:pPr lvl="0" algn="ctr"/>
              <a:r>
                <a:rPr lang="ms-MY" sz="2800" dirty="0" smtClean="0"/>
                <a:t>Tempoh Penyeliaan</a:t>
              </a:r>
            </a:p>
          </p:txBody>
        </p:sp>
        <p:pic>
          <p:nvPicPr>
            <p:cNvPr id="10" name="Picture 9" descr="clock.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47408" y="1688353"/>
              <a:ext cx="926520" cy="2264532"/>
            </a:xfrm>
            <a:prstGeom prst="rect">
              <a:avLst/>
            </a:prstGeom>
          </p:spPr>
        </p:pic>
      </p:grpSp>
      <p:sp>
        <p:nvSpPr>
          <p:cNvPr id="18" name="Rectangle 17"/>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KRITERIA PEGAWAI PENILAI</a:t>
            </a:r>
            <a:endParaRPr lang="en-US" sz="2800" b="1" dirty="0">
              <a:solidFill>
                <a:schemeClr val="bg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16792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ox(in)">
                                      <p:cBhvr>
                                        <p:cTn id="7" dur="500"/>
                                        <p:tgtEl>
                                          <p:spTgt spid="7"/>
                                        </p:tgtEl>
                                      </p:cBhvr>
                                    </p:animEffect>
                                  </p:childTnLst>
                                </p:cTn>
                              </p:par>
                              <p:par>
                                <p:cTn id="8" presetID="4" presetClass="entr" presetSubtype="16"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box(in)">
                                      <p:cBhvr>
                                        <p:cTn id="10" dur="500"/>
                                        <p:tgtEl>
                                          <p:spTgt spid="3"/>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box(in)">
                                      <p:cBhvr>
                                        <p:cTn id="13" dur="500"/>
                                        <p:tgtEl>
                                          <p:spTgt spid="30"/>
                                        </p:tgtEl>
                                      </p:cBhvr>
                                    </p:animEffect>
                                  </p:childTnLst>
                                </p:cTn>
                              </p:par>
                            </p:childTnLst>
                          </p:cTn>
                        </p:par>
                      </p:childTnLst>
                    </p:cTn>
                  </p:par>
                  <p:par>
                    <p:cTn id="14" fill="hold">
                      <p:stCondLst>
                        <p:cond delay="indefinite"/>
                      </p:stCondLst>
                      <p:childTnLst>
                        <p:par>
                          <p:cTn id="15" fill="hold">
                            <p:stCondLst>
                              <p:cond delay="0"/>
                            </p:stCondLst>
                            <p:childTnLst>
                              <p:par>
                                <p:cTn id="16" presetID="4" presetClass="entr" presetSubtype="16"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ox(in)">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55"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anim calcmode="lin" valueType="num">
                                      <p:cBhvr>
                                        <p:cTn id="23" dur="500" fill="hold"/>
                                        <p:tgtEl>
                                          <p:spTgt spid="11"/>
                                        </p:tgtEl>
                                        <p:attrNameLst>
                                          <p:attrName>ppt_w</p:attrName>
                                        </p:attrNameLst>
                                      </p:cBhvr>
                                      <p:tavLst>
                                        <p:tav tm="0">
                                          <p:val>
                                            <p:strVal val="#ppt_w*0.70"/>
                                          </p:val>
                                        </p:tav>
                                        <p:tav tm="100000">
                                          <p:val>
                                            <p:strVal val="#ppt_w"/>
                                          </p:val>
                                        </p:tav>
                                      </p:tavLst>
                                    </p:anim>
                                    <p:anim calcmode="lin" valueType="num">
                                      <p:cBhvr>
                                        <p:cTn id="24" dur="500" fill="hold"/>
                                        <p:tgtEl>
                                          <p:spTgt spid="11"/>
                                        </p:tgtEl>
                                        <p:attrNameLst>
                                          <p:attrName>ppt_h</p:attrName>
                                        </p:attrNameLst>
                                      </p:cBhvr>
                                      <p:tavLst>
                                        <p:tav tm="0">
                                          <p:val>
                                            <p:strVal val="#ppt_h"/>
                                          </p:val>
                                        </p:tav>
                                        <p:tav tm="100000">
                                          <p:val>
                                            <p:strVal val="#ppt_h"/>
                                          </p:val>
                                        </p:tav>
                                      </p:tavLst>
                                    </p:anim>
                                    <p:animEffect transition="in" filter="fade">
                                      <p:cBhvr>
                                        <p:cTn id="25" dur="5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2" presetClass="entr" presetSubtype="2"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 calcmode="lin" valueType="num">
                                      <p:cBhvr additive="base">
                                        <p:cTn id="30" dur="500" fill="hold"/>
                                        <p:tgtEl>
                                          <p:spTgt spid="12"/>
                                        </p:tgtEl>
                                        <p:attrNameLst>
                                          <p:attrName>ppt_x</p:attrName>
                                        </p:attrNameLst>
                                      </p:cBhvr>
                                      <p:tavLst>
                                        <p:tav tm="0">
                                          <p:val>
                                            <p:strVal val="1+#ppt_w/2"/>
                                          </p:val>
                                        </p:tav>
                                        <p:tav tm="100000">
                                          <p:val>
                                            <p:strVal val="#ppt_x"/>
                                          </p:val>
                                        </p:tav>
                                      </p:tavLst>
                                    </p:anim>
                                    <p:anim calcmode="lin" valueType="num">
                                      <p:cBhvr additive="base">
                                        <p:cTn id="3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3290958" y="6382243"/>
            <a:ext cx="4958521" cy="365125"/>
          </a:xfrm>
        </p:spPr>
        <p:txBody>
          <a:bodyPr/>
          <a:lstStyle/>
          <a:p>
            <a:r>
              <a:rPr lang="en-US" smtClean="0"/>
              <a:t>GURU (SEKOLAH)</a:t>
            </a:r>
            <a:endParaRPr lang="en-US" dirty="0"/>
          </a:p>
        </p:txBody>
      </p:sp>
      <p:sp>
        <p:nvSpPr>
          <p:cNvPr id="5" name="Slide Number Placeholder 4"/>
          <p:cNvSpPr>
            <a:spLocks noGrp="1"/>
          </p:cNvSpPr>
          <p:nvPr>
            <p:ph type="sldNum" sz="quarter" idx="12"/>
          </p:nvPr>
        </p:nvSpPr>
        <p:spPr>
          <a:xfrm>
            <a:off x="6553200" y="6371200"/>
            <a:ext cx="2133600" cy="365125"/>
          </a:xfrm>
        </p:spPr>
        <p:txBody>
          <a:bodyPr/>
          <a:lstStyle/>
          <a:p>
            <a:fld id="{4D86EDED-B1AF-7E4B-94C9-3F0EAA36C7D5}" type="slidenum">
              <a:rPr lang="en-US" smtClean="0"/>
              <a:pPr/>
              <a:t>35</a:t>
            </a:fld>
            <a:endParaRPr lang="en-US" dirty="0"/>
          </a:p>
        </p:txBody>
      </p:sp>
      <p:sp>
        <p:nvSpPr>
          <p:cNvPr id="8" name="Pentagon 7"/>
          <p:cNvSpPr/>
          <p:nvPr/>
        </p:nvSpPr>
        <p:spPr>
          <a:xfrm>
            <a:off x="2595963" y="1389733"/>
            <a:ext cx="6327059" cy="1240168"/>
          </a:xfrm>
          <a:prstGeom prst="homePlate">
            <a:avLst>
              <a:gd name="adj" fmla="val 41466"/>
            </a:avLst>
          </a:prstGeom>
          <a:solidFill>
            <a:srgbClr val="B29C8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just"/>
            <a:r>
              <a:rPr lang="ms-MY" sz="1600" dirty="0" smtClean="0">
                <a:solidFill>
                  <a:schemeClr val="bg1"/>
                </a:solidFill>
                <a:latin typeface="Arial Narrow" pitchFamily="34" charset="0"/>
              </a:rPr>
              <a:t>PP telah menyelia PYD tidak kurang dari 6 bulan dalam satu tahun penilaian. Sekiranya PYD berkhidmat di dua jabatan yang berlainan dalam tempoh yang sama panjang, maka penilaian hendaklah dilaksanakan di jabatan PYD berkhidmat semasa.</a:t>
            </a:r>
            <a:endParaRPr lang="en-US" sz="1200" dirty="0">
              <a:solidFill>
                <a:schemeClr val="bg1"/>
              </a:solidFill>
              <a:latin typeface="Arial Narrow" pitchFamily="34" charset="0"/>
            </a:endParaRPr>
          </a:p>
        </p:txBody>
      </p:sp>
      <p:sp>
        <p:nvSpPr>
          <p:cNvPr id="13" name="Parallelogram 12"/>
          <p:cNvSpPr/>
          <p:nvPr/>
        </p:nvSpPr>
        <p:spPr>
          <a:xfrm rot="16200000">
            <a:off x="1356263" y="2659542"/>
            <a:ext cx="1587741" cy="914400"/>
          </a:xfrm>
          <a:prstGeom prst="parallelogram">
            <a:avLst>
              <a:gd name="adj" fmla="val 39609"/>
            </a:avLst>
          </a:prstGeom>
          <a:solidFill>
            <a:srgbClr val="C31D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508407" y="3593210"/>
            <a:ext cx="1188720" cy="1243584"/>
          </a:xfrm>
          <a:prstGeom prst="rect">
            <a:avLst/>
          </a:prstGeom>
          <a:solidFill>
            <a:srgbClr val="1D1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smtClean="0">
                <a:effectLst>
                  <a:outerShdw blurRad="38100" dist="38100" dir="2700000" algn="tl">
                    <a:srgbClr val="000000">
                      <a:alpha val="43137"/>
                    </a:srgbClr>
                  </a:outerShdw>
                </a:effectLst>
                <a:latin typeface="Arial Black" panose="020B0A04020102020204" pitchFamily="34" charset="0"/>
              </a:rPr>
              <a:t>03</a:t>
            </a:r>
            <a:endParaRPr lang="en-US" sz="4400" dirty="0">
              <a:effectLst>
                <a:outerShdw blurRad="38100" dist="38100" dir="2700000" algn="tl">
                  <a:srgbClr val="000000">
                    <a:alpha val="43137"/>
                  </a:srgbClr>
                </a:outerShdw>
              </a:effectLst>
              <a:latin typeface="Arial Black" panose="020B0A04020102020204" pitchFamily="34" charset="0"/>
            </a:endParaRPr>
          </a:p>
        </p:txBody>
      </p:sp>
      <p:sp>
        <p:nvSpPr>
          <p:cNvPr id="17" name="Parallelogram 16"/>
          <p:cNvSpPr/>
          <p:nvPr/>
        </p:nvSpPr>
        <p:spPr>
          <a:xfrm rot="16200000">
            <a:off x="1343352" y="3932495"/>
            <a:ext cx="1591056" cy="914400"/>
          </a:xfrm>
          <a:prstGeom prst="parallelogram">
            <a:avLst>
              <a:gd name="adj" fmla="val 39609"/>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Pentagon 21"/>
          <p:cNvSpPr/>
          <p:nvPr/>
        </p:nvSpPr>
        <p:spPr>
          <a:xfrm>
            <a:off x="2598157" y="5225628"/>
            <a:ext cx="6327059" cy="1240168"/>
          </a:xfrm>
          <a:prstGeom prst="homePlate">
            <a:avLst>
              <a:gd name="adj" fmla="val 41466"/>
            </a:avLst>
          </a:prstGeom>
          <a:solidFill>
            <a:srgbClr val="316E7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just"/>
            <a:r>
              <a:rPr lang="ms-MY" sz="1600" dirty="0" smtClean="0">
                <a:solidFill>
                  <a:schemeClr val="bg1"/>
                </a:solidFill>
                <a:latin typeface="Arial Narrow" pitchFamily="34" charset="0"/>
              </a:rPr>
              <a:t>PP hendaklah menyelia kerja yang dijalankan oleh PYD melalui pengawasan dan bimbingan yang berterusan.</a:t>
            </a:r>
            <a:endParaRPr lang="en-US" sz="1600" dirty="0">
              <a:solidFill>
                <a:schemeClr val="bg1"/>
              </a:solidFill>
              <a:latin typeface="Arial Narrow" pitchFamily="34" charset="0"/>
            </a:endParaRPr>
          </a:p>
        </p:txBody>
      </p:sp>
      <p:sp>
        <p:nvSpPr>
          <p:cNvPr id="24" name="Rectangle 23"/>
          <p:cNvSpPr/>
          <p:nvPr/>
        </p:nvSpPr>
        <p:spPr>
          <a:xfrm>
            <a:off x="529674" y="4874941"/>
            <a:ext cx="1204857" cy="1256903"/>
          </a:xfrm>
          <a:prstGeom prst="rect">
            <a:avLst/>
          </a:prstGeom>
          <a:solidFill>
            <a:srgbClr val="316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smtClean="0">
                <a:effectLst>
                  <a:outerShdw blurRad="38100" dist="38100" dir="2700000" algn="tl">
                    <a:srgbClr val="000000">
                      <a:alpha val="43137"/>
                    </a:srgbClr>
                  </a:outerShdw>
                </a:effectLst>
                <a:latin typeface="Arial Black" panose="020B0A04020102020204" pitchFamily="34" charset="0"/>
              </a:rPr>
              <a:t>04</a:t>
            </a:r>
            <a:endParaRPr lang="en-US" sz="4400" dirty="0">
              <a:effectLst>
                <a:outerShdw blurRad="38100" dist="38100" dir="2700000" algn="tl">
                  <a:srgbClr val="000000">
                    <a:alpha val="43137"/>
                  </a:srgbClr>
                </a:outerShdw>
              </a:effectLst>
              <a:latin typeface="Arial Black" panose="020B0A04020102020204" pitchFamily="34" charset="0"/>
            </a:endParaRPr>
          </a:p>
        </p:txBody>
      </p:sp>
      <p:sp>
        <p:nvSpPr>
          <p:cNvPr id="25" name="Parallelogram 24"/>
          <p:cNvSpPr/>
          <p:nvPr/>
        </p:nvSpPr>
        <p:spPr>
          <a:xfrm rot="16200000">
            <a:off x="1365217" y="5239437"/>
            <a:ext cx="1601372" cy="872380"/>
          </a:xfrm>
          <a:prstGeom prst="parallelogram">
            <a:avLst>
              <a:gd name="adj" fmla="val 39609"/>
            </a:avLst>
          </a:prstGeom>
          <a:solidFill>
            <a:srgbClr val="214C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entagon 9"/>
          <p:cNvSpPr/>
          <p:nvPr/>
        </p:nvSpPr>
        <p:spPr>
          <a:xfrm>
            <a:off x="2576261" y="2666454"/>
            <a:ext cx="6327059" cy="1240168"/>
          </a:xfrm>
          <a:prstGeom prst="homePlate">
            <a:avLst>
              <a:gd name="adj" fmla="val 41466"/>
            </a:avLst>
          </a:prstGeom>
          <a:solidFill>
            <a:srgbClr val="FE533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just"/>
            <a:r>
              <a:rPr lang="ms-MY" sz="1600" dirty="0" smtClean="0">
                <a:solidFill>
                  <a:schemeClr val="bg1"/>
                </a:solidFill>
                <a:latin typeface="Arial Narrow" pitchFamily="34" charset="0"/>
              </a:rPr>
              <a:t>Sekiranya tiada PP yang layak menilai kerana tempoh penyeliaannya kurang dari 6 bulan dalam tahun yang dinilai, maka penilaian hendaklah dilakukan oleh penyelia yang terdekat dan mempunyai hubungan kerja dengan PYD. Bagi kes-kes tertentu tempoh minimum ialah tiga bulan.</a:t>
            </a:r>
            <a:endParaRPr lang="ms-MY" sz="1600" dirty="0">
              <a:solidFill>
                <a:schemeClr val="bg1"/>
              </a:solidFill>
              <a:latin typeface="Arial Narrow" pitchFamily="34" charset="0"/>
            </a:endParaRPr>
          </a:p>
        </p:txBody>
      </p:sp>
      <p:sp>
        <p:nvSpPr>
          <p:cNvPr id="14" name="Pentagon 13"/>
          <p:cNvSpPr/>
          <p:nvPr/>
        </p:nvSpPr>
        <p:spPr>
          <a:xfrm>
            <a:off x="2565313" y="3945373"/>
            <a:ext cx="6327059" cy="1239850"/>
          </a:xfrm>
          <a:prstGeom prst="homePlate">
            <a:avLst>
              <a:gd name="adj" fmla="val 41466"/>
            </a:avLst>
          </a:prstGeom>
          <a:solidFill>
            <a:srgbClr val="1D181F"/>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just"/>
            <a:r>
              <a:rPr lang="ms-MY" sz="1600" dirty="0" smtClean="0">
                <a:solidFill>
                  <a:schemeClr val="bg1"/>
                </a:solidFill>
                <a:latin typeface="Arial Narrow" pitchFamily="34" charset="0"/>
              </a:rPr>
              <a:t>Sekiranya penilaian tidak disediakan oleh PP yang telah bersara, meletak jawatan atau tidak dapat dikesan, maka penilaian PYD hendaklah diputuskan oleh Jawatankuasa PBPPP Organisasi.</a:t>
            </a:r>
            <a:endParaRPr lang="ms-MY" sz="1600" dirty="0">
              <a:solidFill>
                <a:schemeClr val="bg1"/>
              </a:solidFill>
              <a:latin typeface="Arial Narrow" pitchFamily="34" charset="0"/>
            </a:endParaRPr>
          </a:p>
        </p:txBody>
      </p:sp>
      <p:sp>
        <p:nvSpPr>
          <p:cNvPr id="12" name="Rectangle 11"/>
          <p:cNvSpPr/>
          <p:nvPr/>
        </p:nvSpPr>
        <p:spPr>
          <a:xfrm>
            <a:off x="508405" y="2307615"/>
            <a:ext cx="1188720" cy="1243584"/>
          </a:xfrm>
          <a:prstGeom prst="rect">
            <a:avLst/>
          </a:prstGeom>
          <a:solidFill>
            <a:srgbClr val="FE53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smtClean="0">
                <a:effectLst>
                  <a:outerShdw blurRad="38100" dist="38100" dir="2700000" algn="tl">
                    <a:srgbClr val="000000">
                      <a:alpha val="43137"/>
                    </a:srgbClr>
                  </a:outerShdw>
                </a:effectLst>
                <a:latin typeface="Arial Black" panose="020B0A04020102020204" pitchFamily="34" charset="0"/>
              </a:rPr>
              <a:t>02</a:t>
            </a:r>
            <a:endParaRPr lang="en-US" sz="4400" dirty="0">
              <a:effectLst>
                <a:outerShdw blurRad="38100" dist="38100" dir="2700000" algn="tl">
                  <a:srgbClr val="000000">
                    <a:alpha val="43137"/>
                  </a:srgbClr>
                </a:outerShdw>
              </a:effectLst>
              <a:latin typeface="Arial Black" panose="020B0A04020102020204" pitchFamily="34" charset="0"/>
            </a:endParaRPr>
          </a:p>
        </p:txBody>
      </p:sp>
      <p:sp>
        <p:nvSpPr>
          <p:cNvPr id="29" name="Rectangle 28"/>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KRITERIA PEGAWAI PENILAI</a:t>
            </a:r>
            <a:endParaRPr lang="en-US" sz="2800" b="1" dirty="0">
              <a:solidFill>
                <a:schemeClr val="bg1"/>
              </a:solidFill>
              <a:latin typeface="Segoe UI" pitchFamily="34" charset="0"/>
              <a:ea typeface="Segoe UI" pitchFamily="34" charset="0"/>
              <a:cs typeface="Segoe UI" pitchFamily="34" charset="0"/>
            </a:endParaRPr>
          </a:p>
        </p:txBody>
      </p:sp>
      <p:sp>
        <p:nvSpPr>
          <p:cNvPr id="7" name="Rectangle 6"/>
          <p:cNvSpPr/>
          <p:nvPr/>
        </p:nvSpPr>
        <p:spPr>
          <a:xfrm>
            <a:off x="518408" y="1032894"/>
            <a:ext cx="1188720" cy="1243584"/>
          </a:xfrm>
          <a:prstGeom prst="rect">
            <a:avLst/>
          </a:prstGeom>
          <a:solidFill>
            <a:srgbClr val="B29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smtClean="0">
                <a:effectLst>
                  <a:outerShdw blurRad="38100" dist="38100" dir="2700000" algn="tl">
                    <a:srgbClr val="000000">
                      <a:alpha val="43137"/>
                    </a:srgbClr>
                  </a:outerShdw>
                </a:effectLst>
                <a:latin typeface="Arial Black" panose="020B0A04020102020204" pitchFamily="34" charset="0"/>
              </a:rPr>
              <a:t>01</a:t>
            </a:r>
            <a:endParaRPr lang="en-US" sz="4400" dirty="0">
              <a:effectLst>
                <a:outerShdw blurRad="38100" dist="38100" dir="2700000" algn="tl">
                  <a:srgbClr val="000000">
                    <a:alpha val="43137"/>
                  </a:srgbClr>
                </a:outerShdw>
              </a:effectLst>
              <a:latin typeface="Arial Black" panose="020B0A04020102020204" pitchFamily="34" charset="0"/>
            </a:endParaRPr>
          </a:p>
        </p:txBody>
      </p:sp>
      <p:sp>
        <p:nvSpPr>
          <p:cNvPr id="9" name="Parallelogram 8"/>
          <p:cNvSpPr/>
          <p:nvPr/>
        </p:nvSpPr>
        <p:spPr>
          <a:xfrm rot="16200000">
            <a:off x="1352411" y="1375005"/>
            <a:ext cx="1591056" cy="914400"/>
          </a:xfrm>
          <a:prstGeom prst="parallelogram">
            <a:avLst>
              <a:gd name="adj" fmla="val 39609"/>
            </a:avLst>
          </a:prstGeom>
          <a:solidFill>
            <a:srgbClr val="866D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ox(in)">
                                      <p:cBhvr>
                                        <p:cTn id="7" dur="500"/>
                                        <p:tgtEl>
                                          <p:spTgt spid="9"/>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in)">
                                      <p:cBhvr>
                                        <p:cTn id="10" dur="500"/>
                                        <p:tgtEl>
                                          <p:spTgt spid="7"/>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ox(in)">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4" presetClass="entr" presetSubtype="16" fill="hold" grpId="0"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box(in)">
                                      <p:cBhvr>
                                        <p:cTn id="18" dur="500"/>
                                        <p:tgtEl>
                                          <p:spTgt spid="10"/>
                                        </p:tgtEl>
                                      </p:cBhvr>
                                    </p:animEffect>
                                  </p:childTnLst>
                                </p:cTn>
                              </p:par>
                              <p:par>
                                <p:cTn id="19" presetID="4" presetClass="entr" presetSubtype="16"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box(in)">
                                      <p:cBhvr>
                                        <p:cTn id="21" dur="500"/>
                                        <p:tgtEl>
                                          <p:spTgt spid="13"/>
                                        </p:tgtEl>
                                      </p:cBhvr>
                                    </p:animEffect>
                                  </p:childTnLst>
                                </p:cTn>
                              </p:par>
                              <p:par>
                                <p:cTn id="22" presetID="4" presetClass="entr" presetSubtype="16"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box(in)">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2"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anim calcmode="lin" valueType="num">
                                      <p:cBhvr additive="base">
                                        <p:cTn id="29" dur="500" fill="hold"/>
                                        <p:tgtEl>
                                          <p:spTgt spid="16"/>
                                        </p:tgtEl>
                                        <p:attrNameLst>
                                          <p:attrName>ppt_x</p:attrName>
                                        </p:attrNameLst>
                                      </p:cBhvr>
                                      <p:tavLst>
                                        <p:tav tm="0">
                                          <p:val>
                                            <p:strVal val="1+#ppt_w/2"/>
                                          </p:val>
                                        </p:tav>
                                        <p:tav tm="100000">
                                          <p:val>
                                            <p:strVal val="#ppt_x"/>
                                          </p:val>
                                        </p:tav>
                                      </p:tavLst>
                                    </p:anim>
                                    <p:anim calcmode="lin" valueType="num">
                                      <p:cBhvr additive="base">
                                        <p:cTn id="30" dur="500" fill="hold"/>
                                        <p:tgtEl>
                                          <p:spTgt spid="16"/>
                                        </p:tgtEl>
                                        <p:attrNameLst>
                                          <p:attrName>ppt_y</p:attrName>
                                        </p:attrNameLst>
                                      </p:cBhvr>
                                      <p:tavLst>
                                        <p:tav tm="0">
                                          <p:val>
                                            <p:strVal val="#ppt_y"/>
                                          </p:val>
                                        </p:tav>
                                        <p:tav tm="100000">
                                          <p:val>
                                            <p:strVal val="#ppt_y"/>
                                          </p:val>
                                        </p:tav>
                                      </p:tavLst>
                                    </p:anim>
                                  </p:childTnLst>
                                </p:cTn>
                              </p:par>
                              <p:par>
                                <p:cTn id="31" presetID="2" presetClass="entr" presetSubtype="2"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anim calcmode="lin" valueType="num">
                                      <p:cBhvr additive="base">
                                        <p:cTn id="33" dur="500" fill="hold"/>
                                        <p:tgtEl>
                                          <p:spTgt spid="17"/>
                                        </p:tgtEl>
                                        <p:attrNameLst>
                                          <p:attrName>ppt_x</p:attrName>
                                        </p:attrNameLst>
                                      </p:cBhvr>
                                      <p:tavLst>
                                        <p:tav tm="0">
                                          <p:val>
                                            <p:strVal val="1+#ppt_w/2"/>
                                          </p:val>
                                        </p:tav>
                                        <p:tav tm="100000">
                                          <p:val>
                                            <p:strVal val="#ppt_x"/>
                                          </p:val>
                                        </p:tav>
                                      </p:tavLst>
                                    </p:anim>
                                    <p:anim calcmode="lin" valueType="num">
                                      <p:cBhvr additive="base">
                                        <p:cTn id="34" dur="500" fill="hold"/>
                                        <p:tgtEl>
                                          <p:spTgt spid="17"/>
                                        </p:tgtEl>
                                        <p:attrNameLst>
                                          <p:attrName>ppt_y</p:attrName>
                                        </p:attrNameLst>
                                      </p:cBhvr>
                                      <p:tavLst>
                                        <p:tav tm="0">
                                          <p:val>
                                            <p:strVal val="#ppt_y"/>
                                          </p:val>
                                        </p:tav>
                                        <p:tav tm="100000">
                                          <p:val>
                                            <p:strVal val="#ppt_y"/>
                                          </p:val>
                                        </p:tav>
                                      </p:tavLst>
                                    </p:anim>
                                  </p:childTnLst>
                                </p:cTn>
                              </p:par>
                              <p:par>
                                <p:cTn id="35" presetID="2" presetClass="entr" presetSubtype="2"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fill="hold"/>
                                        <p:tgtEl>
                                          <p:spTgt spid="14"/>
                                        </p:tgtEl>
                                        <p:attrNameLst>
                                          <p:attrName>ppt_x</p:attrName>
                                        </p:attrNameLst>
                                      </p:cBhvr>
                                      <p:tavLst>
                                        <p:tav tm="0">
                                          <p:val>
                                            <p:strVal val="1+#ppt_w/2"/>
                                          </p:val>
                                        </p:tav>
                                        <p:tav tm="100000">
                                          <p:val>
                                            <p:strVal val="#ppt_x"/>
                                          </p:val>
                                        </p:tav>
                                      </p:tavLst>
                                    </p:anim>
                                    <p:anim calcmode="lin" valueType="num">
                                      <p:cBhvr additive="base">
                                        <p:cTn id="38"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4"/>
                                        </p:tgtEl>
                                        <p:attrNameLst>
                                          <p:attrName>style.visibility</p:attrName>
                                        </p:attrNameLst>
                                      </p:cBhvr>
                                      <p:to>
                                        <p:strVal val="visible"/>
                                      </p:to>
                                    </p:set>
                                    <p:anim calcmode="lin" valueType="num">
                                      <p:cBhvr additive="base">
                                        <p:cTn id="43" dur="500" fill="hold"/>
                                        <p:tgtEl>
                                          <p:spTgt spid="24"/>
                                        </p:tgtEl>
                                        <p:attrNameLst>
                                          <p:attrName>ppt_x</p:attrName>
                                        </p:attrNameLst>
                                      </p:cBhvr>
                                      <p:tavLst>
                                        <p:tav tm="0">
                                          <p:val>
                                            <p:strVal val="#ppt_x"/>
                                          </p:val>
                                        </p:tav>
                                        <p:tav tm="100000">
                                          <p:val>
                                            <p:strVal val="#ppt_x"/>
                                          </p:val>
                                        </p:tav>
                                      </p:tavLst>
                                    </p:anim>
                                    <p:anim calcmode="lin" valueType="num">
                                      <p:cBhvr additive="base">
                                        <p:cTn id="44" dur="500" fill="hold"/>
                                        <p:tgtEl>
                                          <p:spTgt spid="24"/>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anim calcmode="lin" valueType="num">
                                      <p:cBhvr additive="base">
                                        <p:cTn id="47" dur="500" fill="hold"/>
                                        <p:tgtEl>
                                          <p:spTgt spid="25"/>
                                        </p:tgtEl>
                                        <p:attrNameLst>
                                          <p:attrName>ppt_x</p:attrName>
                                        </p:attrNameLst>
                                      </p:cBhvr>
                                      <p:tavLst>
                                        <p:tav tm="0">
                                          <p:val>
                                            <p:strVal val="#ppt_x"/>
                                          </p:val>
                                        </p:tav>
                                        <p:tav tm="100000">
                                          <p:val>
                                            <p:strVal val="#ppt_x"/>
                                          </p:val>
                                        </p:tav>
                                      </p:tavLst>
                                    </p:anim>
                                    <p:anim calcmode="lin" valueType="num">
                                      <p:cBhvr additive="base">
                                        <p:cTn id="48" dur="500" fill="hold"/>
                                        <p:tgtEl>
                                          <p:spTgt spid="25"/>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22"/>
                                        </p:tgtEl>
                                        <p:attrNameLst>
                                          <p:attrName>style.visibility</p:attrName>
                                        </p:attrNameLst>
                                      </p:cBhvr>
                                      <p:to>
                                        <p:strVal val="visible"/>
                                      </p:to>
                                    </p:set>
                                    <p:anim calcmode="lin" valueType="num">
                                      <p:cBhvr additive="base">
                                        <p:cTn id="51" dur="500" fill="hold"/>
                                        <p:tgtEl>
                                          <p:spTgt spid="22"/>
                                        </p:tgtEl>
                                        <p:attrNameLst>
                                          <p:attrName>ppt_x</p:attrName>
                                        </p:attrNameLst>
                                      </p:cBhvr>
                                      <p:tavLst>
                                        <p:tav tm="0">
                                          <p:val>
                                            <p:strVal val="#ppt_x"/>
                                          </p:val>
                                        </p:tav>
                                        <p:tav tm="100000">
                                          <p:val>
                                            <p:strVal val="#ppt_x"/>
                                          </p:val>
                                        </p:tav>
                                      </p:tavLst>
                                    </p:anim>
                                    <p:anim calcmode="lin" valueType="num">
                                      <p:cBhvr additive="base">
                                        <p:cTn id="52"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16" grpId="0" animBg="1"/>
      <p:bldP spid="17" grpId="0" animBg="1"/>
      <p:bldP spid="22" grpId="0" animBg="1"/>
      <p:bldP spid="24" grpId="0" animBg="1"/>
      <p:bldP spid="25" grpId="0" animBg="1"/>
      <p:bldP spid="10" grpId="0" animBg="1"/>
      <p:bldP spid="14" grpId="0" animBg="1"/>
      <p:bldP spid="12" grpId="0" animBg="1"/>
      <p:bldP spid="7" grpId="0" animBg="1"/>
      <p:bldP spid="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c 2"/>
          <p:cNvSpPr/>
          <p:nvPr/>
        </p:nvSpPr>
        <p:spPr>
          <a:xfrm rot="193442">
            <a:off x="-2413577" y="1641423"/>
            <a:ext cx="4782091" cy="4568705"/>
          </a:xfrm>
          <a:prstGeom prst="arc">
            <a:avLst>
              <a:gd name="adj1" fmla="val 16047291"/>
              <a:gd name="adj2" fmla="val 5220186"/>
            </a:avLst>
          </a:prstGeom>
          <a:ln w="66675">
            <a:solidFill>
              <a:srgbClr val="FF0000"/>
            </a:solidFill>
          </a:ln>
          <a:effectLst>
            <a:outerShdw blurRad="40005" dist="19939" dir="5400000" algn="tl"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36</a:t>
            </a:fld>
            <a:endParaRPr lang="en-US"/>
          </a:p>
        </p:txBody>
      </p:sp>
      <p:grpSp>
        <p:nvGrpSpPr>
          <p:cNvPr id="2" name="Group 39"/>
          <p:cNvGrpSpPr/>
          <p:nvPr/>
        </p:nvGrpSpPr>
        <p:grpSpPr>
          <a:xfrm>
            <a:off x="886702" y="1637215"/>
            <a:ext cx="1457795" cy="1318382"/>
            <a:chOff x="1029026" y="1790501"/>
            <a:chExt cx="1457795" cy="1318382"/>
          </a:xfrm>
        </p:grpSpPr>
        <p:grpSp>
          <p:nvGrpSpPr>
            <p:cNvPr id="6" name="Group 29"/>
            <p:cNvGrpSpPr/>
            <p:nvPr/>
          </p:nvGrpSpPr>
          <p:grpSpPr>
            <a:xfrm>
              <a:off x="1029026" y="1790501"/>
              <a:ext cx="1457795" cy="1318382"/>
              <a:chOff x="6089820" y="2277827"/>
              <a:chExt cx="1457795" cy="1318382"/>
            </a:xfrm>
          </p:grpSpPr>
          <p:sp>
            <p:nvSpPr>
              <p:cNvPr id="29" name="Oval 28"/>
              <p:cNvSpPr/>
              <p:nvPr/>
            </p:nvSpPr>
            <p:spPr>
              <a:xfrm>
                <a:off x="6207299" y="2358065"/>
                <a:ext cx="1296524" cy="1160563"/>
              </a:xfrm>
              <a:prstGeom prst="ellipse">
                <a:avLst/>
              </a:prstGeom>
              <a:solidFill>
                <a:schemeClr val="bg1">
                  <a:alpha val="9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onut 13"/>
              <p:cNvSpPr>
                <a:spLocks noChangeArrowheads="1"/>
              </p:cNvSpPr>
              <p:nvPr/>
            </p:nvSpPr>
            <p:spPr bwMode="auto">
              <a:xfrm flipV="1">
                <a:off x="6089820" y="2277827"/>
                <a:ext cx="1457795" cy="1318382"/>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gradFill rotWithShape="1">
                <a:gsLst>
                  <a:gs pos="0">
                    <a:srgbClr val="00B0F0"/>
                  </a:gs>
                  <a:gs pos="100000">
                    <a:srgbClr val="0070C0"/>
                  </a:gs>
                </a:gsLst>
                <a:lin ang="16200000"/>
              </a:gradFill>
              <a:ln w="9525">
                <a:noFill/>
                <a:miter lim="800000"/>
                <a:headEnd/>
                <a:tailEnd/>
              </a:ln>
              <a:effectLst>
                <a:outerShdw blurRad="63500" dist="23000" dir="5400000" rotWithShape="0">
                  <a:srgbClr val="000000">
                    <a:alpha val="34999"/>
                  </a:srgbClr>
                </a:outerShdw>
              </a:effectLst>
            </p:spPr>
            <p:txBody>
              <a:bodyPr anchor="ctr"/>
              <a:lstStyle/>
              <a:p>
                <a:pPr algn="ctr">
                  <a:defRPr/>
                </a:pPr>
                <a:endParaRPr lang="en-US" sz="2000" dirty="0">
                  <a:latin typeface=""/>
                  <a:ea typeface="+mn-ea"/>
                </a:endParaRPr>
              </a:p>
            </p:txBody>
          </p:sp>
        </p:grpSp>
        <p:grpSp>
          <p:nvGrpSpPr>
            <p:cNvPr id="7" name="Gruppe 67"/>
            <p:cNvGrpSpPr/>
            <p:nvPr/>
          </p:nvGrpSpPr>
          <p:grpSpPr bwMode="auto">
            <a:xfrm>
              <a:off x="1324660" y="2082251"/>
              <a:ext cx="829457" cy="685430"/>
              <a:chOff x="3745443" y="6194521"/>
              <a:chExt cx="900893" cy="825894"/>
            </a:xfrm>
            <a:solidFill>
              <a:srgbClr val="000000"/>
            </a:solidFill>
          </p:grpSpPr>
          <p:sp>
            <p:nvSpPr>
              <p:cNvPr id="8" name="Freeform 26"/>
              <p:cNvSpPr>
                <a:spLocks noEditPoints="1"/>
              </p:cNvSpPr>
              <p:nvPr/>
            </p:nvSpPr>
            <p:spPr bwMode="auto">
              <a:xfrm>
                <a:off x="3745443" y="6194521"/>
                <a:ext cx="584955" cy="588138"/>
              </a:xfrm>
              <a:custGeom>
                <a:avLst/>
                <a:gdLst/>
                <a:ahLst/>
                <a:cxnLst>
                  <a:cxn ang="0">
                    <a:pos x="51" y="27"/>
                  </a:cxn>
                  <a:cxn ang="0">
                    <a:pos x="46" y="23"/>
                  </a:cxn>
                  <a:cxn ang="0">
                    <a:pos x="52" y="20"/>
                  </a:cxn>
                  <a:cxn ang="0">
                    <a:pos x="49" y="13"/>
                  </a:cxn>
                  <a:cxn ang="0">
                    <a:pos x="47" y="12"/>
                  </a:cxn>
                  <a:cxn ang="0">
                    <a:pos x="40" y="13"/>
                  </a:cxn>
                  <a:cxn ang="0">
                    <a:pos x="43" y="7"/>
                  </a:cxn>
                  <a:cxn ang="0">
                    <a:pos x="37" y="2"/>
                  </a:cxn>
                  <a:cxn ang="0">
                    <a:pos x="32" y="7"/>
                  </a:cxn>
                  <a:cxn ang="0">
                    <a:pos x="29" y="1"/>
                  </a:cxn>
                  <a:cxn ang="0">
                    <a:pos x="27" y="0"/>
                  </a:cxn>
                  <a:cxn ang="0">
                    <a:pos x="19" y="2"/>
                  </a:cxn>
                  <a:cxn ang="0">
                    <a:pos x="18" y="9"/>
                  </a:cxn>
                  <a:cxn ang="0">
                    <a:pos x="12" y="4"/>
                  </a:cxn>
                  <a:cxn ang="0">
                    <a:pos x="6" y="10"/>
                  </a:cxn>
                  <a:cxn ang="0">
                    <a:pos x="10" y="15"/>
                  </a:cxn>
                  <a:cxn ang="0">
                    <a:pos x="3" y="16"/>
                  </a:cxn>
                  <a:cxn ang="0">
                    <a:pos x="2" y="17"/>
                  </a:cxn>
                  <a:cxn ang="0">
                    <a:pos x="0" y="25"/>
                  </a:cxn>
                  <a:cxn ang="0">
                    <a:pos x="7" y="27"/>
                  </a:cxn>
                  <a:cxn ang="0">
                    <a:pos x="2" y="31"/>
                  </a:cxn>
                  <a:cxn ang="0">
                    <a:pos x="4" y="39"/>
                  </a:cxn>
                  <a:cxn ang="0">
                    <a:pos x="6" y="40"/>
                  </a:cxn>
                  <a:cxn ang="0">
                    <a:pos x="12" y="40"/>
                  </a:cxn>
                  <a:cxn ang="0">
                    <a:pos x="10" y="47"/>
                  </a:cxn>
                  <a:cxn ang="0">
                    <a:pos x="17" y="50"/>
                  </a:cxn>
                  <a:cxn ang="0">
                    <a:pos x="21" y="45"/>
                  </a:cxn>
                  <a:cxn ang="0">
                    <a:pos x="23" y="51"/>
                  </a:cxn>
                  <a:cxn ang="0">
                    <a:pos x="24" y="52"/>
                  </a:cxn>
                  <a:cxn ang="0">
                    <a:pos x="32" y="52"/>
                  </a:cxn>
                  <a:cxn ang="0">
                    <a:pos x="33" y="50"/>
                  </a:cxn>
                  <a:cxn ang="0">
                    <a:pos x="35" y="44"/>
                  </a:cxn>
                  <a:cxn ang="0">
                    <a:pos x="40" y="48"/>
                  </a:cxn>
                  <a:cxn ang="0">
                    <a:pos x="46" y="43"/>
                  </a:cxn>
                  <a:cxn ang="0">
                    <a:pos x="46" y="41"/>
                  </a:cxn>
                  <a:cxn ang="0">
                    <a:pos x="43" y="35"/>
                  </a:cxn>
                  <a:cxn ang="0">
                    <a:pos x="50" y="36"/>
                  </a:cxn>
                  <a:cxn ang="0">
                    <a:pos x="52" y="29"/>
                  </a:cxn>
                  <a:cxn ang="0">
                    <a:pos x="33" y="28"/>
                  </a:cxn>
                  <a:cxn ang="0">
                    <a:pos x="19" y="25"/>
                  </a:cxn>
                  <a:cxn ang="0">
                    <a:pos x="33" y="28"/>
                  </a:cxn>
                </a:cxnLst>
                <a:rect l="0" t="0" r="r" b="b"/>
                <a:pathLst>
                  <a:path w="52" h="52">
                    <a:moveTo>
                      <a:pt x="52" y="27"/>
                    </a:moveTo>
                    <a:cubicBezTo>
                      <a:pt x="52" y="27"/>
                      <a:pt x="52" y="27"/>
                      <a:pt x="51" y="27"/>
                    </a:cubicBezTo>
                    <a:cubicBezTo>
                      <a:pt x="46" y="26"/>
                      <a:pt x="46" y="26"/>
                      <a:pt x="46" y="26"/>
                    </a:cubicBezTo>
                    <a:cubicBezTo>
                      <a:pt x="46" y="23"/>
                      <a:pt x="46" y="23"/>
                      <a:pt x="46" y="23"/>
                    </a:cubicBezTo>
                    <a:cubicBezTo>
                      <a:pt x="51" y="21"/>
                      <a:pt x="51" y="21"/>
                      <a:pt x="51" y="21"/>
                    </a:cubicBezTo>
                    <a:cubicBezTo>
                      <a:pt x="51" y="21"/>
                      <a:pt x="51" y="21"/>
                      <a:pt x="52" y="20"/>
                    </a:cubicBezTo>
                    <a:cubicBezTo>
                      <a:pt x="52" y="20"/>
                      <a:pt x="52" y="20"/>
                      <a:pt x="51" y="19"/>
                    </a:cubicBezTo>
                    <a:cubicBezTo>
                      <a:pt x="49" y="13"/>
                      <a:pt x="49" y="13"/>
                      <a:pt x="49" y="13"/>
                    </a:cubicBezTo>
                    <a:cubicBezTo>
                      <a:pt x="49" y="12"/>
                      <a:pt x="48" y="12"/>
                      <a:pt x="48" y="12"/>
                    </a:cubicBezTo>
                    <a:cubicBezTo>
                      <a:pt x="48" y="12"/>
                      <a:pt x="47" y="12"/>
                      <a:pt x="47" y="12"/>
                    </a:cubicBezTo>
                    <a:cubicBezTo>
                      <a:pt x="42" y="14"/>
                      <a:pt x="42" y="14"/>
                      <a:pt x="42" y="14"/>
                    </a:cubicBezTo>
                    <a:cubicBezTo>
                      <a:pt x="40" y="13"/>
                      <a:pt x="40" y="13"/>
                      <a:pt x="40" y="13"/>
                    </a:cubicBezTo>
                    <a:cubicBezTo>
                      <a:pt x="43" y="8"/>
                      <a:pt x="43" y="8"/>
                      <a:pt x="43" y="8"/>
                    </a:cubicBezTo>
                    <a:cubicBezTo>
                      <a:pt x="43" y="7"/>
                      <a:pt x="43" y="7"/>
                      <a:pt x="43" y="7"/>
                    </a:cubicBezTo>
                    <a:cubicBezTo>
                      <a:pt x="43" y="6"/>
                      <a:pt x="43" y="6"/>
                      <a:pt x="43" y="6"/>
                    </a:cubicBezTo>
                    <a:cubicBezTo>
                      <a:pt x="37" y="2"/>
                      <a:pt x="37" y="2"/>
                      <a:pt x="37" y="2"/>
                    </a:cubicBezTo>
                    <a:cubicBezTo>
                      <a:pt x="36" y="2"/>
                      <a:pt x="35" y="2"/>
                      <a:pt x="35" y="3"/>
                    </a:cubicBezTo>
                    <a:cubicBezTo>
                      <a:pt x="32" y="7"/>
                      <a:pt x="32" y="7"/>
                      <a:pt x="32" y="7"/>
                    </a:cubicBezTo>
                    <a:cubicBezTo>
                      <a:pt x="30" y="7"/>
                      <a:pt x="30" y="7"/>
                      <a:pt x="30" y="7"/>
                    </a:cubicBezTo>
                    <a:cubicBezTo>
                      <a:pt x="29" y="1"/>
                      <a:pt x="29" y="1"/>
                      <a:pt x="29" y="1"/>
                    </a:cubicBezTo>
                    <a:cubicBezTo>
                      <a:pt x="29" y="1"/>
                      <a:pt x="29" y="1"/>
                      <a:pt x="29" y="0"/>
                    </a:cubicBezTo>
                    <a:cubicBezTo>
                      <a:pt x="28" y="0"/>
                      <a:pt x="28" y="0"/>
                      <a:pt x="27" y="0"/>
                    </a:cubicBezTo>
                    <a:cubicBezTo>
                      <a:pt x="20" y="1"/>
                      <a:pt x="20" y="1"/>
                      <a:pt x="20" y="1"/>
                    </a:cubicBezTo>
                    <a:cubicBezTo>
                      <a:pt x="20" y="1"/>
                      <a:pt x="19" y="1"/>
                      <a:pt x="19" y="2"/>
                    </a:cubicBezTo>
                    <a:cubicBezTo>
                      <a:pt x="20" y="8"/>
                      <a:pt x="20" y="8"/>
                      <a:pt x="20" y="8"/>
                    </a:cubicBezTo>
                    <a:cubicBezTo>
                      <a:pt x="18" y="9"/>
                      <a:pt x="18" y="9"/>
                      <a:pt x="18" y="9"/>
                    </a:cubicBezTo>
                    <a:cubicBezTo>
                      <a:pt x="14" y="4"/>
                      <a:pt x="14" y="4"/>
                      <a:pt x="14" y="4"/>
                    </a:cubicBezTo>
                    <a:cubicBezTo>
                      <a:pt x="13" y="4"/>
                      <a:pt x="12" y="4"/>
                      <a:pt x="12" y="4"/>
                    </a:cubicBezTo>
                    <a:cubicBezTo>
                      <a:pt x="7" y="9"/>
                      <a:pt x="7" y="9"/>
                      <a:pt x="7" y="9"/>
                    </a:cubicBezTo>
                    <a:cubicBezTo>
                      <a:pt x="6" y="9"/>
                      <a:pt x="6" y="9"/>
                      <a:pt x="6" y="10"/>
                    </a:cubicBezTo>
                    <a:cubicBezTo>
                      <a:pt x="6" y="10"/>
                      <a:pt x="6" y="11"/>
                      <a:pt x="6" y="11"/>
                    </a:cubicBezTo>
                    <a:cubicBezTo>
                      <a:pt x="10" y="15"/>
                      <a:pt x="10" y="15"/>
                      <a:pt x="10" y="15"/>
                    </a:cubicBezTo>
                    <a:cubicBezTo>
                      <a:pt x="9" y="17"/>
                      <a:pt x="9" y="17"/>
                      <a:pt x="9" y="17"/>
                    </a:cubicBezTo>
                    <a:cubicBezTo>
                      <a:pt x="3" y="16"/>
                      <a:pt x="3" y="16"/>
                      <a:pt x="3" y="16"/>
                    </a:cubicBezTo>
                    <a:cubicBezTo>
                      <a:pt x="3" y="16"/>
                      <a:pt x="3" y="16"/>
                      <a:pt x="2" y="16"/>
                    </a:cubicBezTo>
                    <a:cubicBezTo>
                      <a:pt x="2" y="16"/>
                      <a:pt x="2" y="16"/>
                      <a:pt x="2" y="17"/>
                    </a:cubicBezTo>
                    <a:cubicBezTo>
                      <a:pt x="0" y="24"/>
                      <a:pt x="0" y="24"/>
                      <a:pt x="0" y="24"/>
                    </a:cubicBezTo>
                    <a:cubicBezTo>
                      <a:pt x="0" y="24"/>
                      <a:pt x="0" y="24"/>
                      <a:pt x="0" y="25"/>
                    </a:cubicBezTo>
                    <a:cubicBezTo>
                      <a:pt x="1" y="25"/>
                      <a:pt x="1" y="25"/>
                      <a:pt x="1" y="25"/>
                    </a:cubicBezTo>
                    <a:cubicBezTo>
                      <a:pt x="7" y="27"/>
                      <a:pt x="7" y="27"/>
                      <a:pt x="7" y="27"/>
                    </a:cubicBezTo>
                    <a:cubicBezTo>
                      <a:pt x="7" y="29"/>
                      <a:pt x="7" y="29"/>
                      <a:pt x="7" y="29"/>
                    </a:cubicBezTo>
                    <a:cubicBezTo>
                      <a:pt x="2" y="31"/>
                      <a:pt x="2" y="31"/>
                      <a:pt x="2" y="31"/>
                    </a:cubicBezTo>
                    <a:cubicBezTo>
                      <a:pt x="1" y="31"/>
                      <a:pt x="1" y="32"/>
                      <a:pt x="1" y="33"/>
                    </a:cubicBezTo>
                    <a:cubicBezTo>
                      <a:pt x="4" y="39"/>
                      <a:pt x="4" y="39"/>
                      <a:pt x="4" y="39"/>
                    </a:cubicBezTo>
                    <a:cubicBezTo>
                      <a:pt x="4" y="40"/>
                      <a:pt x="4" y="40"/>
                      <a:pt x="5" y="40"/>
                    </a:cubicBezTo>
                    <a:cubicBezTo>
                      <a:pt x="5" y="40"/>
                      <a:pt x="5" y="40"/>
                      <a:pt x="6" y="40"/>
                    </a:cubicBezTo>
                    <a:cubicBezTo>
                      <a:pt x="11" y="38"/>
                      <a:pt x="11" y="38"/>
                      <a:pt x="11" y="38"/>
                    </a:cubicBezTo>
                    <a:cubicBezTo>
                      <a:pt x="12" y="40"/>
                      <a:pt x="12" y="40"/>
                      <a:pt x="12" y="40"/>
                    </a:cubicBezTo>
                    <a:cubicBezTo>
                      <a:pt x="9" y="45"/>
                      <a:pt x="9" y="45"/>
                      <a:pt x="9" y="45"/>
                    </a:cubicBezTo>
                    <a:cubicBezTo>
                      <a:pt x="9" y="45"/>
                      <a:pt x="9" y="46"/>
                      <a:pt x="10" y="47"/>
                    </a:cubicBezTo>
                    <a:cubicBezTo>
                      <a:pt x="16" y="50"/>
                      <a:pt x="16" y="50"/>
                      <a:pt x="16" y="50"/>
                    </a:cubicBezTo>
                    <a:cubicBezTo>
                      <a:pt x="16" y="50"/>
                      <a:pt x="17" y="50"/>
                      <a:pt x="17" y="50"/>
                    </a:cubicBezTo>
                    <a:cubicBezTo>
                      <a:pt x="17" y="50"/>
                      <a:pt x="18" y="50"/>
                      <a:pt x="18" y="50"/>
                    </a:cubicBezTo>
                    <a:cubicBezTo>
                      <a:pt x="21" y="45"/>
                      <a:pt x="21" y="45"/>
                      <a:pt x="21" y="45"/>
                    </a:cubicBezTo>
                    <a:cubicBezTo>
                      <a:pt x="23" y="45"/>
                      <a:pt x="23" y="45"/>
                      <a:pt x="23" y="45"/>
                    </a:cubicBezTo>
                    <a:cubicBezTo>
                      <a:pt x="23" y="51"/>
                      <a:pt x="23" y="51"/>
                      <a:pt x="23" y="51"/>
                    </a:cubicBezTo>
                    <a:cubicBezTo>
                      <a:pt x="23" y="51"/>
                      <a:pt x="24" y="52"/>
                      <a:pt x="24" y="52"/>
                    </a:cubicBezTo>
                    <a:cubicBezTo>
                      <a:pt x="24" y="52"/>
                      <a:pt x="24" y="52"/>
                      <a:pt x="24" y="52"/>
                    </a:cubicBezTo>
                    <a:cubicBezTo>
                      <a:pt x="25" y="52"/>
                      <a:pt x="25" y="52"/>
                      <a:pt x="25" y="52"/>
                    </a:cubicBezTo>
                    <a:cubicBezTo>
                      <a:pt x="32" y="52"/>
                      <a:pt x="32" y="52"/>
                      <a:pt x="32" y="52"/>
                    </a:cubicBezTo>
                    <a:cubicBezTo>
                      <a:pt x="32" y="52"/>
                      <a:pt x="33" y="51"/>
                      <a:pt x="33" y="51"/>
                    </a:cubicBezTo>
                    <a:cubicBezTo>
                      <a:pt x="33" y="51"/>
                      <a:pt x="33" y="50"/>
                      <a:pt x="33" y="50"/>
                    </a:cubicBezTo>
                    <a:cubicBezTo>
                      <a:pt x="33" y="44"/>
                      <a:pt x="33" y="44"/>
                      <a:pt x="33" y="44"/>
                    </a:cubicBezTo>
                    <a:cubicBezTo>
                      <a:pt x="35" y="44"/>
                      <a:pt x="35" y="44"/>
                      <a:pt x="35" y="44"/>
                    </a:cubicBezTo>
                    <a:cubicBezTo>
                      <a:pt x="39" y="48"/>
                      <a:pt x="39" y="48"/>
                      <a:pt x="39" y="48"/>
                    </a:cubicBezTo>
                    <a:cubicBezTo>
                      <a:pt x="39" y="48"/>
                      <a:pt x="39" y="48"/>
                      <a:pt x="40" y="48"/>
                    </a:cubicBezTo>
                    <a:cubicBezTo>
                      <a:pt x="40" y="48"/>
                      <a:pt x="40" y="48"/>
                      <a:pt x="41" y="48"/>
                    </a:cubicBezTo>
                    <a:cubicBezTo>
                      <a:pt x="46" y="43"/>
                      <a:pt x="46" y="43"/>
                      <a:pt x="46" y="43"/>
                    </a:cubicBezTo>
                    <a:cubicBezTo>
                      <a:pt x="46" y="43"/>
                      <a:pt x="46" y="43"/>
                      <a:pt x="46" y="42"/>
                    </a:cubicBezTo>
                    <a:cubicBezTo>
                      <a:pt x="46" y="42"/>
                      <a:pt x="46" y="42"/>
                      <a:pt x="46" y="41"/>
                    </a:cubicBezTo>
                    <a:cubicBezTo>
                      <a:pt x="42" y="37"/>
                      <a:pt x="42" y="37"/>
                      <a:pt x="42" y="37"/>
                    </a:cubicBezTo>
                    <a:cubicBezTo>
                      <a:pt x="43" y="35"/>
                      <a:pt x="43" y="35"/>
                      <a:pt x="43" y="35"/>
                    </a:cubicBezTo>
                    <a:cubicBezTo>
                      <a:pt x="49" y="36"/>
                      <a:pt x="49" y="36"/>
                      <a:pt x="49" y="36"/>
                    </a:cubicBezTo>
                    <a:cubicBezTo>
                      <a:pt x="49" y="37"/>
                      <a:pt x="50" y="36"/>
                      <a:pt x="50" y="36"/>
                    </a:cubicBezTo>
                    <a:cubicBezTo>
                      <a:pt x="50" y="36"/>
                      <a:pt x="51" y="36"/>
                      <a:pt x="51" y="35"/>
                    </a:cubicBezTo>
                    <a:cubicBezTo>
                      <a:pt x="52" y="29"/>
                      <a:pt x="52" y="29"/>
                      <a:pt x="52" y="29"/>
                    </a:cubicBezTo>
                    <a:cubicBezTo>
                      <a:pt x="52" y="28"/>
                      <a:pt x="52" y="28"/>
                      <a:pt x="52" y="27"/>
                    </a:cubicBezTo>
                    <a:close/>
                    <a:moveTo>
                      <a:pt x="33" y="28"/>
                    </a:moveTo>
                    <a:cubicBezTo>
                      <a:pt x="32" y="31"/>
                      <a:pt x="28" y="34"/>
                      <a:pt x="25" y="33"/>
                    </a:cubicBezTo>
                    <a:cubicBezTo>
                      <a:pt x="21" y="32"/>
                      <a:pt x="18" y="28"/>
                      <a:pt x="19" y="25"/>
                    </a:cubicBezTo>
                    <a:cubicBezTo>
                      <a:pt x="20" y="21"/>
                      <a:pt x="24" y="18"/>
                      <a:pt x="28" y="19"/>
                    </a:cubicBezTo>
                    <a:cubicBezTo>
                      <a:pt x="32" y="20"/>
                      <a:pt x="34" y="24"/>
                      <a:pt x="33" y="28"/>
                    </a:cubicBez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sp>
            <p:nvSpPr>
              <p:cNvPr id="9" name="Freeform 27"/>
              <p:cNvSpPr>
                <a:spLocks noEditPoints="1"/>
              </p:cNvSpPr>
              <p:nvPr/>
            </p:nvSpPr>
            <p:spPr bwMode="auto">
              <a:xfrm>
                <a:off x="4230298" y="6601211"/>
                <a:ext cx="416038" cy="419204"/>
              </a:xfrm>
              <a:custGeom>
                <a:avLst/>
                <a:gdLst/>
                <a:ahLst/>
                <a:cxnLst>
                  <a:cxn ang="0">
                    <a:pos x="33" y="29"/>
                  </a:cxn>
                  <a:cxn ang="0">
                    <a:pos x="31" y="24"/>
                  </a:cxn>
                  <a:cxn ang="0">
                    <a:pos x="36" y="25"/>
                  </a:cxn>
                  <a:cxn ang="0">
                    <a:pos x="37" y="20"/>
                  </a:cxn>
                  <a:cxn ang="0">
                    <a:pos x="36" y="18"/>
                  </a:cxn>
                  <a:cxn ang="0">
                    <a:pos x="32" y="16"/>
                  </a:cxn>
                  <a:cxn ang="0">
                    <a:pos x="37" y="14"/>
                  </a:cxn>
                  <a:cxn ang="0">
                    <a:pos x="35" y="9"/>
                  </a:cxn>
                  <a:cxn ang="0">
                    <a:pos x="30" y="10"/>
                  </a:cxn>
                  <a:cxn ang="0">
                    <a:pos x="31" y="5"/>
                  </a:cxn>
                  <a:cxn ang="0">
                    <a:pos x="30" y="4"/>
                  </a:cxn>
                  <a:cxn ang="0">
                    <a:pos x="24" y="2"/>
                  </a:cxn>
                  <a:cxn ang="0">
                    <a:pos x="21" y="5"/>
                  </a:cxn>
                  <a:cxn ang="0">
                    <a:pos x="19" y="0"/>
                  </a:cxn>
                  <a:cxn ang="0">
                    <a:pos x="14" y="1"/>
                  </a:cxn>
                  <a:cxn ang="0">
                    <a:pos x="14" y="5"/>
                  </a:cxn>
                  <a:cxn ang="0">
                    <a:pos x="10" y="3"/>
                  </a:cxn>
                  <a:cxn ang="0">
                    <a:pos x="8" y="3"/>
                  </a:cxn>
                  <a:cxn ang="0">
                    <a:pos x="4" y="7"/>
                  </a:cxn>
                  <a:cxn ang="0">
                    <a:pos x="7" y="11"/>
                  </a:cxn>
                  <a:cxn ang="0">
                    <a:pos x="3" y="11"/>
                  </a:cxn>
                  <a:cxn ang="0">
                    <a:pos x="0" y="17"/>
                  </a:cxn>
                  <a:cxn ang="0">
                    <a:pos x="1" y="18"/>
                  </a:cxn>
                  <a:cxn ang="0">
                    <a:pos x="5" y="20"/>
                  </a:cxn>
                  <a:cxn ang="0">
                    <a:pos x="1" y="23"/>
                  </a:cxn>
                  <a:cxn ang="0">
                    <a:pos x="4" y="28"/>
                  </a:cxn>
                  <a:cxn ang="0">
                    <a:pos x="8" y="27"/>
                  </a:cxn>
                  <a:cxn ang="0">
                    <a:pos x="7" y="31"/>
                  </a:cxn>
                  <a:cxn ang="0">
                    <a:pos x="7" y="33"/>
                  </a:cxn>
                  <a:cxn ang="0">
                    <a:pos x="12" y="35"/>
                  </a:cxn>
                  <a:cxn ang="0">
                    <a:pos x="13" y="35"/>
                  </a:cxn>
                  <a:cxn ang="0">
                    <a:pos x="17" y="32"/>
                  </a:cxn>
                  <a:cxn ang="0">
                    <a:pos x="17" y="37"/>
                  </a:cxn>
                  <a:cxn ang="0">
                    <a:pos x="23" y="36"/>
                  </a:cxn>
                  <a:cxn ang="0">
                    <a:pos x="24" y="35"/>
                  </a:cxn>
                  <a:cxn ang="0">
                    <a:pos x="25" y="31"/>
                  </a:cxn>
                  <a:cxn ang="0">
                    <a:pos x="28" y="34"/>
                  </a:cxn>
                  <a:cxn ang="0">
                    <a:pos x="33" y="30"/>
                  </a:cxn>
                  <a:cxn ang="0">
                    <a:pos x="22" y="22"/>
                  </a:cxn>
                  <a:cxn ang="0">
                    <a:pos x="15" y="15"/>
                  </a:cxn>
                  <a:cxn ang="0">
                    <a:pos x="22" y="22"/>
                  </a:cxn>
                </a:cxnLst>
                <a:rect l="0" t="0" r="r" b="b"/>
                <a:pathLst>
                  <a:path w="37" h="37">
                    <a:moveTo>
                      <a:pt x="33" y="29"/>
                    </a:moveTo>
                    <a:cubicBezTo>
                      <a:pt x="33" y="29"/>
                      <a:pt x="33" y="29"/>
                      <a:pt x="33" y="29"/>
                    </a:cubicBezTo>
                    <a:cubicBezTo>
                      <a:pt x="30" y="26"/>
                      <a:pt x="30" y="26"/>
                      <a:pt x="30" y="26"/>
                    </a:cubicBezTo>
                    <a:cubicBezTo>
                      <a:pt x="31" y="24"/>
                      <a:pt x="31" y="24"/>
                      <a:pt x="31" y="24"/>
                    </a:cubicBezTo>
                    <a:cubicBezTo>
                      <a:pt x="35" y="25"/>
                      <a:pt x="35" y="25"/>
                      <a:pt x="35" y="25"/>
                    </a:cubicBezTo>
                    <a:cubicBezTo>
                      <a:pt x="35" y="25"/>
                      <a:pt x="36" y="25"/>
                      <a:pt x="36" y="25"/>
                    </a:cubicBezTo>
                    <a:cubicBezTo>
                      <a:pt x="36" y="25"/>
                      <a:pt x="36" y="25"/>
                      <a:pt x="36" y="24"/>
                    </a:cubicBezTo>
                    <a:cubicBezTo>
                      <a:pt x="37" y="20"/>
                      <a:pt x="37" y="20"/>
                      <a:pt x="37" y="20"/>
                    </a:cubicBezTo>
                    <a:cubicBezTo>
                      <a:pt x="37" y="19"/>
                      <a:pt x="37" y="19"/>
                      <a:pt x="37" y="19"/>
                    </a:cubicBezTo>
                    <a:cubicBezTo>
                      <a:pt x="37" y="19"/>
                      <a:pt x="37" y="18"/>
                      <a:pt x="36" y="18"/>
                    </a:cubicBezTo>
                    <a:cubicBezTo>
                      <a:pt x="33" y="18"/>
                      <a:pt x="33" y="18"/>
                      <a:pt x="33" y="18"/>
                    </a:cubicBezTo>
                    <a:cubicBezTo>
                      <a:pt x="32" y="16"/>
                      <a:pt x="32" y="16"/>
                      <a:pt x="32" y="16"/>
                    </a:cubicBezTo>
                    <a:cubicBezTo>
                      <a:pt x="36" y="14"/>
                      <a:pt x="36" y="14"/>
                      <a:pt x="36" y="14"/>
                    </a:cubicBezTo>
                    <a:cubicBezTo>
                      <a:pt x="36" y="14"/>
                      <a:pt x="37" y="14"/>
                      <a:pt x="37" y="14"/>
                    </a:cubicBezTo>
                    <a:cubicBezTo>
                      <a:pt x="37" y="14"/>
                      <a:pt x="37" y="13"/>
                      <a:pt x="37" y="13"/>
                    </a:cubicBezTo>
                    <a:cubicBezTo>
                      <a:pt x="35" y="9"/>
                      <a:pt x="35" y="9"/>
                      <a:pt x="35" y="9"/>
                    </a:cubicBezTo>
                    <a:cubicBezTo>
                      <a:pt x="34" y="8"/>
                      <a:pt x="34" y="8"/>
                      <a:pt x="33" y="8"/>
                    </a:cubicBezTo>
                    <a:cubicBezTo>
                      <a:pt x="30" y="10"/>
                      <a:pt x="30" y="10"/>
                      <a:pt x="30" y="10"/>
                    </a:cubicBezTo>
                    <a:cubicBezTo>
                      <a:pt x="29" y="8"/>
                      <a:pt x="29" y="8"/>
                      <a:pt x="29" y="8"/>
                    </a:cubicBezTo>
                    <a:cubicBezTo>
                      <a:pt x="31" y="5"/>
                      <a:pt x="31" y="5"/>
                      <a:pt x="31" y="5"/>
                    </a:cubicBezTo>
                    <a:cubicBezTo>
                      <a:pt x="31" y="5"/>
                      <a:pt x="31" y="4"/>
                      <a:pt x="31" y="4"/>
                    </a:cubicBezTo>
                    <a:cubicBezTo>
                      <a:pt x="31" y="4"/>
                      <a:pt x="30" y="4"/>
                      <a:pt x="30" y="4"/>
                    </a:cubicBezTo>
                    <a:cubicBezTo>
                      <a:pt x="26" y="1"/>
                      <a:pt x="26" y="1"/>
                      <a:pt x="26" y="1"/>
                    </a:cubicBezTo>
                    <a:cubicBezTo>
                      <a:pt x="25" y="1"/>
                      <a:pt x="25" y="1"/>
                      <a:pt x="24" y="2"/>
                    </a:cubicBezTo>
                    <a:cubicBezTo>
                      <a:pt x="22" y="5"/>
                      <a:pt x="22" y="5"/>
                      <a:pt x="22" y="5"/>
                    </a:cubicBezTo>
                    <a:cubicBezTo>
                      <a:pt x="21" y="5"/>
                      <a:pt x="21" y="5"/>
                      <a:pt x="21" y="5"/>
                    </a:cubicBezTo>
                    <a:cubicBezTo>
                      <a:pt x="21" y="1"/>
                      <a:pt x="21" y="1"/>
                      <a:pt x="21" y="1"/>
                    </a:cubicBezTo>
                    <a:cubicBezTo>
                      <a:pt x="20" y="0"/>
                      <a:pt x="20" y="0"/>
                      <a:pt x="19" y="0"/>
                    </a:cubicBezTo>
                    <a:cubicBezTo>
                      <a:pt x="14" y="0"/>
                      <a:pt x="14" y="0"/>
                      <a:pt x="14" y="0"/>
                    </a:cubicBezTo>
                    <a:cubicBezTo>
                      <a:pt x="14" y="0"/>
                      <a:pt x="14" y="0"/>
                      <a:pt x="14" y="1"/>
                    </a:cubicBezTo>
                    <a:cubicBezTo>
                      <a:pt x="14" y="1"/>
                      <a:pt x="14" y="1"/>
                      <a:pt x="14" y="1"/>
                    </a:cubicBezTo>
                    <a:cubicBezTo>
                      <a:pt x="14" y="5"/>
                      <a:pt x="14" y="5"/>
                      <a:pt x="14" y="5"/>
                    </a:cubicBezTo>
                    <a:cubicBezTo>
                      <a:pt x="13" y="6"/>
                      <a:pt x="13" y="6"/>
                      <a:pt x="13" y="6"/>
                    </a:cubicBezTo>
                    <a:cubicBezTo>
                      <a:pt x="10" y="3"/>
                      <a:pt x="10" y="3"/>
                      <a:pt x="10" y="3"/>
                    </a:cubicBezTo>
                    <a:cubicBezTo>
                      <a:pt x="10" y="3"/>
                      <a:pt x="9" y="3"/>
                      <a:pt x="9" y="3"/>
                    </a:cubicBezTo>
                    <a:cubicBezTo>
                      <a:pt x="9" y="3"/>
                      <a:pt x="9" y="3"/>
                      <a:pt x="8" y="3"/>
                    </a:cubicBezTo>
                    <a:cubicBezTo>
                      <a:pt x="5" y="6"/>
                      <a:pt x="5" y="6"/>
                      <a:pt x="5" y="6"/>
                    </a:cubicBezTo>
                    <a:cubicBezTo>
                      <a:pt x="5" y="6"/>
                      <a:pt x="4" y="7"/>
                      <a:pt x="4" y="7"/>
                    </a:cubicBezTo>
                    <a:cubicBezTo>
                      <a:pt x="4" y="7"/>
                      <a:pt x="4" y="8"/>
                      <a:pt x="5" y="8"/>
                    </a:cubicBezTo>
                    <a:cubicBezTo>
                      <a:pt x="7" y="11"/>
                      <a:pt x="7" y="11"/>
                      <a:pt x="7" y="11"/>
                    </a:cubicBezTo>
                    <a:cubicBezTo>
                      <a:pt x="7" y="12"/>
                      <a:pt x="7" y="12"/>
                      <a:pt x="7" y="12"/>
                    </a:cubicBezTo>
                    <a:cubicBezTo>
                      <a:pt x="3" y="11"/>
                      <a:pt x="3" y="11"/>
                      <a:pt x="3" y="11"/>
                    </a:cubicBezTo>
                    <a:cubicBezTo>
                      <a:pt x="2" y="11"/>
                      <a:pt x="2" y="11"/>
                      <a:pt x="1" y="12"/>
                    </a:cubicBezTo>
                    <a:cubicBezTo>
                      <a:pt x="0" y="17"/>
                      <a:pt x="0" y="17"/>
                      <a:pt x="0" y="17"/>
                    </a:cubicBezTo>
                    <a:cubicBezTo>
                      <a:pt x="0" y="17"/>
                      <a:pt x="0" y="17"/>
                      <a:pt x="1" y="18"/>
                    </a:cubicBezTo>
                    <a:cubicBezTo>
                      <a:pt x="1" y="18"/>
                      <a:pt x="1" y="18"/>
                      <a:pt x="1" y="18"/>
                    </a:cubicBezTo>
                    <a:cubicBezTo>
                      <a:pt x="5" y="19"/>
                      <a:pt x="5" y="19"/>
                      <a:pt x="5" y="19"/>
                    </a:cubicBezTo>
                    <a:cubicBezTo>
                      <a:pt x="5" y="20"/>
                      <a:pt x="5" y="20"/>
                      <a:pt x="5" y="20"/>
                    </a:cubicBezTo>
                    <a:cubicBezTo>
                      <a:pt x="2" y="22"/>
                      <a:pt x="2" y="22"/>
                      <a:pt x="2" y="22"/>
                    </a:cubicBezTo>
                    <a:cubicBezTo>
                      <a:pt x="1" y="22"/>
                      <a:pt x="1" y="23"/>
                      <a:pt x="1" y="23"/>
                    </a:cubicBezTo>
                    <a:cubicBezTo>
                      <a:pt x="3" y="28"/>
                      <a:pt x="3" y="28"/>
                      <a:pt x="3" y="28"/>
                    </a:cubicBezTo>
                    <a:cubicBezTo>
                      <a:pt x="3" y="28"/>
                      <a:pt x="3" y="28"/>
                      <a:pt x="4" y="28"/>
                    </a:cubicBezTo>
                    <a:cubicBezTo>
                      <a:pt x="4" y="29"/>
                      <a:pt x="4" y="29"/>
                      <a:pt x="4" y="28"/>
                    </a:cubicBezTo>
                    <a:cubicBezTo>
                      <a:pt x="8" y="27"/>
                      <a:pt x="8" y="27"/>
                      <a:pt x="8" y="27"/>
                    </a:cubicBezTo>
                    <a:cubicBezTo>
                      <a:pt x="9" y="28"/>
                      <a:pt x="9" y="28"/>
                      <a:pt x="9" y="28"/>
                    </a:cubicBezTo>
                    <a:cubicBezTo>
                      <a:pt x="7" y="31"/>
                      <a:pt x="7" y="31"/>
                      <a:pt x="7" y="31"/>
                    </a:cubicBezTo>
                    <a:cubicBezTo>
                      <a:pt x="7" y="32"/>
                      <a:pt x="7" y="32"/>
                      <a:pt x="7" y="32"/>
                    </a:cubicBezTo>
                    <a:cubicBezTo>
                      <a:pt x="7" y="32"/>
                      <a:pt x="7" y="33"/>
                      <a:pt x="7" y="33"/>
                    </a:cubicBezTo>
                    <a:cubicBezTo>
                      <a:pt x="7" y="33"/>
                      <a:pt x="7" y="33"/>
                      <a:pt x="7" y="33"/>
                    </a:cubicBezTo>
                    <a:cubicBezTo>
                      <a:pt x="12" y="35"/>
                      <a:pt x="12" y="35"/>
                      <a:pt x="12" y="35"/>
                    </a:cubicBezTo>
                    <a:cubicBezTo>
                      <a:pt x="12" y="35"/>
                      <a:pt x="12" y="35"/>
                      <a:pt x="13" y="35"/>
                    </a:cubicBezTo>
                    <a:cubicBezTo>
                      <a:pt x="13" y="35"/>
                      <a:pt x="13" y="35"/>
                      <a:pt x="13" y="35"/>
                    </a:cubicBezTo>
                    <a:cubicBezTo>
                      <a:pt x="15" y="31"/>
                      <a:pt x="15" y="31"/>
                      <a:pt x="15" y="31"/>
                    </a:cubicBezTo>
                    <a:cubicBezTo>
                      <a:pt x="17" y="32"/>
                      <a:pt x="17" y="32"/>
                      <a:pt x="17" y="32"/>
                    </a:cubicBezTo>
                    <a:cubicBezTo>
                      <a:pt x="17" y="36"/>
                      <a:pt x="17" y="36"/>
                      <a:pt x="17" y="36"/>
                    </a:cubicBezTo>
                    <a:cubicBezTo>
                      <a:pt x="17" y="36"/>
                      <a:pt x="17" y="36"/>
                      <a:pt x="17" y="37"/>
                    </a:cubicBezTo>
                    <a:cubicBezTo>
                      <a:pt x="18" y="37"/>
                      <a:pt x="18" y="37"/>
                      <a:pt x="18" y="37"/>
                    </a:cubicBezTo>
                    <a:cubicBezTo>
                      <a:pt x="23" y="36"/>
                      <a:pt x="23" y="36"/>
                      <a:pt x="23" y="36"/>
                    </a:cubicBezTo>
                    <a:cubicBezTo>
                      <a:pt x="23" y="36"/>
                      <a:pt x="24" y="36"/>
                      <a:pt x="24" y="36"/>
                    </a:cubicBezTo>
                    <a:cubicBezTo>
                      <a:pt x="24" y="36"/>
                      <a:pt x="24" y="35"/>
                      <a:pt x="24" y="35"/>
                    </a:cubicBezTo>
                    <a:cubicBezTo>
                      <a:pt x="24" y="31"/>
                      <a:pt x="24" y="31"/>
                      <a:pt x="24" y="31"/>
                    </a:cubicBezTo>
                    <a:cubicBezTo>
                      <a:pt x="25" y="31"/>
                      <a:pt x="25" y="31"/>
                      <a:pt x="25" y="31"/>
                    </a:cubicBezTo>
                    <a:cubicBezTo>
                      <a:pt x="28" y="33"/>
                      <a:pt x="28" y="33"/>
                      <a:pt x="28" y="33"/>
                    </a:cubicBezTo>
                    <a:cubicBezTo>
                      <a:pt x="28" y="34"/>
                      <a:pt x="28" y="34"/>
                      <a:pt x="28" y="34"/>
                    </a:cubicBezTo>
                    <a:cubicBezTo>
                      <a:pt x="29" y="34"/>
                      <a:pt x="29" y="34"/>
                      <a:pt x="29" y="34"/>
                    </a:cubicBezTo>
                    <a:cubicBezTo>
                      <a:pt x="33" y="30"/>
                      <a:pt x="33" y="30"/>
                      <a:pt x="33" y="30"/>
                    </a:cubicBezTo>
                    <a:cubicBezTo>
                      <a:pt x="33" y="30"/>
                      <a:pt x="33" y="30"/>
                      <a:pt x="33" y="29"/>
                    </a:cubicBezTo>
                    <a:close/>
                    <a:moveTo>
                      <a:pt x="22" y="22"/>
                    </a:moveTo>
                    <a:cubicBezTo>
                      <a:pt x="20" y="24"/>
                      <a:pt x="17" y="24"/>
                      <a:pt x="15" y="22"/>
                    </a:cubicBezTo>
                    <a:cubicBezTo>
                      <a:pt x="13" y="20"/>
                      <a:pt x="13" y="16"/>
                      <a:pt x="15" y="15"/>
                    </a:cubicBezTo>
                    <a:cubicBezTo>
                      <a:pt x="17" y="13"/>
                      <a:pt x="21" y="13"/>
                      <a:pt x="23" y="15"/>
                    </a:cubicBezTo>
                    <a:cubicBezTo>
                      <a:pt x="24" y="17"/>
                      <a:pt x="24" y="20"/>
                      <a:pt x="22" y="22"/>
                    </a:cubicBez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grpSp>
      </p:grpSp>
      <p:sp>
        <p:nvSpPr>
          <p:cNvPr id="22" name="Title 1"/>
          <p:cNvSpPr txBox="1">
            <a:spLocks/>
          </p:cNvSpPr>
          <p:nvPr/>
        </p:nvSpPr>
        <p:spPr bwMode="auto">
          <a:xfrm>
            <a:off x="2673979" y="1755418"/>
            <a:ext cx="3992731" cy="819454"/>
          </a:xfrm>
          <a:prstGeom prst="rect">
            <a:avLst/>
          </a:prstGeom>
          <a:noFill/>
          <a:ln w="9525">
            <a:noFill/>
            <a:miter lim="800000"/>
            <a:headEnd/>
            <a:tailEnd/>
          </a:ln>
        </p:spPr>
        <p:txBody>
          <a:bodyPr anchor="ctr"/>
          <a:lstStyle/>
          <a:p>
            <a:pPr>
              <a:defRPr/>
            </a:pPr>
            <a:r>
              <a:rPr lang="en-US" sz="3200" b="1" kern="0" dirty="0" err="1" smtClean="0">
                <a:latin typeface="Agency FB" pitchFamily="34" charset="0"/>
                <a:cs typeface="Arial" pitchFamily="34" charset="0"/>
              </a:rPr>
              <a:t>Prapenilaian</a:t>
            </a:r>
            <a:endParaRPr lang="en-US" sz="3200" b="1" kern="0" dirty="0">
              <a:latin typeface="Agency FB" pitchFamily="34" charset="0"/>
              <a:cs typeface="Arial" pitchFamily="34" charset="0"/>
            </a:endParaRPr>
          </a:p>
        </p:txBody>
      </p:sp>
      <p:sp>
        <p:nvSpPr>
          <p:cNvPr id="23" name="Title 1"/>
          <p:cNvSpPr txBox="1">
            <a:spLocks/>
          </p:cNvSpPr>
          <p:nvPr/>
        </p:nvSpPr>
        <p:spPr bwMode="auto">
          <a:xfrm>
            <a:off x="3290958" y="3411596"/>
            <a:ext cx="3992731" cy="819454"/>
          </a:xfrm>
          <a:prstGeom prst="rect">
            <a:avLst/>
          </a:prstGeom>
          <a:noFill/>
          <a:ln w="9525">
            <a:noFill/>
            <a:miter lim="800000"/>
            <a:headEnd/>
            <a:tailEnd/>
          </a:ln>
        </p:spPr>
        <p:txBody>
          <a:bodyPr anchor="ctr"/>
          <a:lstStyle/>
          <a:p>
            <a:pPr>
              <a:defRPr/>
            </a:pPr>
            <a:r>
              <a:rPr lang="en-US" sz="3200" b="1" kern="0" dirty="0" err="1" smtClean="0">
                <a:latin typeface="Agency FB" pitchFamily="34" charset="0"/>
                <a:cs typeface="Arial" pitchFamily="34" charset="0"/>
              </a:rPr>
              <a:t>Semasa</a:t>
            </a:r>
            <a:r>
              <a:rPr lang="en-US" sz="3200" b="1" kern="0" dirty="0">
                <a:latin typeface="Agency FB" pitchFamily="34" charset="0"/>
                <a:cs typeface="Arial" pitchFamily="34" charset="0"/>
              </a:rPr>
              <a:t> </a:t>
            </a:r>
            <a:r>
              <a:rPr lang="en-US" sz="3200" b="1" kern="0" dirty="0" err="1" smtClean="0">
                <a:latin typeface="Agency FB" pitchFamily="34" charset="0"/>
                <a:cs typeface="Arial" pitchFamily="34" charset="0"/>
              </a:rPr>
              <a:t>Penilaian</a:t>
            </a:r>
            <a:endParaRPr lang="en-US" sz="3200" b="1" kern="0" dirty="0">
              <a:latin typeface="Agency FB" pitchFamily="34" charset="0"/>
              <a:cs typeface="Arial" pitchFamily="34" charset="0"/>
            </a:endParaRPr>
          </a:p>
        </p:txBody>
      </p:sp>
      <p:sp>
        <p:nvSpPr>
          <p:cNvPr id="24" name="Title 1"/>
          <p:cNvSpPr txBox="1">
            <a:spLocks/>
          </p:cNvSpPr>
          <p:nvPr/>
        </p:nvSpPr>
        <p:spPr bwMode="auto">
          <a:xfrm>
            <a:off x="2673979" y="5093568"/>
            <a:ext cx="3992731" cy="819454"/>
          </a:xfrm>
          <a:prstGeom prst="rect">
            <a:avLst/>
          </a:prstGeom>
          <a:noFill/>
          <a:ln w="9525">
            <a:noFill/>
            <a:miter lim="800000"/>
            <a:headEnd/>
            <a:tailEnd/>
          </a:ln>
        </p:spPr>
        <p:txBody>
          <a:bodyPr anchor="ctr"/>
          <a:lstStyle/>
          <a:p>
            <a:pPr>
              <a:defRPr/>
            </a:pPr>
            <a:r>
              <a:rPr lang="en-US" sz="3200" b="1" kern="0" dirty="0" err="1" smtClean="0">
                <a:latin typeface="Agency FB" pitchFamily="34" charset="0"/>
                <a:cs typeface="Arial" pitchFamily="34" charset="0"/>
              </a:rPr>
              <a:t>Pasca</a:t>
            </a:r>
            <a:r>
              <a:rPr lang="en-US" sz="3200" b="1" kern="0" dirty="0" smtClean="0">
                <a:latin typeface="Agency FB" pitchFamily="34" charset="0"/>
                <a:cs typeface="Arial" pitchFamily="34" charset="0"/>
              </a:rPr>
              <a:t> </a:t>
            </a:r>
            <a:r>
              <a:rPr lang="en-US" sz="3200" b="1" kern="0" dirty="0" err="1">
                <a:latin typeface="Agency FB" pitchFamily="34" charset="0"/>
                <a:cs typeface="Arial" pitchFamily="34" charset="0"/>
              </a:rPr>
              <a:t>P</a:t>
            </a:r>
            <a:r>
              <a:rPr lang="en-US" sz="3200" b="1" kern="0" dirty="0" err="1" smtClean="0">
                <a:latin typeface="Agency FB" pitchFamily="34" charset="0"/>
                <a:cs typeface="Arial" pitchFamily="34" charset="0"/>
              </a:rPr>
              <a:t>enilaian</a:t>
            </a:r>
            <a:endParaRPr lang="en-US" sz="3200" b="1" kern="0" dirty="0">
              <a:latin typeface="Agency FB" pitchFamily="34" charset="0"/>
              <a:cs typeface="Arial" pitchFamily="34" charset="0"/>
            </a:endParaRPr>
          </a:p>
        </p:txBody>
      </p:sp>
      <p:sp>
        <p:nvSpPr>
          <p:cNvPr id="25" name="Rectangle 24"/>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TUGAS PEGAWAI PENILAI</a:t>
            </a:r>
            <a:endParaRPr lang="en-US" sz="2800" b="1" dirty="0">
              <a:solidFill>
                <a:schemeClr val="bg1"/>
              </a:solidFill>
              <a:latin typeface="Segoe UI" pitchFamily="34" charset="0"/>
              <a:ea typeface="Segoe UI" pitchFamily="34" charset="0"/>
              <a:cs typeface="Segoe UI" pitchFamily="34" charset="0"/>
            </a:endParaRPr>
          </a:p>
        </p:txBody>
      </p:sp>
      <p:grpSp>
        <p:nvGrpSpPr>
          <p:cNvPr id="10" name="Group 40"/>
          <p:cNvGrpSpPr/>
          <p:nvPr/>
        </p:nvGrpSpPr>
        <p:grpSpPr>
          <a:xfrm>
            <a:off x="1511180" y="3265964"/>
            <a:ext cx="1457795" cy="1318382"/>
            <a:chOff x="1565920" y="3320709"/>
            <a:chExt cx="1457795" cy="1318382"/>
          </a:xfrm>
        </p:grpSpPr>
        <p:grpSp>
          <p:nvGrpSpPr>
            <p:cNvPr id="14" name="Group 36"/>
            <p:cNvGrpSpPr/>
            <p:nvPr/>
          </p:nvGrpSpPr>
          <p:grpSpPr>
            <a:xfrm>
              <a:off x="1565920" y="3320709"/>
              <a:ext cx="1457795" cy="1318382"/>
              <a:chOff x="6089820" y="2277827"/>
              <a:chExt cx="1457795" cy="1318382"/>
            </a:xfrm>
          </p:grpSpPr>
          <p:sp>
            <p:nvSpPr>
              <p:cNvPr id="38" name="Oval 37"/>
              <p:cNvSpPr/>
              <p:nvPr/>
            </p:nvSpPr>
            <p:spPr>
              <a:xfrm>
                <a:off x="6207299" y="2358065"/>
                <a:ext cx="1296524" cy="1160563"/>
              </a:xfrm>
              <a:prstGeom prst="ellipse">
                <a:avLst/>
              </a:prstGeom>
              <a:solidFill>
                <a:schemeClr val="bg1">
                  <a:alpha val="9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Donut 13"/>
              <p:cNvSpPr>
                <a:spLocks noChangeArrowheads="1"/>
              </p:cNvSpPr>
              <p:nvPr/>
            </p:nvSpPr>
            <p:spPr bwMode="auto">
              <a:xfrm flipV="1">
                <a:off x="6089820" y="2277827"/>
                <a:ext cx="1457795" cy="1318382"/>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gradFill rotWithShape="1">
                <a:gsLst>
                  <a:gs pos="0">
                    <a:srgbClr val="00B0F0"/>
                  </a:gs>
                  <a:gs pos="100000">
                    <a:srgbClr val="0070C0"/>
                  </a:gs>
                </a:gsLst>
                <a:lin ang="16200000"/>
              </a:gradFill>
              <a:ln w="9525">
                <a:noFill/>
                <a:miter lim="800000"/>
                <a:headEnd/>
                <a:tailEnd/>
              </a:ln>
              <a:effectLst>
                <a:outerShdw blurRad="63500" dist="23000" dir="5400000" rotWithShape="0">
                  <a:srgbClr val="000000">
                    <a:alpha val="34999"/>
                  </a:srgbClr>
                </a:outerShdw>
              </a:effectLst>
            </p:spPr>
            <p:txBody>
              <a:bodyPr anchor="ctr"/>
              <a:lstStyle/>
              <a:p>
                <a:pPr algn="ctr">
                  <a:defRPr/>
                </a:pPr>
                <a:endParaRPr lang="en-US" sz="2000" dirty="0">
                  <a:latin typeface=""/>
                  <a:ea typeface="+mn-ea"/>
                </a:endParaRPr>
              </a:p>
            </p:txBody>
          </p:sp>
        </p:grpSp>
        <p:grpSp>
          <p:nvGrpSpPr>
            <p:cNvPr id="16" name="Gruppe 66"/>
            <p:cNvGrpSpPr/>
            <p:nvPr/>
          </p:nvGrpSpPr>
          <p:grpSpPr bwMode="auto">
            <a:xfrm>
              <a:off x="1947096" y="3617437"/>
              <a:ext cx="737831" cy="670548"/>
              <a:chOff x="6412334" y="468369"/>
              <a:chExt cx="785176" cy="787474"/>
            </a:xfrm>
            <a:solidFill>
              <a:srgbClr val="000000"/>
            </a:solidFill>
          </p:grpSpPr>
          <p:sp>
            <p:nvSpPr>
              <p:cNvPr id="11" name="Freeform 36"/>
              <p:cNvSpPr>
                <a:spLocks/>
              </p:cNvSpPr>
              <p:nvPr/>
            </p:nvSpPr>
            <p:spPr bwMode="auto">
              <a:xfrm>
                <a:off x="6714219" y="874177"/>
                <a:ext cx="190813" cy="381664"/>
              </a:xfrm>
              <a:custGeom>
                <a:avLst/>
                <a:gdLst/>
                <a:ahLst/>
                <a:cxnLst>
                  <a:cxn ang="0">
                    <a:pos x="17" y="30"/>
                  </a:cxn>
                  <a:cxn ang="0">
                    <a:pos x="14" y="34"/>
                  </a:cxn>
                  <a:cxn ang="0">
                    <a:pos x="4" y="34"/>
                  </a:cxn>
                  <a:cxn ang="0">
                    <a:pos x="0" y="30"/>
                  </a:cxn>
                  <a:cxn ang="0">
                    <a:pos x="0" y="3"/>
                  </a:cxn>
                  <a:cxn ang="0">
                    <a:pos x="4" y="0"/>
                  </a:cxn>
                  <a:cxn ang="0">
                    <a:pos x="14" y="0"/>
                  </a:cxn>
                  <a:cxn ang="0">
                    <a:pos x="17" y="3"/>
                  </a:cxn>
                  <a:cxn ang="0">
                    <a:pos x="17" y="30"/>
                  </a:cxn>
                </a:cxnLst>
                <a:rect l="0" t="0" r="r" b="b"/>
                <a:pathLst>
                  <a:path w="17" h="34">
                    <a:moveTo>
                      <a:pt x="17" y="30"/>
                    </a:moveTo>
                    <a:cubicBezTo>
                      <a:pt x="17" y="32"/>
                      <a:pt x="16" y="34"/>
                      <a:pt x="14" y="34"/>
                    </a:cubicBezTo>
                    <a:cubicBezTo>
                      <a:pt x="4" y="34"/>
                      <a:pt x="4" y="34"/>
                      <a:pt x="4" y="34"/>
                    </a:cubicBezTo>
                    <a:cubicBezTo>
                      <a:pt x="2" y="34"/>
                      <a:pt x="0" y="32"/>
                      <a:pt x="0" y="30"/>
                    </a:cubicBezTo>
                    <a:cubicBezTo>
                      <a:pt x="0" y="3"/>
                      <a:pt x="0" y="3"/>
                      <a:pt x="0" y="3"/>
                    </a:cubicBezTo>
                    <a:cubicBezTo>
                      <a:pt x="0" y="1"/>
                      <a:pt x="2" y="0"/>
                      <a:pt x="4" y="0"/>
                    </a:cubicBezTo>
                    <a:cubicBezTo>
                      <a:pt x="14" y="0"/>
                      <a:pt x="14" y="0"/>
                      <a:pt x="14" y="0"/>
                    </a:cubicBezTo>
                    <a:cubicBezTo>
                      <a:pt x="16" y="0"/>
                      <a:pt x="17" y="1"/>
                      <a:pt x="17" y="3"/>
                    </a:cubicBezTo>
                    <a:lnTo>
                      <a:pt x="17" y="30"/>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sp>
            <p:nvSpPr>
              <p:cNvPr id="12" name="Freeform 37"/>
              <p:cNvSpPr>
                <a:spLocks/>
              </p:cNvSpPr>
              <p:nvPr/>
            </p:nvSpPr>
            <p:spPr bwMode="auto">
              <a:xfrm>
                <a:off x="7006697" y="750606"/>
                <a:ext cx="190813" cy="505237"/>
              </a:xfrm>
              <a:custGeom>
                <a:avLst/>
                <a:gdLst/>
                <a:ahLst/>
                <a:cxnLst>
                  <a:cxn ang="0">
                    <a:pos x="17" y="41"/>
                  </a:cxn>
                  <a:cxn ang="0">
                    <a:pos x="13" y="45"/>
                  </a:cxn>
                  <a:cxn ang="0">
                    <a:pos x="3" y="45"/>
                  </a:cxn>
                  <a:cxn ang="0">
                    <a:pos x="0" y="41"/>
                  </a:cxn>
                  <a:cxn ang="0">
                    <a:pos x="0" y="3"/>
                  </a:cxn>
                  <a:cxn ang="0">
                    <a:pos x="3" y="0"/>
                  </a:cxn>
                  <a:cxn ang="0">
                    <a:pos x="13" y="0"/>
                  </a:cxn>
                  <a:cxn ang="0">
                    <a:pos x="17" y="3"/>
                  </a:cxn>
                  <a:cxn ang="0">
                    <a:pos x="17" y="41"/>
                  </a:cxn>
                </a:cxnLst>
                <a:rect l="0" t="0" r="r" b="b"/>
                <a:pathLst>
                  <a:path w="17" h="45">
                    <a:moveTo>
                      <a:pt x="17" y="41"/>
                    </a:moveTo>
                    <a:cubicBezTo>
                      <a:pt x="17" y="43"/>
                      <a:pt x="15" y="45"/>
                      <a:pt x="13" y="45"/>
                    </a:cubicBezTo>
                    <a:cubicBezTo>
                      <a:pt x="3" y="45"/>
                      <a:pt x="3" y="45"/>
                      <a:pt x="3" y="45"/>
                    </a:cubicBezTo>
                    <a:cubicBezTo>
                      <a:pt x="1" y="45"/>
                      <a:pt x="0" y="43"/>
                      <a:pt x="0" y="41"/>
                    </a:cubicBezTo>
                    <a:cubicBezTo>
                      <a:pt x="0" y="3"/>
                      <a:pt x="0" y="3"/>
                      <a:pt x="0" y="3"/>
                    </a:cubicBezTo>
                    <a:cubicBezTo>
                      <a:pt x="0" y="1"/>
                      <a:pt x="1" y="0"/>
                      <a:pt x="3" y="0"/>
                    </a:cubicBezTo>
                    <a:cubicBezTo>
                      <a:pt x="13" y="0"/>
                      <a:pt x="13" y="0"/>
                      <a:pt x="13" y="0"/>
                    </a:cubicBezTo>
                    <a:cubicBezTo>
                      <a:pt x="15" y="0"/>
                      <a:pt x="17" y="1"/>
                      <a:pt x="17" y="3"/>
                    </a:cubicBezTo>
                    <a:lnTo>
                      <a:pt x="17" y="41"/>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sp>
            <p:nvSpPr>
              <p:cNvPr id="13" name="Freeform 37"/>
              <p:cNvSpPr>
                <a:spLocks/>
              </p:cNvSpPr>
              <p:nvPr/>
            </p:nvSpPr>
            <p:spPr bwMode="auto">
              <a:xfrm>
                <a:off x="6412334" y="468369"/>
                <a:ext cx="206554" cy="787474"/>
              </a:xfrm>
              <a:custGeom>
                <a:avLst/>
                <a:gdLst/>
                <a:ahLst/>
                <a:cxnLst>
                  <a:cxn ang="0">
                    <a:pos x="17" y="41"/>
                  </a:cxn>
                  <a:cxn ang="0">
                    <a:pos x="13" y="45"/>
                  </a:cxn>
                  <a:cxn ang="0">
                    <a:pos x="3" y="45"/>
                  </a:cxn>
                  <a:cxn ang="0">
                    <a:pos x="0" y="41"/>
                  </a:cxn>
                  <a:cxn ang="0">
                    <a:pos x="0" y="3"/>
                  </a:cxn>
                  <a:cxn ang="0">
                    <a:pos x="3" y="0"/>
                  </a:cxn>
                  <a:cxn ang="0">
                    <a:pos x="13" y="0"/>
                  </a:cxn>
                  <a:cxn ang="0">
                    <a:pos x="17" y="3"/>
                  </a:cxn>
                  <a:cxn ang="0">
                    <a:pos x="17" y="41"/>
                  </a:cxn>
                </a:cxnLst>
                <a:rect l="0" t="0" r="r" b="b"/>
                <a:pathLst>
                  <a:path w="17" h="45">
                    <a:moveTo>
                      <a:pt x="17" y="41"/>
                    </a:moveTo>
                    <a:cubicBezTo>
                      <a:pt x="17" y="43"/>
                      <a:pt x="15" y="45"/>
                      <a:pt x="13" y="45"/>
                    </a:cubicBezTo>
                    <a:cubicBezTo>
                      <a:pt x="3" y="45"/>
                      <a:pt x="3" y="45"/>
                      <a:pt x="3" y="45"/>
                    </a:cubicBezTo>
                    <a:cubicBezTo>
                      <a:pt x="1" y="45"/>
                      <a:pt x="0" y="43"/>
                      <a:pt x="0" y="41"/>
                    </a:cubicBezTo>
                    <a:cubicBezTo>
                      <a:pt x="0" y="3"/>
                      <a:pt x="0" y="3"/>
                      <a:pt x="0" y="3"/>
                    </a:cubicBezTo>
                    <a:cubicBezTo>
                      <a:pt x="0" y="1"/>
                      <a:pt x="1" y="0"/>
                      <a:pt x="3" y="0"/>
                    </a:cubicBezTo>
                    <a:cubicBezTo>
                      <a:pt x="13" y="0"/>
                      <a:pt x="13" y="0"/>
                      <a:pt x="13" y="0"/>
                    </a:cubicBezTo>
                    <a:cubicBezTo>
                      <a:pt x="15" y="0"/>
                      <a:pt x="17" y="1"/>
                      <a:pt x="17" y="3"/>
                    </a:cubicBezTo>
                    <a:lnTo>
                      <a:pt x="17" y="41"/>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grpSp>
      </p:grpSp>
      <p:grpSp>
        <p:nvGrpSpPr>
          <p:cNvPr id="18" name="Group 41"/>
          <p:cNvGrpSpPr/>
          <p:nvPr/>
        </p:nvGrpSpPr>
        <p:grpSpPr>
          <a:xfrm>
            <a:off x="910709" y="4872402"/>
            <a:ext cx="1457795" cy="1318382"/>
            <a:chOff x="954501" y="4872402"/>
            <a:chExt cx="1457795" cy="1318382"/>
          </a:xfrm>
        </p:grpSpPr>
        <p:grpSp>
          <p:nvGrpSpPr>
            <p:cNvPr id="19" name="Group 33"/>
            <p:cNvGrpSpPr/>
            <p:nvPr/>
          </p:nvGrpSpPr>
          <p:grpSpPr>
            <a:xfrm>
              <a:off x="954501" y="4872402"/>
              <a:ext cx="1457795" cy="1318382"/>
              <a:chOff x="6089820" y="2277827"/>
              <a:chExt cx="1457795" cy="1318382"/>
            </a:xfrm>
          </p:grpSpPr>
          <p:sp>
            <p:nvSpPr>
              <p:cNvPr id="35" name="Oval 34"/>
              <p:cNvSpPr/>
              <p:nvPr/>
            </p:nvSpPr>
            <p:spPr>
              <a:xfrm>
                <a:off x="6207299" y="2358065"/>
                <a:ext cx="1296524" cy="1160563"/>
              </a:xfrm>
              <a:prstGeom prst="ellipse">
                <a:avLst/>
              </a:prstGeom>
              <a:solidFill>
                <a:schemeClr val="bg1">
                  <a:alpha val="9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Donut 13"/>
              <p:cNvSpPr>
                <a:spLocks noChangeArrowheads="1"/>
              </p:cNvSpPr>
              <p:nvPr/>
            </p:nvSpPr>
            <p:spPr bwMode="auto">
              <a:xfrm flipV="1">
                <a:off x="6089820" y="2277827"/>
                <a:ext cx="1457795" cy="1318382"/>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gradFill rotWithShape="1">
                <a:gsLst>
                  <a:gs pos="0">
                    <a:srgbClr val="00B0F0"/>
                  </a:gs>
                  <a:gs pos="100000">
                    <a:srgbClr val="0070C0"/>
                  </a:gs>
                </a:gsLst>
                <a:lin ang="16200000"/>
              </a:gradFill>
              <a:ln w="9525">
                <a:noFill/>
                <a:miter lim="800000"/>
                <a:headEnd/>
                <a:tailEnd/>
              </a:ln>
              <a:effectLst>
                <a:outerShdw blurRad="63500" dist="23000" dir="5400000" rotWithShape="0">
                  <a:srgbClr val="000000">
                    <a:alpha val="34999"/>
                  </a:srgbClr>
                </a:outerShdw>
              </a:effectLst>
            </p:spPr>
            <p:txBody>
              <a:bodyPr anchor="ctr"/>
              <a:lstStyle/>
              <a:p>
                <a:pPr algn="ctr">
                  <a:defRPr/>
                </a:pPr>
                <a:endParaRPr lang="en-US" sz="2000" dirty="0">
                  <a:latin typeface=""/>
                  <a:ea typeface="+mn-ea"/>
                </a:endParaRPr>
              </a:p>
            </p:txBody>
          </p:sp>
        </p:grpSp>
        <p:sp>
          <p:nvSpPr>
            <p:cNvPr id="17" name="Freeform 17"/>
            <p:cNvSpPr>
              <a:spLocks noEditPoints="1"/>
            </p:cNvSpPr>
            <p:nvPr/>
          </p:nvSpPr>
          <p:spPr bwMode="auto">
            <a:xfrm>
              <a:off x="1338456" y="5224954"/>
              <a:ext cx="663380" cy="634535"/>
            </a:xfrm>
            <a:custGeom>
              <a:avLst/>
              <a:gdLst>
                <a:gd name="T0" fmla="*/ 2147483647 w 63"/>
                <a:gd name="T1" fmla="*/ 0 h 73"/>
                <a:gd name="T2" fmla="*/ 1122599098 w 63"/>
                <a:gd name="T3" fmla="*/ 0 h 73"/>
                <a:gd name="T4" fmla="*/ 561299549 w 63"/>
                <a:gd name="T5" fmla="*/ 560595689 h 73"/>
                <a:gd name="T6" fmla="*/ 561299549 w 63"/>
                <a:gd name="T7" fmla="*/ 1009069293 h 73"/>
                <a:gd name="T8" fmla="*/ 785819275 w 63"/>
                <a:gd name="T9" fmla="*/ 953011760 h 73"/>
                <a:gd name="T10" fmla="*/ 1852288207 w 63"/>
                <a:gd name="T11" fmla="*/ 2074203372 h 73"/>
                <a:gd name="T12" fmla="*/ 1627768481 w 63"/>
                <a:gd name="T13" fmla="*/ 2147483647 h 73"/>
                <a:gd name="T14" fmla="*/ 1627768481 w 63"/>
                <a:gd name="T15" fmla="*/ 2147483647 h 73"/>
                <a:gd name="T16" fmla="*/ 2147483647 w 63"/>
                <a:gd name="T17" fmla="*/ 2147483647 h 73"/>
                <a:gd name="T18" fmla="*/ 2147483647 w 63"/>
                <a:gd name="T19" fmla="*/ 2147483647 h 73"/>
                <a:gd name="T20" fmla="*/ 2147483647 w 63"/>
                <a:gd name="T21" fmla="*/ 1121191379 h 73"/>
                <a:gd name="T22" fmla="*/ 2147483647 w 63"/>
                <a:gd name="T23" fmla="*/ 0 h 73"/>
                <a:gd name="T24" fmla="*/ 2147483647 w 63"/>
                <a:gd name="T25" fmla="*/ 1345428064 h 73"/>
                <a:gd name="T26" fmla="*/ 2147483647 w 63"/>
                <a:gd name="T27" fmla="*/ 728775075 h 73"/>
                <a:gd name="T28" fmla="*/ 2147483647 w 63"/>
                <a:gd name="T29" fmla="*/ 56057314 h 73"/>
                <a:gd name="T30" fmla="*/ 2147483647 w 63"/>
                <a:gd name="T31" fmla="*/ 280294101 h 73"/>
                <a:gd name="T32" fmla="*/ 2147483647 w 63"/>
                <a:gd name="T33" fmla="*/ 560595689 h 73"/>
                <a:gd name="T34" fmla="*/ 2147483647 w 63"/>
                <a:gd name="T35" fmla="*/ 1121191379 h 73"/>
                <a:gd name="T36" fmla="*/ 2147483647 w 63"/>
                <a:gd name="T37" fmla="*/ 1121191379 h 73"/>
                <a:gd name="T38" fmla="*/ 2147483647 w 63"/>
                <a:gd name="T39" fmla="*/ 1345428064 h 73"/>
                <a:gd name="T40" fmla="*/ 2147483647 w 63"/>
                <a:gd name="T41" fmla="*/ 1345428064 h 73"/>
                <a:gd name="T42" fmla="*/ 224519784 w 63"/>
                <a:gd name="T43" fmla="*/ 2147483647 h 73"/>
                <a:gd name="T44" fmla="*/ 224519784 w 63"/>
                <a:gd name="T45" fmla="*/ 2147483647 h 73"/>
                <a:gd name="T46" fmla="*/ 785819275 w 63"/>
                <a:gd name="T47" fmla="*/ 2147483647 h 73"/>
                <a:gd name="T48" fmla="*/ 785819275 w 63"/>
                <a:gd name="T49" fmla="*/ 2147483647 h 73"/>
                <a:gd name="T50" fmla="*/ 1347118824 w 63"/>
                <a:gd name="T51" fmla="*/ 2147483647 h 73"/>
                <a:gd name="T52" fmla="*/ 1347118824 w 63"/>
                <a:gd name="T53" fmla="*/ 2147483647 h 73"/>
                <a:gd name="T54" fmla="*/ 785819275 w 63"/>
                <a:gd name="T55" fmla="*/ 2147483647 h 73"/>
                <a:gd name="T56" fmla="*/ 224519784 w 63"/>
                <a:gd name="T57" fmla="*/ 2147483647 h 73"/>
                <a:gd name="T58" fmla="*/ 785819275 w 63"/>
                <a:gd name="T59" fmla="*/ 1289370764 h 73"/>
                <a:gd name="T60" fmla="*/ 0 w 63"/>
                <a:gd name="T61" fmla="*/ 2074203372 h 73"/>
                <a:gd name="T62" fmla="*/ 785819275 w 63"/>
                <a:gd name="T63" fmla="*/ 2147483647 h 73"/>
                <a:gd name="T64" fmla="*/ 1515508618 w 63"/>
                <a:gd name="T65" fmla="*/ 2074203372 h 73"/>
                <a:gd name="T66" fmla="*/ 785819275 w 63"/>
                <a:gd name="T67" fmla="*/ 1289370764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73"/>
                <a:gd name="T104" fmla="*/ 63 w 6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73">
                  <a:moveTo>
                    <a:pt x="43" y="0"/>
                  </a:moveTo>
                  <a:cubicBezTo>
                    <a:pt x="20" y="0"/>
                    <a:pt x="20" y="0"/>
                    <a:pt x="20" y="0"/>
                  </a:cubicBezTo>
                  <a:cubicBezTo>
                    <a:pt x="15" y="0"/>
                    <a:pt x="10" y="4"/>
                    <a:pt x="10" y="10"/>
                  </a:cubicBezTo>
                  <a:cubicBezTo>
                    <a:pt x="10" y="18"/>
                    <a:pt x="10" y="18"/>
                    <a:pt x="10" y="18"/>
                  </a:cubicBezTo>
                  <a:cubicBezTo>
                    <a:pt x="11" y="18"/>
                    <a:pt x="13" y="17"/>
                    <a:pt x="14" y="17"/>
                  </a:cubicBezTo>
                  <a:cubicBezTo>
                    <a:pt x="24" y="17"/>
                    <a:pt x="33" y="26"/>
                    <a:pt x="33" y="37"/>
                  </a:cubicBezTo>
                  <a:cubicBezTo>
                    <a:pt x="33" y="41"/>
                    <a:pt x="32" y="45"/>
                    <a:pt x="29" y="48"/>
                  </a:cubicBezTo>
                  <a:cubicBezTo>
                    <a:pt x="29" y="64"/>
                    <a:pt x="29" y="64"/>
                    <a:pt x="29" y="64"/>
                  </a:cubicBezTo>
                  <a:cubicBezTo>
                    <a:pt x="53" y="64"/>
                    <a:pt x="53" y="64"/>
                    <a:pt x="53" y="64"/>
                  </a:cubicBezTo>
                  <a:cubicBezTo>
                    <a:pt x="58" y="64"/>
                    <a:pt x="63" y="59"/>
                    <a:pt x="63" y="54"/>
                  </a:cubicBezTo>
                  <a:cubicBezTo>
                    <a:pt x="63" y="20"/>
                    <a:pt x="63" y="20"/>
                    <a:pt x="63" y="20"/>
                  </a:cubicBezTo>
                  <a:lnTo>
                    <a:pt x="43" y="0"/>
                  </a:lnTo>
                  <a:close/>
                  <a:moveTo>
                    <a:pt x="50" y="24"/>
                  </a:moveTo>
                  <a:cubicBezTo>
                    <a:pt x="44" y="24"/>
                    <a:pt x="39" y="19"/>
                    <a:pt x="39" y="13"/>
                  </a:cubicBezTo>
                  <a:cubicBezTo>
                    <a:pt x="39" y="1"/>
                    <a:pt x="39" y="1"/>
                    <a:pt x="39" y="1"/>
                  </a:cubicBezTo>
                  <a:cubicBezTo>
                    <a:pt x="43" y="5"/>
                    <a:pt x="43" y="5"/>
                    <a:pt x="43" y="5"/>
                  </a:cubicBezTo>
                  <a:cubicBezTo>
                    <a:pt x="43" y="10"/>
                    <a:pt x="43" y="10"/>
                    <a:pt x="43" y="10"/>
                  </a:cubicBezTo>
                  <a:cubicBezTo>
                    <a:pt x="43" y="16"/>
                    <a:pt x="47" y="20"/>
                    <a:pt x="53" y="20"/>
                  </a:cubicBezTo>
                  <a:cubicBezTo>
                    <a:pt x="58" y="20"/>
                    <a:pt x="58" y="20"/>
                    <a:pt x="58" y="20"/>
                  </a:cubicBezTo>
                  <a:cubicBezTo>
                    <a:pt x="62" y="24"/>
                    <a:pt x="62" y="24"/>
                    <a:pt x="62" y="24"/>
                  </a:cubicBezTo>
                  <a:lnTo>
                    <a:pt x="50" y="24"/>
                  </a:lnTo>
                  <a:close/>
                  <a:moveTo>
                    <a:pt x="4" y="52"/>
                  </a:moveTo>
                  <a:cubicBezTo>
                    <a:pt x="4" y="73"/>
                    <a:pt x="4" y="73"/>
                    <a:pt x="4" y="73"/>
                  </a:cubicBezTo>
                  <a:cubicBezTo>
                    <a:pt x="14" y="64"/>
                    <a:pt x="14" y="64"/>
                    <a:pt x="14" y="64"/>
                  </a:cubicBezTo>
                  <a:cubicBezTo>
                    <a:pt x="14" y="64"/>
                    <a:pt x="14" y="64"/>
                    <a:pt x="14" y="64"/>
                  </a:cubicBezTo>
                  <a:cubicBezTo>
                    <a:pt x="24" y="73"/>
                    <a:pt x="24" y="73"/>
                    <a:pt x="24" y="73"/>
                  </a:cubicBezTo>
                  <a:cubicBezTo>
                    <a:pt x="24" y="52"/>
                    <a:pt x="24" y="52"/>
                    <a:pt x="24" y="52"/>
                  </a:cubicBezTo>
                  <a:cubicBezTo>
                    <a:pt x="21" y="54"/>
                    <a:pt x="17" y="55"/>
                    <a:pt x="14" y="55"/>
                  </a:cubicBezTo>
                  <a:cubicBezTo>
                    <a:pt x="10" y="55"/>
                    <a:pt x="7" y="54"/>
                    <a:pt x="4" y="52"/>
                  </a:cubicBezTo>
                  <a:close/>
                  <a:moveTo>
                    <a:pt x="14" y="23"/>
                  </a:moveTo>
                  <a:cubicBezTo>
                    <a:pt x="6" y="23"/>
                    <a:pt x="0" y="29"/>
                    <a:pt x="0" y="37"/>
                  </a:cubicBezTo>
                  <a:cubicBezTo>
                    <a:pt x="0" y="44"/>
                    <a:pt x="6" y="50"/>
                    <a:pt x="14" y="50"/>
                  </a:cubicBezTo>
                  <a:cubicBezTo>
                    <a:pt x="21" y="50"/>
                    <a:pt x="27" y="44"/>
                    <a:pt x="27" y="37"/>
                  </a:cubicBezTo>
                  <a:cubicBezTo>
                    <a:pt x="27" y="29"/>
                    <a:pt x="21" y="23"/>
                    <a:pt x="14" y="23"/>
                  </a:cubicBez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en-US" sz="2000" kern="0" dirty="0">
                <a:solidFill>
                  <a:sysClr val="windowText" lastClr="000000"/>
                </a:solidFill>
                <a:latin typeface=""/>
                <a:ea typeface="ＭＳ Ｐゴシック" pitchFamily="-97" charset="-128"/>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900" decel="100000" fill="hold"/>
                                        <p:tgtEl>
                                          <p:spTgt spid="2"/>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2"/>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1000"/>
                                        <p:tgtEl>
                                          <p:spTgt spid="22"/>
                                        </p:tgtEl>
                                      </p:cBhvr>
                                    </p:animEffect>
                                    <p:anim calcmode="lin" valueType="num">
                                      <p:cBhvr>
                                        <p:cTn id="14" dur="1000" fill="hold"/>
                                        <p:tgtEl>
                                          <p:spTgt spid="22"/>
                                        </p:tgtEl>
                                        <p:attrNameLst>
                                          <p:attrName>ppt_x</p:attrName>
                                        </p:attrNameLst>
                                      </p:cBhvr>
                                      <p:tavLst>
                                        <p:tav tm="0">
                                          <p:val>
                                            <p:strVal val="#ppt_x"/>
                                          </p:val>
                                        </p:tav>
                                        <p:tav tm="100000">
                                          <p:val>
                                            <p:strVal val="#ppt_x"/>
                                          </p:val>
                                        </p:tav>
                                      </p:tavLst>
                                    </p:anim>
                                    <p:anim calcmode="lin" valueType="num">
                                      <p:cBhvr>
                                        <p:cTn id="15" dur="900" decel="100000" fill="hold"/>
                                        <p:tgtEl>
                                          <p:spTgt spid="22"/>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22"/>
                                        </p:tgtEl>
                                        <p:attrNameLst>
                                          <p:attrName>ppt_y</p:attrName>
                                        </p:attrNameLst>
                                      </p:cBhvr>
                                      <p:tavLst>
                                        <p:tav tm="0">
                                          <p:val>
                                            <p:strVal val="#ppt_y-.03"/>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37"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900" decel="100000" fill="hold"/>
                                        <p:tgtEl>
                                          <p:spTgt spid="10"/>
                                        </p:tgtEl>
                                        <p:attrNameLst>
                                          <p:attrName>ppt_y</p:attrName>
                                        </p:attrNameLst>
                                      </p:cBhvr>
                                      <p:tavLst>
                                        <p:tav tm="0">
                                          <p:val>
                                            <p:strVal val="#ppt_y+1"/>
                                          </p:val>
                                        </p:tav>
                                        <p:tav tm="100000">
                                          <p:val>
                                            <p:strVal val="#ppt_y-.03"/>
                                          </p:val>
                                        </p:tav>
                                      </p:tavLst>
                                    </p:anim>
                                    <p:anim calcmode="lin" valueType="num">
                                      <p:cBhvr>
                                        <p:cTn id="24"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par>
                                <p:cTn id="25" presetID="37"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1000"/>
                                        <p:tgtEl>
                                          <p:spTgt spid="23"/>
                                        </p:tgtEl>
                                      </p:cBhvr>
                                    </p:animEffect>
                                    <p:anim calcmode="lin" valueType="num">
                                      <p:cBhvr>
                                        <p:cTn id="28" dur="1000" fill="hold"/>
                                        <p:tgtEl>
                                          <p:spTgt spid="23"/>
                                        </p:tgtEl>
                                        <p:attrNameLst>
                                          <p:attrName>ppt_x</p:attrName>
                                        </p:attrNameLst>
                                      </p:cBhvr>
                                      <p:tavLst>
                                        <p:tav tm="0">
                                          <p:val>
                                            <p:strVal val="#ppt_x"/>
                                          </p:val>
                                        </p:tav>
                                        <p:tav tm="100000">
                                          <p:val>
                                            <p:strVal val="#ppt_x"/>
                                          </p:val>
                                        </p:tav>
                                      </p:tavLst>
                                    </p:anim>
                                    <p:anim calcmode="lin" valueType="num">
                                      <p:cBhvr>
                                        <p:cTn id="29" dur="900" decel="100000" fill="hold"/>
                                        <p:tgtEl>
                                          <p:spTgt spid="23"/>
                                        </p:tgtEl>
                                        <p:attrNameLst>
                                          <p:attrName>ppt_y</p:attrName>
                                        </p:attrNameLst>
                                      </p:cBhvr>
                                      <p:tavLst>
                                        <p:tav tm="0">
                                          <p:val>
                                            <p:strVal val="#ppt_y+1"/>
                                          </p:val>
                                        </p:tav>
                                        <p:tav tm="100000">
                                          <p:val>
                                            <p:strVal val="#ppt_y-.03"/>
                                          </p:val>
                                        </p:tav>
                                      </p:tavLst>
                                    </p:anim>
                                    <p:anim calcmode="lin" valueType="num">
                                      <p:cBhvr>
                                        <p:cTn id="30" dur="100" accel="100000" fill="hold">
                                          <p:stCondLst>
                                            <p:cond delay="900"/>
                                          </p:stCondLst>
                                        </p:cTn>
                                        <p:tgtEl>
                                          <p:spTgt spid="23"/>
                                        </p:tgtEl>
                                        <p:attrNameLst>
                                          <p:attrName>ppt_y</p:attrName>
                                        </p:attrNameLst>
                                      </p:cBhvr>
                                      <p:tavLst>
                                        <p:tav tm="0">
                                          <p:val>
                                            <p:strVal val="#ppt_y-.03"/>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37" presetClass="entr" presetSubtype="0" fill="hold" nodeType="click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1000"/>
                                        <p:tgtEl>
                                          <p:spTgt spid="18"/>
                                        </p:tgtEl>
                                      </p:cBhvr>
                                    </p:animEffect>
                                    <p:anim calcmode="lin" valueType="num">
                                      <p:cBhvr>
                                        <p:cTn id="36" dur="1000" fill="hold"/>
                                        <p:tgtEl>
                                          <p:spTgt spid="18"/>
                                        </p:tgtEl>
                                        <p:attrNameLst>
                                          <p:attrName>ppt_x</p:attrName>
                                        </p:attrNameLst>
                                      </p:cBhvr>
                                      <p:tavLst>
                                        <p:tav tm="0">
                                          <p:val>
                                            <p:strVal val="#ppt_x"/>
                                          </p:val>
                                        </p:tav>
                                        <p:tav tm="100000">
                                          <p:val>
                                            <p:strVal val="#ppt_x"/>
                                          </p:val>
                                        </p:tav>
                                      </p:tavLst>
                                    </p:anim>
                                    <p:anim calcmode="lin" valueType="num">
                                      <p:cBhvr>
                                        <p:cTn id="37" dur="900" decel="100000" fill="hold"/>
                                        <p:tgtEl>
                                          <p:spTgt spid="18"/>
                                        </p:tgtEl>
                                        <p:attrNameLst>
                                          <p:attrName>ppt_y</p:attrName>
                                        </p:attrNameLst>
                                      </p:cBhvr>
                                      <p:tavLst>
                                        <p:tav tm="0">
                                          <p:val>
                                            <p:strVal val="#ppt_y+1"/>
                                          </p:val>
                                        </p:tav>
                                        <p:tav tm="100000">
                                          <p:val>
                                            <p:strVal val="#ppt_y-.03"/>
                                          </p:val>
                                        </p:tav>
                                      </p:tavLst>
                                    </p:anim>
                                    <p:anim calcmode="lin" valueType="num">
                                      <p:cBhvr>
                                        <p:cTn id="38" dur="100" accel="100000" fill="hold">
                                          <p:stCondLst>
                                            <p:cond delay="900"/>
                                          </p:stCondLst>
                                        </p:cTn>
                                        <p:tgtEl>
                                          <p:spTgt spid="18"/>
                                        </p:tgtEl>
                                        <p:attrNameLst>
                                          <p:attrName>ppt_y</p:attrName>
                                        </p:attrNameLst>
                                      </p:cBhvr>
                                      <p:tavLst>
                                        <p:tav tm="0">
                                          <p:val>
                                            <p:strVal val="#ppt_y-.03"/>
                                          </p:val>
                                        </p:tav>
                                        <p:tav tm="100000">
                                          <p:val>
                                            <p:strVal val="#ppt_y"/>
                                          </p:val>
                                        </p:tav>
                                      </p:tavLst>
                                    </p:anim>
                                  </p:childTnLst>
                                </p:cTn>
                              </p:par>
                              <p:par>
                                <p:cTn id="39" presetID="37"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1000"/>
                                        <p:tgtEl>
                                          <p:spTgt spid="24"/>
                                        </p:tgtEl>
                                      </p:cBhvr>
                                    </p:animEffect>
                                    <p:anim calcmode="lin" valueType="num">
                                      <p:cBhvr>
                                        <p:cTn id="42" dur="1000" fill="hold"/>
                                        <p:tgtEl>
                                          <p:spTgt spid="24"/>
                                        </p:tgtEl>
                                        <p:attrNameLst>
                                          <p:attrName>ppt_x</p:attrName>
                                        </p:attrNameLst>
                                      </p:cBhvr>
                                      <p:tavLst>
                                        <p:tav tm="0">
                                          <p:val>
                                            <p:strVal val="#ppt_x"/>
                                          </p:val>
                                        </p:tav>
                                        <p:tav tm="100000">
                                          <p:val>
                                            <p:strVal val="#ppt_x"/>
                                          </p:val>
                                        </p:tav>
                                      </p:tavLst>
                                    </p:anim>
                                    <p:anim calcmode="lin" valueType="num">
                                      <p:cBhvr>
                                        <p:cTn id="43" dur="900" decel="100000" fill="hold"/>
                                        <p:tgtEl>
                                          <p:spTgt spid="24"/>
                                        </p:tgtEl>
                                        <p:attrNameLst>
                                          <p:attrName>ppt_y</p:attrName>
                                        </p:attrNameLst>
                                      </p:cBhvr>
                                      <p:tavLst>
                                        <p:tav tm="0">
                                          <p:val>
                                            <p:strVal val="#ppt_y+1"/>
                                          </p:val>
                                        </p:tav>
                                        <p:tav tm="100000">
                                          <p:val>
                                            <p:strVal val="#ppt_y-.03"/>
                                          </p:val>
                                        </p:tav>
                                      </p:tavLst>
                                    </p:anim>
                                    <p:anim calcmode="lin" valueType="num">
                                      <p:cBhvr>
                                        <p:cTn id="44" dur="100" accel="100000" fill="hold">
                                          <p:stCondLst>
                                            <p:cond delay="900"/>
                                          </p:stCondLst>
                                        </p:cTn>
                                        <p:tgtEl>
                                          <p:spTgt spid="2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CARTA ALIR PROSES PBPPP BAGI PP</a:t>
            </a:r>
            <a:endParaRPr lang="en-US" sz="2800" b="1" dirty="0">
              <a:solidFill>
                <a:schemeClr val="bg1"/>
              </a:solidFill>
              <a:latin typeface="Segoe UI" pitchFamily="34" charset="0"/>
              <a:ea typeface="Segoe UI" pitchFamily="34" charset="0"/>
              <a:cs typeface="Segoe UI" pitchFamily="34" charset="0"/>
            </a:endParaRPr>
          </a:p>
        </p:txBody>
      </p:sp>
      <p:sp>
        <p:nvSpPr>
          <p:cNvPr id="4" name="Footer Placeholder 3"/>
          <p:cNvSpPr>
            <a:spLocks noGrp="1"/>
          </p:cNvSpPr>
          <p:nvPr>
            <p:ph type="ftr" sz="quarter" idx="11"/>
          </p:nvPr>
        </p:nvSpPr>
        <p:spPr>
          <a:xfrm>
            <a:off x="3290958" y="6430114"/>
            <a:ext cx="4958521" cy="365125"/>
          </a:xfrm>
        </p:spPr>
        <p:txBody>
          <a:bodyPr/>
          <a:lstStyle/>
          <a:p>
            <a:r>
              <a:rPr lang="en-US" smtClean="0"/>
              <a:t>GURU (SEKOLAH)</a:t>
            </a:r>
            <a:endParaRPr lang="en-US" dirty="0"/>
          </a:p>
        </p:txBody>
      </p:sp>
      <p:sp>
        <p:nvSpPr>
          <p:cNvPr id="5" name="Slide Number Placeholder 4"/>
          <p:cNvSpPr>
            <a:spLocks noGrp="1"/>
          </p:cNvSpPr>
          <p:nvPr>
            <p:ph type="sldNum" sz="quarter" idx="12"/>
          </p:nvPr>
        </p:nvSpPr>
        <p:spPr>
          <a:xfrm>
            <a:off x="6553200" y="6419071"/>
            <a:ext cx="2133600" cy="365125"/>
          </a:xfrm>
        </p:spPr>
        <p:txBody>
          <a:bodyPr/>
          <a:lstStyle/>
          <a:p>
            <a:fld id="{4D86EDED-B1AF-7E4B-94C9-3F0EAA36C7D5}" type="slidenum">
              <a:rPr lang="en-US" smtClean="0"/>
              <a:pPr/>
              <a:t>37</a:t>
            </a:fld>
            <a:endParaRPr lang="en-US"/>
          </a:p>
        </p:txBody>
      </p:sp>
      <p:grpSp>
        <p:nvGrpSpPr>
          <p:cNvPr id="2" name="Group 26"/>
          <p:cNvGrpSpPr/>
          <p:nvPr/>
        </p:nvGrpSpPr>
        <p:grpSpPr>
          <a:xfrm>
            <a:off x="1131873" y="2408527"/>
            <a:ext cx="7810649" cy="1554453"/>
            <a:chOff x="1131873" y="2283087"/>
            <a:chExt cx="7810649" cy="1554453"/>
          </a:xfrm>
        </p:grpSpPr>
        <p:grpSp>
          <p:nvGrpSpPr>
            <p:cNvPr id="3" name="Group 20"/>
            <p:cNvGrpSpPr/>
            <p:nvPr/>
          </p:nvGrpSpPr>
          <p:grpSpPr>
            <a:xfrm>
              <a:off x="5388510" y="2283087"/>
              <a:ext cx="3554012" cy="1477329"/>
              <a:chOff x="5388510" y="2126287"/>
              <a:chExt cx="3554012" cy="1477329"/>
            </a:xfrm>
          </p:grpSpPr>
          <p:sp>
            <p:nvSpPr>
              <p:cNvPr id="31" name="Rectangle 30"/>
              <p:cNvSpPr/>
              <p:nvPr/>
            </p:nvSpPr>
            <p:spPr>
              <a:xfrm>
                <a:off x="5456737" y="2126288"/>
                <a:ext cx="3485785" cy="1477328"/>
              </a:xfrm>
              <a:prstGeom prst="rect">
                <a:avLst/>
              </a:prstGeom>
            </p:spPr>
            <p:txBody>
              <a:bodyPr wrap="square">
                <a:spAutoFit/>
              </a:bodyPr>
              <a:lstStyle/>
              <a:p>
                <a:pPr marL="285750" indent="-285750">
                  <a:buFont typeface="Arial" pitchFamily="34" charset="0"/>
                  <a:buChar char="•"/>
                </a:pPr>
                <a:r>
                  <a:rPr lang="en-US" dirty="0" err="1" smtClean="0">
                    <a:solidFill>
                      <a:srgbClr val="71111A"/>
                    </a:solidFill>
                    <a:latin typeface="Arial" pitchFamily="34" charset="0"/>
                    <a:cs typeface="Arial" pitchFamily="34" charset="0"/>
                  </a:rPr>
                  <a:t>Penilaian</a:t>
                </a:r>
                <a:r>
                  <a:rPr lang="en-US" dirty="0" smtClean="0">
                    <a:solidFill>
                      <a:srgbClr val="71111A"/>
                    </a:solidFill>
                    <a:latin typeface="Arial" pitchFamily="34" charset="0"/>
                    <a:cs typeface="Arial" pitchFamily="34" charset="0"/>
                  </a:rPr>
                  <a:t> </a:t>
                </a:r>
                <a:r>
                  <a:rPr lang="en-US" dirty="0" err="1" smtClean="0">
                    <a:solidFill>
                      <a:srgbClr val="71111A"/>
                    </a:solidFill>
                    <a:latin typeface="Arial" pitchFamily="34" charset="0"/>
                    <a:cs typeface="Arial" pitchFamily="34" charset="0"/>
                  </a:rPr>
                  <a:t>Kedua</a:t>
                </a:r>
                <a:endParaRPr lang="en-US" dirty="0" smtClean="0">
                  <a:solidFill>
                    <a:srgbClr val="71111A"/>
                  </a:solidFill>
                  <a:latin typeface="Arial" pitchFamily="34" charset="0"/>
                  <a:cs typeface="Arial" pitchFamily="34" charset="0"/>
                </a:endParaRPr>
              </a:p>
              <a:p>
                <a:pPr marL="271463"/>
                <a:r>
                  <a:rPr lang="en-US" dirty="0" err="1" smtClean="0">
                    <a:solidFill>
                      <a:srgbClr val="71111A"/>
                    </a:solidFill>
                    <a:latin typeface="Arial" pitchFamily="34" charset="0"/>
                    <a:cs typeface="Arial" pitchFamily="34" charset="0"/>
                  </a:rPr>
                  <a:t>Persetujuan</a:t>
                </a:r>
                <a:r>
                  <a:rPr lang="en-US" dirty="0" smtClean="0">
                    <a:solidFill>
                      <a:srgbClr val="71111A"/>
                    </a:solidFill>
                    <a:latin typeface="Arial" pitchFamily="34" charset="0"/>
                    <a:cs typeface="Arial" pitchFamily="34" charset="0"/>
                  </a:rPr>
                  <a:t> PP1 &amp; PP2 </a:t>
                </a:r>
                <a:r>
                  <a:rPr lang="en-US" dirty="0" err="1" smtClean="0">
                    <a:solidFill>
                      <a:srgbClr val="71111A"/>
                    </a:solidFill>
                    <a:latin typeface="Arial" pitchFamily="34" charset="0"/>
                    <a:cs typeface="Arial" pitchFamily="34" charset="0"/>
                  </a:rPr>
                  <a:t>untuk</a:t>
                </a:r>
                <a:r>
                  <a:rPr lang="en-US" dirty="0" smtClean="0">
                    <a:solidFill>
                      <a:srgbClr val="71111A"/>
                    </a:solidFill>
                    <a:latin typeface="Arial" pitchFamily="34" charset="0"/>
                    <a:cs typeface="Arial" pitchFamily="34" charset="0"/>
                  </a:rPr>
                  <a:t> </a:t>
                </a:r>
                <a:r>
                  <a:rPr lang="en-US" dirty="0" err="1" smtClean="0">
                    <a:solidFill>
                      <a:srgbClr val="71111A"/>
                    </a:solidFill>
                    <a:latin typeface="Arial" pitchFamily="34" charset="0"/>
                    <a:cs typeface="Arial" pitchFamily="34" charset="0"/>
                  </a:rPr>
                  <a:t>skor</a:t>
                </a:r>
                <a:r>
                  <a:rPr lang="en-US" dirty="0" smtClean="0">
                    <a:solidFill>
                      <a:srgbClr val="71111A"/>
                    </a:solidFill>
                    <a:latin typeface="Arial" pitchFamily="34" charset="0"/>
                    <a:cs typeface="Arial" pitchFamily="34" charset="0"/>
                  </a:rPr>
                  <a:t> </a:t>
                </a:r>
                <a:r>
                  <a:rPr lang="en-US" dirty="0" err="1" smtClean="0">
                    <a:solidFill>
                      <a:srgbClr val="71111A"/>
                    </a:solidFill>
                    <a:latin typeface="Arial" pitchFamily="34" charset="0"/>
                    <a:cs typeface="Arial" pitchFamily="34" charset="0"/>
                  </a:rPr>
                  <a:t>keberhasilan</a:t>
                </a:r>
                <a:endParaRPr lang="en-US" dirty="0" smtClean="0">
                  <a:solidFill>
                    <a:srgbClr val="71111A"/>
                  </a:solidFill>
                  <a:latin typeface="Arial" pitchFamily="34" charset="0"/>
                  <a:cs typeface="Arial" pitchFamily="34" charset="0"/>
                </a:endParaRPr>
              </a:p>
              <a:p>
                <a:pPr marL="285750" indent="-285750">
                  <a:buFont typeface="Arial" pitchFamily="34" charset="0"/>
                  <a:buChar char="•"/>
                </a:pPr>
                <a:r>
                  <a:rPr lang="en-US" dirty="0" err="1" smtClean="0">
                    <a:solidFill>
                      <a:srgbClr val="71111A"/>
                    </a:solidFill>
                    <a:latin typeface="Arial" pitchFamily="34" charset="0"/>
                    <a:cs typeface="Arial" pitchFamily="34" charset="0"/>
                  </a:rPr>
                  <a:t>Memasukkan</a:t>
                </a:r>
                <a:r>
                  <a:rPr lang="en-US" dirty="0" smtClean="0">
                    <a:solidFill>
                      <a:srgbClr val="71111A"/>
                    </a:solidFill>
                    <a:latin typeface="Arial" pitchFamily="34" charset="0"/>
                    <a:cs typeface="Arial" pitchFamily="34" charset="0"/>
                  </a:rPr>
                  <a:t>  data </a:t>
                </a:r>
                <a:r>
                  <a:rPr lang="en-US" dirty="0" err="1" smtClean="0">
                    <a:solidFill>
                      <a:srgbClr val="71111A"/>
                    </a:solidFill>
                    <a:latin typeface="Arial" pitchFamily="34" charset="0"/>
                    <a:cs typeface="Arial" pitchFamily="34" charset="0"/>
                  </a:rPr>
                  <a:t>ke</a:t>
                </a:r>
                <a:r>
                  <a:rPr lang="en-US" dirty="0" smtClean="0">
                    <a:solidFill>
                      <a:srgbClr val="71111A"/>
                    </a:solidFill>
                    <a:latin typeface="Arial" pitchFamily="34" charset="0"/>
                    <a:cs typeface="Arial" pitchFamily="34" charset="0"/>
                  </a:rPr>
                  <a:t> </a:t>
                </a:r>
                <a:r>
                  <a:rPr lang="en-US" dirty="0" err="1" smtClean="0">
                    <a:solidFill>
                      <a:srgbClr val="71111A"/>
                    </a:solidFill>
                    <a:latin typeface="Arial" pitchFamily="34" charset="0"/>
                    <a:cs typeface="Arial" pitchFamily="34" charset="0"/>
                  </a:rPr>
                  <a:t>dalam</a:t>
                </a:r>
                <a:r>
                  <a:rPr lang="en-US" dirty="0" smtClean="0">
                    <a:solidFill>
                      <a:srgbClr val="71111A"/>
                    </a:solidFill>
                    <a:latin typeface="Arial" pitchFamily="34" charset="0"/>
                    <a:cs typeface="Arial" pitchFamily="34" charset="0"/>
                  </a:rPr>
                  <a:t> </a:t>
                </a:r>
                <a:r>
                  <a:rPr lang="en-US" dirty="0" err="1" smtClean="0">
                    <a:solidFill>
                      <a:srgbClr val="71111A"/>
                    </a:solidFill>
                    <a:latin typeface="Arial" pitchFamily="34" charset="0"/>
                    <a:cs typeface="Arial" pitchFamily="34" charset="0"/>
                  </a:rPr>
                  <a:t>sistem</a:t>
                </a:r>
                <a:r>
                  <a:rPr lang="en-US" dirty="0" smtClean="0">
                    <a:solidFill>
                      <a:srgbClr val="71111A"/>
                    </a:solidFill>
                    <a:latin typeface="Arial" pitchFamily="34" charset="0"/>
                    <a:cs typeface="Arial" pitchFamily="34" charset="0"/>
                  </a:rPr>
                  <a:t> e-</a:t>
                </a:r>
                <a:r>
                  <a:rPr lang="en-US" dirty="0" err="1" smtClean="0">
                    <a:solidFill>
                      <a:srgbClr val="71111A"/>
                    </a:solidFill>
                    <a:latin typeface="Arial" pitchFamily="34" charset="0"/>
                    <a:cs typeface="Arial" pitchFamily="34" charset="0"/>
                  </a:rPr>
                  <a:t>prestasi</a:t>
                </a:r>
                <a:endParaRPr lang="en-US" dirty="0">
                  <a:solidFill>
                    <a:srgbClr val="71111A"/>
                  </a:solidFill>
                  <a:latin typeface="Arial" pitchFamily="34" charset="0"/>
                  <a:cs typeface="Arial" pitchFamily="34" charset="0"/>
                </a:endParaRPr>
              </a:p>
            </p:txBody>
          </p:sp>
          <p:sp>
            <p:nvSpPr>
              <p:cNvPr id="37" name="Left Brace 36"/>
              <p:cNvSpPr/>
              <p:nvPr/>
            </p:nvSpPr>
            <p:spPr>
              <a:xfrm>
                <a:off x="5388510" y="2126287"/>
                <a:ext cx="152895" cy="1402586"/>
              </a:xfrm>
              <a:prstGeom prst="leftBrace">
                <a:avLst/>
              </a:prstGeom>
              <a:ln>
                <a:solidFill>
                  <a:srgbClr val="71111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 name="Group 15"/>
            <p:cNvGrpSpPr/>
            <p:nvPr/>
          </p:nvGrpSpPr>
          <p:grpSpPr>
            <a:xfrm>
              <a:off x="1131873" y="2366284"/>
              <a:ext cx="4169664" cy="1471256"/>
              <a:chOff x="1131873" y="2240844"/>
              <a:chExt cx="4169664" cy="1471256"/>
            </a:xfrm>
          </p:grpSpPr>
          <p:sp>
            <p:nvSpPr>
              <p:cNvPr id="12" name="Notched Right Arrow 11"/>
              <p:cNvSpPr/>
              <p:nvPr/>
            </p:nvSpPr>
            <p:spPr>
              <a:xfrm rot="16200000">
                <a:off x="3834655" y="2837911"/>
                <a:ext cx="1471256" cy="277122"/>
              </a:xfrm>
              <a:prstGeom prst="notchedRightArrow">
                <a:avLst>
                  <a:gd name="adj1" fmla="val 100000"/>
                  <a:gd name="adj2" fmla="val 74138"/>
                </a:avLst>
              </a:prstGeom>
              <a:solidFill>
                <a:srgbClr val="E0384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endParaRPr lang="en-US" sz="2000" b="1"/>
              </a:p>
            </p:txBody>
          </p:sp>
          <p:grpSp>
            <p:nvGrpSpPr>
              <p:cNvPr id="8" name="Group 82"/>
              <p:cNvGrpSpPr/>
              <p:nvPr/>
            </p:nvGrpSpPr>
            <p:grpSpPr>
              <a:xfrm flipH="1">
                <a:off x="1131873" y="2557310"/>
                <a:ext cx="4169664" cy="640080"/>
                <a:chOff x="0" y="5065566"/>
                <a:chExt cx="4166758" cy="976745"/>
              </a:xfrm>
            </p:grpSpPr>
            <p:sp>
              <p:nvSpPr>
                <p:cNvPr id="14" name="Freeform 13"/>
                <p:cNvSpPr/>
                <p:nvPr/>
              </p:nvSpPr>
              <p:spPr>
                <a:xfrm>
                  <a:off x="0" y="5065566"/>
                  <a:ext cx="4166758" cy="800099"/>
                </a:xfrm>
                <a:custGeom>
                  <a:avLst/>
                  <a:gdLst>
                    <a:gd name="connsiteX0" fmla="*/ 455897 w 4166758"/>
                    <a:gd name="connsiteY0" fmla="*/ 0 h 800099"/>
                    <a:gd name="connsiteX1" fmla="*/ 3855031 w 4166758"/>
                    <a:gd name="connsiteY1" fmla="*/ 0 h 800099"/>
                    <a:gd name="connsiteX2" fmla="*/ 4166758 w 4166758"/>
                    <a:gd name="connsiteY2" fmla="*/ 311727 h 800099"/>
                    <a:gd name="connsiteX3" fmla="*/ 3855031 w 4166758"/>
                    <a:gd name="connsiteY3" fmla="*/ 623454 h 800099"/>
                    <a:gd name="connsiteX4" fmla="*/ 1517075 w 4166758"/>
                    <a:gd name="connsiteY4" fmla="*/ 623454 h 800099"/>
                    <a:gd name="connsiteX5" fmla="*/ 1517075 w 4166758"/>
                    <a:gd name="connsiteY5" fmla="*/ 623449 h 800099"/>
                    <a:gd name="connsiteX6" fmla="*/ 592284 w 4166758"/>
                    <a:gd name="connsiteY6" fmla="*/ 623449 h 800099"/>
                    <a:gd name="connsiteX7" fmla="*/ 592284 w 4166758"/>
                    <a:gd name="connsiteY7" fmla="*/ 623454 h 800099"/>
                    <a:gd name="connsiteX8" fmla="*/ 176649 w 4166758"/>
                    <a:gd name="connsiteY8" fmla="*/ 623454 h 800099"/>
                    <a:gd name="connsiteX9" fmla="*/ 13885 w 4166758"/>
                    <a:gd name="connsiteY9" fmla="*/ 731342 h 800099"/>
                    <a:gd name="connsiteX10" fmla="*/ 3 w 4166758"/>
                    <a:gd name="connsiteY10" fmla="*/ 800099 h 800099"/>
                    <a:gd name="connsiteX11" fmla="*/ 3 w 4166758"/>
                    <a:gd name="connsiteY11" fmla="*/ 800099 h 800099"/>
                    <a:gd name="connsiteX12" fmla="*/ 3 w 4166758"/>
                    <a:gd name="connsiteY12" fmla="*/ 446808 h 800099"/>
                    <a:gd name="connsiteX13" fmla="*/ 4 w 4166758"/>
                    <a:gd name="connsiteY13" fmla="*/ 446808 h 800099"/>
                    <a:gd name="connsiteX14" fmla="*/ 4 w 4166758"/>
                    <a:gd name="connsiteY14" fmla="*/ 176666 h 800099"/>
                    <a:gd name="connsiteX15" fmla="*/ 0 w 4166758"/>
                    <a:gd name="connsiteY15" fmla="*/ 176647 h 800099"/>
                    <a:gd name="connsiteX16" fmla="*/ 13882 w 4166758"/>
                    <a:gd name="connsiteY16" fmla="*/ 107889 h 800099"/>
                    <a:gd name="connsiteX17" fmla="*/ 176646 w 4166758"/>
                    <a:gd name="connsiteY17" fmla="*/ 1 h 800099"/>
                    <a:gd name="connsiteX18" fmla="*/ 455897 w 4166758"/>
                    <a:gd name="connsiteY18" fmla="*/ 1 h 80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66758" h="800099">
                      <a:moveTo>
                        <a:pt x="455897" y="0"/>
                      </a:moveTo>
                      <a:lnTo>
                        <a:pt x="3855031" y="0"/>
                      </a:lnTo>
                      <a:lnTo>
                        <a:pt x="4166758" y="311727"/>
                      </a:lnTo>
                      <a:lnTo>
                        <a:pt x="3855031" y="623454"/>
                      </a:lnTo>
                      <a:lnTo>
                        <a:pt x="1517075" y="623454"/>
                      </a:lnTo>
                      <a:lnTo>
                        <a:pt x="1517075" y="623449"/>
                      </a:lnTo>
                      <a:lnTo>
                        <a:pt x="592284" y="623449"/>
                      </a:lnTo>
                      <a:lnTo>
                        <a:pt x="592284" y="623454"/>
                      </a:lnTo>
                      <a:lnTo>
                        <a:pt x="176649" y="623454"/>
                      </a:lnTo>
                      <a:cubicBezTo>
                        <a:pt x="103480" y="623454"/>
                        <a:pt x="40701" y="667941"/>
                        <a:pt x="13885" y="731342"/>
                      </a:cubicBezTo>
                      <a:lnTo>
                        <a:pt x="3" y="800099"/>
                      </a:lnTo>
                      <a:lnTo>
                        <a:pt x="3" y="800099"/>
                      </a:lnTo>
                      <a:lnTo>
                        <a:pt x="3" y="446808"/>
                      </a:lnTo>
                      <a:lnTo>
                        <a:pt x="4" y="446808"/>
                      </a:lnTo>
                      <a:lnTo>
                        <a:pt x="4" y="176666"/>
                      </a:lnTo>
                      <a:lnTo>
                        <a:pt x="0" y="176647"/>
                      </a:lnTo>
                      <a:lnTo>
                        <a:pt x="13882" y="107889"/>
                      </a:lnTo>
                      <a:cubicBezTo>
                        <a:pt x="40698" y="44488"/>
                        <a:pt x="103477" y="1"/>
                        <a:pt x="176646" y="1"/>
                      </a:cubicBezTo>
                      <a:lnTo>
                        <a:pt x="455897" y="1"/>
                      </a:lnTo>
                      <a:close/>
                    </a:path>
                  </a:pathLst>
                </a:custGeom>
                <a:solidFill>
                  <a:srgbClr val="BE1D2C"/>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rIns="457200" rtlCol="0" anchor="t"/>
                <a:lstStyle/>
                <a:p>
                  <a:pPr algn="r"/>
                  <a:endParaRPr lang="en-US" sz="2000" b="1" dirty="0">
                    <a:effectLst>
                      <a:outerShdw blurRad="38100" dist="38100" dir="2700000" algn="tl">
                        <a:srgbClr val="000000">
                          <a:alpha val="43137"/>
                        </a:srgbClr>
                      </a:outerShdw>
                    </a:effectLst>
                  </a:endParaRPr>
                </a:p>
              </p:txBody>
            </p:sp>
            <p:sp>
              <p:nvSpPr>
                <p:cNvPr id="15" name="Freeform 14"/>
                <p:cNvSpPr/>
                <p:nvPr/>
              </p:nvSpPr>
              <p:spPr>
                <a:xfrm>
                  <a:off x="0" y="5689019"/>
                  <a:ext cx="592282" cy="353292"/>
                </a:xfrm>
                <a:custGeom>
                  <a:avLst/>
                  <a:gdLst>
                    <a:gd name="connsiteX0" fmla="*/ 0 w 592282"/>
                    <a:gd name="connsiteY0" fmla="*/ 176645 h 353292"/>
                    <a:gd name="connsiteX1" fmla="*/ 0 w 592282"/>
                    <a:gd name="connsiteY1" fmla="*/ 176646 h 353292"/>
                    <a:gd name="connsiteX2" fmla="*/ 0 w 592282"/>
                    <a:gd name="connsiteY2" fmla="*/ 176646 h 353292"/>
                    <a:gd name="connsiteX3" fmla="*/ 176646 w 592282"/>
                    <a:gd name="connsiteY3" fmla="*/ 0 h 353292"/>
                    <a:gd name="connsiteX4" fmla="*/ 592282 w 592282"/>
                    <a:gd name="connsiteY4" fmla="*/ 0 h 353292"/>
                    <a:gd name="connsiteX5" fmla="*/ 592282 w 592282"/>
                    <a:gd name="connsiteY5" fmla="*/ 353292 h 353292"/>
                    <a:gd name="connsiteX6" fmla="*/ 176646 w 592282"/>
                    <a:gd name="connsiteY6" fmla="*/ 353291 h 353292"/>
                    <a:gd name="connsiteX7" fmla="*/ 13882 w 592282"/>
                    <a:gd name="connsiteY7" fmla="*/ 245404 h 353292"/>
                    <a:gd name="connsiteX8" fmla="*/ 0 w 592282"/>
                    <a:gd name="connsiteY8" fmla="*/ 176646 h 353292"/>
                    <a:gd name="connsiteX9" fmla="*/ 13882 w 592282"/>
                    <a:gd name="connsiteY9" fmla="*/ 107888 h 353292"/>
                    <a:gd name="connsiteX10" fmla="*/ 176646 w 592282"/>
                    <a:gd name="connsiteY10" fmla="*/ 0 h 35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282" h="353292">
                      <a:moveTo>
                        <a:pt x="0" y="176645"/>
                      </a:moveTo>
                      <a:lnTo>
                        <a:pt x="0" y="176646"/>
                      </a:lnTo>
                      <a:lnTo>
                        <a:pt x="0" y="176646"/>
                      </a:lnTo>
                      <a:close/>
                      <a:moveTo>
                        <a:pt x="176646" y="0"/>
                      </a:moveTo>
                      <a:lnTo>
                        <a:pt x="592282" y="0"/>
                      </a:lnTo>
                      <a:lnTo>
                        <a:pt x="592282" y="353292"/>
                      </a:lnTo>
                      <a:lnTo>
                        <a:pt x="176646" y="353291"/>
                      </a:lnTo>
                      <a:cubicBezTo>
                        <a:pt x="103477" y="353291"/>
                        <a:pt x="40698" y="308805"/>
                        <a:pt x="13882" y="245404"/>
                      </a:cubicBezTo>
                      <a:lnTo>
                        <a:pt x="0" y="176646"/>
                      </a:lnTo>
                      <a:lnTo>
                        <a:pt x="13882" y="107888"/>
                      </a:lnTo>
                      <a:cubicBezTo>
                        <a:pt x="40698" y="44487"/>
                        <a:pt x="103477" y="0"/>
                        <a:pt x="176646" y="0"/>
                      </a:cubicBezTo>
                      <a:close/>
                    </a:path>
                  </a:pathLst>
                </a:custGeom>
                <a:solidFill>
                  <a:srgbClr val="7111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TextBox 41"/>
              <p:cNvSpPr txBox="1"/>
              <p:nvPr/>
            </p:nvSpPr>
            <p:spPr>
              <a:xfrm>
                <a:off x="1357678" y="2565795"/>
                <a:ext cx="1889556" cy="400110"/>
              </a:xfrm>
              <a:prstGeom prst="rect">
                <a:avLst/>
              </a:prstGeom>
              <a:noFill/>
            </p:spPr>
            <p:txBody>
              <a:bodyPr wrap="none" rtlCol="0">
                <a:spAutoFit/>
              </a:bodyPr>
              <a:lstStyle/>
              <a:p>
                <a:r>
                  <a:rPr lang="en-US" sz="2000" b="1" dirty="0" err="1" smtClean="0">
                    <a:solidFill>
                      <a:schemeClr val="bg1"/>
                    </a:solidFill>
                  </a:rPr>
                  <a:t>Penilaian</a:t>
                </a:r>
                <a:r>
                  <a:rPr lang="en-US" sz="2000" b="1" dirty="0" smtClean="0">
                    <a:solidFill>
                      <a:schemeClr val="bg1"/>
                    </a:solidFill>
                  </a:rPr>
                  <a:t> </a:t>
                </a:r>
                <a:r>
                  <a:rPr lang="en-US" sz="2000" b="1" dirty="0" err="1" smtClean="0">
                    <a:solidFill>
                      <a:schemeClr val="bg1"/>
                    </a:solidFill>
                  </a:rPr>
                  <a:t>Kedua</a:t>
                </a:r>
                <a:endParaRPr lang="en-US" sz="2000" b="1" dirty="0">
                  <a:solidFill>
                    <a:schemeClr val="bg1"/>
                  </a:solidFill>
                </a:endParaRPr>
              </a:p>
            </p:txBody>
          </p:sp>
        </p:grpSp>
      </p:grpSp>
      <p:grpSp>
        <p:nvGrpSpPr>
          <p:cNvPr id="11" name="Group 45"/>
          <p:cNvGrpSpPr/>
          <p:nvPr/>
        </p:nvGrpSpPr>
        <p:grpSpPr>
          <a:xfrm>
            <a:off x="1131873" y="5020986"/>
            <a:ext cx="7805134" cy="1480075"/>
            <a:chOff x="1131873" y="5005306"/>
            <a:chExt cx="7805134" cy="1480075"/>
          </a:xfrm>
        </p:grpSpPr>
        <p:grpSp>
          <p:nvGrpSpPr>
            <p:cNvPr id="13" name="Group 7"/>
            <p:cNvGrpSpPr/>
            <p:nvPr/>
          </p:nvGrpSpPr>
          <p:grpSpPr>
            <a:xfrm>
              <a:off x="5343418" y="5082795"/>
              <a:ext cx="3593589" cy="1402586"/>
              <a:chOff x="5343418" y="5035755"/>
              <a:chExt cx="3593589" cy="1402586"/>
            </a:xfrm>
          </p:grpSpPr>
          <p:sp>
            <p:nvSpPr>
              <p:cNvPr id="33" name="Rectangle 32"/>
              <p:cNvSpPr/>
              <p:nvPr/>
            </p:nvSpPr>
            <p:spPr>
              <a:xfrm>
                <a:off x="5451222" y="5109555"/>
                <a:ext cx="3485785" cy="1200329"/>
              </a:xfrm>
              <a:prstGeom prst="rect">
                <a:avLst/>
              </a:prstGeom>
            </p:spPr>
            <p:txBody>
              <a:bodyPr wrap="square">
                <a:spAutoFit/>
              </a:bodyPr>
              <a:lstStyle/>
              <a:p>
                <a:pPr marL="285750" indent="-285750">
                  <a:buFont typeface="Arial" pitchFamily="34" charset="0"/>
                  <a:buChar char="•"/>
                </a:pPr>
                <a:r>
                  <a:rPr lang="en-US" dirty="0" err="1" smtClean="0">
                    <a:solidFill>
                      <a:schemeClr val="accent4">
                        <a:lumMod val="50000"/>
                      </a:schemeClr>
                    </a:solidFill>
                    <a:latin typeface="Arial" pitchFamily="34" charset="0"/>
                    <a:cs typeface="Arial" pitchFamily="34" charset="0"/>
                  </a:rPr>
                  <a:t>Perbincanganan</a:t>
                </a:r>
                <a:r>
                  <a:rPr lang="en-US" dirty="0" smtClean="0">
                    <a:solidFill>
                      <a:schemeClr val="accent4">
                        <a:lumMod val="50000"/>
                      </a:schemeClr>
                    </a:solidFill>
                    <a:latin typeface="Arial" pitchFamily="34" charset="0"/>
                    <a:cs typeface="Arial" pitchFamily="34" charset="0"/>
                  </a:rPr>
                  <a:t> PP1 &amp; PP2 </a:t>
                </a:r>
                <a:r>
                  <a:rPr lang="en-US" dirty="0" err="1" smtClean="0">
                    <a:solidFill>
                      <a:schemeClr val="accent4">
                        <a:lumMod val="50000"/>
                      </a:schemeClr>
                    </a:solidFill>
                    <a:latin typeface="Arial" pitchFamily="34" charset="0"/>
                    <a:cs typeface="Arial" pitchFamily="34" charset="0"/>
                  </a:rPr>
                  <a:t>untuk</a:t>
                </a:r>
                <a:r>
                  <a:rPr lang="en-US" dirty="0" smtClean="0">
                    <a:solidFill>
                      <a:schemeClr val="accent4">
                        <a:lumMod val="50000"/>
                      </a:schemeClr>
                    </a:solidFill>
                    <a:latin typeface="Arial" pitchFamily="34" charset="0"/>
                    <a:cs typeface="Arial" pitchFamily="34" charset="0"/>
                  </a:rPr>
                  <a:t> </a:t>
                </a:r>
                <a:r>
                  <a:rPr lang="en-US" dirty="0" err="1" smtClean="0">
                    <a:solidFill>
                      <a:schemeClr val="accent4">
                        <a:lumMod val="50000"/>
                      </a:schemeClr>
                    </a:solidFill>
                    <a:latin typeface="Arial" pitchFamily="34" charset="0"/>
                    <a:cs typeface="Arial" pitchFamily="34" charset="0"/>
                  </a:rPr>
                  <a:t>penetapan</a:t>
                </a:r>
                <a:r>
                  <a:rPr lang="en-US" dirty="0" smtClean="0">
                    <a:solidFill>
                      <a:schemeClr val="accent4">
                        <a:lumMod val="50000"/>
                      </a:schemeClr>
                    </a:solidFill>
                    <a:latin typeface="Arial" pitchFamily="34" charset="0"/>
                    <a:cs typeface="Arial" pitchFamily="34" charset="0"/>
                  </a:rPr>
                  <a:t> </a:t>
                </a:r>
                <a:r>
                  <a:rPr lang="en-US" dirty="0" err="1" smtClean="0">
                    <a:solidFill>
                      <a:schemeClr val="accent4">
                        <a:lumMod val="50000"/>
                      </a:schemeClr>
                    </a:solidFill>
                    <a:latin typeface="Arial" pitchFamily="34" charset="0"/>
                    <a:cs typeface="Arial" pitchFamily="34" charset="0"/>
                  </a:rPr>
                  <a:t>sasaran</a:t>
                </a:r>
                <a:r>
                  <a:rPr lang="en-US" dirty="0" smtClean="0">
                    <a:solidFill>
                      <a:schemeClr val="accent4">
                        <a:lumMod val="50000"/>
                      </a:schemeClr>
                    </a:solidFill>
                    <a:latin typeface="Arial" pitchFamily="34" charset="0"/>
                    <a:cs typeface="Arial" pitchFamily="34" charset="0"/>
                  </a:rPr>
                  <a:t> </a:t>
                </a:r>
                <a:r>
                  <a:rPr lang="en-US" dirty="0" err="1" smtClean="0">
                    <a:solidFill>
                      <a:schemeClr val="accent4">
                        <a:lumMod val="50000"/>
                      </a:schemeClr>
                    </a:solidFill>
                    <a:latin typeface="Arial" pitchFamily="34" charset="0"/>
                    <a:cs typeface="Arial" pitchFamily="34" charset="0"/>
                  </a:rPr>
                  <a:t>keberhasilan</a:t>
                </a:r>
                <a:r>
                  <a:rPr lang="en-US" dirty="0" smtClean="0">
                    <a:solidFill>
                      <a:schemeClr val="accent4">
                        <a:lumMod val="50000"/>
                      </a:schemeClr>
                    </a:solidFill>
                    <a:latin typeface="Arial" pitchFamily="34" charset="0"/>
                    <a:cs typeface="Arial" pitchFamily="34" charset="0"/>
                  </a:rPr>
                  <a:t> </a:t>
                </a:r>
                <a:r>
                  <a:rPr lang="en-US" dirty="0" err="1" smtClean="0">
                    <a:solidFill>
                      <a:schemeClr val="accent4">
                        <a:lumMod val="50000"/>
                      </a:schemeClr>
                    </a:solidFill>
                    <a:latin typeface="Arial" pitchFamily="34" charset="0"/>
                    <a:cs typeface="Arial" pitchFamily="34" charset="0"/>
                  </a:rPr>
                  <a:t>pada</a:t>
                </a:r>
                <a:r>
                  <a:rPr lang="en-US" dirty="0" smtClean="0">
                    <a:solidFill>
                      <a:schemeClr val="accent4">
                        <a:lumMod val="50000"/>
                      </a:schemeClr>
                    </a:solidFill>
                    <a:latin typeface="Arial" pitchFamily="34" charset="0"/>
                    <a:cs typeface="Arial" pitchFamily="34" charset="0"/>
                  </a:rPr>
                  <a:t> </a:t>
                </a:r>
                <a:r>
                  <a:rPr lang="en-US" dirty="0" err="1" smtClean="0">
                    <a:solidFill>
                      <a:schemeClr val="accent4">
                        <a:lumMod val="50000"/>
                      </a:schemeClr>
                    </a:solidFill>
                    <a:latin typeface="Arial" pitchFamily="34" charset="0"/>
                    <a:cs typeface="Arial" pitchFamily="34" charset="0"/>
                  </a:rPr>
                  <a:t>tahun</a:t>
                </a:r>
                <a:r>
                  <a:rPr lang="en-US" dirty="0" smtClean="0">
                    <a:solidFill>
                      <a:schemeClr val="accent4">
                        <a:lumMod val="50000"/>
                      </a:schemeClr>
                    </a:solidFill>
                    <a:latin typeface="Arial" pitchFamily="34" charset="0"/>
                    <a:cs typeface="Arial" pitchFamily="34" charset="0"/>
                  </a:rPr>
                  <a:t> </a:t>
                </a:r>
                <a:r>
                  <a:rPr lang="en-US" dirty="0" err="1" smtClean="0">
                    <a:solidFill>
                      <a:schemeClr val="accent4">
                        <a:lumMod val="50000"/>
                      </a:schemeClr>
                    </a:solidFill>
                    <a:latin typeface="Arial" pitchFamily="34" charset="0"/>
                    <a:cs typeface="Arial" pitchFamily="34" charset="0"/>
                  </a:rPr>
                  <a:t>semasa</a:t>
                </a:r>
                <a:endParaRPr lang="en-US" dirty="0">
                  <a:solidFill>
                    <a:schemeClr val="accent4">
                      <a:lumMod val="50000"/>
                    </a:schemeClr>
                  </a:solidFill>
                  <a:latin typeface="Arial" pitchFamily="34" charset="0"/>
                  <a:cs typeface="Arial" pitchFamily="34" charset="0"/>
                </a:endParaRPr>
              </a:p>
            </p:txBody>
          </p:sp>
          <p:sp>
            <p:nvSpPr>
              <p:cNvPr id="36" name="Left Brace 35"/>
              <p:cNvSpPr/>
              <p:nvPr/>
            </p:nvSpPr>
            <p:spPr>
              <a:xfrm>
                <a:off x="5343418" y="5035755"/>
                <a:ext cx="152895" cy="1402586"/>
              </a:xfrm>
              <a:prstGeom prst="leftBrace">
                <a:avLst/>
              </a:prstGeom>
              <a:ln>
                <a:solidFill>
                  <a:srgbClr val="37374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6" name="Group 5"/>
            <p:cNvGrpSpPr/>
            <p:nvPr/>
          </p:nvGrpSpPr>
          <p:grpSpPr>
            <a:xfrm>
              <a:off x="1131873" y="5005306"/>
              <a:ext cx="4169664" cy="1471256"/>
              <a:chOff x="1131873" y="4958266"/>
              <a:chExt cx="4169664" cy="1471256"/>
            </a:xfrm>
          </p:grpSpPr>
          <p:sp>
            <p:nvSpPr>
              <p:cNvPr id="22" name="Notched Right Arrow 21"/>
              <p:cNvSpPr/>
              <p:nvPr/>
            </p:nvSpPr>
            <p:spPr>
              <a:xfrm rot="16200000">
                <a:off x="3834656" y="5555333"/>
                <a:ext cx="1471256" cy="277122"/>
              </a:xfrm>
              <a:prstGeom prst="notchedRightArrow">
                <a:avLst>
                  <a:gd name="adj1" fmla="val 100000"/>
                  <a:gd name="adj2" fmla="val 74138"/>
                </a:avLst>
              </a:prstGeom>
              <a:solidFill>
                <a:srgbClr val="7A7A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t" anchorCtr="0" forceAA="0" compatLnSpc="1">
                <a:prstTxWarp prst="textNoShape">
                  <a:avLst/>
                </a:prstTxWarp>
                <a:noAutofit/>
              </a:bodyPr>
              <a:lstStyle/>
              <a:p>
                <a:endParaRPr lang="en-US" sz="2000" b="1"/>
              </a:p>
            </p:txBody>
          </p:sp>
          <p:grpSp>
            <p:nvGrpSpPr>
              <p:cNvPr id="18" name="Group 74"/>
              <p:cNvGrpSpPr/>
              <p:nvPr/>
            </p:nvGrpSpPr>
            <p:grpSpPr>
              <a:xfrm flipH="1">
                <a:off x="1131873" y="5460707"/>
                <a:ext cx="4169664" cy="640080"/>
                <a:chOff x="0" y="5065566"/>
                <a:chExt cx="4166758" cy="976745"/>
              </a:xfrm>
            </p:grpSpPr>
            <p:sp>
              <p:nvSpPr>
                <p:cNvPr id="24" name="Freeform 23"/>
                <p:cNvSpPr/>
                <p:nvPr/>
              </p:nvSpPr>
              <p:spPr>
                <a:xfrm>
                  <a:off x="0" y="5065566"/>
                  <a:ext cx="4166758" cy="976745"/>
                </a:xfrm>
                <a:custGeom>
                  <a:avLst/>
                  <a:gdLst>
                    <a:gd name="connsiteX0" fmla="*/ 455897 w 4166758"/>
                    <a:gd name="connsiteY0" fmla="*/ 0 h 800099"/>
                    <a:gd name="connsiteX1" fmla="*/ 3855031 w 4166758"/>
                    <a:gd name="connsiteY1" fmla="*/ 0 h 800099"/>
                    <a:gd name="connsiteX2" fmla="*/ 4166758 w 4166758"/>
                    <a:gd name="connsiteY2" fmla="*/ 311727 h 800099"/>
                    <a:gd name="connsiteX3" fmla="*/ 3855031 w 4166758"/>
                    <a:gd name="connsiteY3" fmla="*/ 623454 h 800099"/>
                    <a:gd name="connsiteX4" fmla="*/ 1517075 w 4166758"/>
                    <a:gd name="connsiteY4" fmla="*/ 623454 h 800099"/>
                    <a:gd name="connsiteX5" fmla="*/ 1517075 w 4166758"/>
                    <a:gd name="connsiteY5" fmla="*/ 623449 h 800099"/>
                    <a:gd name="connsiteX6" fmla="*/ 592284 w 4166758"/>
                    <a:gd name="connsiteY6" fmla="*/ 623449 h 800099"/>
                    <a:gd name="connsiteX7" fmla="*/ 592284 w 4166758"/>
                    <a:gd name="connsiteY7" fmla="*/ 623454 h 800099"/>
                    <a:gd name="connsiteX8" fmla="*/ 176649 w 4166758"/>
                    <a:gd name="connsiteY8" fmla="*/ 623454 h 800099"/>
                    <a:gd name="connsiteX9" fmla="*/ 13885 w 4166758"/>
                    <a:gd name="connsiteY9" fmla="*/ 731342 h 800099"/>
                    <a:gd name="connsiteX10" fmla="*/ 3 w 4166758"/>
                    <a:gd name="connsiteY10" fmla="*/ 800099 h 800099"/>
                    <a:gd name="connsiteX11" fmla="*/ 3 w 4166758"/>
                    <a:gd name="connsiteY11" fmla="*/ 800099 h 800099"/>
                    <a:gd name="connsiteX12" fmla="*/ 3 w 4166758"/>
                    <a:gd name="connsiteY12" fmla="*/ 446808 h 800099"/>
                    <a:gd name="connsiteX13" fmla="*/ 4 w 4166758"/>
                    <a:gd name="connsiteY13" fmla="*/ 446808 h 800099"/>
                    <a:gd name="connsiteX14" fmla="*/ 4 w 4166758"/>
                    <a:gd name="connsiteY14" fmla="*/ 176666 h 800099"/>
                    <a:gd name="connsiteX15" fmla="*/ 0 w 4166758"/>
                    <a:gd name="connsiteY15" fmla="*/ 176647 h 800099"/>
                    <a:gd name="connsiteX16" fmla="*/ 13882 w 4166758"/>
                    <a:gd name="connsiteY16" fmla="*/ 107889 h 800099"/>
                    <a:gd name="connsiteX17" fmla="*/ 176646 w 4166758"/>
                    <a:gd name="connsiteY17" fmla="*/ 1 h 800099"/>
                    <a:gd name="connsiteX18" fmla="*/ 455897 w 4166758"/>
                    <a:gd name="connsiteY18" fmla="*/ 1 h 80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66758" h="800099">
                      <a:moveTo>
                        <a:pt x="455897" y="0"/>
                      </a:moveTo>
                      <a:lnTo>
                        <a:pt x="3855031" y="0"/>
                      </a:lnTo>
                      <a:lnTo>
                        <a:pt x="4166758" y="311727"/>
                      </a:lnTo>
                      <a:lnTo>
                        <a:pt x="3855031" y="623454"/>
                      </a:lnTo>
                      <a:lnTo>
                        <a:pt x="1517075" y="623454"/>
                      </a:lnTo>
                      <a:lnTo>
                        <a:pt x="1517075" y="623449"/>
                      </a:lnTo>
                      <a:lnTo>
                        <a:pt x="592284" y="623449"/>
                      </a:lnTo>
                      <a:lnTo>
                        <a:pt x="592284" y="623454"/>
                      </a:lnTo>
                      <a:lnTo>
                        <a:pt x="176649" y="623454"/>
                      </a:lnTo>
                      <a:cubicBezTo>
                        <a:pt x="103480" y="623454"/>
                        <a:pt x="40701" y="667941"/>
                        <a:pt x="13885" y="731342"/>
                      </a:cubicBezTo>
                      <a:lnTo>
                        <a:pt x="3" y="800099"/>
                      </a:lnTo>
                      <a:lnTo>
                        <a:pt x="3" y="800099"/>
                      </a:lnTo>
                      <a:lnTo>
                        <a:pt x="3" y="446808"/>
                      </a:lnTo>
                      <a:lnTo>
                        <a:pt x="4" y="446808"/>
                      </a:lnTo>
                      <a:lnTo>
                        <a:pt x="4" y="176666"/>
                      </a:lnTo>
                      <a:lnTo>
                        <a:pt x="0" y="176647"/>
                      </a:lnTo>
                      <a:lnTo>
                        <a:pt x="13882" y="107889"/>
                      </a:lnTo>
                      <a:cubicBezTo>
                        <a:pt x="40698" y="44488"/>
                        <a:pt x="103477" y="1"/>
                        <a:pt x="176646" y="1"/>
                      </a:cubicBezTo>
                      <a:lnTo>
                        <a:pt x="455897" y="1"/>
                      </a:lnTo>
                      <a:close/>
                    </a:path>
                  </a:pathLst>
                </a:custGeom>
                <a:solidFill>
                  <a:srgbClr val="5A5A7B"/>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457200" rtlCol="0" anchor="t"/>
                <a:lstStyle/>
                <a:p>
                  <a:pPr algn="r"/>
                  <a:endParaRPr lang="en-US" sz="2000" b="1" dirty="0">
                    <a:effectLst>
                      <a:outerShdw blurRad="38100" dist="38100" dir="2700000" algn="tl">
                        <a:srgbClr val="000000">
                          <a:alpha val="43137"/>
                        </a:srgbClr>
                      </a:outerShdw>
                    </a:effectLst>
                  </a:endParaRPr>
                </a:p>
              </p:txBody>
            </p:sp>
            <p:sp>
              <p:nvSpPr>
                <p:cNvPr id="25" name="Freeform 24"/>
                <p:cNvSpPr/>
                <p:nvPr/>
              </p:nvSpPr>
              <p:spPr>
                <a:xfrm>
                  <a:off x="0" y="5689019"/>
                  <a:ext cx="592282" cy="353292"/>
                </a:xfrm>
                <a:custGeom>
                  <a:avLst/>
                  <a:gdLst>
                    <a:gd name="connsiteX0" fmla="*/ 0 w 592282"/>
                    <a:gd name="connsiteY0" fmla="*/ 176645 h 353292"/>
                    <a:gd name="connsiteX1" fmla="*/ 0 w 592282"/>
                    <a:gd name="connsiteY1" fmla="*/ 176646 h 353292"/>
                    <a:gd name="connsiteX2" fmla="*/ 0 w 592282"/>
                    <a:gd name="connsiteY2" fmla="*/ 176646 h 353292"/>
                    <a:gd name="connsiteX3" fmla="*/ 176646 w 592282"/>
                    <a:gd name="connsiteY3" fmla="*/ 0 h 353292"/>
                    <a:gd name="connsiteX4" fmla="*/ 592282 w 592282"/>
                    <a:gd name="connsiteY4" fmla="*/ 0 h 353292"/>
                    <a:gd name="connsiteX5" fmla="*/ 592282 w 592282"/>
                    <a:gd name="connsiteY5" fmla="*/ 353292 h 353292"/>
                    <a:gd name="connsiteX6" fmla="*/ 176646 w 592282"/>
                    <a:gd name="connsiteY6" fmla="*/ 353291 h 353292"/>
                    <a:gd name="connsiteX7" fmla="*/ 13882 w 592282"/>
                    <a:gd name="connsiteY7" fmla="*/ 245404 h 353292"/>
                    <a:gd name="connsiteX8" fmla="*/ 0 w 592282"/>
                    <a:gd name="connsiteY8" fmla="*/ 176646 h 353292"/>
                    <a:gd name="connsiteX9" fmla="*/ 13882 w 592282"/>
                    <a:gd name="connsiteY9" fmla="*/ 107888 h 353292"/>
                    <a:gd name="connsiteX10" fmla="*/ 176646 w 592282"/>
                    <a:gd name="connsiteY10" fmla="*/ 0 h 35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282" h="353292">
                      <a:moveTo>
                        <a:pt x="0" y="176645"/>
                      </a:moveTo>
                      <a:lnTo>
                        <a:pt x="0" y="176646"/>
                      </a:lnTo>
                      <a:lnTo>
                        <a:pt x="0" y="176646"/>
                      </a:lnTo>
                      <a:close/>
                      <a:moveTo>
                        <a:pt x="176646" y="0"/>
                      </a:moveTo>
                      <a:lnTo>
                        <a:pt x="592282" y="0"/>
                      </a:lnTo>
                      <a:lnTo>
                        <a:pt x="592282" y="353292"/>
                      </a:lnTo>
                      <a:lnTo>
                        <a:pt x="176646" y="353291"/>
                      </a:lnTo>
                      <a:cubicBezTo>
                        <a:pt x="103477" y="353291"/>
                        <a:pt x="40698" y="308805"/>
                        <a:pt x="13882" y="245404"/>
                      </a:cubicBezTo>
                      <a:lnTo>
                        <a:pt x="0" y="176646"/>
                      </a:lnTo>
                      <a:lnTo>
                        <a:pt x="13882" y="107888"/>
                      </a:lnTo>
                      <a:cubicBezTo>
                        <a:pt x="40698" y="44487"/>
                        <a:pt x="103477" y="0"/>
                        <a:pt x="176646" y="0"/>
                      </a:cubicBezTo>
                      <a:close/>
                    </a:path>
                  </a:pathLst>
                </a:custGeom>
                <a:solidFill>
                  <a:srgbClr val="3737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TextBox 42"/>
              <p:cNvSpPr txBox="1"/>
              <p:nvPr/>
            </p:nvSpPr>
            <p:spPr>
              <a:xfrm>
                <a:off x="1388674" y="5488707"/>
                <a:ext cx="1517531" cy="400110"/>
              </a:xfrm>
              <a:prstGeom prst="rect">
                <a:avLst/>
              </a:prstGeom>
              <a:noFill/>
            </p:spPr>
            <p:txBody>
              <a:bodyPr wrap="none" rtlCol="0">
                <a:spAutoFit/>
              </a:bodyPr>
              <a:lstStyle/>
              <a:p>
                <a:r>
                  <a:rPr lang="en-US" sz="2000" b="1" dirty="0" err="1" smtClean="0">
                    <a:solidFill>
                      <a:schemeClr val="bg1"/>
                    </a:solidFill>
                  </a:rPr>
                  <a:t>Prapenilaian</a:t>
                </a:r>
                <a:endParaRPr lang="en-US" sz="2000" b="1" dirty="0">
                  <a:solidFill>
                    <a:schemeClr val="bg1"/>
                  </a:solidFill>
                </a:endParaRPr>
              </a:p>
            </p:txBody>
          </p:sp>
        </p:grpSp>
      </p:grpSp>
      <p:grpSp>
        <p:nvGrpSpPr>
          <p:cNvPr id="21" name="Group 29"/>
          <p:cNvGrpSpPr/>
          <p:nvPr/>
        </p:nvGrpSpPr>
        <p:grpSpPr>
          <a:xfrm>
            <a:off x="588475" y="3648246"/>
            <a:ext cx="7420148" cy="1754326"/>
            <a:chOff x="588475" y="3569846"/>
            <a:chExt cx="7420148" cy="1754326"/>
          </a:xfrm>
        </p:grpSpPr>
        <p:grpSp>
          <p:nvGrpSpPr>
            <p:cNvPr id="23" name="Group 28"/>
            <p:cNvGrpSpPr/>
            <p:nvPr/>
          </p:nvGrpSpPr>
          <p:grpSpPr>
            <a:xfrm>
              <a:off x="588475" y="3569846"/>
              <a:ext cx="3216133" cy="1754326"/>
              <a:chOff x="588475" y="3569846"/>
              <a:chExt cx="3216133" cy="1754326"/>
            </a:xfrm>
          </p:grpSpPr>
          <p:sp>
            <p:nvSpPr>
              <p:cNvPr id="32" name="Rectangle 31"/>
              <p:cNvSpPr/>
              <p:nvPr/>
            </p:nvSpPr>
            <p:spPr>
              <a:xfrm>
                <a:off x="588475" y="3569846"/>
                <a:ext cx="3051669" cy="1754326"/>
              </a:xfrm>
              <a:prstGeom prst="rect">
                <a:avLst/>
              </a:prstGeom>
            </p:spPr>
            <p:txBody>
              <a:bodyPr wrap="square">
                <a:spAutoFit/>
              </a:bodyPr>
              <a:lstStyle/>
              <a:p>
                <a:pPr marL="285750" indent="-285750">
                  <a:buFont typeface="Arial" pitchFamily="34" charset="0"/>
                  <a:buChar char="•"/>
                </a:pPr>
                <a:r>
                  <a:rPr lang="en-US" dirty="0" err="1">
                    <a:solidFill>
                      <a:srgbClr val="002060"/>
                    </a:solidFill>
                    <a:latin typeface="Arial" pitchFamily="34" charset="0"/>
                    <a:cs typeface="Arial" pitchFamily="34" charset="0"/>
                  </a:rPr>
                  <a:t>Memaklumkan</a:t>
                </a:r>
                <a:r>
                  <a:rPr lang="en-US" dirty="0">
                    <a:solidFill>
                      <a:srgbClr val="002060"/>
                    </a:solidFill>
                    <a:latin typeface="Arial" pitchFamily="34" charset="0"/>
                    <a:cs typeface="Arial" pitchFamily="34" charset="0"/>
                  </a:rPr>
                  <a:t> </a:t>
                </a:r>
                <a:r>
                  <a:rPr lang="en-US" dirty="0" err="1">
                    <a:solidFill>
                      <a:srgbClr val="002060"/>
                    </a:solidFill>
                    <a:latin typeface="Arial" pitchFamily="34" charset="0"/>
                    <a:cs typeface="Arial" pitchFamily="34" charset="0"/>
                  </a:rPr>
                  <a:t>kepada</a:t>
                </a:r>
                <a:r>
                  <a:rPr lang="en-US" dirty="0">
                    <a:solidFill>
                      <a:srgbClr val="002060"/>
                    </a:solidFill>
                    <a:latin typeface="Arial" pitchFamily="34" charset="0"/>
                    <a:cs typeface="Arial" pitchFamily="34" charset="0"/>
                  </a:rPr>
                  <a:t> PYD </a:t>
                </a:r>
                <a:r>
                  <a:rPr lang="en-US" dirty="0" err="1">
                    <a:solidFill>
                      <a:srgbClr val="002060"/>
                    </a:solidFill>
                    <a:latin typeface="Arial" pitchFamily="34" charset="0"/>
                    <a:cs typeface="Arial" pitchFamily="34" charset="0"/>
                  </a:rPr>
                  <a:t>skor</a:t>
                </a:r>
                <a:r>
                  <a:rPr lang="en-US" dirty="0">
                    <a:solidFill>
                      <a:srgbClr val="002060"/>
                    </a:solidFill>
                    <a:latin typeface="Arial" pitchFamily="34" charset="0"/>
                    <a:cs typeface="Arial" pitchFamily="34" charset="0"/>
                  </a:rPr>
                  <a:t> yang </a:t>
                </a:r>
                <a:r>
                  <a:rPr lang="en-US" dirty="0" err="1">
                    <a:solidFill>
                      <a:srgbClr val="002060"/>
                    </a:solidFill>
                    <a:latin typeface="Arial" pitchFamily="34" charset="0"/>
                    <a:cs typeface="Arial" pitchFamily="34" charset="0"/>
                  </a:rPr>
                  <a:t>diperoleh</a:t>
                </a:r>
                <a:r>
                  <a:rPr lang="en-US" dirty="0">
                    <a:solidFill>
                      <a:srgbClr val="002060"/>
                    </a:solidFill>
                    <a:latin typeface="Arial" pitchFamily="34" charset="0"/>
                    <a:cs typeface="Arial" pitchFamily="34" charset="0"/>
                  </a:rPr>
                  <a:t> </a:t>
                </a:r>
                <a:r>
                  <a:rPr lang="en-US" dirty="0" err="1">
                    <a:solidFill>
                      <a:srgbClr val="002060"/>
                    </a:solidFill>
                    <a:latin typeface="Arial" pitchFamily="34" charset="0"/>
                    <a:cs typeface="Arial" pitchFamily="34" charset="0"/>
                  </a:rPr>
                  <a:t>mengikut</a:t>
                </a:r>
                <a:r>
                  <a:rPr lang="en-US" dirty="0">
                    <a:solidFill>
                      <a:srgbClr val="002060"/>
                    </a:solidFill>
                    <a:latin typeface="Arial" pitchFamily="34" charset="0"/>
                    <a:cs typeface="Arial" pitchFamily="34" charset="0"/>
                  </a:rPr>
                  <a:t> </a:t>
                </a:r>
                <a:r>
                  <a:rPr lang="en-US" dirty="0" err="1">
                    <a:solidFill>
                      <a:srgbClr val="002060"/>
                    </a:solidFill>
                    <a:latin typeface="Arial" pitchFamily="34" charset="0"/>
                    <a:cs typeface="Arial" pitchFamily="34" charset="0"/>
                  </a:rPr>
                  <a:t>aspek</a:t>
                </a:r>
                <a:r>
                  <a:rPr lang="en-US" dirty="0">
                    <a:solidFill>
                      <a:srgbClr val="002060"/>
                    </a:solidFill>
                    <a:latin typeface="Arial" pitchFamily="34" charset="0"/>
                    <a:cs typeface="Arial" pitchFamily="34" charset="0"/>
                  </a:rPr>
                  <a:t> yang </a:t>
                </a:r>
                <a:r>
                  <a:rPr lang="en-US" dirty="0" err="1" smtClean="0">
                    <a:solidFill>
                      <a:srgbClr val="002060"/>
                    </a:solidFill>
                    <a:latin typeface="Arial" pitchFamily="34" charset="0"/>
                    <a:cs typeface="Arial" pitchFamily="34" charset="0"/>
                  </a:rPr>
                  <a:t>dinilai</a:t>
                </a:r>
                <a:endParaRPr lang="en-US" dirty="0" smtClean="0">
                  <a:solidFill>
                    <a:srgbClr val="002060"/>
                  </a:solidFill>
                  <a:latin typeface="Arial" pitchFamily="34" charset="0"/>
                  <a:cs typeface="Arial" pitchFamily="34" charset="0"/>
                </a:endParaRPr>
              </a:p>
              <a:p>
                <a:pPr marL="285750" indent="-285750">
                  <a:buFont typeface="Arial" pitchFamily="34" charset="0"/>
                  <a:buChar char="•"/>
                </a:pPr>
                <a:r>
                  <a:rPr lang="en-US" dirty="0" smtClean="0">
                    <a:solidFill>
                      <a:srgbClr val="002060"/>
                    </a:solidFill>
                    <a:latin typeface="Arial" pitchFamily="34" charset="0"/>
                    <a:cs typeface="Arial" pitchFamily="34" charset="0"/>
                  </a:rPr>
                  <a:t> </a:t>
                </a:r>
                <a:r>
                  <a:rPr lang="en-US" dirty="0" err="1">
                    <a:solidFill>
                      <a:srgbClr val="002060"/>
                    </a:solidFill>
                    <a:latin typeface="Arial" pitchFamily="34" charset="0"/>
                    <a:cs typeface="Arial" pitchFamily="34" charset="0"/>
                  </a:rPr>
                  <a:t>S</a:t>
                </a:r>
                <a:r>
                  <a:rPr lang="en-US" dirty="0" err="1" smtClean="0">
                    <a:solidFill>
                      <a:srgbClr val="002060"/>
                    </a:solidFill>
                    <a:latin typeface="Arial" pitchFamily="34" charset="0"/>
                    <a:cs typeface="Arial" pitchFamily="34" charset="0"/>
                  </a:rPr>
                  <a:t>emakan</a:t>
                </a:r>
                <a:r>
                  <a:rPr lang="en-US" dirty="0" smtClean="0">
                    <a:solidFill>
                      <a:srgbClr val="002060"/>
                    </a:solidFill>
                    <a:latin typeface="Arial" pitchFamily="34" charset="0"/>
                    <a:cs typeface="Arial" pitchFamily="34" charset="0"/>
                  </a:rPr>
                  <a:t> </a:t>
                </a:r>
                <a:r>
                  <a:rPr lang="en-US" dirty="0" err="1">
                    <a:solidFill>
                      <a:srgbClr val="002060"/>
                    </a:solidFill>
                    <a:latin typeface="Arial" pitchFamily="34" charset="0"/>
                    <a:cs typeface="Arial" pitchFamily="34" charset="0"/>
                  </a:rPr>
                  <a:t>s</a:t>
                </a:r>
                <a:r>
                  <a:rPr lang="en-US" dirty="0" err="1" smtClean="0">
                    <a:solidFill>
                      <a:srgbClr val="002060"/>
                    </a:solidFill>
                    <a:latin typeface="Arial" pitchFamily="34" charset="0"/>
                    <a:cs typeface="Arial" pitchFamily="34" charset="0"/>
                  </a:rPr>
                  <a:t>emula</a:t>
                </a:r>
                <a:r>
                  <a:rPr lang="en-US" dirty="0" smtClean="0">
                    <a:solidFill>
                      <a:srgbClr val="002060"/>
                    </a:solidFill>
                    <a:latin typeface="Arial" pitchFamily="34" charset="0"/>
                    <a:cs typeface="Arial" pitchFamily="34" charset="0"/>
                  </a:rPr>
                  <a:t> </a:t>
                </a:r>
                <a:r>
                  <a:rPr lang="en-US" dirty="0" err="1" smtClean="0">
                    <a:solidFill>
                      <a:srgbClr val="002060"/>
                    </a:solidFill>
                    <a:latin typeface="Arial" pitchFamily="34" charset="0"/>
                    <a:cs typeface="Arial" pitchFamily="34" charset="0"/>
                  </a:rPr>
                  <a:t>sasaran</a:t>
                </a:r>
                <a:endParaRPr lang="en-US" dirty="0">
                  <a:solidFill>
                    <a:srgbClr val="002060"/>
                  </a:solidFill>
                  <a:latin typeface="Arial" pitchFamily="34" charset="0"/>
                  <a:cs typeface="Arial" pitchFamily="34" charset="0"/>
                </a:endParaRPr>
              </a:p>
            </p:txBody>
          </p:sp>
          <p:sp>
            <p:nvSpPr>
              <p:cNvPr id="39" name="Left Brace 38"/>
              <p:cNvSpPr/>
              <p:nvPr/>
            </p:nvSpPr>
            <p:spPr>
              <a:xfrm rot="10800000">
                <a:off x="3651713" y="3745716"/>
                <a:ext cx="152895" cy="1402586"/>
              </a:xfrm>
              <a:prstGeom prst="leftBrace">
                <a:avLst/>
              </a:prstGeom>
              <a:ln>
                <a:solidFill>
                  <a:srgbClr val="146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6" name="Group 10"/>
            <p:cNvGrpSpPr/>
            <p:nvPr/>
          </p:nvGrpSpPr>
          <p:grpSpPr>
            <a:xfrm>
              <a:off x="3841865" y="3686067"/>
              <a:ext cx="4166758" cy="1471256"/>
              <a:chOff x="3841865" y="3576307"/>
              <a:chExt cx="4166758" cy="1471256"/>
            </a:xfrm>
          </p:grpSpPr>
          <p:sp>
            <p:nvSpPr>
              <p:cNvPr id="17" name="Notched Right Arrow 16"/>
              <p:cNvSpPr/>
              <p:nvPr/>
            </p:nvSpPr>
            <p:spPr>
              <a:xfrm rot="16200000">
                <a:off x="3834657" y="4173374"/>
                <a:ext cx="1471256" cy="277122"/>
              </a:xfrm>
              <a:prstGeom prst="notchedRightArrow">
                <a:avLst>
                  <a:gd name="adj1" fmla="val 100000"/>
                  <a:gd name="adj2" fmla="val 74138"/>
                </a:avLst>
              </a:prstGeom>
              <a:solidFill>
                <a:srgbClr val="65C3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74320" bIns="45720" numCol="1" spcCol="0" rtlCol="0" fromWordArt="0" anchor="t" anchorCtr="0" forceAA="0" compatLnSpc="1">
                <a:prstTxWarp prst="textNoShape">
                  <a:avLst/>
                </a:prstTxWarp>
                <a:noAutofit/>
              </a:bodyPr>
              <a:lstStyle/>
              <a:p>
                <a:pPr algn="r"/>
                <a:endParaRPr lang="en-US" sz="2000" b="1"/>
              </a:p>
            </p:txBody>
          </p:sp>
          <p:grpSp>
            <p:nvGrpSpPr>
              <p:cNvPr id="27" name="Group 78"/>
              <p:cNvGrpSpPr/>
              <p:nvPr/>
            </p:nvGrpSpPr>
            <p:grpSpPr>
              <a:xfrm>
                <a:off x="3841865" y="4065429"/>
                <a:ext cx="4166758" cy="640080"/>
                <a:chOff x="0" y="5065566"/>
                <a:chExt cx="4166758" cy="976745"/>
              </a:xfrm>
            </p:grpSpPr>
            <p:sp>
              <p:nvSpPr>
                <p:cNvPr id="19" name="Freeform 18"/>
                <p:cNvSpPr/>
                <p:nvPr/>
              </p:nvSpPr>
              <p:spPr>
                <a:xfrm>
                  <a:off x="0" y="5689019"/>
                  <a:ext cx="592282" cy="353292"/>
                </a:xfrm>
                <a:custGeom>
                  <a:avLst/>
                  <a:gdLst>
                    <a:gd name="connsiteX0" fmla="*/ 0 w 592282"/>
                    <a:gd name="connsiteY0" fmla="*/ 176645 h 353292"/>
                    <a:gd name="connsiteX1" fmla="*/ 0 w 592282"/>
                    <a:gd name="connsiteY1" fmla="*/ 176646 h 353292"/>
                    <a:gd name="connsiteX2" fmla="*/ 0 w 592282"/>
                    <a:gd name="connsiteY2" fmla="*/ 176646 h 353292"/>
                    <a:gd name="connsiteX3" fmla="*/ 176646 w 592282"/>
                    <a:gd name="connsiteY3" fmla="*/ 0 h 353292"/>
                    <a:gd name="connsiteX4" fmla="*/ 592282 w 592282"/>
                    <a:gd name="connsiteY4" fmla="*/ 0 h 353292"/>
                    <a:gd name="connsiteX5" fmla="*/ 592282 w 592282"/>
                    <a:gd name="connsiteY5" fmla="*/ 353292 h 353292"/>
                    <a:gd name="connsiteX6" fmla="*/ 176646 w 592282"/>
                    <a:gd name="connsiteY6" fmla="*/ 353291 h 353292"/>
                    <a:gd name="connsiteX7" fmla="*/ 13882 w 592282"/>
                    <a:gd name="connsiteY7" fmla="*/ 245404 h 353292"/>
                    <a:gd name="connsiteX8" fmla="*/ 0 w 592282"/>
                    <a:gd name="connsiteY8" fmla="*/ 176646 h 353292"/>
                    <a:gd name="connsiteX9" fmla="*/ 13882 w 592282"/>
                    <a:gd name="connsiteY9" fmla="*/ 107888 h 353292"/>
                    <a:gd name="connsiteX10" fmla="*/ 176646 w 592282"/>
                    <a:gd name="connsiteY10" fmla="*/ 0 h 35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282" h="353292">
                      <a:moveTo>
                        <a:pt x="0" y="176645"/>
                      </a:moveTo>
                      <a:lnTo>
                        <a:pt x="0" y="176646"/>
                      </a:lnTo>
                      <a:lnTo>
                        <a:pt x="0" y="176646"/>
                      </a:lnTo>
                      <a:close/>
                      <a:moveTo>
                        <a:pt x="176646" y="0"/>
                      </a:moveTo>
                      <a:lnTo>
                        <a:pt x="592282" y="0"/>
                      </a:lnTo>
                      <a:lnTo>
                        <a:pt x="592282" y="353292"/>
                      </a:lnTo>
                      <a:lnTo>
                        <a:pt x="176646" y="353291"/>
                      </a:lnTo>
                      <a:cubicBezTo>
                        <a:pt x="103477" y="353291"/>
                        <a:pt x="40698" y="308805"/>
                        <a:pt x="13882" y="245404"/>
                      </a:cubicBezTo>
                      <a:lnTo>
                        <a:pt x="0" y="176646"/>
                      </a:lnTo>
                      <a:lnTo>
                        <a:pt x="13882" y="107888"/>
                      </a:lnTo>
                      <a:cubicBezTo>
                        <a:pt x="40698" y="44487"/>
                        <a:pt x="103477" y="0"/>
                        <a:pt x="176646" y="0"/>
                      </a:cubicBezTo>
                      <a:close/>
                    </a:path>
                  </a:pathLst>
                </a:custGeom>
                <a:solidFill>
                  <a:srgbClr val="146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p:cNvSpPr/>
                <p:nvPr/>
              </p:nvSpPr>
              <p:spPr>
                <a:xfrm>
                  <a:off x="0" y="5065566"/>
                  <a:ext cx="4166758" cy="800099"/>
                </a:xfrm>
                <a:custGeom>
                  <a:avLst/>
                  <a:gdLst>
                    <a:gd name="connsiteX0" fmla="*/ 455897 w 4166758"/>
                    <a:gd name="connsiteY0" fmla="*/ 0 h 800099"/>
                    <a:gd name="connsiteX1" fmla="*/ 3855031 w 4166758"/>
                    <a:gd name="connsiteY1" fmla="*/ 0 h 800099"/>
                    <a:gd name="connsiteX2" fmla="*/ 4166758 w 4166758"/>
                    <a:gd name="connsiteY2" fmla="*/ 311727 h 800099"/>
                    <a:gd name="connsiteX3" fmla="*/ 3855031 w 4166758"/>
                    <a:gd name="connsiteY3" fmla="*/ 623454 h 800099"/>
                    <a:gd name="connsiteX4" fmla="*/ 1517075 w 4166758"/>
                    <a:gd name="connsiteY4" fmla="*/ 623454 h 800099"/>
                    <a:gd name="connsiteX5" fmla="*/ 1517075 w 4166758"/>
                    <a:gd name="connsiteY5" fmla="*/ 623449 h 800099"/>
                    <a:gd name="connsiteX6" fmla="*/ 592284 w 4166758"/>
                    <a:gd name="connsiteY6" fmla="*/ 623449 h 800099"/>
                    <a:gd name="connsiteX7" fmla="*/ 592284 w 4166758"/>
                    <a:gd name="connsiteY7" fmla="*/ 623454 h 800099"/>
                    <a:gd name="connsiteX8" fmla="*/ 176649 w 4166758"/>
                    <a:gd name="connsiteY8" fmla="*/ 623454 h 800099"/>
                    <a:gd name="connsiteX9" fmla="*/ 13885 w 4166758"/>
                    <a:gd name="connsiteY9" fmla="*/ 731342 h 800099"/>
                    <a:gd name="connsiteX10" fmla="*/ 3 w 4166758"/>
                    <a:gd name="connsiteY10" fmla="*/ 800099 h 800099"/>
                    <a:gd name="connsiteX11" fmla="*/ 3 w 4166758"/>
                    <a:gd name="connsiteY11" fmla="*/ 800099 h 800099"/>
                    <a:gd name="connsiteX12" fmla="*/ 3 w 4166758"/>
                    <a:gd name="connsiteY12" fmla="*/ 446808 h 800099"/>
                    <a:gd name="connsiteX13" fmla="*/ 4 w 4166758"/>
                    <a:gd name="connsiteY13" fmla="*/ 446808 h 800099"/>
                    <a:gd name="connsiteX14" fmla="*/ 4 w 4166758"/>
                    <a:gd name="connsiteY14" fmla="*/ 176666 h 800099"/>
                    <a:gd name="connsiteX15" fmla="*/ 0 w 4166758"/>
                    <a:gd name="connsiteY15" fmla="*/ 176647 h 800099"/>
                    <a:gd name="connsiteX16" fmla="*/ 13882 w 4166758"/>
                    <a:gd name="connsiteY16" fmla="*/ 107889 h 800099"/>
                    <a:gd name="connsiteX17" fmla="*/ 176646 w 4166758"/>
                    <a:gd name="connsiteY17" fmla="*/ 1 h 800099"/>
                    <a:gd name="connsiteX18" fmla="*/ 455897 w 4166758"/>
                    <a:gd name="connsiteY18" fmla="*/ 1 h 80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66758" h="800099">
                      <a:moveTo>
                        <a:pt x="455897" y="0"/>
                      </a:moveTo>
                      <a:lnTo>
                        <a:pt x="3855031" y="0"/>
                      </a:lnTo>
                      <a:lnTo>
                        <a:pt x="4166758" y="311727"/>
                      </a:lnTo>
                      <a:lnTo>
                        <a:pt x="3855031" y="623454"/>
                      </a:lnTo>
                      <a:lnTo>
                        <a:pt x="1517075" y="623454"/>
                      </a:lnTo>
                      <a:lnTo>
                        <a:pt x="1517075" y="623449"/>
                      </a:lnTo>
                      <a:lnTo>
                        <a:pt x="592284" y="623449"/>
                      </a:lnTo>
                      <a:lnTo>
                        <a:pt x="592284" y="623454"/>
                      </a:lnTo>
                      <a:lnTo>
                        <a:pt x="176649" y="623454"/>
                      </a:lnTo>
                      <a:cubicBezTo>
                        <a:pt x="103480" y="623454"/>
                        <a:pt x="40701" y="667941"/>
                        <a:pt x="13885" y="731342"/>
                      </a:cubicBezTo>
                      <a:lnTo>
                        <a:pt x="3" y="800099"/>
                      </a:lnTo>
                      <a:lnTo>
                        <a:pt x="3" y="800099"/>
                      </a:lnTo>
                      <a:lnTo>
                        <a:pt x="3" y="446808"/>
                      </a:lnTo>
                      <a:lnTo>
                        <a:pt x="4" y="446808"/>
                      </a:lnTo>
                      <a:lnTo>
                        <a:pt x="4" y="176666"/>
                      </a:lnTo>
                      <a:lnTo>
                        <a:pt x="0" y="176647"/>
                      </a:lnTo>
                      <a:lnTo>
                        <a:pt x="13882" y="107889"/>
                      </a:lnTo>
                      <a:cubicBezTo>
                        <a:pt x="40698" y="44488"/>
                        <a:pt x="103477" y="1"/>
                        <a:pt x="176646" y="1"/>
                      </a:cubicBezTo>
                      <a:lnTo>
                        <a:pt x="455897" y="1"/>
                      </a:lnTo>
                      <a:close/>
                    </a:path>
                  </a:pathLst>
                </a:custGeom>
                <a:solidFill>
                  <a:srgbClr val="27A9E0"/>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274320" rtlCol="0" anchor="t"/>
                <a:lstStyle/>
                <a:p>
                  <a:endParaRPr lang="en-US" sz="2000" b="1" dirty="0">
                    <a:effectLst>
                      <a:outerShdw blurRad="38100" dist="38100" dir="2700000" algn="tl">
                        <a:srgbClr val="000000">
                          <a:alpha val="43137"/>
                        </a:srgbClr>
                      </a:outerShdw>
                    </a:effectLst>
                  </a:endParaRPr>
                </a:p>
              </p:txBody>
            </p:sp>
          </p:grpSp>
          <p:sp>
            <p:nvSpPr>
              <p:cNvPr id="44" name="TextBox 43"/>
              <p:cNvSpPr txBox="1"/>
              <p:nvPr/>
            </p:nvSpPr>
            <p:spPr>
              <a:xfrm>
                <a:off x="5663383" y="4031437"/>
                <a:ext cx="2121606" cy="400110"/>
              </a:xfrm>
              <a:prstGeom prst="rect">
                <a:avLst/>
              </a:prstGeom>
              <a:noFill/>
            </p:spPr>
            <p:txBody>
              <a:bodyPr wrap="none" rtlCol="0">
                <a:spAutoFit/>
              </a:bodyPr>
              <a:lstStyle/>
              <a:p>
                <a:r>
                  <a:rPr lang="en-US" sz="2000" b="1" dirty="0" err="1" smtClean="0"/>
                  <a:t>Penilaian</a:t>
                </a:r>
                <a:r>
                  <a:rPr lang="en-US" sz="2000" b="1" dirty="0" smtClean="0"/>
                  <a:t> </a:t>
                </a:r>
                <a:r>
                  <a:rPr lang="en-US" sz="2000" b="1" dirty="0" err="1" smtClean="0"/>
                  <a:t>Pertama</a:t>
                </a:r>
                <a:endParaRPr lang="en-US" sz="2000" b="1" dirty="0"/>
              </a:p>
            </p:txBody>
          </p:sp>
        </p:grpSp>
      </p:grpSp>
      <p:grpSp>
        <p:nvGrpSpPr>
          <p:cNvPr id="28" name="Group 46"/>
          <p:cNvGrpSpPr/>
          <p:nvPr/>
        </p:nvGrpSpPr>
        <p:grpSpPr>
          <a:xfrm>
            <a:off x="-44165" y="1249167"/>
            <a:ext cx="8053014" cy="1471256"/>
            <a:chOff x="-44165" y="1249167"/>
            <a:chExt cx="8053014" cy="1471256"/>
          </a:xfrm>
        </p:grpSpPr>
        <p:sp>
          <p:nvSpPr>
            <p:cNvPr id="9" name="Freeform 8"/>
            <p:cNvSpPr/>
            <p:nvPr/>
          </p:nvSpPr>
          <p:spPr>
            <a:xfrm>
              <a:off x="3842091" y="2074622"/>
              <a:ext cx="592282" cy="216374"/>
            </a:xfrm>
            <a:custGeom>
              <a:avLst/>
              <a:gdLst>
                <a:gd name="connsiteX0" fmla="*/ 0 w 592282"/>
                <a:gd name="connsiteY0" fmla="*/ 176645 h 353292"/>
                <a:gd name="connsiteX1" fmla="*/ 0 w 592282"/>
                <a:gd name="connsiteY1" fmla="*/ 176646 h 353292"/>
                <a:gd name="connsiteX2" fmla="*/ 0 w 592282"/>
                <a:gd name="connsiteY2" fmla="*/ 176646 h 353292"/>
                <a:gd name="connsiteX3" fmla="*/ 176646 w 592282"/>
                <a:gd name="connsiteY3" fmla="*/ 0 h 353292"/>
                <a:gd name="connsiteX4" fmla="*/ 592282 w 592282"/>
                <a:gd name="connsiteY4" fmla="*/ 0 h 353292"/>
                <a:gd name="connsiteX5" fmla="*/ 592282 w 592282"/>
                <a:gd name="connsiteY5" fmla="*/ 353292 h 353292"/>
                <a:gd name="connsiteX6" fmla="*/ 176646 w 592282"/>
                <a:gd name="connsiteY6" fmla="*/ 353291 h 353292"/>
                <a:gd name="connsiteX7" fmla="*/ 13882 w 592282"/>
                <a:gd name="connsiteY7" fmla="*/ 245404 h 353292"/>
                <a:gd name="connsiteX8" fmla="*/ 0 w 592282"/>
                <a:gd name="connsiteY8" fmla="*/ 176646 h 353292"/>
                <a:gd name="connsiteX9" fmla="*/ 13882 w 592282"/>
                <a:gd name="connsiteY9" fmla="*/ 107888 h 353292"/>
                <a:gd name="connsiteX10" fmla="*/ 176646 w 592282"/>
                <a:gd name="connsiteY10" fmla="*/ 0 h 35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282" h="353292">
                  <a:moveTo>
                    <a:pt x="0" y="176645"/>
                  </a:moveTo>
                  <a:lnTo>
                    <a:pt x="0" y="176646"/>
                  </a:lnTo>
                  <a:lnTo>
                    <a:pt x="0" y="176646"/>
                  </a:lnTo>
                  <a:close/>
                  <a:moveTo>
                    <a:pt x="176646" y="0"/>
                  </a:moveTo>
                  <a:lnTo>
                    <a:pt x="592282" y="0"/>
                  </a:lnTo>
                  <a:lnTo>
                    <a:pt x="592282" y="353292"/>
                  </a:lnTo>
                  <a:lnTo>
                    <a:pt x="176646" y="353291"/>
                  </a:lnTo>
                  <a:cubicBezTo>
                    <a:pt x="103477" y="353291"/>
                    <a:pt x="40698" y="308805"/>
                    <a:pt x="13882" y="245404"/>
                  </a:cubicBezTo>
                  <a:lnTo>
                    <a:pt x="0" y="176646"/>
                  </a:lnTo>
                  <a:lnTo>
                    <a:pt x="13882" y="107888"/>
                  </a:lnTo>
                  <a:cubicBezTo>
                    <a:pt x="40698" y="44487"/>
                    <a:pt x="103477" y="0"/>
                    <a:pt x="176646" y="0"/>
                  </a:cubicBezTo>
                  <a:close/>
                </a:path>
              </a:pathLst>
            </a:custGeom>
            <a:solidFill>
              <a:srgbClr val="0167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7"/>
            <p:cNvGrpSpPr/>
            <p:nvPr/>
          </p:nvGrpSpPr>
          <p:grpSpPr>
            <a:xfrm>
              <a:off x="-44165" y="1249167"/>
              <a:ext cx="8053014" cy="1471256"/>
              <a:chOff x="-44391" y="1046682"/>
              <a:chExt cx="8053014" cy="1471256"/>
            </a:xfrm>
          </p:grpSpPr>
          <p:grpSp>
            <p:nvGrpSpPr>
              <p:cNvPr id="30" name="Group 2"/>
              <p:cNvGrpSpPr/>
              <p:nvPr/>
            </p:nvGrpSpPr>
            <p:grpSpPr>
              <a:xfrm>
                <a:off x="-44391" y="1108914"/>
                <a:ext cx="3837205" cy="1402586"/>
                <a:chOff x="-78389" y="936434"/>
                <a:chExt cx="3837205" cy="1402586"/>
              </a:xfrm>
            </p:grpSpPr>
            <p:sp>
              <p:nvSpPr>
                <p:cNvPr id="34" name="Rectangle 33"/>
                <p:cNvSpPr/>
                <p:nvPr/>
              </p:nvSpPr>
              <p:spPr>
                <a:xfrm>
                  <a:off x="-78389" y="1123082"/>
                  <a:ext cx="3706248" cy="923330"/>
                </a:xfrm>
                <a:prstGeom prst="rect">
                  <a:avLst/>
                </a:prstGeom>
              </p:spPr>
              <p:txBody>
                <a:bodyPr wrap="square">
                  <a:spAutoFit/>
                </a:bodyPr>
                <a:lstStyle/>
                <a:p>
                  <a:pPr marL="285750" indent="-285750">
                    <a:buFont typeface="Arial" pitchFamily="34" charset="0"/>
                    <a:buChar char="•"/>
                  </a:pPr>
                  <a:r>
                    <a:rPr lang="en-US" dirty="0" err="1" smtClean="0">
                      <a:latin typeface="Arial" pitchFamily="34" charset="0"/>
                      <a:cs typeface="Arial" pitchFamily="34" charset="0"/>
                    </a:rPr>
                    <a:t>Memaklumkan</a:t>
                  </a:r>
                  <a:r>
                    <a:rPr lang="en-US" dirty="0" smtClean="0">
                      <a:latin typeface="Arial" pitchFamily="34" charset="0"/>
                      <a:cs typeface="Arial" pitchFamily="34" charset="0"/>
                    </a:rPr>
                    <a:t> </a:t>
                  </a:r>
                  <a:r>
                    <a:rPr lang="en-US" dirty="0" err="1" smtClean="0">
                      <a:latin typeface="Arial" pitchFamily="34" charset="0"/>
                      <a:cs typeface="Arial" pitchFamily="34" charset="0"/>
                    </a:rPr>
                    <a:t>kepada</a:t>
                  </a:r>
                  <a:r>
                    <a:rPr lang="en-US" dirty="0" smtClean="0">
                      <a:latin typeface="Arial" pitchFamily="34" charset="0"/>
                      <a:cs typeface="Arial" pitchFamily="34" charset="0"/>
                    </a:rPr>
                    <a:t> PYD </a:t>
                  </a:r>
                  <a:r>
                    <a:rPr lang="en-US" dirty="0" err="1" smtClean="0">
                      <a:latin typeface="Arial" pitchFamily="34" charset="0"/>
                      <a:cs typeface="Arial" pitchFamily="34" charset="0"/>
                    </a:rPr>
                    <a:t>skor</a:t>
                  </a:r>
                  <a:r>
                    <a:rPr lang="en-US" dirty="0" smtClean="0">
                      <a:latin typeface="Arial" pitchFamily="34" charset="0"/>
                      <a:cs typeface="Arial" pitchFamily="34" charset="0"/>
                    </a:rPr>
                    <a:t> yang </a:t>
                  </a:r>
                  <a:r>
                    <a:rPr lang="en-US" dirty="0" err="1" smtClean="0">
                      <a:latin typeface="Arial" pitchFamily="34" charset="0"/>
                      <a:cs typeface="Arial" pitchFamily="34" charset="0"/>
                    </a:rPr>
                    <a:t>diperoleh</a:t>
                  </a:r>
                  <a:r>
                    <a:rPr lang="en-US" dirty="0" smtClean="0">
                      <a:latin typeface="Arial" pitchFamily="34" charset="0"/>
                      <a:cs typeface="Arial" pitchFamily="34" charset="0"/>
                    </a:rPr>
                    <a:t> </a:t>
                  </a:r>
                  <a:r>
                    <a:rPr lang="en-US" dirty="0" err="1" smtClean="0">
                      <a:latin typeface="Arial" pitchFamily="34" charset="0"/>
                      <a:cs typeface="Arial" pitchFamily="34" charset="0"/>
                    </a:rPr>
                    <a:t>mengikut</a:t>
                  </a:r>
                  <a:r>
                    <a:rPr lang="en-US" dirty="0" smtClean="0">
                      <a:latin typeface="Arial" pitchFamily="34" charset="0"/>
                      <a:cs typeface="Arial" pitchFamily="34" charset="0"/>
                    </a:rPr>
                    <a:t> </a:t>
                  </a:r>
                  <a:r>
                    <a:rPr lang="en-US" dirty="0" err="1" smtClean="0">
                      <a:latin typeface="Arial" pitchFamily="34" charset="0"/>
                      <a:cs typeface="Arial" pitchFamily="34" charset="0"/>
                    </a:rPr>
                    <a:t>aspek</a:t>
                  </a:r>
                  <a:r>
                    <a:rPr lang="en-US" dirty="0" smtClean="0">
                      <a:latin typeface="Arial" pitchFamily="34" charset="0"/>
                      <a:cs typeface="Arial" pitchFamily="34" charset="0"/>
                    </a:rPr>
                    <a:t> yang </a:t>
                  </a:r>
                  <a:r>
                    <a:rPr lang="en-US" dirty="0" err="1" smtClean="0">
                      <a:latin typeface="Arial" pitchFamily="34" charset="0"/>
                      <a:cs typeface="Arial" pitchFamily="34" charset="0"/>
                    </a:rPr>
                    <a:t>dinilai</a:t>
                  </a:r>
                  <a:endParaRPr lang="en-US" dirty="0">
                    <a:latin typeface="Arial" pitchFamily="34" charset="0"/>
                    <a:cs typeface="Arial" pitchFamily="34" charset="0"/>
                  </a:endParaRPr>
                </a:p>
              </p:txBody>
            </p:sp>
            <p:sp>
              <p:nvSpPr>
                <p:cNvPr id="38" name="Left Brace 37"/>
                <p:cNvSpPr/>
                <p:nvPr/>
              </p:nvSpPr>
              <p:spPr>
                <a:xfrm rot="10800000">
                  <a:off x="3605921" y="936434"/>
                  <a:ext cx="152895" cy="1402586"/>
                </a:xfrm>
                <a:prstGeom prst="leftBrace">
                  <a:avLst/>
                </a:prstGeom>
                <a:ln>
                  <a:solidFill>
                    <a:srgbClr val="0167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5" name="Group 1"/>
              <p:cNvGrpSpPr/>
              <p:nvPr/>
            </p:nvGrpSpPr>
            <p:grpSpPr>
              <a:xfrm>
                <a:off x="3841865" y="1046682"/>
                <a:ext cx="4166758" cy="1471256"/>
                <a:chOff x="3841865" y="889882"/>
                <a:chExt cx="4166758" cy="1471256"/>
              </a:xfrm>
            </p:grpSpPr>
            <p:sp>
              <p:nvSpPr>
                <p:cNvPr id="7" name="Notched Right Arrow 6"/>
                <p:cNvSpPr/>
                <p:nvPr/>
              </p:nvSpPr>
              <p:spPr>
                <a:xfrm rot="16200000">
                  <a:off x="3834656" y="1486950"/>
                  <a:ext cx="1471256" cy="277120"/>
                </a:xfrm>
                <a:prstGeom prst="notchedRightArrow">
                  <a:avLst>
                    <a:gd name="adj1" fmla="val 100000"/>
                    <a:gd name="adj2" fmla="val 74138"/>
                  </a:avLst>
                </a:prstGeom>
                <a:solidFill>
                  <a:srgbClr val="01D9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5760" bIns="45720" numCol="1" spcCol="0" rtlCol="0" fromWordArt="0" anchor="t" anchorCtr="0" forceAA="0" compatLnSpc="1">
                  <a:prstTxWarp prst="textNoShape">
                    <a:avLst/>
                  </a:prstTxWarp>
                  <a:noAutofit/>
                </a:bodyPr>
                <a:lstStyle/>
                <a:p>
                  <a:pPr algn="r"/>
                  <a:endParaRPr lang="en-US" sz="2000" b="1"/>
                </a:p>
              </p:txBody>
            </p:sp>
            <p:sp>
              <p:nvSpPr>
                <p:cNvPr id="10" name="Freeform 9"/>
                <p:cNvSpPr/>
                <p:nvPr/>
              </p:nvSpPr>
              <p:spPr>
                <a:xfrm>
                  <a:off x="3841865" y="1291631"/>
                  <a:ext cx="4166758" cy="640080"/>
                </a:xfrm>
                <a:custGeom>
                  <a:avLst/>
                  <a:gdLst>
                    <a:gd name="connsiteX0" fmla="*/ 455897 w 4166758"/>
                    <a:gd name="connsiteY0" fmla="*/ 0 h 800099"/>
                    <a:gd name="connsiteX1" fmla="*/ 3855031 w 4166758"/>
                    <a:gd name="connsiteY1" fmla="*/ 0 h 800099"/>
                    <a:gd name="connsiteX2" fmla="*/ 4166758 w 4166758"/>
                    <a:gd name="connsiteY2" fmla="*/ 311727 h 800099"/>
                    <a:gd name="connsiteX3" fmla="*/ 3855031 w 4166758"/>
                    <a:gd name="connsiteY3" fmla="*/ 623454 h 800099"/>
                    <a:gd name="connsiteX4" fmla="*/ 1517075 w 4166758"/>
                    <a:gd name="connsiteY4" fmla="*/ 623454 h 800099"/>
                    <a:gd name="connsiteX5" fmla="*/ 1517075 w 4166758"/>
                    <a:gd name="connsiteY5" fmla="*/ 623449 h 800099"/>
                    <a:gd name="connsiteX6" fmla="*/ 592284 w 4166758"/>
                    <a:gd name="connsiteY6" fmla="*/ 623449 h 800099"/>
                    <a:gd name="connsiteX7" fmla="*/ 592284 w 4166758"/>
                    <a:gd name="connsiteY7" fmla="*/ 623454 h 800099"/>
                    <a:gd name="connsiteX8" fmla="*/ 176649 w 4166758"/>
                    <a:gd name="connsiteY8" fmla="*/ 623454 h 800099"/>
                    <a:gd name="connsiteX9" fmla="*/ 13885 w 4166758"/>
                    <a:gd name="connsiteY9" fmla="*/ 731342 h 800099"/>
                    <a:gd name="connsiteX10" fmla="*/ 3 w 4166758"/>
                    <a:gd name="connsiteY10" fmla="*/ 800099 h 800099"/>
                    <a:gd name="connsiteX11" fmla="*/ 3 w 4166758"/>
                    <a:gd name="connsiteY11" fmla="*/ 800099 h 800099"/>
                    <a:gd name="connsiteX12" fmla="*/ 3 w 4166758"/>
                    <a:gd name="connsiteY12" fmla="*/ 446808 h 800099"/>
                    <a:gd name="connsiteX13" fmla="*/ 4 w 4166758"/>
                    <a:gd name="connsiteY13" fmla="*/ 446808 h 800099"/>
                    <a:gd name="connsiteX14" fmla="*/ 4 w 4166758"/>
                    <a:gd name="connsiteY14" fmla="*/ 176666 h 800099"/>
                    <a:gd name="connsiteX15" fmla="*/ 0 w 4166758"/>
                    <a:gd name="connsiteY15" fmla="*/ 176647 h 800099"/>
                    <a:gd name="connsiteX16" fmla="*/ 13882 w 4166758"/>
                    <a:gd name="connsiteY16" fmla="*/ 107889 h 800099"/>
                    <a:gd name="connsiteX17" fmla="*/ 176646 w 4166758"/>
                    <a:gd name="connsiteY17" fmla="*/ 1 h 800099"/>
                    <a:gd name="connsiteX18" fmla="*/ 455897 w 4166758"/>
                    <a:gd name="connsiteY18" fmla="*/ 1 h 80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66758" h="800099">
                      <a:moveTo>
                        <a:pt x="455897" y="0"/>
                      </a:moveTo>
                      <a:lnTo>
                        <a:pt x="3855031" y="0"/>
                      </a:lnTo>
                      <a:lnTo>
                        <a:pt x="4166758" y="311727"/>
                      </a:lnTo>
                      <a:lnTo>
                        <a:pt x="3855031" y="623454"/>
                      </a:lnTo>
                      <a:lnTo>
                        <a:pt x="1517075" y="623454"/>
                      </a:lnTo>
                      <a:lnTo>
                        <a:pt x="1517075" y="623449"/>
                      </a:lnTo>
                      <a:lnTo>
                        <a:pt x="592284" y="623449"/>
                      </a:lnTo>
                      <a:lnTo>
                        <a:pt x="592284" y="623454"/>
                      </a:lnTo>
                      <a:lnTo>
                        <a:pt x="176649" y="623454"/>
                      </a:lnTo>
                      <a:cubicBezTo>
                        <a:pt x="103480" y="623454"/>
                        <a:pt x="40701" y="667941"/>
                        <a:pt x="13885" y="731342"/>
                      </a:cubicBezTo>
                      <a:lnTo>
                        <a:pt x="3" y="800099"/>
                      </a:lnTo>
                      <a:lnTo>
                        <a:pt x="3" y="800099"/>
                      </a:lnTo>
                      <a:lnTo>
                        <a:pt x="3" y="446808"/>
                      </a:lnTo>
                      <a:lnTo>
                        <a:pt x="4" y="446808"/>
                      </a:lnTo>
                      <a:lnTo>
                        <a:pt x="4" y="176666"/>
                      </a:lnTo>
                      <a:lnTo>
                        <a:pt x="0" y="176647"/>
                      </a:lnTo>
                      <a:lnTo>
                        <a:pt x="13882" y="107889"/>
                      </a:lnTo>
                      <a:cubicBezTo>
                        <a:pt x="40698" y="44488"/>
                        <a:pt x="103477" y="1"/>
                        <a:pt x="176646" y="1"/>
                      </a:cubicBezTo>
                      <a:lnTo>
                        <a:pt x="455897" y="1"/>
                      </a:lnTo>
                      <a:close/>
                    </a:path>
                  </a:pathLst>
                </a:custGeom>
                <a:solidFill>
                  <a:srgbClr val="01A89B"/>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365760" rtlCol="0" anchor="t"/>
                <a:lstStyle/>
                <a:p>
                  <a:endParaRPr lang="en-US" sz="2000" b="1" dirty="0">
                    <a:effectLst>
                      <a:outerShdw blurRad="38100" dist="38100" dir="2700000" algn="tl">
                        <a:srgbClr val="000000">
                          <a:alpha val="43137"/>
                        </a:srgbClr>
                      </a:outerShdw>
                    </a:effectLst>
                  </a:endParaRPr>
                </a:p>
              </p:txBody>
            </p:sp>
            <p:sp>
              <p:nvSpPr>
                <p:cNvPr id="41" name="TextBox 40"/>
                <p:cNvSpPr txBox="1"/>
                <p:nvPr/>
              </p:nvSpPr>
              <p:spPr>
                <a:xfrm>
                  <a:off x="5988841" y="1291631"/>
                  <a:ext cx="1761957" cy="400110"/>
                </a:xfrm>
                <a:prstGeom prst="rect">
                  <a:avLst/>
                </a:prstGeom>
                <a:noFill/>
              </p:spPr>
              <p:txBody>
                <a:bodyPr wrap="none" rtlCol="0">
                  <a:spAutoFit/>
                </a:bodyPr>
                <a:lstStyle/>
                <a:p>
                  <a:r>
                    <a:rPr lang="en-US" sz="2000" b="1" dirty="0" err="1" smtClean="0"/>
                    <a:t>Pascapenilaian</a:t>
                  </a:r>
                  <a:endParaRPr lang="en-US" sz="2000" b="1" dirty="0"/>
                </a:p>
              </p:txBody>
            </p:sp>
          </p:gr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1+#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500" fill="hold"/>
                                        <p:tgtEl>
                                          <p:spTgt spid="21"/>
                                        </p:tgtEl>
                                        <p:attrNameLst>
                                          <p:attrName>ppt_x</p:attrName>
                                        </p:attrNameLst>
                                      </p:cBhvr>
                                      <p:tavLst>
                                        <p:tav tm="0">
                                          <p:val>
                                            <p:strVal val="0-#ppt_w/2"/>
                                          </p:val>
                                        </p:tav>
                                        <p:tav tm="100000">
                                          <p:val>
                                            <p:strVal val="#ppt_x"/>
                                          </p:val>
                                        </p:tav>
                                      </p:tavLst>
                                    </p:anim>
                                    <p:anim calcmode="lin" valueType="num">
                                      <p:cBhvr additive="base">
                                        <p:cTn id="14"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1+#ppt_w/2"/>
                                          </p:val>
                                        </p:tav>
                                        <p:tav tm="100000">
                                          <p:val>
                                            <p:strVal val="#ppt_x"/>
                                          </p:val>
                                        </p:tav>
                                      </p:tavLst>
                                    </p:anim>
                                    <p:anim calcmode="lin" valueType="num">
                                      <p:cBhvr additive="base">
                                        <p:cTn id="20"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28"/>
                                        </p:tgtEl>
                                        <p:attrNameLst>
                                          <p:attrName>style.visibility</p:attrName>
                                        </p:attrNameLst>
                                      </p:cBhvr>
                                      <p:to>
                                        <p:strVal val="visible"/>
                                      </p:to>
                                    </p:set>
                                    <p:anim calcmode="lin" valueType="num">
                                      <p:cBhvr additive="base">
                                        <p:cTn id="25" dur="500" fill="hold"/>
                                        <p:tgtEl>
                                          <p:spTgt spid="28"/>
                                        </p:tgtEl>
                                        <p:attrNameLst>
                                          <p:attrName>ppt_x</p:attrName>
                                        </p:attrNameLst>
                                      </p:cBhvr>
                                      <p:tavLst>
                                        <p:tav tm="0">
                                          <p:val>
                                            <p:strVal val="#ppt_x"/>
                                          </p:val>
                                        </p:tav>
                                        <p:tav tm="100000">
                                          <p:val>
                                            <p:strVal val="#ppt_x"/>
                                          </p:val>
                                        </p:tav>
                                      </p:tavLst>
                                    </p:anim>
                                    <p:anim calcmode="lin" valueType="num">
                                      <p:cBhvr additive="base">
                                        <p:cTn id="26" dur="500" fill="hold"/>
                                        <p:tgtEl>
                                          <p:spTgt spid="2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dirty="0"/>
          </a:p>
        </p:txBody>
      </p:sp>
      <p:sp>
        <p:nvSpPr>
          <p:cNvPr id="5" name="Slide Number Placeholder 4"/>
          <p:cNvSpPr>
            <a:spLocks noGrp="1"/>
          </p:cNvSpPr>
          <p:nvPr>
            <p:ph type="sldNum" sz="quarter" idx="12"/>
          </p:nvPr>
        </p:nvSpPr>
        <p:spPr/>
        <p:txBody>
          <a:bodyPr/>
          <a:lstStyle/>
          <a:p>
            <a:fld id="{4D86EDED-B1AF-7E4B-94C9-3F0EAA36C7D5}" type="slidenum">
              <a:rPr lang="en-US" smtClean="0"/>
              <a:pPr/>
              <a:t>38</a:t>
            </a:fld>
            <a:endParaRPr lang="en-US"/>
          </a:p>
        </p:txBody>
      </p:sp>
      <p:sp>
        <p:nvSpPr>
          <p:cNvPr id="14" name="TextBox 13"/>
          <p:cNvSpPr txBox="1"/>
          <p:nvPr/>
        </p:nvSpPr>
        <p:spPr>
          <a:xfrm>
            <a:off x="4710543" y="5531615"/>
            <a:ext cx="1524000" cy="400110"/>
          </a:xfrm>
          <a:prstGeom prst="rect">
            <a:avLst/>
          </a:prstGeom>
          <a:noFill/>
        </p:spPr>
        <p:txBody>
          <a:bodyPr wrap="square" rtlCol="0">
            <a:spAutoFit/>
          </a:bodyPr>
          <a:lstStyle/>
          <a:p>
            <a:pPr algn="ctr"/>
            <a:r>
              <a:rPr lang="en-US" sz="2000" dirty="0" smtClean="0">
                <a:solidFill>
                  <a:schemeClr val="bg1"/>
                </a:solidFill>
              </a:rPr>
              <a:t>2012</a:t>
            </a:r>
            <a:endParaRPr lang="en-US" sz="2000" dirty="0">
              <a:solidFill>
                <a:schemeClr val="bg1"/>
              </a:solidFill>
            </a:endParaRPr>
          </a:p>
        </p:txBody>
      </p:sp>
      <p:sp>
        <p:nvSpPr>
          <p:cNvPr id="21" name="TextBox 20"/>
          <p:cNvSpPr txBox="1"/>
          <p:nvPr/>
        </p:nvSpPr>
        <p:spPr>
          <a:xfrm>
            <a:off x="2750124" y="5531615"/>
            <a:ext cx="1524000" cy="400110"/>
          </a:xfrm>
          <a:prstGeom prst="rect">
            <a:avLst/>
          </a:prstGeom>
          <a:noFill/>
        </p:spPr>
        <p:txBody>
          <a:bodyPr wrap="square" rtlCol="0">
            <a:spAutoFit/>
          </a:bodyPr>
          <a:lstStyle/>
          <a:p>
            <a:pPr algn="ctr"/>
            <a:r>
              <a:rPr lang="en-US" sz="2000" dirty="0" smtClean="0">
                <a:solidFill>
                  <a:schemeClr val="bg1"/>
                </a:solidFill>
              </a:rPr>
              <a:t>2011</a:t>
            </a:r>
            <a:endParaRPr lang="en-US" sz="2000" dirty="0">
              <a:solidFill>
                <a:schemeClr val="bg1"/>
              </a:solidFill>
            </a:endParaRPr>
          </a:p>
        </p:txBody>
      </p:sp>
      <p:sp>
        <p:nvSpPr>
          <p:cNvPr id="30" name="TextBox 29"/>
          <p:cNvSpPr txBox="1"/>
          <p:nvPr/>
        </p:nvSpPr>
        <p:spPr>
          <a:xfrm>
            <a:off x="768925" y="5531615"/>
            <a:ext cx="1524000" cy="400110"/>
          </a:xfrm>
          <a:prstGeom prst="rect">
            <a:avLst/>
          </a:prstGeom>
          <a:noFill/>
        </p:spPr>
        <p:txBody>
          <a:bodyPr wrap="square" rtlCol="0">
            <a:spAutoFit/>
          </a:bodyPr>
          <a:lstStyle/>
          <a:p>
            <a:pPr algn="ctr"/>
            <a:r>
              <a:rPr lang="en-US" sz="2000" dirty="0" smtClean="0">
                <a:solidFill>
                  <a:schemeClr val="bg1"/>
                </a:solidFill>
              </a:rPr>
              <a:t>2010</a:t>
            </a:r>
            <a:endParaRPr lang="en-US" sz="2000" dirty="0">
              <a:solidFill>
                <a:schemeClr val="bg1"/>
              </a:solidFill>
            </a:endParaRPr>
          </a:p>
        </p:txBody>
      </p:sp>
      <p:grpSp>
        <p:nvGrpSpPr>
          <p:cNvPr id="2" name="Group 45"/>
          <p:cNvGrpSpPr/>
          <p:nvPr/>
        </p:nvGrpSpPr>
        <p:grpSpPr>
          <a:xfrm>
            <a:off x="5796541" y="842656"/>
            <a:ext cx="3176003" cy="5513694"/>
            <a:chOff x="5796541" y="842656"/>
            <a:chExt cx="3176003" cy="5513694"/>
          </a:xfrm>
        </p:grpSpPr>
        <p:grpSp>
          <p:nvGrpSpPr>
            <p:cNvPr id="3" name="Group 30"/>
            <p:cNvGrpSpPr/>
            <p:nvPr/>
          </p:nvGrpSpPr>
          <p:grpSpPr>
            <a:xfrm>
              <a:off x="5796541" y="2012950"/>
              <a:ext cx="3176003" cy="4343400"/>
              <a:chOff x="457201" y="1143000"/>
              <a:chExt cx="2362199" cy="4343400"/>
            </a:xfrm>
            <a:solidFill>
              <a:schemeClr val="tx1">
                <a:lumMod val="95000"/>
                <a:lumOff val="5000"/>
              </a:schemeClr>
            </a:solidFill>
          </p:grpSpPr>
          <p:sp>
            <p:nvSpPr>
              <p:cNvPr id="32" name="Round Diagonal Corner Rectangle 31"/>
              <p:cNvSpPr/>
              <p:nvPr/>
            </p:nvSpPr>
            <p:spPr>
              <a:xfrm>
                <a:off x="457201" y="1143000"/>
                <a:ext cx="2057400" cy="4343400"/>
              </a:xfrm>
              <a:prstGeom prst="round2DiagRect">
                <a:avLst>
                  <a:gd name="adj1" fmla="val 17821"/>
                  <a:gd name="adj2" fmla="val 0"/>
                </a:avLst>
              </a:prstGeom>
              <a:gradFill flip="none" rotWithShape="1">
                <a:gsLst>
                  <a:gs pos="83000">
                    <a:srgbClr val="5A930E"/>
                  </a:gs>
                  <a:gs pos="0">
                    <a:srgbClr val="9BED17"/>
                  </a:gs>
                  <a:gs pos="100000">
                    <a:srgbClr val="305808"/>
                  </a:gs>
                </a:gsLst>
                <a:lin ang="10800000" scaled="1"/>
                <a:tileRect/>
              </a:gradFill>
              <a:ln w="25400" cap="flat" cmpd="sng" algn="ctr">
                <a:noFill/>
                <a:prstDash val="solid"/>
              </a:ln>
              <a:effectLst/>
            </p:spPr>
            <p:txBody>
              <a:bodyPr rtlCol="0" anchor="ctr"/>
              <a:lstStyle/>
              <a:p>
                <a:pPr algn="ctr"/>
                <a:endParaRPr lang="en-US" kern="0" dirty="0">
                  <a:solidFill>
                    <a:sysClr val="window" lastClr="FFFFFF"/>
                  </a:solidFill>
                  <a:latin typeface="Calibri"/>
                </a:endParaRPr>
              </a:p>
            </p:txBody>
          </p:sp>
          <p:sp>
            <p:nvSpPr>
              <p:cNvPr id="33" name="Isosceles Triangle 32"/>
              <p:cNvSpPr/>
              <p:nvPr/>
            </p:nvSpPr>
            <p:spPr>
              <a:xfrm rot="5400000">
                <a:off x="2324101" y="4381501"/>
                <a:ext cx="685798" cy="304800"/>
              </a:xfrm>
              <a:prstGeom prst="triangle">
                <a:avLst/>
              </a:prstGeom>
              <a:gradFill flip="none" rotWithShape="1">
                <a:gsLst>
                  <a:gs pos="83000">
                    <a:srgbClr val="5A930E"/>
                  </a:gs>
                  <a:gs pos="0">
                    <a:srgbClr val="9BED17"/>
                  </a:gs>
                  <a:gs pos="100000">
                    <a:srgbClr val="305808"/>
                  </a:gs>
                </a:gsLst>
                <a:lin ang="10800000" scaled="1"/>
                <a:tileRect/>
              </a:gradFill>
              <a:ln w="25400" cap="flat" cmpd="sng" algn="ctr">
                <a:noFill/>
                <a:prstDash val="solid"/>
              </a:ln>
              <a:effectLst/>
            </p:spPr>
            <p:txBody>
              <a:bodyPr rtlCol="0" anchor="ctr"/>
              <a:lstStyle/>
              <a:p>
                <a:pPr algn="ctr"/>
                <a:endParaRPr lang="en-US" kern="0" dirty="0">
                  <a:solidFill>
                    <a:sysClr val="window" lastClr="FFFFFF"/>
                  </a:solidFill>
                  <a:latin typeface="Calibri"/>
                </a:endParaRPr>
              </a:p>
            </p:txBody>
          </p:sp>
        </p:grpSp>
        <p:sp>
          <p:nvSpPr>
            <p:cNvPr id="40" name="TextBox 39"/>
            <p:cNvSpPr txBox="1"/>
            <p:nvPr/>
          </p:nvSpPr>
          <p:spPr>
            <a:xfrm>
              <a:off x="6188048" y="2585770"/>
              <a:ext cx="2428093" cy="1200329"/>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lvl="0" algn="ctr"/>
              <a:r>
                <a:rPr lang="ms-MY" sz="1400" dirty="0" smtClean="0">
                  <a:solidFill>
                    <a:schemeClr val="bg1"/>
                  </a:solidFill>
                </a:rPr>
                <a:t>JKPBPPP Organisasi akan menentukan PP bagi setiap PYD mengikut jadual pelaksanaan yang ditetapkan.</a:t>
              </a:r>
              <a:endParaRPr lang="en-US" sz="1400" dirty="0" smtClean="0">
                <a:solidFill>
                  <a:schemeClr val="bg1"/>
                </a:solidFill>
              </a:endParaRPr>
            </a:p>
          </p:txBody>
        </p:sp>
        <p:sp>
          <p:nvSpPr>
            <p:cNvPr id="47" name="TextBox 46"/>
            <p:cNvSpPr txBox="1"/>
            <p:nvPr/>
          </p:nvSpPr>
          <p:spPr>
            <a:xfrm>
              <a:off x="6944667" y="842656"/>
              <a:ext cx="1000132" cy="1862048"/>
            </a:xfrm>
            <a:prstGeom prst="rect">
              <a:avLst/>
            </a:prstGeom>
            <a:noFill/>
          </p:spPr>
          <p:txBody>
            <a:bodyPr wrap="square" rtlCol="0">
              <a:spAutoFit/>
            </a:bodyPr>
            <a:lstStyle/>
            <a:p>
              <a:r>
                <a:rPr lang="en-US" sz="11500" b="1" dirty="0" smtClean="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rPr>
                <a:t>3</a:t>
              </a:r>
              <a:endParaRPr lang="en-US" sz="11500" b="1" dirty="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endParaRPr>
            </a:p>
          </p:txBody>
        </p:sp>
      </p:grpSp>
      <p:grpSp>
        <p:nvGrpSpPr>
          <p:cNvPr id="6" name="Group 44"/>
          <p:cNvGrpSpPr/>
          <p:nvPr/>
        </p:nvGrpSpPr>
        <p:grpSpPr>
          <a:xfrm>
            <a:off x="3089483" y="847706"/>
            <a:ext cx="3176003" cy="5508644"/>
            <a:chOff x="3089483" y="847706"/>
            <a:chExt cx="3176003" cy="5508644"/>
          </a:xfrm>
        </p:grpSpPr>
        <p:grpSp>
          <p:nvGrpSpPr>
            <p:cNvPr id="7" name="Group 21"/>
            <p:cNvGrpSpPr/>
            <p:nvPr/>
          </p:nvGrpSpPr>
          <p:grpSpPr>
            <a:xfrm>
              <a:off x="3089483" y="2012950"/>
              <a:ext cx="3176003" cy="4343400"/>
              <a:chOff x="2209800" y="1143000"/>
              <a:chExt cx="2590799" cy="4343400"/>
            </a:xfrm>
            <a:solidFill>
              <a:schemeClr val="bg2">
                <a:lumMod val="10000"/>
              </a:schemeClr>
            </a:solidFill>
          </p:grpSpPr>
          <p:sp>
            <p:nvSpPr>
              <p:cNvPr id="23" name="Round Diagonal Corner Rectangle 22"/>
              <p:cNvSpPr/>
              <p:nvPr/>
            </p:nvSpPr>
            <p:spPr>
              <a:xfrm>
                <a:off x="2209800" y="1143000"/>
                <a:ext cx="2286000" cy="4343400"/>
              </a:xfrm>
              <a:prstGeom prst="round2DiagRect">
                <a:avLst>
                  <a:gd name="adj1" fmla="val 17821"/>
                  <a:gd name="adj2" fmla="val 0"/>
                </a:avLst>
              </a:prstGeom>
              <a:gradFill flip="none" rotWithShape="1">
                <a:gsLst>
                  <a:gs pos="81000">
                    <a:srgbClr val="0E618F"/>
                  </a:gs>
                  <a:gs pos="0">
                    <a:srgbClr val="00B0F0"/>
                  </a:gs>
                  <a:gs pos="100000">
                    <a:srgbClr val="182848"/>
                  </a:gs>
                </a:gsLst>
                <a:lin ang="10800000" scaled="1"/>
                <a:tileRect/>
              </a:gradFill>
              <a:ln w="25400" cap="flat" cmpd="sng" algn="ctr">
                <a:noFill/>
                <a:prstDash val="solid"/>
              </a:ln>
              <a:effectLst/>
            </p:spPr>
            <p:txBody>
              <a:bodyPr rtlCol="0" anchor="ctr"/>
              <a:lstStyle/>
              <a:p>
                <a:pPr algn="ctr"/>
                <a:endParaRPr lang="en-US" kern="0" dirty="0">
                  <a:solidFill>
                    <a:sysClr val="window" lastClr="FFFFFF"/>
                  </a:solidFill>
                  <a:latin typeface="Calibri"/>
                </a:endParaRPr>
              </a:p>
            </p:txBody>
          </p:sp>
          <p:sp>
            <p:nvSpPr>
              <p:cNvPr id="24" name="Isosceles Triangle 23"/>
              <p:cNvSpPr/>
              <p:nvPr/>
            </p:nvSpPr>
            <p:spPr>
              <a:xfrm rot="5400000">
                <a:off x="4305300" y="4381501"/>
                <a:ext cx="685798" cy="304800"/>
              </a:xfrm>
              <a:prstGeom prst="triangle">
                <a:avLst/>
              </a:prstGeom>
              <a:gradFill flip="none" rotWithShape="1">
                <a:gsLst>
                  <a:gs pos="81000">
                    <a:srgbClr val="0E618F"/>
                  </a:gs>
                  <a:gs pos="0">
                    <a:srgbClr val="00B0F0"/>
                  </a:gs>
                  <a:gs pos="100000">
                    <a:srgbClr val="182848"/>
                  </a:gs>
                </a:gsLst>
                <a:lin ang="10800000" scaled="1"/>
                <a:tileRect/>
              </a:gradFill>
              <a:ln w="25400" cap="flat" cmpd="sng" algn="ctr">
                <a:noFill/>
                <a:prstDash val="solid"/>
              </a:ln>
              <a:effectLst/>
            </p:spPr>
            <p:txBody>
              <a:bodyPr rtlCol="0" anchor="ctr"/>
              <a:lstStyle/>
              <a:p>
                <a:pPr algn="ctr"/>
                <a:endParaRPr lang="en-US" kern="0" dirty="0">
                  <a:solidFill>
                    <a:sysClr val="window" lastClr="FFFFFF"/>
                  </a:solidFill>
                  <a:latin typeface="Calibri"/>
                </a:endParaRPr>
              </a:p>
            </p:txBody>
          </p:sp>
        </p:grpSp>
        <p:sp>
          <p:nvSpPr>
            <p:cNvPr id="39" name="TextBox 38"/>
            <p:cNvSpPr txBox="1"/>
            <p:nvPr/>
          </p:nvSpPr>
          <p:spPr>
            <a:xfrm>
              <a:off x="3386255" y="2585771"/>
              <a:ext cx="2505584" cy="954107"/>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lvl="0"/>
              <a:r>
                <a:rPr lang="ms-MY" sz="1400" dirty="0" smtClean="0">
                  <a:solidFill>
                    <a:schemeClr val="bg1"/>
                  </a:solidFill>
                </a:rPr>
                <a:t>Penilaian kali pertama adalah asas kepada penilaian sebenar pada akhir tahun.</a:t>
              </a:r>
            </a:p>
          </p:txBody>
        </p:sp>
        <p:sp>
          <p:nvSpPr>
            <p:cNvPr id="48" name="TextBox 47"/>
            <p:cNvSpPr txBox="1"/>
            <p:nvPr/>
          </p:nvSpPr>
          <p:spPr>
            <a:xfrm>
              <a:off x="4018737" y="847706"/>
              <a:ext cx="1000132" cy="1862048"/>
            </a:xfrm>
            <a:prstGeom prst="rect">
              <a:avLst/>
            </a:prstGeom>
            <a:noFill/>
          </p:spPr>
          <p:txBody>
            <a:bodyPr wrap="square" rtlCol="0">
              <a:spAutoFit/>
            </a:bodyPr>
            <a:lstStyle/>
            <a:p>
              <a:r>
                <a:rPr lang="en-US" sz="11500" b="1" dirty="0" smtClean="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rPr>
                <a:t>2</a:t>
              </a:r>
              <a:endParaRPr lang="en-US" sz="11500" b="1" dirty="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endParaRPr>
            </a:p>
          </p:txBody>
        </p:sp>
      </p:grpSp>
      <p:grpSp>
        <p:nvGrpSpPr>
          <p:cNvPr id="8" name="Group 33"/>
          <p:cNvGrpSpPr/>
          <p:nvPr/>
        </p:nvGrpSpPr>
        <p:grpSpPr>
          <a:xfrm>
            <a:off x="457200" y="832208"/>
            <a:ext cx="3176003" cy="5522842"/>
            <a:chOff x="457200" y="832208"/>
            <a:chExt cx="3176003" cy="5522842"/>
          </a:xfrm>
        </p:grpSpPr>
        <p:grpSp>
          <p:nvGrpSpPr>
            <p:cNvPr id="9" name="Group 14"/>
            <p:cNvGrpSpPr/>
            <p:nvPr/>
          </p:nvGrpSpPr>
          <p:grpSpPr>
            <a:xfrm>
              <a:off x="457200" y="2011650"/>
              <a:ext cx="3176003" cy="4343400"/>
              <a:chOff x="2209800" y="1143000"/>
              <a:chExt cx="2590799" cy="4343400"/>
            </a:xfrm>
            <a:solidFill>
              <a:schemeClr val="bg2">
                <a:lumMod val="25000"/>
              </a:schemeClr>
            </a:solidFill>
          </p:grpSpPr>
          <p:sp>
            <p:nvSpPr>
              <p:cNvPr id="16" name="Round Diagonal Corner Rectangle 15"/>
              <p:cNvSpPr/>
              <p:nvPr/>
            </p:nvSpPr>
            <p:spPr>
              <a:xfrm>
                <a:off x="2209800" y="1143000"/>
                <a:ext cx="2286000" cy="4343400"/>
              </a:xfrm>
              <a:prstGeom prst="round2DiagRect">
                <a:avLst>
                  <a:gd name="adj1" fmla="val 17821"/>
                  <a:gd name="adj2" fmla="val 0"/>
                </a:avLst>
              </a:prstGeom>
              <a:gradFill flip="none" rotWithShape="1">
                <a:gsLst>
                  <a:gs pos="81000">
                    <a:srgbClr val="910808"/>
                  </a:gs>
                  <a:gs pos="0">
                    <a:srgbClr val="ED1111"/>
                  </a:gs>
                  <a:gs pos="100000">
                    <a:srgbClr val="3E0000"/>
                  </a:gs>
                </a:gsLst>
                <a:lin ang="10800000" scaled="1"/>
                <a:tileRect/>
              </a:gradFill>
              <a:ln w="25400" cap="flat" cmpd="sng" algn="ctr">
                <a:noFill/>
                <a:prstDash val="solid"/>
              </a:ln>
              <a:effectLst/>
            </p:spPr>
            <p:txBody>
              <a:bodyPr rtlCol="0" anchor="ctr"/>
              <a:lstStyle/>
              <a:p>
                <a:pPr algn="ctr"/>
                <a:endParaRPr lang="en-US" kern="0" dirty="0">
                  <a:solidFill>
                    <a:sysClr val="window" lastClr="FFFFFF"/>
                  </a:solidFill>
                  <a:latin typeface="Calibri"/>
                </a:endParaRPr>
              </a:p>
            </p:txBody>
          </p:sp>
          <p:sp>
            <p:nvSpPr>
              <p:cNvPr id="17" name="Isosceles Triangle 16"/>
              <p:cNvSpPr/>
              <p:nvPr/>
            </p:nvSpPr>
            <p:spPr>
              <a:xfrm rot="5400000">
                <a:off x="4305300" y="4381501"/>
                <a:ext cx="685798" cy="304800"/>
              </a:xfrm>
              <a:prstGeom prst="triangle">
                <a:avLst/>
              </a:prstGeom>
              <a:gradFill flip="none" rotWithShape="1">
                <a:gsLst>
                  <a:gs pos="81000">
                    <a:srgbClr val="910808"/>
                  </a:gs>
                  <a:gs pos="0">
                    <a:srgbClr val="ED1111"/>
                  </a:gs>
                  <a:gs pos="100000">
                    <a:srgbClr val="3E0000"/>
                  </a:gs>
                </a:gsLst>
                <a:lin ang="10800000" scaled="1"/>
                <a:tileRect/>
              </a:gradFill>
              <a:ln w="25400" cap="flat" cmpd="sng" algn="ctr">
                <a:noFill/>
                <a:prstDash val="solid"/>
              </a:ln>
              <a:effectLst/>
            </p:spPr>
            <p:txBody>
              <a:bodyPr rtlCol="0" anchor="ctr"/>
              <a:lstStyle/>
              <a:p>
                <a:pPr algn="ctr"/>
                <a:endParaRPr lang="en-US" kern="0" dirty="0">
                  <a:solidFill>
                    <a:sysClr val="window" lastClr="FFFFFF"/>
                  </a:solidFill>
                  <a:latin typeface="Calibri"/>
                </a:endParaRPr>
              </a:p>
            </p:txBody>
          </p:sp>
        </p:grpSp>
        <p:sp>
          <p:nvSpPr>
            <p:cNvPr id="38" name="TextBox 37"/>
            <p:cNvSpPr txBox="1"/>
            <p:nvPr/>
          </p:nvSpPr>
          <p:spPr>
            <a:xfrm>
              <a:off x="643176" y="2461787"/>
              <a:ext cx="2421045" cy="3323987"/>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lvl="0" algn="ctr"/>
              <a:r>
                <a:rPr lang="ms-MY" sz="1400" dirty="0" smtClean="0">
                  <a:solidFill>
                    <a:schemeClr val="bg1"/>
                  </a:solidFill>
                </a:rPr>
                <a:t>Membuat perancangan penilaian dan berbincang dengan PYD mengenai kemajuan kerja sekurang-kurangnya dua kali setahun dan dari semasa ke semasa bagi mengenal pasti masalah pelaksanaan, mengambil tindakan untuk mengatasinya dan membuat pengubahsuaian strategi kerja untuk meningkatkan prestasi kerja.</a:t>
              </a:r>
            </a:p>
          </p:txBody>
        </p:sp>
        <p:sp>
          <p:nvSpPr>
            <p:cNvPr id="49" name="TextBox 48"/>
            <p:cNvSpPr txBox="1"/>
            <p:nvPr/>
          </p:nvSpPr>
          <p:spPr>
            <a:xfrm>
              <a:off x="1354786" y="832208"/>
              <a:ext cx="1000132" cy="1862048"/>
            </a:xfrm>
            <a:prstGeom prst="rect">
              <a:avLst/>
            </a:prstGeom>
            <a:noFill/>
          </p:spPr>
          <p:txBody>
            <a:bodyPr wrap="square" rtlCol="0">
              <a:spAutoFit/>
            </a:bodyPr>
            <a:lstStyle/>
            <a:p>
              <a:r>
                <a:rPr lang="en-US" sz="11500" b="1" dirty="0" smtClean="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rPr>
                <a:t>1</a:t>
              </a:r>
              <a:endParaRPr lang="en-US" sz="11500" b="1" dirty="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endParaRPr>
            </a:p>
          </p:txBody>
        </p:sp>
      </p:grpSp>
      <p:grpSp>
        <p:nvGrpSpPr>
          <p:cNvPr id="10" name="Group 34"/>
          <p:cNvGrpSpPr/>
          <p:nvPr/>
        </p:nvGrpSpPr>
        <p:grpSpPr>
          <a:xfrm>
            <a:off x="70553" y="471416"/>
            <a:ext cx="1457795" cy="1318382"/>
            <a:chOff x="1029026" y="1790501"/>
            <a:chExt cx="1457795" cy="1318382"/>
          </a:xfrm>
        </p:grpSpPr>
        <p:grpSp>
          <p:nvGrpSpPr>
            <p:cNvPr id="11" name="Group 35"/>
            <p:cNvGrpSpPr/>
            <p:nvPr/>
          </p:nvGrpSpPr>
          <p:grpSpPr>
            <a:xfrm>
              <a:off x="1029026" y="1790501"/>
              <a:ext cx="1457795" cy="1318382"/>
              <a:chOff x="6089820" y="2277827"/>
              <a:chExt cx="1457795" cy="1318382"/>
            </a:xfrm>
          </p:grpSpPr>
          <p:sp>
            <p:nvSpPr>
              <p:cNvPr id="43" name="Oval 42"/>
              <p:cNvSpPr/>
              <p:nvPr/>
            </p:nvSpPr>
            <p:spPr>
              <a:xfrm>
                <a:off x="6207299" y="2358065"/>
                <a:ext cx="1296524" cy="1160563"/>
              </a:xfrm>
              <a:prstGeom prst="ellipse">
                <a:avLst/>
              </a:prstGeom>
              <a:solidFill>
                <a:schemeClr val="bg1">
                  <a:alpha val="9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Donut 13"/>
              <p:cNvSpPr>
                <a:spLocks noChangeArrowheads="1"/>
              </p:cNvSpPr>
              <p:nvPr/>
            </p:nvSpPr>
            <p:spPr bwMode="auto">
              <a:xfrm flipV="1">
                <a:off x="6089820" y="2277827"/>
                <a:ext cx="1457795" cy="1318382"/>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gradFill rotWithShape="1">
                <a:gsLst>
                  <a:gs pos="0">
                    <a:srgbClr val="00B0F0"/>
                  </a:gs>
                  <a:gs pos="100000">
                    <a:srgbClr val="0070C0"/>
                  </a:gs>
                </a:gsLst>
                <a:lin ang="16200000"/>
              </a:gradFill>
              <a:ln w="9525">
                <a:noFill/>
                <a:miter lim="800000"/>
                <a:headEnd/>
                <a:tailEnd/>
              </a:ln>
              <a:effectLst>
                <a:outerShdw blurRad="63500" dist="23000" dir="5400000" rotWithShape="0">
                  <a:srgbClr val="000000">
                    <a:alpha val="34999"/>
                  </a:srgbClr>
                </a:outerShdw>
              </a:effectLst>
            </p:spPr>
            <p:txBody>
              <a:bodyPr anchor="ctr"/>
              <a:lstStyle/>
              <a:p>
                <a:pPr algn="ctr">
                  <a:defRPr/>
                </a:pPr>
                <a:endParaRPr lang="en-US" sz="2000" dirty="0">
                  <a:latin typeface=""/>
                  <a:ea typeface="+mn-ea"/>
                </a:endParaRPr>
              </a:p>
            </p:txBody>
          </p:sp>
        </p:grpSp>
        <p:grpSp>
          <p:nvGrpSpPr>
            <p:cNvPr id="12" name="Gruppe 67"/>
            <p:cNvGrpSpPr/>
            <p:nvPr/>
          </p:nvGrpSpPr>
          <p:grpSpPr bwMode="auto">
            <a:xfrm>
              <a:off x="1324660" y="2082251"/>
              <a:ext cx="829457" cy="685430"/>
              <a:chOff x="3745443" y="6194521"/>
              <a:chExt cx="900893" cy="825894"/>
            </a:xfrm>
            <a:solidFill>
              <a:srgbClr val="000000"/>
            </a:solidFill>
          </p:grpSpPr>
          <p:sp>
            <p:nvSpPr>
              <p:cNvPr id="41" name="Freeform 26"/>
              <p:cNvSpPr>
                <a:spLocks noEditPoints="1"/>
              </p:cNvSpPr>
              <p:nvPr/>
            </p:nvSpPr>
            <p:spPr bwMode="auto">
              <a:xfrm>
                <a:off x="3745443" y="6194521"/>
                <a:ext cx="584955" cy="588138"/>
              </a:xfrm>
              <a:custGeom>
                <a:avLst/>
                <a:gdLst/>
                <a:ahLst/>
                <a:cxnLst>
                  <a:cxn ang="0">
                    <a:pos x="51" y="27"/>
                  </a:cxn>
                  <a:cxn ang="0">
                    <a:pos x="46" y="23"/>
                  </a:cxn>
                  <a:cxn ang="0">
                    <a:pos x="52" y="20"/>
                  </a:cxn>
                  <a:cxn ang="0">
                    <a:pos x="49" y="13"/>
                  </a:cxn>
                  <a:cxn ang="0">
                    <a:pos x="47" y="12"/>
                  </a:cxn>
                  <a:cxn ang="0">
                    <a:pos x="40" y="13"/>
                  </a:cxn>
                  <a:cxn ang="0">
                    <a:pos x="43" y="7"/>
                  </a:cxn>
                  <a:cxn ang="0">
                    <a:pos x="37" y="2"/>
                  </a:cxn>
                  <a:cxn ang="0">
                    <a:pos x="32" y="7"/>
                  </a:cxn>
                  <a:cxn ang="0">
                    <a:pos x="29" y="1"/>
                  </a:cxn>
                  <a:cxn ang="0">
                    <a:pos x="27" y="0"/>
                  </a:cxn>
                  <a:cxn ang="0">
                    <a:pos x="19" y="2"/>
                  </a:cxn>
                  <a:cxn ang="0">
                    <a:pos x="18" y="9"/>
                  </a:cxn>
                  <a:cxn ang="0">
                    <a:pos x="12" y="4"/>
                  </a:cxn>
                  <a:cxn ang="0">
                    <a:pos x="6" y="10"/>
                  </a:cxn>
                  <a:cxn ang="0">
                    <a:pos x="10" y="15"/>
                  </a:cxn>
                  <a:cxn ang="0">
                    <a:pos x="3" y="16"/>
                  </a:cxn>
                  <a:cxn ang="0">
                    <a:pos x="2" y="17"/>
                  </a:cxn>
                  <a:cxn ang="0">
                    <a:pos x="0" y="25"/>
                  </a:cxn>
                  <a:cxn ang="0">
                    <a:pos x="7" y="27"/>
                  </a:cxn>
                  <a:cxn ang="0">
                    <a:pos x="2" y="31"/>
                  </a:cxn>
                  <a:cxn ang="0">
                    <a:pos x="4" y="39"/>
                  </a:cxn>
                  <a:cxn ang="0">
                    <a:pos x="6" y="40"/>
                  </a:cxn>
                  <a:cxn ang="0">
                    <a:pos x="12" y="40"/>
                  </a:cxn>
                  <a:cxn ang="0">
                    <a:pos x="10" y="47"/>
                  </a:cxn>
                  <a:cxn ang="0">
                    <a:pos x="17" y="50"/>
                  </a:cxn>
                  <a:cxn ang="0">
                    <a:pos x="21" y="45"/>
                  </a:cxn>
                  <a:cxn ang="0">
                    <a:pos x="23" y="51"/>
                  </a:cxn>
                  <a:cxn ang="0">
                    <a:pos x="24" y="52"/>
                  </a:cxn>
                  <a:cxn ang="0">
                    <a:pos x="32" y="52"/>
                  </a:cxn>
                  <a:cxn ang="0">
                    <a:pos x="33" y="50"/>
                  </a:cxn>
                  <a:cxn ang="0">
                    <a:pos x="35" y="44"/>
                  </a:cxn>
                  <a:cxn ang="0">
                    <a:pos x="40" y="48"/>
                  </a:cxn>
                  <a:cxn ang="0">
                    <a:pos x="46" y="43"/>
                  </a:cxn>
                  <a:cxn ang="0">
                    <a:pos x="46" y="41"/>
                  </a:cxn>
                  <a:cxn ang="0">
                    <a:pos x="43" y="35"/>
                  </a:cxn>
                  <a:cxn ang="0">
                    <a:pos x="50" y="36"/>
                  </a:cxn>
                  <a:cxn ang="0">
                    <a:pos x="52" y="29"/>
                  </a:cxn>
                  <a:cxn ang="0">
                    <a:pos x="33" y="28"/>
                  </a:cxn>
                  <a:cxn ang="0">
                    <a:pos x="19" y="25"/>
                  </a:cxn>
                  <a:cxn ang="0">
                    <a:pos x="33" y="28"/>
                  </a:cxn>
                </a:cxnLst>
                <a:rect l="0" t="0" r="r" b="b"/>
                <a:pathLst>
                  <a:path w="52" h="52">
                    <a:moveTo>
                      <a:pt x="52" y="27"/>
                    </a:moveTo>
                    <a:cubicBezTo>
                      <a:pt x="52" y="27"/>
                      <a:pt x="52" y="27"/>
                      <a:pt x="51" y="27"/>
                    </a:cubicBezTo>
                    <a:cubicBezTo>
                      <a:pt x="46" y="26"/>
                      <a:pt x="46" y="26"/>
                      <a:pt x="46" y="26"/>
                    </a:cubicBezTo>
                    <a:cubicBezTo>
                      <a:pt x="46" y="23"/>
                      <a:pt x="46" y="23"/>
                      <a:pt x="46" y="23"/>
                    </a:cubicBezTo>
                    <a:cubicBezTo>
                      <a:pt x="51" y="21"/>
                      <a:pt x="51" y="21"/>
                      <a:pt x="51" y="21"/>
                    </a:cubicBezTo>
                    <a:cubicBezTo>
                      <a:pt x="51" y="21"/>
                      <a:pt x="51" y="21"/>
                      <a:pt x="52" y="20"/>
                    </a:cubicBezTo>
                    <a:cubicBezTo>
                      <a:pt x="52" y="20"/>
                      <a:pt x="52" y="20"/>
                      <a:pt x="51" y="19"/>
                    </a:cubicBezTo>
                    <a:cubicBezTo>
                      <a:pt x="49" y="13"/>
                      <a:pt x="49" y="13"/>
                      <a:pt x="49" y="13"/>
                    </a:cubicBezTo>
                    <a:cubicBezTo>
                      <a:pt x="49" y="12"/>
                      <a:pt x="48" y="12"/>
                      <a:pt x="48" y="12"/>
                    </a:cubicBezTo>
                    <a:cubicBezTo>
                      <a:pt x="48" y="12"/>
                      <a:pt x="47" y="12"/>
                      <a:pt x="47" y="12"/>
                    </a:cubicBezTo>
                    <a:cubicBezTo>
                      <a:pt x="42" y="14"/>
                      <a:pt x="42" y="14"/>
                      <a:pt x="42" y="14"/>
                    </a:cubicBezTo>
                    <a:cubicBezTo>
                      <a:pt x="40" y="13"/>
                      <a:pt x="40" y="13"/>
                      <a:pt x="40" y="13"/>
                    </a:cubicBezTo>
                    <a:cubicBezTo>
                      <a:pt x="43" y="8"/>
                      <a:pt x="43" y="8"/>
                      <a:pt x="43" y="8"/>
                    </a:cubicBezTo>
                    <a:cubicBezTo>
                      <a:pt x="43" y="7"/>
                      <a:pt x="43" y="7"/>
                      <a:pt x="43" y="7"/>
                    </a:cubicBezTo>
                    <a:cubicBezTo>
                      <a:pt x="43" y="6"/>
                      <a:pt x="43" y="6"/>
                      <a:pt x="43" y="6"/>
                    </a:cubicBezTo>
                    <a:cubicBezTo>
                      <a:pt x="37" y="2"/>
                      <a:pt x="37" y="2"/>
                      <a:pt x="37" y="2"/>
                    </a:cubicBezTo>
                    <a:cubicBezTo>
                      <a:pt x="36" y="2"/>
                      <a:pt x="35" y="2"/>
                      <a:pt x="35" y="3"/>
                    </a:cubicBezTo>
                    <a:cubicBezTo>
                      <a:pt x="32" y="7"/>
                      <a:pt x="32" y="7"/>
                      <a:pt x="32" y="7"/>
                    </a:cubicBezTo>
                    <a:cubicBezTo>
                      <a:pt x="30" y="7"/>
                      <a:pt x="30" y="7"/>
                      <a:pt x="30" y="7"/>
                    </a:cubicBezTo>
                    <a:cubicBezTo>
                      <a:pt x="29" y="1"/>
                      <a:pt x="29" y="1"/>
                      <a:pt x="29" y="1"/>
                    </a:cubicBezTo>
                    <a:cubicBezTo>
                      <a:pt x="29" y="1"/>
                      <a:pt x="29" y="1"/>
                      <a:pt x="29" y="0"/>
                    </a:cubicBezTo>
                    <a:cubicBezTo>
                      <a:pt x="28" y="0"/>
                      <a:pt x="28" y="0"/>
                      <a:pt x="27" y="0"/>
                    </a:cubicBezTo>
                    <a:cubicBezTo>
                      <a:pt x="20" y="1"/>
                      <a:pt x="20" y="1"/>
                      <a:pt x="20" y="1"/>
                    </a:cubicBezTo>
                    <a:cubicBezTo>
                      <a:pt x="20" y="1"/>
                      <a:pt x="19" y="1"/>
                      <a:pt x="19" y="2"/>
                    </a:cubicBezTo>
                    <a:cubicBezTo>
                      <a:pt x="20" y="8"/>
                      <a:pt x="20" y="8"/>
                      <a:pt x="20" y="8"/>
                    </a:cubicBezTo>
                    <a:cubicBezTo>
                      <a:pt x="18" y="9"/>
                      <a:pt x="18" y="9"/>
                      <a:pt x="18" y="9"/>
                    </a:cubicBezTo>
                    <a:cubicBezTo>
                      <a:pt x="14" y="4"/>
                      <a:pt x="14" y="4"/>
                      <a:pt x="14" y="4"/>
                    </a:cubicBezTo>
                    <a:cubicBezTo>
                      <a:pt x="13" y="4"/>
                      <a:pt x="12" y="4"/>
                      <a:pt x="12" y="4"/>
                    </a:cubicBezTo>
                    <a:cubicBezTo>
                      <a:pt x="7" y="9"/>
                      <a:pt x="7" y="9"/>
                      <a:pt x="7" y="9"/>
                    </a:cubicBezTo>
                    <a:cubicBezTo>
                      <a:pt x="6" y="9"/>
                      <a:pt x="6" y="9"/>
                      <a:pt x="6" y="10"/>
                    </a:cubicBezTo>
                    <a:cubicBezTo>
                      <a:pt x="6" y="10"/>
                      <a:pt x="6" y="11"/>
                      <a:pt x="6" y="11"/>
                    </a:cubicBezTo>
                    <a:cubicBezTo>
                      <a:pt x="10" y="15"/>
                      <a:pt x="10" y="15"/>
                      <a:pt x="10" y="15"/>
                    </a:cubicBezTo>
                    <a:cubicBezTo>
                      <a:pt x="9" y="17"/>
                      <a:pt x="9" y="17"/>
                      <a:pt x="9" y="17"/>
                    </a:cubicBezTo>
                    <a:cubicBezTo>
                      <a:pt x="3" y="16"/>
                      <a:pt x="3" y="16"/>
                      <a:pt x="3" y="16"/>
                    </a:cubicBezTo>
                    <a:cubicBezTo>
                      <a:pt x="3" y="16"/>
                      <a:pt x="3" y="16"/>
                      <a:pt x="2" y="16"/>
                    </a:cubicBezTo>
                    <a:cubicBezTo>
                      <a:pt x="2" y="16"/>
                      <a:pt x="2" y="16"/>
                      <a:pt x="2" y="17"/>
                    </a:cubicBezTo>
                    <a:cubicBezTo>
                      <a:pt x="0" y="24"/>
                      <a:pt x="0" y="24"/>
                      <a:pt x="0" y="24"/>
                    </a:cubicBezTo>
                    <a:cubicBezTo>
                      <a:pt x="0" y="24"/>
                      <a:pt x="0" y="24"/>
                      <a:pt x="0" y="25"/>
                    </a:cubicBezTo>
                    <a:cubicBezTo>
                      <a:pt x="1" y="25"/>
                      <a:pt x="1" y="25"/>
                      <a:pt x="1" y="25"/>
                    </a:cubicBezTo>
                    <a:cubicBezTo>
                      <a:pt x="7" y="27"/>
                      <a:pt x="7" y="27"/>
                      <a:pt x="7" y="27"/>
                    </a:cubicBezTo>
                    <a:cubicBezTo>
                      <a:pt x="7" y="29"/>
                      <a:pt x="7" y="29"/>
                      <a:pt x="7" y="29"/>
                    </a:cubicBezTo>
                    <a:cubicBezTo>
                      <a:pt x="2" y="31"/>
                      <a:pt x="2" y="31"/>
                      <a:pt x="2" y="31"/>
                    </a:cubicBezTo>
                    <a:cubicBezTo>
                      <a:pt x="1" y="31"/>
                      <a:pt x="1" y="32"/>
                      <a:pt x="1" y="33"/>
                    </a:cubicBezTo>
                    <a:cubicBezTo>
                      <a:pt x="4" y="39"/>
                      <a:pt x="4" y="39"/>
                      <a:pt x="4" y="39"/>
                    </a:cubicBezTo>
                    <a:cubicBezTo>
                      <a:pt x="4" y="40"/>
                      <a:pt x="4" y="40"/>
                      <a:pt x="5" y="40"/>
                    </a:cubicBezTo>
                    <a:cubicBezTo>
                      <a:pt x="5" y="40"/>
                      <a:pt x="5" y="40"/>
                      <a:pt x="6" y="40"/>
                    </a:cubicBezTo>
                    <a:cubicBezTo>
                      <a:pt x="11" y="38"/>
                      <a:pt x="11" y="38"/>
                      <a:pt x="11" y="38"/>
                    </a:cubicBezTo>
                    <a:cubicBezTo>
                      <a:pt x="12" y="40"/>
                      <a:pt x="12" y="40"/>
                      <a:pt x="12" y="40"/>
                    </a:cubicBezTo>
                    <a:cubicBezTo>
                      <a:pt x="9" y="45"/>
                      <a:pt x="9" y="45"/>
                      <a:pt x="9" y="45"/>
                    </a:cubicBezTo>
                    <a:cubicBezTo>
                      <a:pt x="9" y="45"/>
                      <a:pt x="9" y="46"/>
                      <a:pt x="10" y="47"/>
                    </a:cubicBezTo>
                    <a:cubicBezTo>
                      <a:pt x="16" y="50"/>
                      <a:pt x="16" y="50"/>
                      <a:pt x="16" y="50"/>
                    </a:cubicBezTo>
                    <a:cubicBezTo>
                      <a:pt x="16" y="50"/>
                      <a:pt x="17" y="50"/>
                      <a:pt x="17" y="50"/>
                    </a:cubicBezTo>
                    <a:cubicBezTo>
                      <a:pt x="17" y="50"/>
                      <a:pt x="18" y="50"/>
                      <a:pt x="18" y="50"/>
                    </a:cubicBezTo>
                    <a:cubicBezTo>
                      <a:pt x="21" y="45"/>
                      <a:pt x="21" y="45"/>
                      <a:pt x="21" y="45"/>
                    </a:cubicBezTo>
                    <a:cubicBezTo>
                      <a:pt x="23" y="45"/>
                      <a:pt x="23" y="45"/>
                      <a:pt x="23" y="45"/>
                    </a:cubicBezTo>
                    <a:cubicBezTo>
                      <a:pt x="23" y="51"/>
                      <a:pt x="23" y="51"/>
                      <a:pt x="23" y="51"/>
                    </a:cubicBezTo>
                    <a:cubicBezTo>
                      <a:pt x="23" y="51"/>
                      <a:pt x="24" y="52"/>
                      <a:pt x="24" y="52"/>
                    </a:cubicBezTo>
                    <a:cubicBezTo>
                      <a:pt x="24" y="52"/>
                      <a:pt x="24" y="52"/>
                      <a:pt x="24" y="52"/>
                    </a:cubicBezTo>
                    <a:cubicBezTo>
                      <a:pt x="25" y="52"/>
                      <a:pt x="25" y="52"/>
                      <a:pt x="25" y="52"/>
                    </a:cubicBezTo>
                    <a:cubicBezTo>
                      <a:pt x="32" y="52"/>
                      <a:pt x="32" y="52"/>
                      <a:pt x="32" y="52"/>
                    </a:cubicBezTo>
                    <a:cubicBezTo>
                      <a:pt x="32" y="52"/>
                      <a:pt x="33" y="51"/>
                      <a:pt x="33" y="51"/>
                    </a:cubicBezTo>
                    <a:cubicBezTo>
                      <a:pt x="33" y="51"/>
                      <a:pt x="33" y="50"/>
                      <a:pt x="33" y="50"/>
                    </a:cubicBezTo>
                    <a:cubicBezTo>
                      <a:pt x="33" y="44"/>
                      <a:pt x="33" y="44"/>
                      <a:pt x="33" y="44"/>
                    </a:cubicBezTo>
                    <a:cubicBezTo>
                      <a:pt x="35" y="44"/>
                      <a:pt x="35" y="44"/>
                      <a:pt x="35" y="44"/>
                    </a:cubicBezTo>
                    <a:cubicBezTo>
                      <a:pt x="39" y="48"/>
                      <a:pt x="39" y="48"/>
                      <a:pt x="39" y="48"/>
                    </a:cubicBezTo>
                    <a:cubicBezTo>
                      <a:pt x="39" y="48"/>
                      <a:pt x="39" y="48"/>
                      <a:pt x="40" y="48"/>
                    </a:cubicBezTo>
                    <a:cubicBezTo>
                      <a:pt x="40" y="48"/>
                      <a:pt x="40" y="48"/>
                      <a:pt x="41" y="48"/>
                    </a:cubicBezTo>
                    <a:cubicBezTo>
                      <a:pt x="46" y="43"/>
                      <a:pt x="46" y="43"/>
                      <a:pt x="46" y="43"/>
                    </a:cubicBezTo>
                    <a:cubicBezTo>
                      <a:pt x="46" y="43"/>
                      <a:pt x="46" y="43"/>
                      <a:pt x="46" y="42"/>
                    </a:cubicBezTo>
                    <a:cubicBezTo>
                      <a:pt x="46" y="42"/>
                      <a:pt x="46" y="42"/>
                      <a:pt x="46" y="41"/>
                    </a:cubicBezTo>
                    <a:cubicBezTo>
                      <a:pt x="42" y="37"/>
                      <a:pt x="42" y="37"/>
                      <a:pt x="42" y="37"/>
                    </a:cubicBezTo>
                    <a:cubicBezTo>
                      <a:pt x="43" y="35"/>
                      <a:pt x="43" y="35"/>
                      <a:pt x="43" y="35"/>
                    </a:cubicBezTo>
                    <a:cubicBezTo>
                      <a:pt x="49" y="36"/>
                      <a:pt x="49" y="36"/>
                      <a:pt x="49" y="36"/>
                    </a:cubicBezTo>
                    <a:cubicBezTo>
                      <a:pt x="49" y="37"/>
                      <a:pt x="50" y="36"/>
                      <a:pt x="50" y="36"/>
                    </a:cubicBezTo>
                    <a:cubicBezTo>
                      <a:pt x="50" y="36"/>
                      <a:pt x="51" y="36"/>
                      <a:pt x="51" y="35"/>
                    </a:cubicBezTo>
                    <a:cubicBezTo>
                      <a:pt x="52" y="29"/>
                      <a:pt x="52" y="29"/>
                      <a:pt x="52" y="29"/>
                    </a:cubicBezTo>
                    <a:cubicBezTo>
                      <a:pt x="52" y="28"/>
                      <a:pt x="52" y="28"/>
                      <a:pt x="52" y="27"/>
                    </a:cubicBezTo>
                    <a:close/>
                    <a:moveTo>
                      <a:pt x="33" y="28"/>
                    </a:moveTo>
                    <a:cubicBezTo>
                      <a:pt x="32" y="31"/>
                      <a:pt x="28" y="34"/>
                      <a:pt x="25" y="33"/>
                    </a:cubicBezTo>
                    <a:cubicBezTo>
                      <a:pt x="21" y="32"/>
                      <a:pt x="18" y="28"/>
                      <a:pt x="19" y="25"/>
                    </a:cubicBezTo>
                    <a:cubicBezTo>
                      <a:pt x="20" y="21"/>
                      <a:pt x="24" y="18"/>
                      <a:pt x="28" y="19"/>
                    </a:cubicBezTo>
                    <a:cubicBezTo>
                      <a:pt x="32" y="20"/>
                      <a:pt x="34" y="24"/>
                      <a:pt x="33" y="28"/>
                    </a:cubicBez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sp>
            <p:nvSpPr>
              <p:cNvPr id="42" name="Freeform 27"/>
              <p:cNvSpPr>
                <a:spLocks noEditPoints="1"/>
              </p:cNvSpPr>
              <p:nvPr/>
            </p:nvSpPr>
            <p:spPr bwMode="auto">
              <a:xfrm>
                <a:off x="4230298" y="6601211"/>
                <a:ext cx="416038" cy="419204"/>
              </a:xfrm>
              <a:custGeom>
                <a:avLst/>
                <a:gdLst/>
                <a:ahLst/>
                <a:cxnLst>
                  <a:cxn ang="0">
                    <a:pos x="33" y="29"/>
                  </a:cxn>
                  <a:cxn ang="0">
                    <a:pos x="31" y="24"/>
                  </a:cxn>
                  <a:cxn ang="0">
                    <a:pos x="36" y="25"/>
                  </a:cxn>
                  <a:cxn ang="0">
                    <a:pos x="37" y="20"/>
                  </a:cxn>
                  <a:cxn ang="0">
                    <a:pos x="36" y="18"/>
                  </a:cxn>
                  <a:cxn ang="0">
                    <a:pos x="32" y="16"/>
                  </a:cxn>
                  <a:cxn ang="0">
                    <a:pos x="37" y="14"/>
                  </a:cxn>
                  <a:cxn ang="0">
                    <a:pos x="35" y="9"/>
                  </a:cxn>
                  <a:cxn ang="0">
                    <a:pos x="30" y="10"/>
                  </a:cxn>
                  <a:cxn ang="0">
                    <a:pos x="31" y="5"/>
                  </a:cxn>
                  <a:cxn ang="0">
                    <a:pos x="30" y="4"/>
                  </a:cxn>
                  <a:cxn ang="0">
                    <a:pos x="24" y="2"/>
                  </a:cxn>
                  <a:cxn ang="0">
                    <a:pos x="21" y="5"/>
                  </a:cxn>
                  <a:cxn ang="0">
                    <a:pos x="19" y="0"/>
                  </a:cxn>
                  <a:cxn ang="0">
                    <a:pos x="14" y="1"/>
                  </a:cxn>
                  <a:cxn ang="0">
                    <a:pos x="14" y="5"/>
                  </a:cxn>
                  <a:cxn ang="0">
                    <a:pos x="10" y="3"/>
                  </a:cxn>
                  <a:cxn ang="0">
                    <a:pos x="8" y="3"/>
                  </a:cxn>
                  <a:cxn ang="0">
                    <a:pos x="4" y="7"/>
                  </a:cxn>
                  <a:cxn ang="0">
                    <a:pos x="7" y="11"/>
                  </a:cxn>
                  <a:cxn ang="0">
                    <a:pos x="3" y="11"/>
                  </a:cxn>
                  <a:cxn ang="0">
                    <a:pos x="0" y="17"/>
                  </a:cxn>
                  <a:cxn ang="0">
                    <a:pos x="1" y="18"/>
                  </a:cxn>
                  <a:cxn ang="0">
                    <a:pos x="5" y="20"/>
                  </a:cxn>
                  <a:cxn ang="0">
                    <a:pos x="1" y="23"/>
                  </a:cxn>
                  <a:cxn ang="0">
                    <a:pos x="4" y="28"/>
                  </a:cxn>
                  <a:cxn ang="0">
                    <a:pos x="8" y="27"/>
                  </a:cxn>
                  <a:cxn ang="0">
                    <a:pos x="7" y="31"/>
                  </a:cxn>
                  <a:cxn ang="0">
                    <a:pos x="7" y="33"/>
                  </a:cxn>
                  <a:cxn ang="0">
                    <a:pos x="12" y="35"/>
                  </a:cxn>
                  <a:cxn ang="0">
                    <a:pos x="13" y="35"/>
                  </a:cxn>
                  <a:cxn ang="0">
                    <a:pos x="17" y="32"/>
                  </a:cxn>
                  <a:cxn ang="0">
                    <a:pos x="17" y="37"/>
                  </a:cxn>
                  <a:cxn ang="0">
                    <a:pos x="23" y="36"/>
                  </a:cxn>
                  <a:cxn ang="0">
                    <a:pos x="24" y="35"/>
                  </a:cxn>
                  <a:cxn ang="0">
                    <a:pos x="25" y="31"/>
                  </a:cxn>
                  <a:cxn ang="0">
                    <a:pos x="28" y="34"/>
                  </a:cxn>
                  <a:cxn ang="0">
                    <a:pos x="33" y="30"/>
                  </a:cxn>
                  <a:cxn ang="0">
                    <a:pos x="22" y="22"/>
                  </a:cxn>
                  <a:cxn ang="0">
                    <a:pos x="15" y="15"/>
                  </a:cxn>
                  <a:cxn ang="0">
                    <a:pos x="22" y="22"/>
                  </a:cxn>
                </a:cxnLst>
                <a:rect l="0" t="0" r="r" b="b"/>
                <a:pathLst>
                  <a:path w="37" h="37">
                    <a:moveTo>
                      <a:pt x="33" y="29"/>
                    </a:moveTo>
                    <a:cubicBezTo>
                      <a:pt x="33" y="29"/>
                      <a:pt x="33" y="29"/>
                      <a:pt x="33" y="29"/>
                    </a:cubicBezTo>
                    <a:cubicBezTo>
                      <a:pt x="30" y="26"/>
                      <a:pt x="30" y="26"/>
                      <a:pt x="30" y="26"/>
                    </a:cubicBezTo>
                    <a:cubicBezTo>
                      <a:pt x="31" y="24"/>
                      <a:pt x="31" y="24"/>
                      <a:pt x="31" y="24"/>
                    </a:cubicBezTo>
                    <a:cubicBezTo>
                      <a:pt x="35" y="25"/>
                      <a:pt x="35" y="25"/>
                      <a:pt x="35" y="25"/>
                    </a:cubicBezTo>
                    <a:cubicBezTo>
                      <a:pt x="35" y="25"/>
                      <a:pt x="36" y="25"/>
                      <a:pt x="36" y="25"/>
                    </a:cubicBezTo>
                    <a:cubicBezTo>
                      <a:pt x="36" y="25"/>
                      <a:pt x="36" y="25"/>
                      <a:pt x="36" y="24"/>
                    </a:cubicBezTo>
                    <a:cubicBezTo>
                      <a:pt x="37" y="20"/>
                      <a:pt x="37" y="20"/>
                      <a:pt x="37" y="20"/>
                    </a:cubicBezTo>
                    <a:cubicBezTo>
                      <a:pt x="37" y="19"/>
                      <a:pt x="37" y="19"/>
                      <a:pt x="37" y="19"/>
                    </a:cubicBezTo>
                    <a:cubicBezTo>
                      <a:pt x="37" y="19"/>
                      <a:pt x="37" y="18"/>
                      <a:pt x="36" y="18"/>
                    </a:cubicBezTo>
                    <a:cubicBezTo>
                      <a:pt x="33" y="18"/>
                      <a:pt x="33" y="18"/>
                      <a:pt x="33" y="18"/>
                    </a:cubicBezTo>
                    <a:cubicBezTo>
                      <a:pt x="32" y="16"/>
                      <a:pt x="32" y="16"/>
                      <a:pt x="32" y="16"/>
                    </a:cubicBezTo>
                    <a:cubicBezTo>
                      <a:pt x="36" y="14"/>
                      <a:pt x="36" y="14"/>
                      <a:pt x="36" y="14"/>
                    </a:cubicBezTo>
                    <a:cubicBezTo>
                      <a:pt x="36" y="14"/>
                      <a:pt x="37" y="14"/>
                      <a:pt x="37" y="14"/>
                    </a:cubicBezTo>
                    <a:cubicBezTo>
                      <a:pt x="37" y="14"/>
                      <a:pt x="37" y="13"/>
                      <a:pt x="37" y="13"/>
                    </a:cubicBezTo>
                    <a:cubicBezTo>
                      <a:pt x="35" y="9"/>
                      <a:pt x="35" y="9"/>
                      <a:pt x="35" y="9"/>
                    </a:cubicBezTo>
                    <a:cubicBezTo>
                      <a:pt x="34" y="8"/>
                      <a:pt x="34" y="8"/>
                      <a:pt x="33" y="8"/>
                    </a:cubicBezTo>
                    <a:cubicBezTo>
                      <a:pt x="30" y="10"/>
                      <a:pt x="30" y="10"/>
                      <a:pt x="30" y="10"/>
                    </a:cubicBezTo>
                    <a:cubicBezTo>
                      <a:pt x="29" y="8"/>
                      <a:pt x="29" y="8"/>
                      <a:pt x="29" y="8"/>
                    </a:cubicBezTo>
                    <a:cubicBezTo>
                      <a:pt x="31" y="5"/>
                      <a:pt x="31" y="5"/>
                      <a:pt x="31" y="5"/>
                    </a:cubicBezTo>
                    <a:cubicBezTo>
                      <a:pt x="31" y="5"/>
                      <a:pt x="31" y="4"/>
                      <a:pt x="31" y="4"/>
                    </a:cubicBezTo>
                    <a:cubicBezTo>
                      <a:pt x="31" y="4"/>
                      <a:pt x="30" y="4"/>
                      <a:pt x="30" y="4"/>
                    </a:cubicBezTo>
                    <a:cubicBezTo>
                      <a:pt x="26" y="1"/>
                      <a:pt x="26" y="1"/>
                      <a:pt x="26" y="1"/>
                    </a:cubicBezTo>
                    <a:cubicBezTo>
                      <a:pt x="25" y="1"/>
                      <a:pt x="25" y="1"/>
                      <a:pt x="24" y="2"/>
                    </a:cubicBezTo>
                    <a:cubicBezTo>
                      <a:pt x="22" y="5"/>
                      <a:pt x="22" y="5"/>
                      <a:pt x="22" y="5"/>
                    </a:cubicBezTo>
                    <a:cubicBezTo>
                      <a:pt x="21" y="5"/>
                      <a:pt x="21" y="5"/>
                      <a:pt x="21" y="5"/>
                    </a:cubicBezTo>
                    <a:cubicBezTo>
                      <a:pt x="21" y="1"/>
                      <a:pt x="21" y="1"/>
                      <a:pt x="21" y="1"/>
                    </a:cubicBezTo>
                    <a:cubicBezTo>
                      <a:pt x="20" y="0"/>
                      <a:pt x="20" y="0"/>
                      <a:pt x="19" y="0"/>
                    </a:cubicBezTo>
                    <a:cubicBezTo>
                      <a:pt x="14" y="0"/>
                      <a:pt x="14" y="0"/>
                      <a:pt x="14" y="0"/>
                    </a:cubicBezTo>
                    <a:cubicBezTo>
                      <a:pt x="14" y="0"/>
                      <a:pt x="14" y="0"/>
                      <a:pt x="14" y="1"/>
                    </a:cubicBezTo>
                    <a:cubicBezTo>
                      <a:pt x="14" y="1"/>
                      <a:pt x="14" y="1"/>
                      <a:pt x="14" y="1"/>
                    </a:cubicBezTo>
                    <a:cubicBezTo>
                      <a:pt x="14" y="5"/>
                      <a:pt x="14" y="5"/>
                      <a:pt x="14" y="5"/>
                    </a:cubicBezTo>
                    <a:cubicBezTo>
                      <a:pt x="13" y="6"/>
                      <a:pt x="13" y="6"/>
                      <a:pt x="13" y="6"/>
                    </a:cubicBezTo>
                    <a:cubicBezTo>
                      <a:pt x="10" y="3"/>
                      <a:pt x="10" y="3"/>
                      <a:pt x="10" y="3"/>
                    </a:cubicBezTo>
                    <a:cubicBezTo>
                      <a:pt x="10" y="3"/>
                      <a:pt x="9" y="3"/>
                      <a:pt x="9" y="3"/>
                    </a:cubicBezTo>
                    <a:cubicBezTo>
                      <a:pt x="9" y="3"/>
                      <a:pt x="9" y="3"/>
                      <a:pt x="8" y="3"/>
                    </a:cubicBezTo>
                    <a:cubicBezTo>
                      <a:pt x="5" y="6"/>
                      <a:pt x="5" y="6"/>
                      <a:pt x="5" y="6"/>
                    </a:cubicBezTo>
                    <a:cubicBezTo>
                      <a:pt x="5" y="6"/>
                      <a:pt x="4" y="7"/>
                      <a:pt x="4" y="7"/>
                    </a:cubicBezTo>
                    <a:cubicBezTo>
                      <a:pt x="4" y="7"/>
                      <a:pt x="4" y="8"/>
                      <a:pt x="5" y="8"/>
                    </a:cubicBezTo>
                    <a:cubicBezTo>
                      <a:pt x="7" y="11"/>
                      <a:pt x="7" y="11"/>
                      <a:pt x="7" y="11"/>
                    </a:cubicBezTo>
                    <a:cubicBezTo>
                      <a:pt x="7" y="12"/>
                      <a:pt x="7" y="12"/>
                      <a:pt x="7" y="12"/>
                    </a:cubicBezTo>
                    <a:cubicBezTo>
                      <a:pt x="3" y="11"/>
                      <a:pt x="3" y="11"/>
                      <a:pt x="3" y="11"/>
                    </a:cubicBezTo>
                    <a:cubicBezTo>
                      <a:pt x="2" y="11"/>
                      <a:pt x="2" y="11"/>
                      <a:pt x="1" y="12"/>
                    </a:cubicBezTo>
                    <a:cubicBezTo>
                      <a:pt x="0" y="17"/>
                      <a:pt x="0" y="17"/>
                      <a:pt x="0" y="17"/>
                    </a:cubicBezTo>
                    <a:cubicBezTo>
                      <a:pt x="0" y="17"/>
                      <a:pt x="0" y="17"/>
                      <a:pt x="1" y="18"/>
                    </a:cubicBezTo>
                    <a:cubicBezTo>
                      <a:pt x="1" y="18"/>
                      <a:pt x="1" y="18"/>
                      <a:pt x="1" y="18"/>
                    </a:cubicBezTo>
                    <a:cubicBezTo>
                      <a:pt x="5" y="19"/>
                      <a:pt x="5" y="19"/>
                      <a:pt x="5" y="19"/>
                    </a:cubicBezTo>
                    <a:cubicBezTo>
                      <a:pt x="5" y="20"/>
                      <a:pt x="5" y="20"/>
                      <a:pt x="5" y="20"/>
                    </a:cubicBezTo>
                    <a:cubicBezTo>
                      <a:pt x="2" y="22"/>
                      <a:pt x="2" y="22"/>
                      <a:pt x="2" y="22"/>
                    </a:cubicBezTo>
                    <a:cubicBezTo>
                      <a:pt x="1" y="22"/>
                      <a:pt x="1" y="23"/>
                      <a:pt x="1" y="23"/>
                    </a:cubicBezTo>
                    <a:cubicBezTo>
                      <a:pt x="3" y="28"/>
                      <a:pt x="3" y="28"/>
                      <a:pt x="3" y="28"/>
                    </a:cubicBezTo>
                    <a:cubicBezTo>
                      <a:pt x="3" y="28"/>
                      <a:pt x="3" y="28"/>
                      <a:pt x="4" y="28"/>
                    </a:cubicBezTo>
                    <a:cubicBezTo>
                      <a:pt x="4" y="29"/>
                      <a:pt x="4" y="29"/>
                      <a:pt x="4" y="28"/>
                    </a:cubicBezTo>
                    <a:cubicBezTo>
                      <a:pt x="8" y="27"/>
                      <a:pt x="8" y="27"/>
                      <a:pt x="8" y="27"/>
                    </a:cubicBezTo>
                    <a:cubicBezTo>
                      <a:pt x="9" y="28"/>
                      <a:pt x="9" y="28"/>
                      <a:pt x="9" y="28"/>
                    </a:cubicBezTo>
                    <a:cubicBezTo>
                      <a:pt x="7" y="31"/>
                      <a:pt x="7" y="31"/>
                      <a:pt x="7" y="31"/>
                    </a:cubicBezTo>
                    <a:cubicBezTo>
                      <a:pt x="7" y="32"/>
                      <a:pt x="7" y="32"/>
                      <a:pt x="7" y="32"/>
                    </a:cubicBezTo>
                    <a:cubicBezTo>
                      <a:pt x="7" y="32"/>
                      <a:pt x="7" y="33"/>
                      <a:pt x="7" y="33"/>
                    </a:cubicBezTo>
                    <a:cubicBezTo>
                      <a:pt x="7" y="33"/>
                      <a:pt x="7" y="33"/>
                      <a:pt x="7" y="33"/>
                    </a:cubicBezTo>
                    <a:cubicBezTo>
                      <a:pt x="12" y="35"/>
                      <a:pt x="12" y="35"/>
                      <a:pt x="12" y="35"/>
                    </a:cubicBezTo>
                    <a:cubicBezTo>
                      <a:pt x="12" y="35"/>
                      <a:pt x="12" y="35"/>
                      <a:pt x="13" y="35"/>
                    </a:cubicBezTo>
                    <a:cubicBezTo>
                      <a:pt x="13" y="35"/>
                      <a:pt x="13" y="35"/>
                      <a:pt x="13" y="35"/>
                    </a:cubicBezTo>
                    <a:cubicBezTo>
                      <a:pt x="15" y="31"/>
                      <a:pt x="15" y="31"/>
                      <a:pt x="15" y="31"/>
                    </a:cubicBezTo>
                    <a:cubicBezTo>
                      <a:pt x="17" y="32"/>
                      <a:pt x="17" y="32"/>
                      <a:pt x="17" y="32"/>
                    </a:cubicBezTo>
                    <a:cubicBezTo>
                      <a:pt x="17" y="36"/>
                      <a:pt x="17" y="36"/>
                      <a:pt x="17" y="36"/>
                    </a:cubicBezTo>
                    <a:cubicBezTo>
                      <a:pt x="17" y="36"/>
                      <a:pt x="17" y="36"/>
                      <a:pt x="17" y="37"/>
                    </a:cubicBezTo>
                    <a:cubicBezTo>
                      <a:pt x="18" y="37"/>
                      <a:pt x="18" y="37"/>
                      <a:pt x="18" y="37"/>
                    </a:cubicBezTo>
                    <a:cubicBezTo>
                      <a:pt x="23" y="36"/>
                      <a:pt x="23" y="36"/>
                      <a:pt x="23" y="36"/>
                    </a:cubicBezTo>
                    <a:cubicBezTo>
                      <a:pt x="23" y="36"/>
                      <a:pt x="24" y="36"/>
                      <a:pt x="24" y="36"/>
                    </a:cubicBezTo>
                    <a:cubicBezTo>
                      <a:pt x="24" y="36"/>
                      <a:pt x="24" y="35"/>
                      <a:pt x="24" y="35"/>
                    </a:cubicBezTo>
                    <a:cubicBezTo>
                      <a:pt x="24" y="31"/>
                      <a:pt x="24" y="31"/>
                      <a:pt x="24" y="31"/>
                    </a:cubicBezTo>
                    <a:cubicBezTo>
                      <a:pt x="25" y="31"/>
                      <a:pt x="25" y="31"/>
                      <a:pt x="25" y="31"/>
                    </a:cubicBezTo>
                    <a:cubicBezTo>
                      <a:pt x="28" y="33"/>
                      <a:pt x="28" y="33"/>
                      <a:pt x="28" y="33"/>
                    </a:cubicBezTo>
                    <a:cubicBezTo>
                      <a:pt x="28" y="34"/>
                      <a:pt x="28" y="34"/>
                      <a:pt x="28" y="34"/>
                    </a:cubicBezTo>
                    <a:cubicBezTo>
                      <a:pt x="29" y="34"/>
                      <a:pt x="29" y="34"/>
                      <a:pt x="29" y="34"/>
                    </a:cubicBezTo>
                    <a:cubicBezTo>
                      <a:pt x="33" y="30"/>
                      <a:pt x="33" y="30"/>
                      <a:pt x="33" y="30"/>
                    </a:cubicBezTo>
                    <a:cubicBezTo>
                      <a:pt x="33" y="30"/>
                      <a:pt x="33" y="30"/>
                      <a:pt x="33" y="29"/>
                    </a:cubicBezTo>
                    <a:close/>
                    <a:moveTo>
                      <a:pt x="22" y="22"/>
                    </a:moveTo>
                    <a:cubicBezTo>
                      <a:pt x="20" y="24"/>
                      <a:pt x="17" y="24"/>
                      <a:pt x="15" y="22"/>
                    </a:cubicBezTo>
                    <a:cubicBezTo>
                      <a:pt x="13" y="20"/>
                      <a:pt x="13" y="16"/>
                      <a:pt x="15" y="15"/>
                    </a:cubicBezTo>
                    <a:cubicBezTo>
                      <a:pt x="17" y="13"/>
                      <a:pt x="21" y="13"/>
                      <a:pt x="23" y="15"/>
                    </a:cubicBezTo>
                    <a:cubicBezTo>
                      <a:pt x="24" y="17"/>
                      <a:pt x="24" y="20"/>
                      <a:pt x="22" y="22"/>
                    </a:cubicBez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grpSp>
      </p:grpSp>
      <p:sp>
        <p:nvSpPr>
          <p:cNvPr id="56" name="Title 1"/>
          <p:cNvSpPr txBox="1">
            <a:spLocks/>
          </p:cNvSpPr>
          <p:nvPr/>
        </p:nvSpPr>
        <p:spPr bwMode="auto">
          <a:xfrm>
            <a:off x="1595208" y="551654"/>
            <a:ext cx="3992731" cy="819454"/>
          </a:xfrm>
          <a:prstGeom prst="rect">
            <a:avLst/>
          </a:prstGeom>
          <a:noFill/>
          <a:ln w="9525">
            <a:noFill/>
            <a:miter lim="800000"/>
            <a:headEnd/>
            <a:tailEnd/>
          </a:ln>
        </p:spPr>
        <p:txBody>
          <a:bodyPr anchor="ctr"/>
          <a:lstStyle/>
          <a:p>
            <a:pPr>
              <a:defRPr/>
            </a:pPr>
            <a:r>
              <a:rPr lang="en-US" sz="3200" b="1" kern="0" dirty="0" err="1" smtClean="0">
                <a:latin typeface="Agency FB" pitchFamily="34" charset="0"/>
                <a:cs typeface="Arial" pitchFamily="34" charset="0"/>
              </a:rPr>
              <a:t>Prapenilaian</a:t>
            </a:r>
            <a:endParaRPr lang="en-US" sz="3200" b="1" kern="0" dirty="0">
              <a:latin typeface="Agency FB"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900" decel="100000" fill="hold"/>
                                        <p:tgtEl>
                                          <p:spTgt spid="10"/>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1000"/>
                                        <p:tgtEl>
                                          <p:spTgt spid="56"/>
                                        </p:tgtEl>
                                      </p:cBhvr>
                                    </p:animEffect>
                                    <p:anim calcmode="lin" valueType="num">
                                      <p:cBhvr>
                                        <p:cTn id="14" dur="1000" fill="hold"/>
                                        <p:tgtEl>
                                          <p:spTgt spid="56"/>
                                        </p:tgtEl>
                                        <p:attrNameLst>
                                          <p:attrName>ppt_x</p:attrName>
                                        </p:attrNameLst>
                                      </p:cBhvr>
                                      <p:tavLst>
                                        <p:tav tm="0">
                                          <p:val>
                                            <p:strVal val="#ppt_x"/>
                                          </p:val>
                                        </p:tav>
                                        <p:tav tm="100000">
                                          <p:val>
                                            <p:strVal val="#ppt_x"/>
                                          </p:val>
                                        </p:tav>
                                      </p:tavLst>
                                    </p:anim>
                                    <p:anim calcmode="lin" valueType="num">
                                      <p:cBhvr>
                                        <p:cTn id="15" dur="900" decel="100000" fill="hold"/>
                                        <p:tgtEl>
                                          <p:spTgt spid="56"/>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56"/>
                                        </p:tgtEl>
                                        <p:attrNameLst>
                                          <p:attrName>ppt_y</p:attrName>
                                        </p:attrNameLst>
                                      </p:cBhvr>
                                      <p:tavLst>
                                        <p:tav tm="0">
                                          <p:val>
                                            <p:strVal val="#ppt_y-.03"/>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8"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500" fill="hold"/>
                                        <p:tgtEl>
                                          <p:spTgt spid="8"/>
                                        </p:tgtEl>
                                        <p:attrNameLst>
                                          <p:attrName>ppt_x</p:attrName>
                                        </p:attrNameLst>
                                      </p:cBhvr>
                                      <p:tavLst>
                                        <p:tav tm="0">
                                          <p:val>
                                            <p:strVal val="0-#ppt_w/2"/>
                                          </p:val>
                                        </p:tav>
                                        <p:tav tm="100000">
                                          <p:val>
                                            <p:strVal val="#ppt_x"/>
                                          </p:val>
                                        </p:tav>
                                      </p:tavLst>
                                    </p:anim>
                                    <p:anim calcmode="lin" valueType="num">
                                      <p:cBhvr additive="base">
                                        <p:cTn id="22"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500" fill="hold"/>
                                        <p:tgtEl>
                                          <p:spTgt spid="6"/>
                                        </p:tgtEl>
                                        <p:attrNameLst>
                                          <p:attrName>ppt_x</p:attrName>
                                        </p:attrNameLst>
                                      </p:cBhvr>
                                      <p:tavLst>
                                        <p:tav tm="0">
                                          <p:val>
                                            <p:strVal val="#ppt_x"/>
                                          </p:val>
                                        </p:tav>
                                        <p:tav tm="100000">
                                          <p:val>
                                            <p:strVal val="#ppt_x"/>
                                          </p:val>
                                        </p:tav>
                                      </p:tavLst>
                                    </p:anim>
                                    <p:anim calcmode="lin" valueType="num">
                                      <p:cBhvr additive="base">
                                        <p:cTn id="2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8" fill="hold" nodeType="clickEffect">
                                  <p:stCondLst>
                                    <p:cond delay="0"/>
                                  </p:stCondLst>
                                  <p:childTnLst>
                                    <p:set>
                                      <p:cBhvr>
                                        <p:cTn id="32" dur="1" fill="hold">
                                          <p:stCondLst>
                                            <p:cond delay="0"/>
                                          </p:stCondLst>
                                        </p:cTn>
                                        <p:tgtEl>
                                          <p:spTgt spid="2"/>
                                        </p:tgtEl>
                                        <p:attrNameLst>
                                          <p:attrName>style.visibility</p:attrName>
                                        </p:attrNameLst>
                                      </p:cBhvr>
                                      <p:to>
                                        <p:strVal val="visible"/>
                                      </p:to>
                                    </p:set>
                                    <p:anim calcmode="lin" valueType="num">
                                      <p:cBhvr additive="base">
                                        <p:cTn id="33" dur="500" fill="hold"/>
                                        <p:tgtEl>
                                          <p:spTgt spid="2"/>
                                        </p:tgtEl>
                                        <p:attrNameLst>
                                          <p:attrName>ppt_x</p:attrName>
                                        </p:attrNameLst>
                                      </p:cBhvr>
                                      <p:tavLst>
                                        <p:tav tm="0">
                                          <p:val>
                                            <p:strVal val="0-#ppt_w/2"/>
                                          </p:val>
                                        </p:tav>
                                        <p:tav tm="100000">
                                          <p:val>
                                            <p:strVal val="#ppt_x"/>
                                          </p:val>
                                        </p:tav>
                                      </p:tavLst>
                                    </p:anim>
                                    <p:anim calcmode="lin" valueType="num">
                                      <p:cBhvr additive="base">
                                        <p:cTn id="34"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5"/>
          <p:cNvGrpSpPr/>
          <p:nvPr/>
        </p:nvGrpSpPr>
        <p:grpSpPr>
          <a:xfrm>
            <a:off x="477077" y="963480"/>
            <a:ext cx="4041913" cy="2646878"/>
            <a:chOff x="477077" y="649880"/>
            <a:chExt cx="4041913" cy="2646878"/>
          </a:xfrm>
        </p:grpSpPr>
        <p:grpSp>
          <p:nvGrpSpPr>
            <p:cNvPr id="3" name="Group 8"/>
            <p:cNvGrpSpPr/>
            <p:nvPr/>
          </p:nvGrpSpPr>
          <p:grpSpPr>
            <a:xfrm>
              <a:off x="477077" y="1310941"/>
              <a:ext cx="4041913" cy="1418836"/>
              <a:chOff x="477077" y="1496642"/>
              <a:chExt cx="4041913" cy="1418836"/>
            </a:xfrm>
          </p:grpSpPr>
          <p:sp>
            <p:nvSpPr>
              <p:cNvPr id="10" name="Rectangle 9"/>
              <p:cNvSpPr/>
              <p:nvPr/>
            </p:nvSpPr>
            <p:spPr>
              <a:xfrm>
                <a:off x="477077" y="1496642"/>
                <a:ext cx="4041913" cy="1418836"/>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1" name="TextBox 10"/>
              <p:cNvSpPr txBox="1"/>
              <p:nvPr/>
            </p:nvSpPr>
            <p:spPr>
              <a:xfrm>
                <a:off x="1428728" y="1571612"/>
                <a:ext cx="3071834" cy="1292662"/>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r>
                  <a:rPr lang="ms-MY" dirty="0" smtClean="0">
                    <a:solidFill>
                      <a:schemeClr val="bg1"/>
                    </a:solidFill>
                  </a:rPr>
                  <a:t>PP1 dan PP2 </a:t>
                </a:r>
                <a:r>
                  <a:rPr lang="ms-MY" b="1" dirty="0" smtClean="0">
                    <a:solidFill>
                      <a:schemeClr val="bg1"/>
                    </a:solidFill>
                  </a:rPr>
                  <a:t>tidak dibenarkan berbincang</a:t>
                </a:r>
                <a:r>
                  <a:rPr lang="ms-MY" dirty="0" smtClean="0">
                    <a:solidFill>
                      <a:schemeClr val="bg1"/>
                    </a:solidFill>
                  </a:rPr>
                  <a:t> dalam menentukan markah PYD</a:t>
                </a:r>
                <a:endParaRPr lang="en-PH" dirty="0" smtClean="0">
                  <a:solidFill>
                    <a:schemeClr val="bg1"/>
                  </a:solidFill>
                </a:endParaRPr>
              </a:p>
            </p:txBody>
          </p:sp>
        </p:grpSp>
        <p:sp>
          <p:nvSpPr>
            <p:cNvPr id="12" name="TextBox 11"/>
            <p:cNvSpPr txBox="1"/>
            <p:nvPr/>
          </p:nvSpPr>
          <p:spPr>
            <a:xfrm>
              <a:off x="477078" y="649880"/>
              <a:ext cx="914400" cy="2646878"/>
            </a:xfrm>
            <a:prstGeom prst="rect">
              <a:avLst/>
            </a:prstGeom>
            <a:noFill/>
          </p:spPr>
          <p:txBody>
            <a:bodyPr wrap="square" rtlCol="0">
              <a:spAutoFit/>
            </a:bodyPr>
            <a:lstStyle/>
            <a:p>
              <a:pPr algn="ctr"/>
              <a:r>
                <a:rPr lang="en-US" sz="16600" b="1" dirty="0" smtClean="0">
                  <a:solidFill>
                    <a:srgbClr val="F9F9F9"/>
                  </a:solidFill>
                </a:rPr>
                <a:t>1</a:t>
              </a:r>
              <a:endParaRPr lang="en-PH" sz="16600" b="1" dirty="0">
                <a:solidFill>
                  <a:srgbClr val="F9F9F9"/>
                </a:solidFill>
              </a:endParaRPr>
            </a:p>
          </p:txBody>
        </p:sp>
      </p:grpSp>
      <p:grpSp>
        <p:nvGrpSpPr>
          <p:cNvPr id="4" name="Group 26"/>
          <p:cNvGrpSpPr/>
          <p:nvPr/>
        </p:nvGrpSpPr>
        <p:grpSpPr>
          <a:xfrm>
            <a:off x="4651513" y="910229"/>
            <a:ext cx="4068417" cy="2646878"/>
            <a:chOff x="4651513" y="502549"/>
            <a:chExt cx="4068417" cy="2646878"/>
          </a:xfrm>
        </p:grpSpPr>
        <p:grpSp>
          <p:nvGrpSpPr>
            <p:cNvPr id="7" name="Group 3"/>
            <p:cNvGrpSpPr/>
            <p:nvPr/>
          </p:nvGrpSpPr>
          <p:grpSpPr>
            <a:xfrm>
              <a:off x="4651513" y="1185501"/>
              <a:ext cx="4068417" cy="1418836"/>
              <a:chOff x="4651513" y="1496642"/>
              <a:chExt cx="4068417" cy="1418836"/>
            </a:xfrm>
          </p:grpSpPr>
          <p:sp>
            <p:nvSpPr>
              <p:cNvPr id="5" name="Rectangle 4"/>
              <p:cNvSpPr/>
              <p:nvPr/>
            </p:nvSpPr>
            <p:spPr>
              <a:xfrm>
                <a:off x="4651513" y="1496642"/>
                <a:ext cx="4068417" cy="1418836"/>
              </a:xfrm>
              <a:prstGeom prst="rect">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6" name="TextBox 5"/>
              <p:cNvSpPr txBox="1"/>
              <p:nvPr/>
            </p:nvSpPr>
            <p:spPr>
              <a:xfrm>
                <a:off x="5715009" y="1531534"/>
                <a:ext cx="3000395" cy="1292662"/>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r>
                  <a:rPr lang="ms-MY" dirty="0" smtClean="0">
                    <a:solidFill>
                      <a:schemeClr val="bg1"/>
                    </a:solidFill>
                  </a:rPr>
                  <a:t>Penilaian dilaksanakan tanpa dipengaruhi oleh prestasi tahun-tahun sebelumnya</a:t>
                </a:r>
                <a:endParaRPr lang="en-PH" dirty="0" smtClean="0">
                  <a:solidFill>
                    <a:schemeClr val="bg1"/>
                  </a:solidFill>
                </a:endParaRPr>
              </a:p>
            </p:txBody>
          </p:sp>
        </p:grpSp>
        <p:sp>
          <p:nvSpPr>
            <p:cNvPr id="13" name="TextBox 12"/>
            <p:cNvSpPr txBox="1"/>
            <p:nvPr/>
          </p:nvSpPr>
          <p:spPr>
            <a:xfrm>
              <a:off x="4651513" y="502549"/>
              <a:ext cx="914400" cy="2646878"/>
            </a:xfrm>
            <a:prstGeom prst="rect">
              <a:avLst/>
            </a:prstGeom>
            <a:noFill/>
          </p:spPr>
          <p:txBody>
            <a:bodyPr wrap="square" rtlCol="0">
              <a:spAutoFit/>
            </a:bodyPr>
            <a:lstStyle/>
            <a:p>
              <a:pPr algn="ctr"/>
              <a:r>
                <a:rPr lang="en-US" sz="16600" b="1" dirty="0" smtClean="0">
                  <a:solidFill>
                    <a:srgbClr val="F9F9F9"/>
                  </a:solidFill>
                </a:rPr>
                <a:t>2</a:t>
              </a:r>
              <a:endParaRPr lang="en-PH" sz="16600" b="1" dirty="0">
                <a:solidFill>
                  <a:srgbClr val="F9F9F9"/>
                </a:solidFill>
              </a:endParaRPr>
            </a:p>
          </p:txBody>
        </p:sp>
      </p:grpSp>
      <p:grpSp>
        <p:nvGrpSpPr>
          <p:cNvPr id="8" name="Group 27"/>
          <p:cNvGrpSpPr/>
          <p:nvPr/>
        </p:nvGrpSpPr>
        <p:grpSpPr>
          <a:xfrm>
            <a:off x="469921" y="2664697"/>
            <a:ext cx="4102522" cy="2646878"/>
            <a:chOff x="469478" y="2441722"/>
            <a:chExt cx="4102522" cy="2646878"/>
          </a:xfrm>
        </p:grpSpPr>
        <p:grpSp>
          <p:nvGrpSpPr>
            <p:cNvPr id="9" name="Group 16"/>
            <p:cNvGrpSpPr/>
            <p:nvPr/>
          </p:nvGrpSpPr>
          <p:grpSpPr>
            <a:xfrm>
              <a:off x="477077" y="2903546"/>
              <a:ext cx="4094923" cy="1741148"/>
              <a:chOff x="477077" y="1496642"/>
              <a:chExt cx="4094923" cy="1418836"/>
            </a:xfrm>
          </p:grpSpPr>
          <p:sp>
            <p:nvSpPr>
              <p:cNvPr id="18" name="Rectangle 17"/>
              <p:cNvSpPr/>
              <p:nvPr/>
            </p:nvSpPr>
            <p:spPr>
              <a:xfrm>
                <a:off x="477077" y="1496642"/>
                <a:ext cx="4041913" cy="1418836"/>
              </a:xfrm>
              <a:prstGeom prst="rect">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9" name="TextBox 18"/>
              <p:cNvSpPr txBox="1"/>
              <p:nvPr/>
            </p:nvSpPr>
            <p:spPr>
              <a:xfrm>
                <a:off x="1285852" y="1548738"/>
                <a:ext cx="3286148" cy="1354334"/>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pPr lvl="0" algn="just"/>
                <a:r>
                  <a:rPr lang="ms-MY" sz="1600" dirty="0" smtClean="0">
                    <a:solidFill>
                      <a:schemeClr val="bg1"/>
                    </a:solidFill>
                  </a:rPr>
                  <a:t>Membuat </a:t>
                </a:r>
                <a:r>
                  <a:rPr lang="ms-MY" sz="1600" b="1" dirty="0" smtClean="0"/>
                  <a:t>dua</a:t>
                </a:r>
                <a:r>
                  <a:rPr lang="ms-MY" sz="1600" dirty="0" smtClean="0">
                    <a:solidFill>
                      <a:srgbClr val="FF0000"/>
                    </a:solidFill>
                  </a:rPr>
                  <a:t> </a:t>
                </a:r>
                <a:r>
                  <a:rPr lang="ms-MY" sz="1600" dirty="0" smtClean="0">
                    <a:solidFill>
                      <a:schemeClr val="bg1"/>
                    </a:solidFill>
                  </a:rPr>
                  <a:t>cetakan borang markah sebagai bukti bagi setiap penilaian yang dilaksanakan. Satu salinan borang markah perlu diberi kepada PYD dan satu lagi disimpan dalam fail perkhidmatan PYD.</a:t>
                </a:r>
              </a:p>
            </p:txBody>
          </p:sp>
        </p:grpSp>
        <p:sp>
          <p:nvSpPr>
            <p:cNvPr id="20" name="TextBox 19"/>
            <p:cNvSpPr txBox="1"/>
            <p:nvPr/>
          </p:nvSpPr>
          <p:spPr>
            <a:xfrm>
              <a:off x="469478" y="2441722"/>
              <a:ext cx="914400" cy="2646878"/>
            </a:xfrm>
            <a:prstGeom prst="rect">
              <a:avLst/>
            </a:prstGeom>
            <a:noFill/>
          </p:spPr>
          <p:txBody>
            <a:bodyPr wrap="square" rtlCol="0">
              <a:spAutoFit/>
            </a:bodyPr>
            <a:lstStyle/>
            <a:p>
              <a:pPr algn="ctr"/>
              <a:r>
                <a:rPr lang="en-US" sz="16600" b="1" dirty="0" smtClean="0">
                  <a:solidFill>
                    <a:srgbClr val="F9F9F9"/>
                  </a:solidFill>
                </a:rPr>
                <a:t>3</a:t>
              </a:r>
              <a:endParaRPr lang="en-PH" sz="16600" b="1" dirty="0">
                <a:solidFill>
                  <a:srgbClr val="F9F9F9"/>
                </a:solidFill>
              </a:endParaRPr>
            </a:p>
          </p:txBody>
        </p:sp>
      </p:grpSp>
      <p:grpSp>
        <p:nvGrpSpPr>
          <p:cNvPr id="14" name="Group 33"/>
          <p:cNvGrpSpPr/>
          <p:nvPr/>
        </p:nvGrpSpPr>
        <p:grpSpPr>
          <a:xfrm>
            <a:off x="4651513" y="2644476"/>
            <a:ext cx="4068417" cy="2646878"/>
            <a:chOff x="4651513" y="2471996"/>
            <a:chExt cx="4068417" cy="2646878"/>
          </a:xfrm>
        </p:grpSpPr>
        <p:grpSp>
          <p:nvGrpSpPr>
            <p:cNvPr id="17" name="Group 13"/>
            <p:cNvGrpSpPr/>
            <p:nvPr/>
          </p:nvGrpSpPr>
          <p:grpSpPr>
            <a:xfrm>
              <a:off x="4651513" y="2903545"/>
              <a:ext cx="4068417" cy="1858071"/>
              <a:chOff x="4651513" y="1496642"/>
              <a:chExt cx="4068417" cy="1466760"/>
            </a:xfrm>
          </p:grpSpPr>
          <p:sp>
            <p:nvSpPr>
              <p:cNvPr id="15" name="Rectangle 14"/>
              <p:cNvSpPr/>
              <p:nvPr/>
            </p:nvSpPr>
            <p:spPr>
              <a:xfrm>
                <a:off x="4651513" y="1496642"/>
                <a:ext cx="4068417" cy="1418836"/>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6" name="TextBox 15"/>
              <p:cNvSpPr txBox="1"/>
              <p:nvPr/>
            </p:nvSpPr>
            <p:spPr>
              <a:xfrm>
                <a:off x="5715008" y="1505651"/>
                <a:ext cx="2928958" cy="1457751"/>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r>
                  <a:rPr lang="ms-MY" dirty="0" smtClean="0">
                    <a:solidFill>
                      <a:schemeClr val="bg1"/>
                    </a:solidFill>
                  </a:rPr>
                  <a:t>Penilaian dibuat dengan keyakinan bahawa PYD merupakan aset terpenting yang perlu dan boleh dimajukan dari semasa ke semasa</a:t>
                </a:r>
                <a:endParaRPr lang="en-US" dirty="0">
                  <a:solidFill>
                    <a:schemeClr val="bg1"/>
                  </a:solidFill>
                  <a:latin typeface="Calibri" pitchFamily="-105" charset="0"/>
                </a:endParaRPr>
              </a:p>
            </p:txBody>
          </p:sp>
        </p:grpSp>
        <p:sp>
          <p:nvSpPr>
            <p:cNvPr id="21" name="TextBox 20"/>
            <p:cNvSpPr txBox="1"/>
            <p:nvPr/>
          </p:nvSpPr>
          <p:spPr>
            <a:xfrm>
              <a:off x="4762251" y="2471996"/>
              <a:ext cx="914400" cy="2646878"/>
            </a:xfrm>
            <a:prstGeom prst="rect">
              <a:avLst/>
            </a:prstGeom>
            <a:noFill/>
          </p:spPr>
          <p:txBody>
            <a:bodyPr wrap="square" rtlCol="0">
              <a:spAutoFit/>
            </a:bodyPr>
            <a:lstStyle/>
            <a:p>
              <a:pPr algn="ctr"/>
              <a:r>
                <a:rPr lang="en-US" sz="16600" b="1" dirty="0" smtClean="0">
                  <a:solidFill>
                    <a:srgbClr val="F9F9F9"/>
                  </a:solidFill>
                </a:rPr>
                <a:t>4</a:t>
              </a:r>
              <a:endParaRPr lang="en-PH" sz="16600" b="1" dirty="0">
                <a:solidFill>
                  <a:srgbClr val="F9F9F9"/>
                </a:solidFill>
              </a:endParaRPr>
            </a:p>
          </p:txBody>
        </p:sp>
      </p:grpSp>
      <p:grpSp>
        <p:nvGrpSpPr>
          <p:cNvPr id="22" name="Group 34"/>
          <p:cNvGrpSpPr/>
          <p:nvPr/>
        </p:nvGrpSpPr>
        <p:grpSpPr>
          <a:xfrm>
            <a:off x="477077" y="4304108"/>
            <a:ext cx="8242853" cy="2646878"/>
            <a:chOff x="477077" y="4288428"/>
            <a:chExt cx="8242853" cy="2646878"/>
          </a:xfrm>
        </p:grpSpPr>
        <p:grpSp>
          <p:nvGrpSpPr>
            <p:cNvPr id="26" name="Group 21"/>
            <p:cNvGrpSpPr/>
            <p:nvPr/>
          </p:nvGrpSpPr>
          <p:grpSpPr>
            <a:xfrm>
              <a:off x="477077" y="4895091"/>
              <a:ext cx="8242853" cy="1846659"/>
              <a:chOff x="477077" y="1489284"/>
              <a:chExt cx="8242853" cy="1846659"/>
            </a:xfrm>
          </p:grpSpPr>
          <p:sp>
            <p:nvSpPr>
              <p:cNvPr id="23" name="Rectangle 22"/>
              <p:cNvSpPr/>
              <p:nvPr/>
            </p:nvSpPr>
            <p:spPr>
              <a:xfrm>
                <a:off x="477077" y="1496642"/>
                <a:ext cx="8242853" cy="1501558"/>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24" name="TextBox 23"/>
              <p:cNvSpPr txBox="1"/>
              <p:nvPr/>
            </p:nvSpPr>
            <p:spPr>
              <a:xfrm>
                <a:off x="1428728" y="1489284"/>
                <a:ext cx="7143800" cy="1846659"/>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pPr lvl="0" algn="just"/>
                <a:r>
                  <a:rPr lang="ms-MY" dirty="0" smtClean="0">
                    <a:solidFill>
                      <a:schemeClr val="bg1"/>
                    </a:solidFill>
                  </a:rPr>
                  <a:t>PP hendaklah berbincang dengan PYD mengenai kemajuan kerja sekurang-kurangnya </a:t>
                </a:r>
                <a:r>
                  <a:rPr lang="ms-MY" b="1" dirty="0" smtClean="0">
                    <a:solidFill>
                      <a:schemeClr val="bg1"/>
                    </a:solidFill>
                  </a:rPr>
                  <a:t>dua kali</a:t>
                </a:r>
                <a:r>
                  <a:rPr lang="ms-MY" dirty="0" smtClean="0">
                    <a:solidFill>
                      <a:schemeClr val="bg1"/>
                    </a:solidFill>
                  </a:rPr>
                  <a:t> setahun dan dari semasa ke semasa bagi mengenal pasti masalah pelaksanaan, mengambil tindakan untuk mengatasinya dan membuat pengubahsuaian strategi kerja untuk meningkatkan prestasi kerja.</a:t>
                </a:r>
              </a:p>
              <a:p>
                <a:endParaRPr lang="en-PH" dirty="0" smtClean="0">
                  <a:solidFill>
                    <a:schemeClr val="bg1"/>
                  </a:solidFill>
                </a:endParaRPr>
              </a:p>
            </p:txBody>
          </p:sp>
        </p:grpSp>
        <p:sp>
          <p:nvSpPr>
            <p:cNvPr id="25" name="TextBox 24"/>
            <p:cNvSpPr txBox="1"/>
            <p:nvPr/>
          </p:nvSpPr>
          <p:spPr>
            <a:xfrm>
              <a:off x="477078" y="4288428"/>
              <a:ext cx="914400" cy="2646878"/>
            </a:xfrm>
            <a:prstGeom prst="rect">
              <a:avLst/>
            </a:prstGeom>
            <a:noFill/>
          </p:spPr>
          <p:txBody>
            <a:bodyPr wrap="square" rtlCol="0">
              <a:spAutoFit/>
            </a:bodyPr>
            <a:lstStyle/>
            <a:p>
              <a:pPr algn="ctr"/>
              <a:r>
                <a:rPr lang="en-US" sz="16600" b="1" dirty="0" smtClean="0">
                  <a:solidFill>
                    <a:srgbClr val="F9F9F9"/>
                  </a:solidFill>
                </a:rPr>
                <a:t>5</a:t>
              </a:r>
              <a:endParaRPr lang="en-PH" sz="16600" b="1" dirty="0">
                <a:solidFill>
                  <a:srgbClr val="F9F9F9"/>
                </a:solidFill>
              </a:endParaRPr>
            </a:p>
          </p:txBody>
        </p:sp>
      </p:grpSp>
      <p:sp>
        <p:nvSpPr>
          <p:cNvPr id="44" name="Title 1"/>
          <p:cNvSpPr txBox="1">
            <a:spLocks/>
          </p:cNvSpPr>
          <p:nvPr/>
        </p:nvSpPr>
        <p:spPr bwMode="auto">
          <a:xfrm>
            <a:off x="1906360" y="540728"/>
            <a:ext cx="3992731" cy="819454"/>
          </a:xfrm>
          <a:prstGeom prst="rect">
            <a:avLst/>
          </a:prstGeom>
          <a:noFill/>
          <a:ln w="9525">
            <a:noFill/>
            <a:miter lim="800000"/>
            <a:headEnd/>
            <a:tailEnd/>
          </a:ln>
        </p:spPr>
        <p:txBody>
          <a:bodyPr anchor="ctr"/>
          <a:lstStyle/>
          <a:p>
            <a:pPr>
              <a:defRPr/>
            </a:pPr>
            <a:r>
              <a:rPr lang="en-US" sz="3200" b="1" kern="0" dirty="0" err="1" smtClean="0">
                <a:latin typeface="Agency FB" pitchFamily="34" charset="0"/>
                <a:cs typeface="Arial" pitchFamily="34" charset="0"/>
              </a:rPr>
              <a:t>Semasa</a:t>
            </a:r>
            <a:r>
              <a:rPr lang="en-US" sz="3200" b="1" kern="0" dirty="0">
                <a:latin typeface="Agency FB" pitchFamily="34" charset="0"/>
                <a:cs typeface="Arial" pitchFamily="34" charset="0"/>
              </a:rPr>
              <a:t> </a:t>
            </a:r>
            <a:r>
              <a:rPr lang="en-US" sz="3200" b="1" kern="0" dirty="0" err="1" smtClean="0">
                <a:latin typeface="Agency FB" pitchFamily="34" charset="0"/>
                <a:cs typeface="Arial" pitchFamily="34" charset="0"/>
              </a:rPr>
              <a:t>Penilaian</a:t>
            </a:r>
            <a:endParaRPr lang="en-US" sz="3200" b="1" kern="0" dirty="0">
              <a:latin typeface="Agency FB" pitchFamily="34" charset="0"/>
              <a:cs typeface="Arial" pitchFamily="34" charset="0"/>
            </a:endParaRPr>
          </a:p>
        </p:txBody>
      </p:sp>
      <p:grpSp>
        <p:nvGrpSpPr>
          <p:cNvPr id="27" name="Group 44"/>
          <p:cNvGrpSpPr/>
          <p:nvPr/>
        </p:nvGrpSpPr>
        <p:grpSpPr>
          <a:xfrm>
            <a:off x="204972" y="253976"/>
            <a:ext cx="1457795" cy="1318382"/>
            <a:chOff x="1565920" y="3320709"/>
            <a:chExt cx="1457795" cy="1318382"/>
          </a:xfrm>
        </p:grpSpPr>
        <p:grpSp>
          <p:nvGrpSpPr>
            <p:cNvPr id="28" name="Group 45"/>
            <p:cNvGrpSpPr/>
            <p:nvPr/>
          </p:nvGrpSpPr>
          <p:grpSpPr>
            <a:xfrm>
              <a:off x="1565920" y="3320709"/>
              <a:ext cx="1457795" cy="1318382"/>
              <a:chOff x="6089820" y="2277827"/>
              <a:chExt cx="1457795" cy="1318382"/>
            </a:xfrm>
          </p:grpSpPr>
          <p:sp>
            <p:nvSpPr>
              <p:cNvPr id="51" name="Oval 50"/>
              <p:cNvSpPr/>
              <p:nvPr/>
            </p:nvSpPr>
            <p:spPr>
              <a:xfrm>
                <a:off x="6207299" y="2358065"/>
                <a:ext cx="1296524" cy="1160563"/>
              </a:xfrm>
              <a:prstGeom prst="ellipse">
                <a:avLst/>
              </a:prstGeom>
              <a:solidFill>
                <a:schemeClr val="bg1">
                  <a:alpha val="9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Donut 13"/>
              <p:cNvSpPr>
                <a:spLocks noChangeArrowheads="1"/>
              </p:cNvSpPr>
              <p:nvPr/>
            </p:nvSpPr>
            <p:spPr bwMode="auto">
              <a:xfrm flipV="1">
                <a:off x="6089820" y="2277827"/>
                <a:ext cx="1457795" cy="1318382"/>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gradFill rotWithShape="1">
                <a:gsLst>
                  <a:gs pos="0">
                    <a:srgbClr val="00B0F0"/>
                  </a:gs>
                  <a:gs pos="100000">
                    <a:srgbClr val="0070C0"/>
                  </a:gs>
                </a:gsLst>
                <a:lin ang="16200000"/>
              </a:gradFill>
              <a:ln w="9525">
                <a:noFill/>
                <a:miter lim="800000"/>
                <a:headEnd/>
                <a:tailEnd/>
              </a:ln>
              <a:effectLst>
                <a:outerShdw blurRad="63500" dist="23000" dir="5400000" rotWithShape="0">
                  <a:srgbClr val="000000">
                    <a:alpha val="34999"/>
                  </a:srgbClr>
                </a:outerShdw>
              </a:effectLst>
            </p:spPr>
            <p:txBody>
              <a:bodyPr anchor="ctr"/>
              <a:lstStyle/>
              <a:p>
                <a:pPr algn="ctr">
                  <a:defRPr/>
                </a:pPr>
                <a:endParaRPr lang="en-US" sz="2000" dirty="0">
                  <a:latin typeface=""/>
                  <a:ea typeface="+mn-ea"/>
                </a:endParaRPr>
              </a:p>
            </p:txBody>
          </p:sp>
        </p:grpSp>
        <p:grpSp>
          <p:nvGrpSpPr>
            <p:cNvPr id="29" name="Gruppe 66"/>
            <p:cNvGrpSpPr/>
            <p:nvPr/>
          </p:nvGrpSpPr>
          <p:grpSpPr bwMode="auto">
            <a:xfrm>
              <a:off x="1947096" y="3617437"/>
              <a:ext cx="737831" cy="670548"/>
              <a:chOff x="6412334" y="468369"/>
              <a:chExt cx="785176" cy="787474"/>
            </a:xfrm>
            <a:solidFill>
              <a:srgbClr val="000000"/>
            </a:solidFill>
          </p:grpSpPr>
          <p:sp>
            <p:nvSpPr>
              <p:cNvPr id="48" name="Freeform 36"/>
              <p:cNvSpPr>
                <a:spLocks/>
              </p:cNvSpPr>
              <p:nvPr/>
            </p:nvSpPr>
            <p:spPr bwMode="auto">
              <a:xfrm>
                <a:off x="6714219" y="874177"/>
                <a:ext cx="190813" cy="381664"/>
              </a:xfrm>
              <a:custGeom>
                <a:avLst/>
                <a:gdLst/>
                <a:ahLst/>
                <a:cxnLst>
                  <a:cxn ang="0">
                    <a:pos x="17" y="30"/>
                  </a:cxn>
                  <a:cxn ang="0">
                    <a:pos x="14" y="34"/>
                  </a:cxn>
                  <a:cxn ang="0">
                    <a:pos x="4" y="34"/>
                  </a:cxn>
                  <a:cxn ang="0">
                    <a:pos x="0" y="30"/>
                  </a:cxn>
                  <a:cxn ang="0">
                    <a:pos x="0" y="3"/>
                  </a:cxn>
                  <a:cxn ang="0">
                    <a:pos x="4" y="0"/>
                  </a:cxn>
                  <a:cxn ang="0">
                    <a:pos x="14" y="0"/>
                  </a:cxn>
                  <a:cxn ang="0">
                    <a:pos x="17" y="3"/>
                  </a:cxn>
                  <a:cxn ang="0">
                    <a:pos x="17" y="30"/>
                  </a:cxn>
                </a:cxnLst>
                <a:rect l="0" t="0" r="r" b="b"/>
                <a:pathLst>
                  <a:path w="17" h="34">
                    <a:moveTo>
                      <a:pt x="17" y="30"/>
                    </a:moveTo>
                    <a:cubicBezTo>
                      <a:pt x="17" y="32"/>
                      <a:pt x="16" y="34"/>
                      <a:pt x="14" y="34"/>
                    </a:cubicBezTo>
                    <a:cubicBezTo>
                      <a:pt x="4" y="34"/>
                      <a:pt x="4" y="34"/>
                      <a:pt x="4" y="34"/>
                    </a:cubicBezTo>
                    <a:cubicBezTo>
                      <a:pt x="2" y="34"/>
                      <a:pt x="0" y="32"/>
                      <a:pt x="0" y="30"/>
                    </a:cubicBezTo>
                    <a:cubicBezTo>
                      <a:pt x="0" y="3"/>
                      <a:pt x="0" y="3"/>
                      <a:pt x="0" y="3"/>
                    </a:cubicBezTo>
                    <a:cubicBezTo>
                      <a:pt x="0" y="1"/>
                      <a:pt x="2" y="0"/>
                      <a:pt x="4" y="0"/>
                    </a:cubicBezTo>
                    <a:cubicBezTo>
                      <a:pt x="14" y="0"/>
                      <a:pt x="14" y="0"/>
                      <a:pt x="14" y="0"/>
                    </a:cubicBezTo>
                    <a:cubicBezTo>
                      <a:pt x="16" y="0"/>
                      <a:pt x="17" y="1"/>
                      <a:pt x="17" y="3"/>
                    </a:cubicBezTo>
                    <a:lnTo>
                      <a:pt x="17" y="30"/>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sp>
            <p:nvSpPr>
              <p:cNvPr id="49" name="Freeform 37"/>
              <p:cNvSpPr>
                <a:spLocks/>
              </p:cNvSpPr>
              <p:nvPr/>
            </p:nvSpPr>
            <p:spPr bwMode="auto">
              <a:xfrm>
                <a:off x="7006697" y="750606"/>
                <a:ext cx="190813" cy="505237"/>
              </a:xfrm>
              <a:custGeom>
                <a:avLst/>
                <a:gdLst/>
                <a:ahLst/>
                <a:cxnLst>
                  <a:cxn ang="0">
                    <a:pos x="17" y="41"/>
                  </a:cxn>
                  <a:cxn ang="0">
                    <a:pos x="13" y="45"/>
                  </a:cxn>
                  <a:cxn ang="0">
                    <a:pos x="3" y="45"/>
                  </a:cxn>
                  <a:cxn ang="0">
                    <a:pos x="0" y="41"/>
                  </a:cxn>
                  <a:cxn ang="0">
                    <a:pos x="0" y="3"/>
                  </a:cxn>
                  <a:cxn ang="0">
                    <a:pos x="3" y="0"/>
                  </a:cxn>
                  <a:cxn ang="0">
                    <a:pos x="13" y="0"/>
                  </a:cxn>
                  <a:cxn ang="0">
                    <a:pos x="17" y="3"/>
                  </a:cxn>
                  <a:cxn ang="0">
                    <a:pos x="17" y="41"/>
                  </a:cxn>
                </a:cxnLst>
                <a:rect l="0" t="0" r="r" b="b"/>
                <a:pathLst>
                  <a:path w="17" h="45">
                    <a:moveTo>
                      <a:pt x="17" y="41"/>
                    </a:moveTo>
                    <a:cubicBezTo>
                      <a:pt x="17" y="43"/>
                      <a:pt x="15" y="45"/>
                      <a:pt x="13" y="45"/>
                    </a:cubicBezTo>
                    <a:cubicBezTo>
                      <a:pt x="3" y="45"/>
                      <a:pt x="3" y="45"/>
                      <a:pt x="3" y="45"/>
                    </a:cubicBezTo>
                    <a:cubicBezTo>
                      <a:pt x="1" y="45"/>
                      <a:pt x="0" y="43"/>
                      <a:pt x="0" y="41"/>
                    </a:cubicBezTo>
                    <a:cubicBezTo>
                      <a:pt x="0" y="3"/>
                      <a:pt x="0" y="3"/>
                      <a:pt x="0" y="3"/>
                    </a:cubicBezTo>
                    <a:cubicBezTo>
                      <a:pt x="0" y="1"/>
                      <a:pt x="1" y="0"/>
                      <a:pt x="3" y="0"/>
                    </a:cubicBezTo>
                    <a:cubicBezTo>
                      <a:pt x="13" y="0"/>
                      <a:pt x="13" y="0"/>
                      <a:pt x="13" y="0"/>
                    </a:cubicBezTo>
                    <a:cubicBezTo>
                      <a:pt x="15" y="0"/>
                      <a:pt x="17" y="1"/>
                      <a:pt x="17" y="3"/>
                    </a:cubicBezTo>
                    <a:lnTo>
                      <a:pt x="17" y="41"/>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sp>
            <p:nvSpPr>
              <p:cNvPr id="50" name="Freeform 37"/>
              <p:cNvSpPr>
                <a:spLocks/>
              </p:cNvSpPr>
              <p:nvPr/>
            </p:nvSpPr>
            <p:spPr bwMode="auto">
              <a:xfrm>
                <a:off x="6412334" y="468369"/>
                <a:ext cx="206554" cy="787474"/>
              </a:xfrm>
              <a:custGeom>
                <a:avLst/>
                <a:gdLst/>
                <a:ahLst/>
                <a:cxnLst>
                  <a:cxn ang="0">
                    <a:pos x="17" y="41"/>
                  </a:cxn>
                  <a:cxn ang="0">
                    <a:pos x="13" y="45"/>
                  </a:cxn>
                  <a:cxn ang="0">
                    <a:pos x="3" y="45"/>
                  </a:cxn>
                  <a:cxn ang="0">
                    <a:pos x="0" y="41"/>
                  </a:cxn>
                  <a:cxn ang="0">
                    <a:pos x="0" y="3"/>
                  </a:cxn>
                  <a:cxn ang="0">
                    <a:pos x="3" y="0"/>
                  </a:cxn>
                  <a:cxn ang="0">
                    <a:pos x="13" y="0"/>
                  </a:cxn>
                  <a:cxn ang="0">
                    <a:pos x="17" y="3"/>
                  </a:cxn>
                  <a:cxn ang="0">
                    <a:pos x="17" y="41"/>
                  </a:cxn>
                </a:cxnLst>
                <a:rect l="0" t="0" r="r" b="b"/>
                <a:pathLst>
                  <a:path w="17" h="45">
                    <a:moveTo>
                      <a:pt x="17" y="41"/>
                    </a:moveTo>
                    <a:cubicBezTo>
                      <a:pt x="17" y="43"/>
                      <a:pt x="15" y="45"/>
                      <a:pt x="13" y="45"/>
                    </a:cubicBezTo>
                    <a:cubicBezTo>
                      <a:pt x="3" y="45"/>
                      <a:pt x="3" y="45"/>
                      <a:pt x="3" y="45"/>
                    </a:cubicBezTo>
                    <a:cubicBezTo>
                      <a:pt x="1" y="45"/>
                      <a:pt x="0" y="43"/>
                      <a:pt x="0" y="41"/>
                    </a:cubicBezTo>
                    <a:cubicBezTo>
                      <a:pt x="0" y="3"/>
                      <a:pt x="0" y="3"/>
                      <a:pt x="0" y="3"/>
                    </a:cubicBezTo>
                    <a:cubicBezTo>
                      <a:pt x="0" y="1"/>
                      <a:pt x="1" y="0"/>
                      <a:pt x="3" y="0"/>
                    </a:cubicBezTo>
                    <a:cubicBezTo>
                      <a:pt x="13" y="0"/>
                      <a:pt x="13" y="0"/>
                      <a:pt x="13" y="0"/>
                    </a:cubicBezTo>
                    <a:cubicBezTo>
                      <a:pt x="15" y="0"/>
                      <a:pt x="17" y="1"/>
                      <a:pt x="17" y="3"/>
                    </a:cubicBezTo>
                    <a:lnTo>
                      <a:pt x="17" y="41"/>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grpSp>
      </p:grpSp>
      <p:sp>
        <p:nvSpPr>
          <p:cNvPr id="53" name="Footer Placeholder 52"/>
          <p:cNvSpPr>
            <a:spLocks noGrp="1"/>
          </p:cNvSpPr>
          <p:nvPr>
            <p:ph type="ftr" sz="quarter" idx="11"/>
          </p:nvPr>
        </p:nvSpPr>
        <p:spPr>
          <a:xfrm>
            <a:off x="3290958" y="6351714"/>
            <a:ext cx="4958521" cy="365125"/>
          </a:xfrm>
        </p:spPr>
        <p:txBody>
          <a:bodyPr/>
          <a:lstStyle/>
          <a:p>
            <a:r>
              <a:rPr lang="en-US" smtClean="0"/>
              <a:t>GURU (SEKOLAH)</a:t>
            </a:r>
            <a:endParaRPr lang="en-US" dirty="0"/>
          </a:p>
        </p:txBody>
      </p:sp>
      <p:sp>
        <p:nvSpPr>
          <p:cNvPr id="54" name="Slide Number Placeholder 53"/>
          <p:cNvSpPr>
            <a:spLocks noGrp="1"/>
          </p:cNvSpPr>
          <p:nvPr>
            <p:ph type="sldNum" sz="quarter" idx="12"/>
          </p:nvPr>
        </p:nvSpPr>
        <p:spPr>
          <a:xfrm>
            <a:off x="6553200" y="6356351"/>
            <a:ext cx="2133600" cy="365125"/>
          </a:xfrm>
        </p:spPr>
        <p:txBody>
          <a:bodyPr/>
          <a:lstStyle/>
          <a:p>
            <a:fld id="{4D86EDED-B1AF-7E4B-94C9-3F0EAA36C7D5}" type="slidenum">
              <a:rPr lang="en-US" smtClean="0"/>
              <a:pPr/>
              <a:t>39</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anim calcmode="lin" valueType="num">
                                      <p:cBhvr>
                                        <p:cTn id="8" dur="1000" fill="hold"/>
                                        <p:tgtEl>
                                          <p:spTgt spid="27"/>
                                        </p:tgtEl>
                                        <p:attrNameLst>
                                          <p:attrName>ppt_x</p:attrName>
                                        </p:attrNameLst>
                                      </p:cBhvr>
                                      <p:tavLst>
                                        <p:tav tm="0">
                                          <p:val>
                                            <p:strVal val="#ppt_x"/>
                                          </p:val>
                                        </p:tav>
                                        <p:tav tm="100000">
                                          <p:val>
                                            <p:strVal val="#ppt_x"/>
                                          </p:val>
                                        </p:tav>
                                      </p:tavLst>
                                    </p:anim>
                                    <p:anim calcmode="lin" valueType="num">
                                      <p:cBhvr>
                                        <p:cTn id="9" dur="900" decel="100000" fill="hold"/>
                                        <p:tgtEl>
                                          <p:spTgt spid="27"/>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27"/>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1000"/>
                                        <p:tgtEl>
                                          <p:spTgt spid="44"/>
                                        </p:tgtEl>
                                      </p:cBhvr>
                                    </p:animEffect>
                                    <p:anim calcmode="lin" valueType="num">
                                      <p:cBhvr>
                                        <p:cTn id="14" dur="1000" fill="hold"/>
                                        <p:tgtEl>
                                          <p:spTgt spid="44"/>
                                        </p:tgtEl>
                                        <p:attrNameLst>
                                          <p:attrName>ppt_x</p:attrName>
                                        </p:attrNameLst>
                                      </p:cBhvr>
                                      <p:tavLst>
                                        <p:tav tm="0">
                                          <p:val>
                                            <p:strVal val="#ppt_x"/>
                                          </p:val>
                                        </p:tav>
                                        <p:tav tm="100000">
                                          <p:val>
                                            <p:strVal val="#ppt_x"/>
                                          </p:val>
                                        </p:tav>
                                      </p:tavLst>
                                    </p:anim>
                                    <p:anim calcmode="lin" valueType="num">
                                      <p:cBhvr>
                                        <p:cTn id="15" dur="900" decel="100000" fill="hold"/>
                                        <p:tgtEl>
                                          <p:spTgt spid="44"/>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44"/>
                                        </p:tgtEl>
                                        <p:attrNameLst>
                                          <p:attrName>ppt_y</p:attrName>
                                        </p:attrNameLst>
                                      </p:cBhvr>
                                      <p:tavLst>
                                        <p:tav tm="0">
                                          <p:val>
                                            <p:strVal val="#ppt_y-.03"/>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 presetClass="entr" presetSubtype="16"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box(in)">
                                      <p:cBhvr>
                                        <p:cTn id="21" dur="500"/>
                                        <p:tgtEl>
                                          <p:spTgt spid="2"/>
                                        </p:tgtEl>
                                      </p:cBhvr>
                                    </p:animEffect>
                                  </p:childTnLst>
                                </p:cTn>
                              </p:par>
                            </p:childTnLst>
                          </p:cTn>
                        </p:par>
                      </p:childTnLst>
                    </p:cTn>
                  </p:par>
                  <p:par>
                    <p:cTn id="22" fill="hold">
                      <p:stCondLst>
                        <p:cond delay="indefinite"/>
                      </p:stCondLst>
                      <p:childTnLst>
                        <p:par>
                          <p:cTn id="23" fill="hold">
                            <p:stCondLst>
                              <p:cond delay="0"/>
                            </p:stCondLst>
                            <p:childTnLst>
                              <p:par>
                                <p:cTn id="24" presetID="4" presetClass="entr" presetSubtype="16" fill="hold"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box(in)">
                                      <p:cBhvr>
                                        <p:cTn id="26" dur="500"/>
                                        <p:tgtEl>
                                          <p:spTgt spid="4"/>
                                        </p:tgtEl>
                                      </p:cBhvr>
                                    </p:animEffect>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1000"/>
                                        <p:tgtEl>
                                          <p:spTgt spid="8"/>
                                        </p:tgtEl>
                                      </p:cBhvr>
                                    </p:animEffect>
                                    <p:anim calcmode="lin" valueType="num">
                                      <p:cBhvr>
                                        <p:cTn id="32" dur="1000" fill="hold"/>
                                        <p:tgtEl>
                                          <p:spTgt spid="8"/>
                                        </p:tgtEl>
                                        <p:attrNameLst>
                                          <p:attrName>ppt_x</p:attrName>
                                        </p:attrNameLst>
                                      </p:cBhvr>
                                      <p:tavLst>
                                        <p:tav tm="0">
                                          <p:val>
                                            <p:strVal val="#ppt_x"/>
                                          </p:val>
                                        </p:tav>
                                        <p:tav tm="100000">
                                          <p:val>
                                            <p:strVal val="#ppt_x"/>
                                          </p:val>
                                        </p:tav>
                                      </p:tavLst>
                                    </p:anim>
                                    <p:anim calcmode="lin" valueType="num">
                                      <p:cBhvr>
                                        <p:cTn id="3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 presetClass="entr" presetSubtype="16" fill="hold" nodeType="click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box(in)">
                                      <p:cBhvr>
                                        <p:cTn id="38" dur="500"/>
                                        <p:tgtEl>
                                          <p:spTgt spid="14"/>
                                        </p:tgtEl>
                                      </p:cBhvr>
                                    </p:animEffect>
                                  </p:childTnLst>
                                </p:cTn>
                              </p:par>
                            </p:childTnLst>
                          </p:cTn>
                        </p:par>
                      </p:childTnLst>
                    </p:cTn>
                  </p:par>
                  <p:par>
                    <p:cTn id="39" fill="hold">
                      <p:stCondLst>
                        <p:cond delay="indefinite"/>
                      </p:stCondLst>
                      <p:childTnLst>
                        <p:par>
                          <p:cTn id="40" fill="hold">
                            <p:stCondLst>
                              <p:cond delay="0"/>
                            </p:stCondLst>
                            <p:childTnLst>
                              <p:par>
                                <p:cTn id="41" presetID="4" presetClass="entr" presetSubtype="16" fill="hold" nodeType="click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box(in)">
                                      <p:cBhvr>
                                        <p:cTn id="4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a:xfrm>
            <a:off x="6495445" y="6367393"/>
            <a:ext cx="2133600" cy="365125"/>
          </a:xfrm>
        </p:spPr>
        <p:txBody>
          <a:bodyPr/>
          <a:lstStyle/>
          <a:p>
            <a:fld id="{4D86EDED-B1AF-7E4B-94C9-3F0EAA36C7D5}" type="slidenum">
              <a:rPr lang="en-US" smtClean="0"/>
              <a:pPr/>
              <a:t>4</a:t>
            </a:fld>
            <a:endParaRPr lang="en-US"/>
          </a:p>
        </p:txBody>
      </p:sp>
      <p:grpSp>
        <p:nvGrpSpPr>
          <p:cNvPr id="2" name="Group 17"/>
          <p:cNvGrpSpPr/>
          <p:nvPr/>
        </p:nvGrpSpPr>
        <p:grpSpPr>
          <a:xfrm>
            <a:off x="1542041" y="419640"/>
            <a:ext cx="7601961" cy="5544247"/>
            <a:chOff x="1515800" y="1659618"/>
            <a:chExt cx="2317750" cy="1879600"/>
          </a:xfrm>
        </p:grpSpPr>
        <p:sp>
          <p:nvSpPr>
            <p:cNvPr id="19" name="Freeform 12"/>
            <p:cNvSpPr>
              <a:spLocks/>
            </p:cNvSpPr>
            <p:nvPr/>
          </p:nvSpPr>
          <p:spPr bwMode="auto">
            <a:xfrm>
              <a:off x="1515800" y="1659618"/>
              <a:ext cx="2317750" cy="1879600"/>
            </a:xfrm>
            <a:custGeom>
              <a:avLst/>
              <a:gdLst>
                <a:gd name="T0" fmla="*/ 142 w 1460"/>
                <a:gd name="T1" fmla="*/ 1182 h 1184"/>
                <a:gd name="T2" fmla="*/ 122 w 1460"/>
                <a:gd name="T3" fmla="*/ 1174 h 1184"/>
                <a:gd name="T4" fmla="*/ 108 w 1460"/>
                <a:gd name="T5" fmla="*/ 1156 h 1184"/>
                <a:gd name="T6" fmla="*/ 104 w 1460"/>
                <a:gd name="T7" fmla="*/ 1140 h 1184"/>
                <a:gd name="T8" fmla="*/ 106 w 1460"/>
                <a:gd name="T9" fmla="*/ 1116 h 1184"/>
                <a:gd name="T10" fmla="*/ 122 w 1460"/>
                <a:gd name="T11" fmla="*/ 1098 h 1184"/>
                <a:gd name="T12" fmla="*/ 148 w 1460"/>
                <a:gd name="T13" fmla="*/ 1082 h 1184"/>
                <a:gd name="T14" fmla="*/ 198 w 1460"/>
                <a:gd name="T15" fmla="*/ 1040 h 1184"/>
                <a:gd name="T16" fmla="*/ 232 w 1460"/>
                <a:gd name="T17" fmla="*/ 992 h 1184"/>
                <a:gd name="T18" fmla="*/ 180 w 1460"/>
                <a:gd name="T19" fmla="*/ 976 h 1184"/>
                <a:gd name="T20" fmla="*/ 140 w 1460"/>
                <a:gd name="T21" fmla="*/ 976 h 1184"/>
                <a:gd name="T22" fmla="*/ 88 w 1460"/>
                <a:gd name="T23" fmla="*/ 960 h 1184"/>
                <a:gd name="T24" fmla="*/ 46 w 1460"/>
                <a:gd name="T25" fmla="*/ 930 h 1184"/>
                <a:gd name="T26" fmla="*/ 30 w 1460"/>
                <a:gd name="T27" fmla="*/ 908 h 1184"/>
                <a:gd name="T28" fmla="*/ 4 w 1460"/>
                <a:gd name="T29" fmla="*/ 842 h 1184"/>
                <a:gd name="T30" fmla="*/ 0 w 1460"/>
                <a:gd name="T31" fmla="*/ 788 h 1184"/>
                <a:gd name="T32" fmla="*/ 34 w 1460"/>
                <a:gd name="T33" fmla="*/ 320 h 1184"/>
                <a:gd name="T34" fmla="*/ 50 w 1460"/>
                <a:gd name="T35" fmla="*/ 162 h 1184"/>
                <a:gd name="T36" fmla="*/ 70 w 1460"/>
                <a:gd name="T37" fmla="*/ 90 h 1184"/>
                <a:gd name="T38" fmla="*/ 102 w 1460"/>
                <a:gd name="T39" fmla="*/ 44 h 1184"/>
                <a:gd name="T40" fmla="*/ 138 w 1460"/>
                <a:gd name="T41" fmla="*/ 16 h 1184"/>
                <a:gd name="T42" fmla="*/ 196 w 1460"/>
                <a:gd name="T43" fmla="*/ 0 h 1184"/>
                <a:gd name="T44" fmla="*/ 232 w 1460"/>
                <a:gd name="T45" fmla="*/ 0 h 1184"/>
                <a:gd name="T46" fmla="*/ 1298 w 1460"/>
                <a:gd name="T47" fmla="*/ 120 h 1184"/>
                <a:gd name="T48" fmla="*/ 1322 w 1460"/>
                <a:gd name="T49" fmla="*/ 126 h 1184"/>
                <a:gd name="T50" fmla="*/ 1372 w 1460"/>
                <a:gd name="T51" fmla="*/ 150 h 1184"/>
                <a:gd name="T52" fmla="*/ 1408 w 1460"/>
                <a:gd name="T53" fmla="*/ 186 h 1184"/>
                <a:gd name="T54" fmla="*/ 1428 w 1460"/>
                <a:gd name="T55" fmla="*/ 228 h 1184"/>
                <a:gd name="T56" fmla="*/ 1440 w 1460"/>
                <a:gd name="T57" fmla="*/ 308 h 1184"/>
                <a:gd name="T58" fmla="*/ 1460 w 1460"/>
                <a:gd name="T59" fmla="*/ 750 h 1184"/>
                <a:gd name="T60" fmla="*/ 1452 w 1460"/>
                <a:gd name="T61" fmla="*/ 810 h 1184"/>
                <a:gd name="T62" fmla="*/ 1420 w 1460"/>
                <a:gd name="T63" fmla="*/ 878 h 1184"/>
                <a:gd name="T64" fmla="*/ 1402 w 1460"/>
                <a:gd name="T65" fmla="*/ 896 h 1184"/>
                <a:gd name="T66" fmla="*/ 1358 w 1460"/>
                <a:gd name="T67" fmla="*/ 922 h 1184"/>
                <a:gd name="T68" fmla="*/ 1296 w 1460"/>
                <a:gd name="T69" fmla="*/ 938 h 1184"/>
                <a:gd name="T70" fmla="*/ 1084 w 1460"/>
                <a:gd name="T71" fmla="*/ 946 h 1184"/>
                <a:gd name="T72" fmla="*/ 426 w 1460"/>
                <a:gd name="T73" fmla="*/ 966 h 1184"/>
                <a:gd name="T74" fmla="*/ 400 w 1460"/>
                <a:gd name="T75" fmla="*/ 1022 h 1184"/>
                <a:gd name="T76" fmla="*/ 350 w 1460"/>
                <a:gd name="T77" fmla="*/ 1088 h 1184"/>
                <a:gd name="T78" fmla="*/ 294 w 1460"/>
                <a:gd name="T79" fmla="*/ 1134 h 1184"/>
                <a:gd name="T80" fmla="*/ 236 w 1460"/>
                <a:gd name="T81" fmla="*/ 1164 h 1184"/>
                <a:gd name="T82" fmla="*/ 154 w 1460"/>
                <a:gd name="T83" fmla="*/ 1184 h 1184"/>
                <a:gd name="T84" fmla="*/ 150 w 1460"/>
                <a:gd name="T85" fmla="*/ 11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60" h="1184">
                  <a:moveTo>
                    <a:pt x="150" y="1184"/>
                  </a:moveTo>
                  <a:lnTo>
                    <a:pt x="150" y="1184"/>
                  </a:lnTo>
                  <a:lnTo>
                    <a:pt x="142" y="1182"/>
                  </a:lnTo>
                  <a:lnTo>
                    <a:pt x="136" y="1182"/>
                  </a:lnTo>
                  <a:lnTo>
                    <a:pt x="128" y="1178"/>
                  </a:lnTo>
                  <a:lnTo>
                    <a:pt x="122" y="1174"/>
                  </a:lnTo>
                  <a:lnTo>
                    <a:pt x="116" y="1168"/>
                  </a:lnTo>
                  <a:lnTo>
                    <a:pt x="112" y="1162"/>
                  </a:lnTo>
                  <a:lnTo>
                    <a:pt x="108" y="1156"/>
                  </a:lnTo>
                  <a:lnTo>
                    <a:pt x="104" y="1148"/>
                  </a:lnTo>
                  <a:lnTo>
                    <a:pt x="104" y="1148"/>
                  </a:lnTo>
                  <a:lnTo>
                    <a:pt x="104" y="1140"/>
                  </a:lnTo>
                  <a:lnTo>
                    <a:pt x="102" y="1132"/>
                  </a:lnTo>
                  <a:lnTo>
                    <a:pt x="104" y="1124"/>
                  </a:lnTo>
                  <a:lnTo>
                    <a:pt x="106" y="1116"/>
                  </a:lnTo>
                  <a:lnTo>
                    <a:pt x="110" y="1110"/>
                  </a:lnTo>
                  <a:lnTo>
                    <a:pt x="116" y="1104"/>
                  </a:lnTo>
                  <a:lnTo>
                    <a:pt x="122" y="1098"/>
                  </a:lnTo>
                  <a:lnTo>
                    <a:pt x="128" y="1094"/>
                  </a:lnTo>
                  <a:lnTo>
                    <a:pt x="128" y="1094"/>
                  </a:lnTo>
                  <a:lnTo>
                    <a:pt x="148" y="1082"/>
                  </a:lnTo>
                  <a:lnTo>
                    <a:pt x="168" y="1068"/>
                  </a:lnTo>
                  <a:lnTo>
                    <a:pt x="184" y="1054"/>
                  </a:lnTo>
                  <a:lnTo>
                    <a:pt x="198" y="1040"/>
                  </a:lnTo>
                  <a:lnTo>
                    <a:pt x="212" y="1024"/>
                  </a:lnTo>
                  <a:lnTo>
                    <a:pt x="222" y="1008"/>
                  </a:lnTo>
                  <a:lnTo>
                    <a:pt x="232" y="992"/>
                  </a:lnTo>
                  <a:lnTo>
                    <a:pt x="238" y="974"/>
                  </a:lnTo>
                  <a:lnTo>
                    <a:pt x="238" y="974"/>
                  </a:lnTo>
                  <a:lnTo>
                    <a:pt x="180" y="976"/>
                  </a:lnTo>
                  <a:lnTo>
                    <a:pt x="180" y="976"/>
                  </a:lnTo>
                  <a:lnTo>
                    <a:pt x="160" y="978"/>
                  </a:lnTo>
                  <a:lnTo>
                    <a:pt x="140" y="976"/>
                  </a:lnTo>
                  <a:lnTo>
                    <a:pt x="122" y="972"/>
                  </a:lnTo>
                  <a:lnTo>
                    <a:pt x="104" y="968"/>
                  </a:lnTo>
                  <a:lnTo>
                    <a:pt x="88" y="960"/>
                  </a:lnTo>
                  <a:lnTo>
                    <a:pt x="74" y="952"/>
                  </a:lnTo>
                  <a:lnTo>
                    <a:pt x="60" y="942"/>
                  </a:lnTo>
                  <a:lnTo>
                    <a:pt x="46" y="930"/>
                  </a:lnTo>
                  <a:lnTo>
                    <a:pt x="46" y="930"/>
                  </a:lnTo>
                  <a:lnTo>
                    <a:pt x="38" y="920"/>
                  </a:lnTo>
                  <a:lnTo>
                    <a:pt x="30" y="908"/>
                  </a:lnTo>
                  <a:lnTo>
                    <a:pt x="18" y="886"/>
                  </a:lnTo>
                  <a:lnTo>
                    <a:pt x="10" y="864"/>
                  </a:lnTo>
                  <a:lnTo>
                    <a:pt x="4" y="842"/>
                  </a:lnTo>
                  <a:lnTo>
                    <a:pt x="2" y="822"/>
                  </a:lnTo>
                  <a:lnTo>
                    <a:pt x="0" y="806"/>
                  </a:lnTo>
                  <a:lnTo>
                    <a:pt x="0" y="788"/>
                  </a:lnTo>
                  <a:lnTo>
                    <a:pt x="0" y="788"/>
                  </a:lnTo>
                  <a:lnTo>
                    <a:pt x="18" y="522"/>
                  </a:lnTo>
                  <a:lnTo>
                    <a:pt x="34" y="320"/>
                  </a:lnTo>
                  <a:lnTo>
                    <a:pt x="42" y="230"/>
                  </a:lnTo>
                  <a:lnTo>
                    <a:pt x="50" y="162"/>
                  </a:lnTo>
                  <a:lnTo>
                    <a:pt x="50" y="162"/>
                  </a:lnTo>
                  <a:lnTo>
                    <a:pt x="54" y="136"/>
                  </a:lnTo>
                  <a:lnTo>
                    <a:pt x="62" y="112"/>
                  </a:lnTo>
                  <a:lnTo>
                    <a:pt x="70" y="90"/>
                  </a:lnTo>
                  <a:lnTo>
                    <a:pt x="78" y="72"/>
                  </a:lnTo>
                  <a:lnTo>
                    <a:pt x="90" y="58"/>
                  </a:lnTo>
                  <a:lnTo>
                    <a:pt x="102" y="44"/>
                  </a:lnTo>
                  <a:lnTo>
                    <a:pt x="114" y="34"/>
                  </a:lnTo>
                  <a:lnTo>
                    <a:pt x="126" y="24"/>
                  </a:lnTo>
                  <a:lnTo>
                    <a:pt x="138" y="16"/>
                  </a:lnTo>
                  <a:lnTo>
                    <a:pt x="152" y="10"/>
                  </a:lnTo>
                  <a:lnTo>
                    <a:pt x="176" y="4"/>
                  </a:lnTo>
                  <a:lnTo>
                    <a:pt x="196" y="0"/>
                  </a:lnTo>
                  <a:lnTo>
                    <a:pt x="212" y="0"/>
                  </a:lnTo>
                  <a:lnTo>
                    <a:pt x="212" y="0"/>
                  </a:lnTo>
                  <a:lnTo>
                    <a:pt x="232" y="0"/>
                  </a:lnTo>
                  <a:lnTo>
                    <a:pt x="244" y="2"/>
                  </a:lnTo>
                  <a:lnTo>
                    <a:pt x="1298" y="120"/>
                  </a:lnTo>
                  <a:lnTo>
                    <a:pt x="1298" y="120"/>
                  </a:lnTo>
                  <a:lnTo>
                    <a:pt x="1302" y="122"/>
                  </a:lnTo>
                  <a:lnTo>
                    <a:pt x="1302" y="122"/>
                  </a:lnTo>
                  <a:lnTo>
                    <a:pt x="1322" y="126"/>
                  </a:lnTo>
                  <a:lnTo>
                    <a:pt x="1340" y="132"/>
                  </a:lnTo>
                  <a:lnTo>
                    <a:pt x="1358" y="142"/>
                  </a:lnTo>
                  <a:lnTo>
                    <a:pt x="1372" y="150"/>
                  </a:lnTo>
                  <a:lnTo>
                    <a:pt x="1386" y="162"/>
                  </a:lnTo>
                  <a:lnTo>
                    <a:pt x="1398" y="174"/>
                  </a:lnTo>
                  <a:lnTo>
                    <a:pt x="1408" y="186"/>
                  </a:lnTo>
                  <a:lnTo>
                    <a:pt x="1416" y="200"/>
                  </a:lnTo>
                  <a:lnTo>
                    <a:pt x="1422" y="214"/>
                  </a:lnTo>
                  <a:lnTo>
                    <a:pt x="1428" y="228"/>
                  </a:lnTo>
                  <a:lnTo>
                    <a:pt x="1436" y="256"/>
                  </a:lnTo>
                  <a:lnTo>
                    <a:pt x="1440" y="284"/>
                  </a:lnTo>
                  <a:lnTo>
                    <a:pt x="1440" y="308"/>
                  </a:lnTo>
                  <a:lnTo>
                    <a:pt x="1458" y="730"/>
                  </a:lnTo>
                  <a:lnTo>
                    <a:pt x="1458" y="730"/>
                  </a:lnTo>
                  <a:lnTo>
                    <a:pt x="1460" y="750"/>
                  </a:lnTo>
                  <a:lnTo>
                    <a:pt x="1458" y="768"/>
                  </a:lnTo>
                  <a:lnTo>
                    <a:pt x="1456" y="788"/>
                  </a:lnTo>
                  <a:lnTo>
                    <a:pt x="1452" y="810"/>
                  </a:lnTo>
                  <a:lnTo>
                    <a:pt x="1446" y="832"/>
                  </a:lnTo>
                  <a:lnTo>
                    <a:pt x="1434" y="856"/>
                  </a:lnTo>
                  <a:lnTo>
                    <a:pt x="1420" y="878"/>
                  </a:lnTo>
                  <a:lnTo>
                    <a:pt x="1420" y="878"/>
                  </a:lnTo>
                  <a:lnTo>
                    <a:pt x="1412" y="886"/>
                  </a:lnTo>
                  <a:lnTo>
                    <a:pt x="1402" y="896"/>
                  </a:lnTo>
                  <a:lnTo>
                    <a:pt x="1390" y="906"/>
                  </a:lnTo>
                  <a:lnTo>
                    <a:pt x="1376" y="914"/>
                  </a:lnTo>
                  <a:lnTo>
                    <a:pt x="1358" y="922"/>
                  </a:lnTo>
                  <a:lnTo>
                    <a:pt x="1340" y="930"/>
                  </a:lnTo>
                  <a:lnTo>
                    <a:pt x="1320" y="934"/>
                  </a:lnTo>
                  <a:lnTo>
                    <a:pt x="1296" y="938"/>
                  </a:lnTo>
                  <a:lnTo>
                    <a:pt x="1296" y="938"/>
                  </a:lnTo>
                  <a:lnTo>
                    <a:pt x="1214" y="942"/>
                  </a:lnTo>
                  <a:lnTo>
                    <a:pt x="1084" y="946"/>
                  </a:lnTo>
                  <a:lnTo>
                    <a:pt x="736" y="956"/>
                  </a:lnTo>
                  <a:lnTo>
                    <a:pt x="736" y="956"/>
                  </a:lnTo>
                  <a:lnTo>
                    <a:pt x="426" y="966"/>
                  </a:lnTo>
                  <a:lnTo>
                    <a:pt x="426" y="966"/>
                  </a:lnTo>
                  <a:lnTo>
                    <a:pt x="414" y="996"/>
                  </a:lnTo>
                  <a:lnTo>
                    <a:pt x="400" y="1022"/>
                  </a:lnTo>
                  <a:lnTo>
                    <a:pt x="386" y="1046"/>
                  </a:lnTo>
                  <a:lnTo>
                    <a:pt x="368" y="1068"/>
                  </a:lnTo>
                  <a:lnTo>
                    <a:pt x="350" y="1088"/>
                  </a:lnTo>
                  <a:lnTo>
                    <a:pt x="332" y="1106"/>
                  </a:lnTo>
                  <a:lnTo>
                    <a:pt x="314" y="1122"/>
                  </a:lnTo>
                  <a:lnTo>
                    <a:pt x="294" y="1134"/>
                  </a:lnTo>
                  <a:lnTo>
                    <a:pt x="274" y="1146"/>
                  </a:lnTo>
                  <a:lnTo>
                    <a:pt x="254" y="1156"/>
                  </a:lnTo>
                  <a:lnTo>
                    <a:pt x="236" y="1164"/>
                  </a:lnTo>
                  <a:lnTo>
                    <a:pt x="216" y="1172"/>
                  </a:lnTo>
                  <a:lnTo>
                    <a:pt x="182" y="1180"/>
                  </a:lnTo>
                  <a:lnTo>
                    <a:pt x="154" y="1184"/>
                  </a:lnTo>
                  <a:lnTo>
                    <a:pt x="154" y="1184"/>
                  </a:lnTo>
                  <a:lnTo>
                    <a:pt x="150" y="1184"/>
                  </a:lnTo>
                  <a:lnTo>
                    <a:pt x="150" y="1184"/>
                  </a:ln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13"/>
            <p:cNvSpPr>
              <a:spLocks/>
            </p:cNvSpPr>
            <p:nvPr/>
          </p:nvSpPr>
          <p:spPr bwMode="auto">
            <a:xfrm>
              <a:off x="1522150" y="1665968"/>
              <a:ext cx="2305050" cy="1866900"/>
            </a:xfrm>
            <a:custGeom>
              <a:avLst/>
              <a:gdLst>
                <a:gd name="T0" fmla="*/ 146 w 1452"/>
                <a:gd name="T1" fmla="*/ 1176 h 1176"/>
                <a:gd name="T2" fmla="*/ 132 w 1452"/>
                <a:gd name="T3" fmla="*/ 1174 h 1176"/>
                <a:gd name="T4" fmla="*/ 110 w 1452"/>
                <a:gd name="T5" fmla="*/ 1156 h 1176"/>
                <a:gd name="T6" fmla="*/ 104 w 1452"/>
                <a:gd name="T7" fmla="*/ 1144 h 1176"/>
                <a:gd name="T8" fmla="*/ 104 w 1452"/>
                <a:gd name="T9" fmla="*/ 1136 h 1176"/>
                <a:gd name="T10" fmla="*/ 104 w 1452"/>
                <a:gd name="T11" fmla="*/ 1122 h 1176"/>
                <a:gd name="T12" fmla="*/ 110 w 1452"/>
                <a:gd name="T13" fmla="*/ 1108 h 1176"/>
                <a:gd name="T14" fmla="*/ 120 w 1452"/>
                <a:gd name="T15" fmla="*/ 1096 h 1176"/>
                <a:gd name="T16" fmla="*/ 126 w 1452"/>
                <a:gd name="T17" fmla="*/ 1092 h 1176"/>
                <a:gd name="T18" fmla="*/ 168 w 1452"/>
                <a:gd name="T19" fmla="*/ 1066 h 1176"/>
                <a:gd name="T20" fmla="*/ 200 w 1452"/>
                <a:gd name="T21" fmla="*/ 1036 h 1176"/>
                <a:gd name="T22" fmla="*/ 224 w 1452"/>
                <a:gd name="T23" fmla="*/ 1002 h 1176"/>
                <a:gd name="T24" fmla="*/ 240 w 1452"/>
                <a:gd name="T25" fmla="*/ 966 h 1176"/>
                <a:gd name="T26" fmla="*/ 176 w 1452"/>
                <a:gd name="T27" fmla="*/ 968 h 1176"/>
                <a:gd name="T28" fmla="*/ 156 w 1452"/>
                <a:gd name="T29" fmla="*/ 970 h 1176"/>
                <a:gd name="T30" fmla="*/ 120 w 1452"/>
                <a:gd name="T31" fmla="*/ 964 h 1176"/>
                <a:gd name="T32" fmla="*/ 86 w 1452"/>
                <a:gd name="T33" fmla="*/ 954 h 1176"/>
                <a:gd name="T34" fmla="*/ 58 w 1452"/>
                <a:gd name="T35" fmla="*/ 936 h 1176"/>
                <a:gd name="T36" fmla="*/ 46 w 1452"/>
                <a:gd name="T37" fmla="*/ 924 h 1176"/>
                <a:gd name="T38" fmla="*/ 30 w 1452"/>
                <a:gd name="T39" fmla="*/ 902 h 1176"/>
                <a:gd name="T40" fmla="*/ 10 w 1452"/>
                <a:gd name="T41" fmla="*/ 858 h 1176"/>
                <a:gd name="T42" fmla="*/ 2 w 1452"/>
                <a:gd name="T43" fmla="*/ 818 h 1176"/>
                <a:gd name="T44" fmla="*/ 0 w 1452"/>
                <a:gd name="T45" fmla="*/ 784 h 1176"/>
                <a:gd name="T46" fmla="*/ 18 w 1452"/>
                <a:gd name="T47" fmla="*/ 520 h 1176"/>
                <a:gd name="T48" fmla="*/ 42 w 1452"/>
                <a:gd name="T49" fmla="*/ 226 h 1176"/>
                <a:gd name="T50" fmla="*/ 50 w 1452"/>
                <a:gd name="T51" fmla="*/ 158 h 1176"/>
                <a:gd name="T52" fmla="*/ 60 w 1452"/>
                <a:gd name="T53" fmla="*/ 110 h 1176"/>
                <a:gd name="T54" fmla="*/ 78 w 1452"/>
                <a:gd name="T55" fmla="*/ 72 h 1176"/>
                <a:gd name="T56" fmla="*/ 100 w 1452"/>
                <a:gd name="T57" fmla="*/ 44 h 1176"/>
                <a:gd name="T58" fmla="*/ 124 w 1452"/>
                <a:gd name="T59" fmla="*/ 24 h 1176"/>
                <a:gd name="T60" fmla="*/ 148 w 1452"/>
                <a:gd name="T61" fmla="*/ 10 h 1176"/>
                <a:gd name="T62" fmla="*/ 192 w 1452"/>
                <a:gd name="T63" fmla="*/ 0 h 1176"/>
                <a:gd name="T64" fmla="*/ 208 w 1452"/>
                <a:gd name="T65" fmla="*/ 0 h 1176"/>
                <a:gd name="T66" fmla="*/ 238 w 1452"/>
                <a:gd name="T67" fmla="*/ 2 h 1176"/>
                <a:gd name="T68" fmla="*/ 1294 w 1452"/>
                <a:gd name="T69" fmla="*/ 120 h 1176"/>
                <a:gd name="T70" fmla="*/ 1296 w 1452"/>
                <a:gd name="T71" fmla="*/ 120 h 1176"/>
                <a:gd name="T72" fmla="*/ 1336 w 1452"/>
                <a:gd name="T73" fmla="*/ 132 h 1176"/>
                <a:gd name="T74" fmla="*/ 1366 w 1452"/>
                <a:gd name="T75" fmla="*/ 150 h 1176"/>
                <a:gd name="T76" fmla="*/ 1390 w 1452"/>
                <a:gd name="T77" fmla="*/ 174 h 1176"/>
                <a:gd name="T78" fmla="*/ 1408 w 1452"/>
                <a:gd name="T79" fmla="*/ 198 h 1176"/>
                <a:gd name="T80" fmla="*/ 1420 w 1452"/>
                <a:gd name="T81" fmla="*/ 226 h 1176"/>
                <a:gd name="T82" fmla="*/ 1432 w 1452"/>
                <a:gd name="T83" fmla="*/ 280 h 1176"/>
                <a:gd name="T84" fmla="*/ 1450 w 1452"/>
                <a:gd name="T85" fmla="*/ 726 h 1176"/>
                <a:gd name="T86" fmla="*/ 1452 w 1452"/>
                <a:gd name="T87" fmla="*/ 748 h 1176"/>
                <a:gd name="T88" fmla="*/ 1448 w 1452"/>
                <a:gd name="T89" fmla="*/ 784 h 1176"/>
                <a:gd name="T90" fmla="*/ 1438 w 1452"/>
                <a:gd name="T91" fmla="*/ 826 h 1176"/>
                <a:gd name="T92" fmla="*/ 1412 w 1452"/>
                <a:gd name="T93" fmla="*/ 870 h 1176"/>
                <a:gd name="T94" fmla="*/ 1404 w 1452"/>
                <a:gd name="T95" fmla="*/ 880 h 1176"/>
                <a:gd name="T96" fmla="*/ 1382 w 1452"/>
                <a:gd name="T97" fmla="*/ 898 h 1176"/>
                <a:gd name="T98" fmla="*/ 1354 w 1452"/>
                <a:gd name="T99" fmla="*/ 914 h 1176"/>
                <a:gd name="T100" fmla="*/ 1314 w 1452"/>
                <a:gd name="T101" fmla="*/ 926 h 1176"/>
                <a:gd name="T102" fmla="*/ 1292 w 1452"/>
                <a:gd name="T103" fmla="*/ 930 h 1176"/>
                <a:gd name="T104" fmla="*/ 1080 w 1452"/>
                <a:gd name="T105" fmla="*/ 938 h 1176"/>
                <a:gd name="T106" fmla="*/ 732 w 1452"/>
                <a:gd name="T107" fmla="*/ 948 h 1176"/>
                <a:gd name="T108" fmla="*/ 420 w 1452"/>
                <a:gd name="T109" fmla="*/ 958 h 1176"/>
                <a:gd name="T110" fmla="*/ 394 w 1452"/>
                <a:gd name="T111" fmla="*/ 1014 h 1176"/>
                <a:gd name="T112" fmla="*/ 364 w 1452"/>
                <a:gd name="T113" fmla="*/ 1060 h 1176"/>
                <a:gd name="T114" fmla="*/ 328 w 1452"/>
                <a:gd name="T115" fmla="*/ 1098 h 1176"/>
                <a:gd name="T116" fmla="*/ 290 w 1452"/>
                <a:gd name="T117" fmla="*/ 1126 h 1176"/>
                <a:gd name="T118" fmla="*/ 250 w 1452"/>
                <a:gd name="T119" fmla="*/ 1148 h 1176"/>
                <a:gd name="T120" fmla="*/ 214 w 1452"/>
                <a:gd name="T121" fmla="*/ 1162 h 1176"/>
                <a:gd name="T122" fmla="*/ 150 w 1452"/>
                <a:gd name="T123" fmla="*/ 1176 h 1176"/>
                <a:gd name="T124" fmla="*/ 146 w 1452"/>
                <a:gd name="T125" fmla="*/ 1176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2" h="1176">
                  <a:moveTo>
                    <a:pt x="146" y="1176"/>
                  </a:moveTo>
                  <a:lnTo>
                    <a:pt x="146" y="1176"/>
                  </a:lnTo>
                  <a:lnTo>
                    <a:pt x="140" y="1174"/>
                  </a:lnTo>
                  <a:lnTo>
                    <a:pt x="132" y="1174"/>
                  </a:lnTo>
                  <a:lnTo>
                    <a:pt x="120" y="1166"/>
                  </a:lnTo>
                  <a:lnTo>
                    <a:pt x="110" y="1156"/>
                  </a:lnTo>
                  <a:lnTo>
                    <a:pt x="106" y="1150"/>
                  </a:lnTo>
                  <a:lnTo>
                    <a:pt x="104" y="1144"/>
                  </a:lnTo>
                  <a:lnTo>
                    <a:pt x="104" y="1144"/>
                  </a:lnTo>
                  <a:lnTo>
                    <a:pt x="104" y="1136"/>
                  </a:lnTo>
                  <a:lnTo>
                    <a:pt x="102" y="1128"/>
                  </a:lnTo>
                  <a:lnTo>
                    <a:pt x="104" y="1122"/>
                  </a:lnTo>
                  <a:lnTo>
                    <a:pt x="106" y="1114"/>
                  </a:lnTo>
                  <a:lnTo>
                    <a:pt x="110" y="1108"/>
                  </a:lnTo>
                  <a:lnTo>
                    <a:pt x="114" y="1102"/>
                  </a:lnTo>
                  <a:lnTo>
                    <a:pt x="120" y="1096"/>
                  </a:lnTo>
                  <a:lnTo>
                    <a:pt x="126" y="1092"/>
                  </a:lnTo>
                  <a:lnTo>
                    <a:pt x="126" y="1092"/>
                  </a:lnTo>
                  <a:lnTo>
                    <a:pt x="148" y="1080"/>
                  </a:lnTo>
                  <a:lnTo>
                    <a:pt x="168" y="1066"/>
                  </a:lnTo>
                  <a:lnTo>
                    <a:pt x="184" y="1052"/>
                  </a:lnTo>
                  <a:lnTo>
                    <a:pt x="200" y="1036"/>
                  </a:lnTo>
                  <a:lnTo>
                    <a:pt x="214" y="1020"/>
                  </a:lnTo>
                  <a:lnTo>
                    <a:pt x="224" y="1002"/>
                  </a:lnTo>
                  <a:lnTo>
                    <a:pt x="234" y="984"/>
                  </a:lnTo>
                  <a:lnTo>
                    <a:pt x="240" y="966"/>
                  </a:lnTo>
                  <a:lnTo>
                    <a:pt x="240" y="966"/>
                  </a:lnTo>
                  <a:lnTo>
                    <a:pt x="176" y="968"/>
                  </a:lnTo>
                  <a:lnTo>
                    <a:pt x="176" y="968"/>
                  </a:lnTo>
                  <a:lnTo>
                    <a:pt x="156" y="970"/>
                  </a:lnTo>
                  <a:lnTo>
                    <a:pt x="136" y="968"/>
                  </a:lnTo>
                  <a:lnTo>
                    <a:pt x="120" y="964"/>
                  </a:lnTo>
                  <a:lnTo>
                    <a:pt x="102" y="960"/>
                  </a:lnTo>
                  <a:lnTo>
                    <a:pt x="86" y="954"/>
                  </a:lnTo>
                  <a:lnTo>
                    <a:pt x="72" y="946"/>
                  </a:lnTo>
                  <a:lnTo>
                    <a:pt x="58" y="936"/>
                  </a:lnTo>
                  <a:lnTo>
                    <a:pt x="46" y="924"/>
                  </a:lnTo>
                  <a:lnTo>
                    <a:pt x="46" y="924"/>
                  </a:lnTo>
                  <a:lnTo>
                    <a:pt x="38" y="914"/>
                  </a:lnTo>
                  <a:lnTo>
                    <a:pt x="30" y="902"/>
                  </a:lnTo>
                  <a:lnTo>
                    <a:pt x="18" y="880"/>
                  </a:lnTo>
                  <a:lnTo>
                    <a:pt x="10" y="858"/>
                  </a:lnTo>
                  <a:lnTo>
                    <a:pt x="4" y="836"/>
                  </a:lnTo>
                  <a:lnTo>
                    <a:pt x="2" y="818"/>
                  </a:lnTo>
                  <a:lnTo>
                    <a:pt x="0" y="802"/>
                  </a:lnTo>
                  <a:lnTo>
                    <a:pt x="0" y="784"/>
                  </a:lnTo>
                  <a:lnTo>
                    <a:pt x="0" y="784"/>
                  </a:lnTo>
                  <a:lnTo>
                    <a:pt x="18" y="520"/>
                  </a:lnTo>
                  <a:lnTo>
                    <a:pt x="34" y="316"/>
                  </a:lnTo>
                  <a:lnTo>
                    <a:pt x="42" y="226"/>
                  </a:lnTo>
                  <a:lnTo>
                    <a:pt x="50" y="158"/>
                  </a:lnTo>
                  <a:lnTo>
                    <a:pt x="50" y="158"/>
                  </a:lnTo>
                  <a:lnTo>
                    <a:pt x="54" y="132"/>
                  </a:lnTo>
                  <a:lnTo>
                    <a:pt x="60" y="110"/>
                  </a:lnTo>
                  <a:lnTo>
                    <a:pt x="68" y="88"/>
                  </a:lnTo>
                  <a:lnTo>
                    <a:pt x="78" y="72"/>
                  </a:lnTo>
                  <a:lnTo>
                    <a:pt x="88" y="56"/>
                  </a:lnTo>
                  <a:lnTo>
                    <a:pt x="100" y="44"/>
                  </a:lnTo>
                  <a:lnTo>
                    <a:pt x="112" y="32"/>
                  </a:lnTo>
                  <a:lnTo>
                    <a:pt x="124" y="24"/>
                  </a:lnTo>
                  <a:lnTo>
                    <a:pt x="136" y="16"/>
                  </a:lnTo>
                  <a:lnTo>
                    <a:pt x="148" y="10"/>
                  </a:lnTo>
                  <a:lnTo>
                    <a:pt x="172" y="4"/>
                  </a:lnTo>
                  <a:lnTo>
                    <a:pt x="192" y="0"/>
                  </a:lnTo>
                  <a:lnTo>
                    <a:pt x="208" y="0"/>
                  </a:lnTo>
                  <a:lnTo>
                    <a:pt x="208" y="0"/>
                  </a:lnTo>
                  <a:lnTo>
                    <a:pt x="226" y="0"/>
                  </a:lnTo>
                  <a:lnTo>
                    <a:pt x="238" y="2"/>
                  </a:lnTo>
                  <a:lnTo>
                    <a:pt x="1294" y="120"/>
                  </a:lnTo>
                  <a:lnTo>
                    <a:pt x="1294" y="120"/>
                  </a:lnTo>
                  <a:lnTo>
                    <a:pt x="1296" y="120"/>
                  </a:lnTo>
                  <a:lnTo>
                    <a:pt x="1296" y="120"/>
                  </a:lnTo>
                  <a:lnTo>
                    <a:pt x="1316" y="126"/>
                  </a:lnTo>
                  <a:lnTo>
                    <a:pt x="1336" y="132"/>
                  </a:lnTo>
                  <a:lnTo>
                    <a:pt x="1352" y="140"/>
                  </a:lnTo>
                  <a:lnTo>
                    <a:pt x="1366" y="150"/>
                  </a:lnTo>
                  <a:lnTo>
                    <a:pt x="1380" y="162"/>
                  </a:lnTo>
                  <a:lnTo>
                    <a:pt x="1390" y="174"/>
                  </a:lnTo>
                  <a:lnTo>
                    <a:pt x="1400" y="186"/>
                  </a:lnTo>
                  <a:lnTo>
                    <a:pt x="1408" y="198"/>
                  </a:lnTo>
                  <a:lnTo>
                    <a:pt x="1414" y="212"/>
                  </a:lnTo>
                  <a:lnTo>
                    <a:pt x="1420" y="226"/>
                  </a:lnTo>
                  <a:lnTo>
                    <a:pt x="1428" y="254"/>
                  </a:lnTo>
                  <a:lnTo>
                    <a:pt x="1432" y="280"/>
                  </a:lnTo>
                  <a:lnTo>
                    <a:pt x="1432" y="304"/>
                  </a:lnTo>
                  <a:lnTo>
                    <a:pt x="1450" y="726"/>
                  </a:lnTo>
                  <a:lnTo>
                    <a:pt x="1450" y="726"/>
                  </a:lnTo>
                  <a:lnTo>
                    <a:pt x="1452" y="748"/>
                  </a:lnTo>
                  <a:lnTo>
                    <a:pt x="1450" y="764"/>
                  </a:lnTo>
                  <a:lnTo>
                    <a:pt x="1448" y="784"/>
                  </a:lnTo>
                  <a:lnTo>
                    <a:pt x="1444" y="804"/>
                  </a:lnTo>
                  <a:lnTo>
                    <a:pt x="1438" y="826"/>
                  </a:lnTo>
                  <a:lnTo>
                    <a:pt x="1428" y="850"/>
                  </a:lnTo>
                  <a:lnTo>
                    <a:pt x="1412" y="870"/>
                  </a:lnTo>
                  <a:lnTo>
                    <a:pt x="1412" y="870"/>
                  </a:lnTo>
                  <a:lnTo>
                    <a:pt x="1404" y="880"/>
                  </a:lnTo>
                  <a:lnTo>
                    <a:pt x="1394" y="890"/>
                  </a:lnTo>
                  <a:lnTo>
                    <a:pt x="1382" y="898"/>
                  </a:lnTo>
                  <a:lnTo>
                    <a:pt x="1370" y="908"/>
                  </a:lnTo>
                  <a:lnTo>
                    <a:pt x="1354" y="914"/>
                  </a:lnTo>
                  <a:lnTo>
                    <a:pt x="1336" y="922"/>
                  </a:lnTo>
                  <a:lnTo>
                    <a:pt x="1314" y="926"/>
                  </a:lnTo>
                  <a:lnTo>
                    <a:pt x="1292" y="930"/>
                  </a:lnTo>
                  <a:lnTo>
                    <a:pt x="1292" y="930"/>
                  </a:lnTo>
                  <a:lnTo>
                    <a:pt x="1210" y="934"/>
                  </a:lnTo>
                  <a:lnTo>
                    <a:pt x="1080" y="938"/>
                  </a:lnTo>
                  <a:lnTo>
                    <a:pt x="732" y="948"/>
                  </a:lnTo>
                  <a:lnTo>
                    <a:pt x="732" y="948"/>
                  </a:lnTo>
                  <a:lnTo>
                    <a:pt x="420" y="958"/>
                  </a:lnTo>
                  <a:lnTo>
                    <a:pt x="420" y="958"/>
                  </a:lnTo>
                  <a:lnTo>
                    <a:pt x="408" y="988"/>
                  </a:lnTo>
                  <a:lnTo>
                    <a:pt x="394" y="1014"/>
                  </a:lnTo>
                  <a:lnTo>
                    <a:pt x="380" y="1038"/>
                  </a:lnTo>
                  <a:lnTo>
                    <a:pt x="364" y="1060"/>
                  </a:lnTo>
                  <a:lnTo>
                    <a:pt x="346" y="1080"/>
                  </a:lnTo>
                  <a:lnTo>
                    <a:pt x="328" y="1098"/>
                  </a:lnTo>
                  <a:lnTo>
                    <a:pt x="308" y="1114"/>
                  </a:lnTo>
                  <a:lnTo>
                    <a:pt x="290" y="1126"/>
                  </a:lnTo>
                  <a:lnTo>
                    <a:pt x="270" y="1138"/>
                  </a:lnTo>
                  <a:lnTo>
                    <a:pt x="250" y="1148"/>
                  </a:lnTo>
                  <a:lnTo>
                    <a:pt x="232" y="1156"/>
                  </a:lnTo>
                  <a:lnTo>
                    <a:pt x="214" y="1162"/>
                  </a:lnTo>
                  <a:lnTo>
                    <a:pt x="178" y="1172"/>
                  </a:lnTo>
                  <a:lnTo>
                    <a:pt x="150" y="1176"/>
                  </a:lnTo>
                  <a:lnTo>
                    <a:pt x="150" y="1176"/>
                  </a:lnTo>
                  <a:lnTo>
                    <a:pt x="146" y="1176"/>
                  </a:lnTo>
                  <a:lnTo>
                    <a:pt x="146" y="1176"/>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14"/>
            <p:cNvSpPr>
              <a:spLocks/>
            </p:cNvSpPr>
            <p:nvPr/>
          </p:nvSpPr>
          <p:spPr bwMode="auto">
            <a:xfrm>
              <a:off x="1592000" y="1735818"/>
              <a:ext cx="2165350" cy="1727200"/>
            </a:xfrm>
            <a:custGeom>
              <a:avLst/>
              <a:gdLst>
                <a:gd name="T0" fmla="*/ 1344 w 1364"/>
                <a:gd name="T1" fmla="*/ 258 h 1088"/>
                <a:gd name="T2" fmla="*/ 1344 w 1364"/>
                <a:gd name="T3" fmla="*/ 240 h 1088"/>
                <a:gd name="T4" fmla="*/ 1334 w 1364"/>
                <a:gd name="T5" fmla="*/ 196 h 1088"/>
                <a:gd name="T6" fmla="*/ 1324 w 1364"/>
                <a:gd name="T7" fmla="*/ 172 h 1088"/>
                <a:gd name="T8" fmla="*/ 1306 w 1364"/>
                <a:gd name="T9" fmla="*/ 150 h 1088"/>
                <a:gd name="T10" fmla="*/ 1280 w 1364"/>
                <a:gd name="T11" fmla="*/ 132 h 1088"/>
                <a:gd name="T12" fmla="*/ 1244 w 1364"/>
                <a:gd name="T13" fmla="*/ 120 h 1088"/>
                <a:gd name="T14" fmla="*/ 188 w 1364"/>
                <a:gd name="T15" fmla="*/ 2 h 1088"/>
                <a:gd name="T16" fmla="*/ 168 w 1364"/>
                <a:gd name="T17" fmla="*/ 0 h 1088"/>
                <a:gd name="T18" fmla="*/ 138 w 1364"/>
                <a:gd name="T19" fmla="*/ 2 h 1088"/>
                <a:gd name="T20" fmla="*/ 114 w 1364"/>
                <a:gd name="T21" fmla="*/ 10 h 1088"/>
                <a:gd name="T22" fmla="*/ 90 w 1364"/>
                <a:gd name="T23" fmla="*/ 28 h 1088"/>
                <a:gd name="T24" fmla="*/ 70 w 1364"/>
                <a:gd name="T25" fmla="*/ 54 h 1088"/>
                <a:gd name="T26" fmla="*/ 54 w 1364"/>
                <a:gd name="T27" fmla="*/ 94 h 1088"/>
                <a:gd name="T28" fmla="*/ 50 w 1364"/>
                <a:gd name="T29" fmla="*/ 120 h 1088"/>
                <a:gd name="T30" fmla="*/ 34 w 1364"/>
                <a:gd name="T31" fmla="*/ 280 h 1088"/>
                <a:gd name="T32" fmla="*/ 0 w 1364"/>
                <a:gd name="T33" fmla="*/ 742 h 1088"/>
                <a:gd name="T34" fmla="*/ 0 w 1364"/>
                <a:gd name="T35" fmla="*/ 748 h 1088"/>
                <a:gd name="T36" fmla="*/ 4 w 1364"/>
                <a:gd name="T37" fmla="*/ 788 h 1088"/>
                <a:gd name="T38" fmla="*/ 12 w 1364"/>
                <a:gd name="T39" fmla="*/ 816 h 1088"/>
                <a:gd name="T40" fmla="*/ 28 w 1364"/>
                <a:gd name="T41" fmla="*/ 842 h 1088"/>
                <a:gd name="T42" fmla="*/ 50 w 1364"/>
                <a:gd name="T43" fmla="*/ 864 h 1088"/>
                <a:gd name="T44" fmla="*/ 84 w 1364"/>
                <a:gd name="T45" fmla="*/ 878 h 1088"/>
                <a:gd name="T46" fmla="*/ 128 w 1364"/>
                <a:gd name="T47" fmla="*/ 880 h 1088"/>
                <a:gd name="T48" fmla="*/ 246 w 1364"/>
                <a:gd name="T49" fmla="*/ 876 h 1088"/>
                <a:gd name="T50" fmla="*/ 244 w 1364"/>
                <a:gd name="T51" fmla="*/ 900 h 1088"/>
                <a:gd name="T52" fmla="*/ 230 w 1364"/>
                <a:gd name="T53" fmla="*/ 954 h 1088"/>
                <a:gd name="T54" fmla="*/ 208 w 1364"/>
                <a:gd name="T55" fmla="*/ 996 h 1088"/>
                <a:gd name="T56" fmla="*/ 186 w 1364"/>
                <a:gd name="T57" fmla="*/ 1024 h 1088"/>
                <a:gd name="T58" fmla="*/ 158 w 1364"/>
                <a:gd name="T59" fmla="*/ 1052 h 1088"/>
                <a:gd name="T60" fmla="*/ 124 w 1364"/>
                <a:gd name="T61" fmla="*/ 1076 h 1088"/>
                <a:gd name="T62" fmla="*/ 102 w 1364"/>
                <a:gd name="T63" fmla="*/ 1088 h 1088"/>
                <a:gd name="T64" fmla="*/ 132 w 1364"/>
                <a:gd name="T65" fmla="*/ 1082 h 1088"/>
                <a:gd name="T66" fmla="*/ 184 w 1364"/>
                <a:gd name="T67" fmla="*/ 1066 h 1088"/>
                <a:gd name="T68" fmla="*/ 222 w 1364"/>
                <a:gd name="T69" fmla="*/ 1046 h 1088"/>
                <a:gd name="T70" fmla="*/ 264 w 1364"/>
                <a:gd name="T71" fmla="*/ 1014 h 1088"/>
                <a:gd name="T72" fmla="*/ 300 w 1364"/>
                <a:gd name="T73" fmla="*/ 968 h 1088"/>
                <a:gd name="T74" fmla="*/ 332 w 1364"/>
                <a:gd name="T75" fmla="*/ 908 h 1088"/>
                <a:gd name="T76" fmla="*/ 342 w 1364"/>
                <a:gd name="T77" fmla="*/ 872 h 1088"/>
                <a:gd name="T78" fmla="*/ 1102 w 1364"/>
                <a:gd name="T79" fmla="*/ 848 h 1088"/>
                <a:gd name="T80" fmla="*/ 1244 w 1364"/>
                <a:gd name="T81" fmla="*/ 842 h 1088"/>
                <a:gd name="T82" fmla="*/ 1290 w 1364"/>
                <a:gd name="T83" fmla="*/ 832 h 1088"/>
                <a:gd name="T84" fmla="*/ 1322 w 1364"/>
                <a:gd name="T85" fmla="*/ 812 h 1088"/>
                <a:gd name="T86" fmla="*/ 1342 w 1364"/>
                <a:gd name="T87" fmla="*/ 788 h 1088"/>
                <a:gd name="T88" fmla="*/ 1356 w 1364"/>
                <a:gd name="T89" fmla="*/ 760 h 1088"/>
                <a:gd name="T90" fmla="*/ 1362 w 1364"/>
                <a:gd name="T91" fmla="*/ 732 h 1088"/>
                <a:gd name="T92" fmla="*/ 1362 w 1364"/>
                <a:gd name="T93" fmla="*/ 692 h 1088"/>
                <a:gd name="T94" fmla="*/ 1362 w 1364"/>
                <a:gd name="T95" fmla="*/ 686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64" h="1088">
                  <a:moveTo>
                    <a:pt x="1362" y="686"/>
                  </a:moveTo>
                  <a:lnTo>
                    <a:pt x="1344" y="258"/>
                  </a:lnTo>
                  <a:lnTo>
                    <a:pt x="1344" y="258"/>
                  </a:lnTo>
                  <a:lnTo>
                    <a:pt x="1344" y="240"/>
                  </a:lnTo>
                  <a:lnTo>
                    <a:pt x="1340" y="220"/>
                  </a:lnTo>
                  <a:lnTo>
                    <a:pt x="1334" y="196"/>
                  </a:lnTo>
                  <a:lnTo>
                    <a:pt x="1330" y="184"/>
                  </a:lnTo>
                  <a:lnTo>
                    <a:pt x="1324" y="172"/>
                  </a:lnTo>
                  <a:lnTo>
                    <a:pt x="1316" y="162"/>
                  </a:lnTo>
                  <a:lnTo>
                    <a:pt x="1306" y="150"/>
                  </a:lnTo>
                  <a:lnTo>
                    <a:pt x="1294" y="140"/>
                  </a:lnTo>
                  <a:lnTo>
                    <a:pt x="1280" y="132"/>
                  </a:lnTo>
                  <a:lnTo>
                    <a:pt x="1264" y="126"/>
                  </a:lnTo>
                  <a:lnTo>
                    <a:pt x="1244" y="120"/>
                  </a:lnTo>
                  <a:lnTo>
                    <a:pt x="188" y="2"/>
                  </a:lnTo>
                  <a:lnTo>
                    <a:pt x="188" y="2"/>
                  </a:lnTo>
                  <a:lnTo>
                    <a:pt x="182" y="0"/>
                  </a:lnTo>
                  <a:lnTo>
                    <a:pt x="168" y="0"/>
                  </a:lnTo>
                  <a:lnTo>
                    <a:pt x="150" y="0"/>
                  </a:lnTo>
                  <a:lnTo>
                    <a:pt x="138" y="2"/>
                  </a:lnTo>
                  <a:lnTo>
                    <a:pt x="126" y="6"/>
                  </a:lnTo>
                  <a:lnTo>
                    <a:pt x="114" y="10"/>
                  </a:lnTo>
                  <a:lnTo>
                    <a:pt x="102" y="18"/>
                  </a:lnTo>
                  <a:lnTo>
                    <a:pt x="90" y="28"/>
                  </a:lnTo>
                  <a:lnTo>
                    <a:pt x="80" y="40"/>
                  </a:lnTo>
                  <a:lnTo>
                    <a:pt x="70" y="54"/>
                  </a:lnTo>
                  <a:lnTo>
                    <a:pt x="62" y="72"/>
                  </a:lnTo>
                  <a:lnTo>
                    <a:pt x="54" y="94"/>
                  </a:lnTo>
                  <a:lnTo>
                    <a:pt x="50" y="120"/>
                  </a:lnTo>
                  <a:lnTo>
                    <a:pt x="50" y="120"/>
                  </a:lnTo>
                  <a:lnTo>
                    <a:pt x="42" y="190"/>
                  </a:lnTo>
                  <a:lnTo>
                    <a:pt x="34" y="280"/>
                  </a:lnTo>
                  <a:lnTo>
                    <a:pt x="18" y="486"/>
                  </a:lnTo>
                  <a:lnTo>
                    <a:pt x="0" y="742"/>
                  </a:lnTo>
                  <a:lnTo>
                    <a:pt x="0" y="742"/>
                  </a:lnTo>
                  <a:lnTo>
                    <a:pt x="0" y="748"/>
                  </a:lnTo>
                  <a:lnTo>
                    <a:pt x="0" y="766"/>
                  </a:lnTo>
                  <a:lnTo>
                    <a:pt x="4" y="788"/>
                  </a:lnTo>
                  <a:lnTo>
                    <a:pt x="8" y="802"/>
                  </a:lnTo>
                  <a:lnTo>
                    <a:pt x="12" y="816"/>
                  </a:lnTo>
                  <a:lnTo>
                    <a:pt x="18" y="828"/>
                  </a:lnTo>
                  <a:lnTo>
                    <a:pt x="28" y="842"/>
                  </a:lnTo>
                  <a:lnTo>
                    <a:pt x="38" y="854"/>
                  </a:lnTo>
                  <a:lnTo>
                    <a:pt x="50" y="864"/>
                  </a:lnTo>
                  <a:lnTo>
                    <a:pt x="66" y="872"/>
                  </a:lnTo>
                  <a:lnTo>
                    <a:pt x="84" y="878"/>
                  </a:lnTo>
                  <a:lnTo>
                    <a:pt x="104" y="880"/>
                  </a:lnTo>
                  <a:lnTo>
                    <a:pt x="128" y="880"/>
                  </a:lnTo>
                  <a:lnTo>
                    <a:pt x="128" y="880"/>
                  </a:lnTo>
                  <a:lnTo>
                    <a:pt x="246" y="876"/>
                  </a:lnTo>
                  <a:lnTo>
                    <a:pt x="246" y="876"/>
                  </a:lnTo>
                  <a:lnTo>
                    <a:pt x="244" y="900"/>
                  </a:lnTo>
                  <a:lnTo>
                    <a:pt x="240" y="928"/>
                  </a:lnTo>
                  <a:lnTo>
                    <a:pt x="230" y="954"/>
                  </a:lnTo>
                  <a:lnTo>
                    <a:pt x="218" y="982"/>
                  </a:lnTo>
                  <a:lnTo>
                    <a:pt x="208" y="996"/>
                  </a:lnTo>
                  <a:lnTo>
                    <a:pt x="198" y="1010"/>
                  </a:lnTo>
                  <a:lnTo>
                    <a:pt x="186" y="1024"/>
                  </a:lnTo>
                  <a:lnTo>
                    <a:pt x="174" y="1038"/>
                  </a:lnTo>
                  <a:lnTo>
                    <a:pt x="158" y="1052"/>
                  </a:lnTo>
                  <a:lnTo>
                    <a:pt x="142" y="1064"/>
                  </a:lnTo>
                  <a:lnTo>
                    <a:pt x="124" y="1076"/>
                  </a:lnTo>
                  <a:lnTo>
                    <a:pt x="102" y="1088"/>
                  </a:lnTo>
                  <a:lnTo>
                    <a:pt x="102" y="1088"/>
                  </a:lnTo>
                  <a:lnTo>
                    <a:pt x="110" y="1086"/>
                  </a:lnTo>
                  <a:lnTo>
                    <a:pt x="132" y="1082"/>
                  </a:lnTo>
                  <a:lnTo>
                    <a:pt x="164" y="1074"/>
                  </a:lnTo>
                  <a:lnTo>
                    <a:pt x="184" y="1066"/>
                  </a:lnTo>
                  <a:lnTo>
                    <a:pt x="202" y="1056"/>
                  </a:lnTo>
                  <a:lnTo>
                    <a:pt x="222" y="1046"/>
                  </a:lnTo>
                  <a:lnTo>
                    <a:pt x="244" y="1030"/>
                  </a:lnTo>
                  <a:lnTo>
                    <a:pt x="264" y="1014"/>
                  </a:lnTo>
                  <a:lnTo>
                    <a:pt x="282" y="992"/>
                  </a:lnTo>
                  <a:lnTo>
                    <a:pt x="300" y="968"/>
                  </a:lnTo>
                  <a:lnTo>
                    <a:pt x="318" y="940"/>
                  </a:lnTo>
                  <a:lnTo>
                    <a:pt x="332" y="908"/>
                  </a:lnTo>
                  <a:lnTo>
                    <a:pt x="342" y="872"/>
                  </a:lnTo>
                  <a:lnTo>
                    <a:pt x="342" y="872"/>
                  </a:lnTo>
                  <a:lnTo>
                    <a:pt x="868" y="856"/>
                  </a:lnTo>
                  <a:lnTo>
                    <a:pt x="1102" y="848"/>
                  </a:lnTo>
                  <a:lnTo>
                    <a:pt x="1244" y="842"/>
                  </a:lnTo>
                  <a:lnTo>
                    <a:pt x="1244" y="842"/>
                  </a:lnTo>
                  <a:lnTo>
                    <a:pt x="1268" y="838"/>
                  </a:lnTo>
                  <a:lnTo>
                    <a:pt x="1290" y="832"/>
                  </a:lnTo>
                  <a:lnTo>
                    <a:pt x="1306" y="824"/>
                  </a:lnTo>
                  <a:lnTo>
                    <a:pt x="1322" y="812"/>
                  </a:lnTo>
                  <a:lnTo>
                    <a:pt x="1332" y="800"/>
                  </a:lnTo>
                  <a:lnTo>
                    <a:pt x="1342" y="788"/>
                  </a:lnTo>
                  <a:lnTo>
                    <a:pt x="1350" y="774"/>
                  </a:lnTo>
                  <a:lnTo>
                    <a:pt x="1356" y="760"/>
                  </a:lnTo>
                  <a:lnTo>
                    <a:pt x="1358" y="746"/>
                  </a:lnTo>
                  <a:lnTo>
                    <a:pt x="1362" y="732"/>
                  </a:lnTo>
                  <a:lnTo>
                    <a:pt x="1364" y="708"/>
                  </a:lnTo>
                  <a:lnTo>
                    <a:pt x="1362" y="692"/>
                  </a:lnTo>
                  <a:lnTo>
                    <a:pt x="1362" y="686"/>
                  </a:lnTo>
                  <a:lnTo>
                    <a:pt x="1362" y="686"/>
                  </a:ln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22" name="Content Placeholder 2"/>
          <p:cNvSpPr txBox="1">
            <a:spLocks/>
          </p:cNvSpPr>
          <p:nvPr/>
        </p:nvSpPr>
        <p:spPr bwMode="auto">
          <a:xfrm>
            <a:off x="2226040" y="1226475"/>
            <a:ext cx="6420677" cy="3192905"/>
          </a:xfrm>
          <a:prstGeom prst="rect">
            <a:avLst/>
          </a:prstGeom>
          <a:noFill/>
          <a:ln w="9525">
            <a:noFill/>
            <a:miter lim="800000"/>
            <a:headEnd/>
            <a:tailEnd/>
          </a:ln>
        </p:spPr>
        <p:txBody>
          <a:bodyPr lIns="0" rIns="18288"/>
          <a:lstStyle/>
          <a:p>
            <a:pPr algn="just"/>
            <a:r>
              <a:rPr lang="ms-MY" sz="2400" dirty="0">
                <a:latin typeface="Arial" pitchFamily="34" charset="0"/>
              </a:rPr>
              <a:t>“</a:t>
            </a:r>
            <a:r>
              <a:rPr lang="ms-MY" dirty="0">
                <a:latin typeface="Arial" pitchFamily="34" charset="0"/>
              </a:rPr>
              <a:t>PTK digantikan dengan penilaian baharu yang lebih memfokus kepada elemen pembangunan kompetensi berasaskan gred dan jawatan serta mengambil kira keunikan pelbagai skim perkhidmatan. Untuk memastikan ia relevan, ketua perkhidmatan atau ketua jabatan diberi fleksibiliti dalam menentukan kaedah penilaian di dalam jabatan masing-masing berdasarkan garis panduan yang sedang disediakan oleh JPA”</a:t>
            </a:r>
            <a:endParaRPr lang="en-US" dirty="0">
              <a:latin typeface="Arial" pitchFamily="34" charset="0"/>
            </a:endParaRPr>
          </a:p>
          <a:p>
            <a:pPr algn="just">
              <a:spcBef>
                <a:spcPct val="20000"/>
              </a:spcBef>
              <a:buClr>
                <a:srgbClr val="0BD0D9"/>
              </a:buClr>
              <a:buSzPct val="95000"/>
            </a:pPr>
            <a:endParaRPr lang="ms-MY" sz="200" dirty="0">
              <a:solidFill>
                <a:srgbClr val="0D0D0D"/>
              </a:solidFill>
              <a:latin typeface="Arial" pitchFamily="34" charset="0"/>
            </a:endParaRPr>
          </a:p>
          <a:p>
            <a:pPr algn="r">
              <a:spcBef>
                <a:spcPct val="20000"/>
              </a:spcBef>
              <a:buClr>
                <a:srgbClr val="0BD0D9"/>
              </a:buClr>
              <a:buSzPct val="95000"/>
            </a:pPr>
            <a:r>
              <a:rPr lang="ms-MY" sz="1200" b="1" dirty="0">
                <a:solidFill>
                  <a:srgbClr val="0D0D0D"/>
                </a:solidFill>
                <a:latin typeface="Arial" pitchFamily="34" charset="0"/>
              </a:rPr>
              <a:t>	</a:t>
            </a:r>
          </a:p>
          <a:p>
            <a:pPr algn="r">
              <a:spcBef>
                <a:spcPct val="20000"/>
              </a:spcBef>
              <a:buClr>
                <a:srgbClr val="0BD0D9"/>
              </a:buClr>
              <a:buSzPct val="95000"/>
            </a:pPr>
            <a:r>
              <a:rPr lang="ms-MY" sz="1200" b="1" dirty="0">
                <a:solidFill>
                  <a:srgbClr val="000099"/>
                </a:solidFill>
                <a:latin typeface="Arial" pitchFamily="34" charset="0"/>
              </a:rPr>
              <a:t>Dato’ Sri Mohd Najib Bin Tun Abdul Razak</a:t>
            </a:r>
          </a:p>
          <a:p>
            <a:pPr algn="r">
              <a:spcBef>
                <a:spcPct val="20000"/>
              </a:spcBef>
              <a:buClr>
                <a:srgbClr val="0BD0D9"/>
              </a:buClr>
              <a:buSzPct val="95000"/>
            </a:pPr>
            <a:r>
              <a:rPr lang="ms-MY" sz="1200" b="1" dirty="0">
                <a:solidFill>
                  <a:srgbClr val="000099"/>
                </a:solidFill>
                <a:latin typeface="Arial" pitchFamily="34" charset="0"/>
              </a:rPr>
              <a:t>YAB Perdana Menteri Malaysia</a:t>
            </a:r>
          </a:p>
          <a:p>
            <a:pPr algn="r">
              <a:spcBef>
                <a:spcPct val="20000"/>
              </a:spcBef>
              <a:buClr>
                <a:srgbClr val="0BD0D9"/>
              </a:buClr>
              <a:buSzPct val="95000"/>
            </a:pPr>
            <a:r>
              <a:rPr lang="ms-MY" sz="1200" b="1" dirty="0">
                <a:solidFill>
                  <a:srgbClr val="000099"/>
                </a:solidFill>
                <a:latin typeface="Arial" pitchFamily="34" charset="0"/>
              </a:rPr>
              <a:t>Majlis Perdana Perkhidmatan Awam ke-12</a:t>
            </a:r>
          </a:p>
          <a:p>
            <a:pPr algn="r">
              <a:spcBef>
                <a:spcPct val="20000"/>
              </a:spcBef>
              <a:buClr>
                <a:srgbClr val="0BD0D9"/>
              </a:buClr>
              <a:buSzPct val="95000"/>
            </a:pPr>
            <a:r>
              <a:rPr lang="ms-MY" sz="1200" b="1" dirty="0">
                <a:solidFill>
                  <a:srgbClr val="000099"/>
                </a:solidFill>
                <a:latin typeface="Arial" pitchFamily="34" charset="0"/>
              </a:rPr>
              <a:t>21 Mac 2011</a:t>
            </a:r>
          </a:p>
          <a:p>
            <a:pPr algn="r">
              <a:spcBef>
                <a:spcPct val="20000"/>
              </a:spcBef>
              <a:buClr>
                <a:srgbClr val="0BD0D9"/>
              </a:buClr>
              <a:buSzPct val="95000"/>
            </a:pPr>
            <a:endParaRPr lang="ms-MY" sz="1400" b="1" dirty="0">
              <a:solidFill>
                <a:srgbClr val="0D0D0D"/>
              </a:solidFill>
              <a:latin typeface="Arial" pitchFamily="34" charset="0"/>
            </a:endParaRPr>
          </a:p>
          <a:p>
            <a:pPr algn="r">
              <a:spcBef>
                <a:spcPct val="20000"/>
              </a:spcBef>
              <a:buClr>
                <a:srgbClr val="0BD0D9"/>
              </a:buClr>
              <a:buSzPct val="95000"/>
            </a:pPr>
            <a:endParaRPr lang="en-US" sz="200" dirty="0">
              <a:solidFill>
                <a:srgbClr val="0D0D0D"/>
              </a:solidFill>
              <a:latin typeface="Arial" pitchFamily="34" charset="0"/>
            </a:endParaRPr>
          </a:p>
          <a:p>
            <a:pPr algn="r">
              <a:spcBef>
                <a:spcPct val="20000"/>
              </a:spcBef>
              <a:buClr>
                <a:srgbClr val="0BD0D9"/>
              </a:buClr>
              <a:buSzPct val="95000"/>
            </a:pPr>
            <a:endParaRPr lang="en-US" sz="200" dirty="0">
              <a:solidFill>
                <a:srgbClr val="0D0D0D"/>
              </a:solidFill>
              <a:latin typeface="Arial" pitchFamily="34" charset="0"/>
            </a:endParaRPr>
          </a:p>
          <a:p>
            <a:pPr algn="r">
              <a:spcBef>
                <a:spcPct val="20000"/>
              </a:spcBef>
              <a:buClr>
                <a:srgbClr val="0BD0D9"/>
              </a:buClr>
              <a:buSzPct val="95000"/>
            </a:pPr>
            <a:endParaRPr lang="en-US" sz="200" dirty="0">
              <a:solidFill>
                <a:srgbClr val="0D0D0D"/>
              </a:solidFill>
              <a:latin typeface="Arial" pitchFamily="34" charset="0"/>
            </a:endParaRPr>
          </a:p>
        </p:txBody>
      </p:sp>
      <p:pic>
        <p:nvPicPr>
          <p:cNvPr id="3074" name="Picture 2" descr="D:\Tumpang Kejap Je\XNNN.png"/>
          <p:cNvPicPr>
            <a:picLocks noChangeAspect="1" noChangeArrowheads="1"/>
          </p:cNvPicPr>
          <p:nvPr/>
        </p:nvPicPr>
        <p:blipFill>
          <a:blip r:embed="rId3"/>
          <a:srcRect/>
          <a:stretch>
            <a:fillRect/>
          </a:stretch>
        </p:blipFill>
        <p:spPr bwMode="auto">
          <a:xfrm flipH="1">
            <a:off x="-288447" y="2609835"/>
            <a:ext cx="5028973" cy="3757558"/>
          </a:xfrm>
          <a:prstGeom prst="rect">
            <a:avLst/>
          </a:prstGeom>
          <a:noFill/>
        </p:spPr>
      </p:pic>
    </p:spTree>
    <p:extLst>
      <p:ext uri="{BB962C8B-B14F-4D97-AF65-F5344CB8AC3E}">
        <p14:creationId xmlns:p14="http://schemas.microsoft.com/office/powerpoint/2010/main" val="1682654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Scale>
                                      <p:cBhvr>
                                        <p:cTn id="7" dur="1000" decel="50000" fill="hold">
                                          <p:stCondLst>
                                            <p:cond delay="0"/>
                                          </p:stCondLst>
                                        </p:cTn>
                                        <p:tgtEl>
                                          <p:spTgt spid="2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2"/>
                                        </p:tgtEl>
                                        <p:attrNameLst>
                                          <p:attrName>ppt_x</p:attrName>
                                          <p:attrName>ppt_y</p:attrName>
                                        </p:attrNameLst>
                                      </p:cBhvr>
                                    </p:animMotion>
                                    <p:animEffect transition="in" filter="fade">
                                      <p:cBhvr>
                                        <p:cTn id="9"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p:nvPr/>
        </p:nvGrpSpPr>
        <p:grpSpPr>
          <a:xfrm>
            <a:off x="4716930" y="1805590"/>
            <a:ext cx="4068417" cy="1418836"/>
            <a:chOff x="4651513" y="1496642"/>
            <a:chExt cx="4068417" cy="1418836"/>
          </a:xfrm>
        </p:grpSpPr>
        <p:sp>
          <p:nvSpPr>
            <p:cNvPr id="5" name="Rectangle 4"/>
            <p:cNvSpPr/>
            <p:nvPr/>
          </p:nvSpPr>
          <p:spPr>
            <a:xfrm>
              <a:off x="4651513" y="1496642"/>
              <a:ext cx="4068417" cy="1418836"/>
            </a:xfrm>
            <a:prstGeom prst="rect">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1600">
                <a:solidFill>
                  <a:schemeClr val="bg1"/>
                </a:solidFill>
              </a:endParaRPr>
            </a:p>
          </p:txBody>
        </p:sp>
        <p:sp>
          <p:nvSpPr>
            <p:cNvPr id="6" name="TextBox 5"/>
            <p:cNvSpPr txBox="1"/>
            <p:nvPr/>
          </p:nvSpPr>
          <p:spPr>
            <a:xfrm>
              <a:off x="5811077" y="1640594"/>
              <a:ext cx="2663688" cy="1169551"/>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r>
                <a:rPr lang="ms-MY" sz="1600" smtClean="0">
                  <a:solidFill>
                    <a:schemeClr val="bg1"/>
                  </a:solidFill>
                </a:rPr>
                <a:t>PP perlu menjaga kerahsiaan skor PYD dan </a:t>
              </a:r>
              <a:r>
                <a:rPr lang="ms-MY" sz="1600" b="1" smtClean="0">
                  <a:solidFill>
                    <a:schemeClr val="bg1"/>
                  </a:solidFill>
                </a:rPr>
                <a:t>‘Dokumen Terperingkat’</a:t>
              </a:r>
              <a:r>
                <a:rPr lang="ms-MY" sz="1600" smtClean="0">
                  <a:solidFill>
                    <a:schemeClr val="bg1"/>
                  </a:solidFill>
                </a:rPr>
                <a:t> sepanjang masa</a:t>
              </a:r>
              <a:endParaRPr lang="en-PH" sz="1600" dirty="0" smtClean="0">
                <a:solidFill>
                  <a:schemeClr val="bg1"/>
                </a:solidFill>
              </a:endParaRPr>
            </a:p>
          </p:txBody>
        </p:sp>
      </p:grpSp>
      <p:grpSp>
        <p:nvGrpSpPr>
          <p:cNvPr id="3" name="Group 8"/>
          <p:cNvGrpSpPr/>
          <p:nvPr/>
        </p:nvGrpSpPr>
        <p:grpSpPr>
          <a:xfrm>
            <a:off x="542494" y="1805590"/>
            <a:ext cx="4041913" cy="1419304"/>
            <a:chOff x="477077" y="1496642"/>
            <a:chExt cx="4041913" cy="1419304"/>
          </a:xfrm>
        </p:grpSpPr>
        <p:sp>
          <p:nvSpPr>
            <p:cNvPr id="10" name="Rectangle 9"/>
            <p:cNvSpPr/>
            <p:nvPr/>
          </p:nvSpPr>
          <p:spPr>
            <a:xfrm>
              <a:off x="477077" y="1496642"/>
              <a:ext cx="4041913" cy="1418836"/>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1600">
                <a:solidFill>
                  <a:schemeClr val="bg1"/>
                </a:solidFill>
              </a:endParaRPr>
            </a:p>
          </p:txBody>
        </p:sp>
        <p:sp>
          <p:nvSpPr>
            <p:cNvPr id="11" name="TextBox 10"/>
            <p:cNvSpPr txBox="1"/>
            <p:nvPr/>
          </p:nvSpPr>
          <p:spPr>
            <a:xfrm>
              <a:off x="1357290" y="1500174"/>
              <a:ext cx="2878002" cy="1415772"/>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pPr lvl="0" algn="just"/>
              <a:r>
                <a:rPr lang="ms-MY" sz="1600" dirty="0" smtClean="0">
                  <a:solidFill>
                    <a:schemeClr val="bg1"/>
                  </a:solidFill>
                </a:rPr>
                <a:t>Penilaian tidak dipengaruhi oleh faktor yang boleh dianggap sebagai unsur-unsur pilih kasih yang boleh mencemarkan nilai integriti.</a:t>
              </a:r>
              <a:endParaRPr lang="en-US" sz="1600" dirty="0">
                <a:solidFill>
                  <a:schemeClr val="bg1"/>
                </a:solidFill>
              </a:endParaRPr>
            </a:p>
          </p:txBody>
        </p:sp>
      </p:grpSp>
      <p:sp>
        <p:nvSpPr>
          <p:cNvPr id="12" name="TextBox 11"/>
          <p:cNvSpPr txBox="1"/>
          <p:nvPr/>
        </p:nvSpPr>
        <p:spPr>
          <a:xfrm>
            <a:off x="464105" y="1122638"/>
            <a:ext cx="914400" cy="2646878"/>
          </a:xfrm>
          <a:prstGeom prst="rect">
            <a:avLst/>
          </a:prstGeom>
          <a:noFill/>
        </p:spPr>
        <p:txBody>
          <a:bodyPr wrap="square" rtlCol="0">
            <a:spAutoFit/>
          </a:bodyPr>
          <a:lstStyle/>
          <a:p>
            <a:pPr algn="ctr"/>
            <a:r>
              <a:rPr lang="en-US" sz="16600" b="1" dirty="0" smtClean="0">
                <a:solidFill>
                  <a:srgbClr val="F9F9F9"/>
                </a:solidFill>
              </a:rPr>
              <a:t>6</a:t>
            </a:r>
            <a:endParaRPr lang="en-PH" sz="16600" b="1" dirty="0">
              <a:solidFill>
                <a:srgbClr val="F9F9F9"/>
              </a:solidFill>
            </a:endParaRPr>
          </a:p>
        </p:txBody>
      </p:sp>
      <p:sp>
        <p:nvSpPr>
          <p:cNvPr id="13" name="TextBox 12"/>
          <p:cNvSpPr txBox="1"/>
          <p:nvPr/>
        </p:nvSpPr>
        <p:spPr>
          <a:xfrm>
            <a:off x="4810998" y="1097489"/>
            <a:ext cx="914400" cy="2646878"/>
          </a:xfrm>
          <a:prstGeom prst="rect">
            <a:avLst/>
          </a:prstGeom>
          <a:noFill/>
        </p:spPr>
        <p:txBody>
          <a:bodyPr wrap="square" rtlCol="0">
            <a:spAutoFit/>
          </a:bodyPr>
          <a:lstStyle/>
          <a:p>
            <a:pPr algn="ctr"/>
            <a:r>
              <a:rPr lang="en-US" sz="16600" b="1" dirty="0" smtClean="0">
                <a:solidFill>
                  <a:srgbClr val="F9F9F9"/>
                </a:solidFill>
              </a:rPr>
              <a:t>7</a:t>
            </a:r>
            <a:endParaRPr lang="en-PH" sz="16600" b="1" dirty="0">
              <a:solidFill>
                <a:srgbClr val="F9F9F9"/>
              </a:solidFill>
            </a:endParaRPr>
          </a:p>
        </p:txBody>
      </p:sp>
      <p:grpSp>
        <p:nvGrpSpPr>
          <p:cNvPr id="4" name="Group 13"/>
          <p:cNvGrpSpPr/>
          <p:nvPr/>
        </p:nvGrpSpPr>
        <p:grpSpPr>
          <a:xfrm>
            <a:off x="4716930" y="3369347"/>
            <a:ext cx="4068417" cy="1498621"/>
            <a:chOff x="4651513" y="1496642"/>
            <a:chExt cx="4068417" cy="1498621"/>
          </a:xfrm>
        </p:grpSpPr>
        <p:sp>
          <p:nvSpPr>
            <p:cNvPr id="15" name="Rectangle 14"/>
            <p:cNvSpPr/>
            <p:nvPr/>
          </p:nvSpPr>
          <p:spPr>
            <a:xfrm>
              <a:off x="4651513" y="1496642"/>
              <a:ext cx="4068417" cy="1418836"/>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1600">
                <a:solidFill>
                  <a:schemeClr val="bg1"/>
                </a:solidFill>
              </a:endParaRPr>
            </a:p>
          </p:txBody>
        </p:sp>
        <p:sp>
          <p:nvSpPr>
            <p:cNvPr id="16" name="TextBox 15"/>
            <p:cNvSpPr txBox="1"/>
            <p:nvPr/>
          </p:nvSpPr>
          <p:spPr>
            <a:xfrm>
              <a:off x="5786446" y="1579491"/>
              <a:ext cx="2663688" cy="1415772"/>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pPr lvl="0" algn="just"/>
              <a:r>
                <a:rPr lang="ms-MY" sz="1600" smtClean="0">
                  <a:solidFill>
                    <a:schemeClr val="bg1"/>
                  </a:solidFill>
                </a:rPr>
                <a:t>PP hendaklah menyelia kerja yang dijalankan oleh PYD melalui pengawasan dan bimbingan yang berterusan.</a:t>
              </a:r>
              <a:endParaRPr lang="en-US" sz="1600" dirty="0">
                <a:solidFill>
                  <a:schemeClr val="bg1"/>
                </a:solidFill>
              </a:endParaRPr>
            </a:p>
          </p:txBody>
        </p:sp>
      </p:grpSp>
      <p:grpSp>
        <p:nvGrpSpPr>
          <p:cNvPr id="7" name="Group 16"/>
          <p:cNvGrpSpPr/>
          <p:nvPr/>
        </p:nvGrpSpPr>
        <p:grpSpPr>
          <a:xfrm>
            <a:off x="542494" y="3369347"/>
            <a:ext cx="4041913" cy="1511609"/>
            <a:chOff x="477077" y="1496642"/>
            <a:chExt cx="4041913" cy="1511609"/>
          </a:xfrm>
        </p:grpSpPr>
        <p:sp>
          <p:nvSpPr>
            <p:cNvPr id="18" name="Rectangle 17"/>
            <p:cNvSpPr/>
            <p:nvPr/>
          </p:nvSpPr>
          <p:spPr>
            <a:xfrm>
              <a:off x="477077" y="1496642"/>
              <a:ext cx="4041913" cy="1418836"/>
            </a:xfrm>
            <a:prstGeom prst="rect">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1600">
                <a:solidFill>
                  <a:schemeClr val="bg1"/>
                </a:solidFill>
              </a:endParaRPr>
            </a:p>
          </p:txBody>
        </p:sp>
        <p:sp>
          <p:nvSpPr>
            <p:cNvPr id="19" name="TextBox 18"/>
            <p:cNvSpPr txBox="1"/>
            <p:nvPr/>
          </p:nvSpPr>
          <p:spPr>
            <a:xfrm>
              <a:off x="1500166" y="1592479"/>
              <a:ext cx="3000395" cy="1415772"/>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pPr lvl="0" algn="just"/>
              <a:r>
                <a:rPr lang="ms-MY" sz="1600" smtClean="0">
                  <a:solidFill>
                    <a:schemeClr val="bg1"/>
                  </a:solidFill>
                </a:rPr>
                <a:t>Penilaian dilaksanakan secara berterusan berdasarkan kompetensi dan prestasi kerja PYD sepanjang tahun yang dinilai.</a:t>
              </a:r>
              <a:endParaRPr lang="en-US" sz="1600" dirty="0">
                <a:solidFill>
                  <a:schemeClr val="bg1"/>
                </a:solidFill>
              </a:endParaRPr>
            </a:p>
          </p:txBody>
        </p:sp>
      </p:grpSp>
      <p:sp>
        <p:nvSpPr>
          <p:cNvPr id="20" name="TextBox 19"/>
          <p:cNvSpPr txBox="1"/>
          <p:nvPr/>
        </p:nvSpPr>
        <p:spPr>
          <a:xfrm>
            <a:off x="542495" y="2727224"/>
            <a:ext cx="914400" cy="2646878"/>
          </a:xfrm>
          <a:prstGeom prst="rect">
            <a:avLst/>
          </a:prstGeom>
          <a:noFill/>
        </p:spPr>
        <p:txBody>
          <a:bodyPr wrap="square" rtlCol="0">
            <a:spAutoFit/>
          </a:bodyPr>
          <a:lstStyle/>
          <a:p>
            <a:pPr algn="ctr"/>
            <a:r>
              <a:rPr lang="en-US" sz="16600" b="1" dirty="0" smtClean="0">
                <a:solidFill>
                  <a:srgbClr val="F9F9F9"/>
                </a:solidFill>
              </a:rPr>
              <a:t>8</a:t>
            </a:r>
            <a:endParaRPr lang="en-PH" sz="16600" b="1" dirty="0">
              <a:solidFill>
                <a:srgbClr val="F9F9F9"/>
              </a:solidFill>
            </a:endParaRPr>
          </a:p>
        </p:txBody>
      </p:sp>
      <p:sp>
        <p:nvSpPr>
          <p:cNvPr id="21" name="TextBox 20"/>
          <p:cNvSpPr txBox="1"/>
          <p:nvPr/>
        </p:nvSpPr>
        <p:spPr>
          <a:xfrm>
            <a:off x="4716930" y="2694778"/>
            <a:ext cx="914400" cy="2646878"/>
          </a:xfrm>
          <a:prstGeom prst="rect">
            <a:avLst/>
          </a:prstGeom>
          <a:noFill/>
        </p:spPr>
        <p:txBody>
          <a:bodyPr wrap="square" rtlCol="0">
            <a:spAutoFit/>
          </a:bodyPr>
          <a:lstStyle/>
          <a:p>
            <a:pPr algn="ctr"/>
            <a:r>
              <a:rPr lang="en-US" sz="16600" b="1" dirty="0" smtClean="0">
                <a:solidFill>
                  <a:srgbClr val="F9F9F9"/>
                </a:solidFill>
              </a:rPr>
              <a:t>9</a:t>
            </a:r>
            <a:endParaRPr lang="en-PH" sz="16600" b="1" dirty="0">
              <a:solidFill>
                <a:srgbClr val="F9F9F9"/>
              </a:solidFill>
            </a:endParaRPr>
          </a:p>
        </p:txBody>
      </p:sp>
      <p:grpSp>
        <p:nvGrpSpPr>
          <p:cNvPr id="8" name="Group 21"/>
          <p:cNvGrpSpPr/>
          <p:nvPr/>
        </p:nvGrpSpPr>
        <p:grpSpPr>
          <a:xfrm>
            <a:off x="542494" y="4933104"/>
            <a:ext cx="8242853" cy="1559724"/>
            <a:chOff x="477077" y="1496642"/>
            <a:chExt cx="8242853" cy="1559724"/>
          </a:xfrm>
        </p:grpSpPr>
        <p:sp>
          <p:nvSpPr>
            <p:cNvPr id="23" name="Rectangle 22"/>
            <p:cNvSpPr/>
            <p:nvPr/>
          </p:nvSpPr>
          <p:spPr>
            <a:xfrm>
              <a:off x="477077" y="1496642"/>
              <a:ext cx="8242853" cy="1418836"/>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1600">
                <a:solidFill>
                  <a:schemeClr val="bg1"/>
                </a:solidFill>
              </a:endParaRPr>
            </a:p>
          </p:txBody>
        </p:sp>
        <p:sp>
          <p:nvSpPr>
            <p:cNvPr id="24" name="TextBox 23"/>
            <p:cNvSpPr txBox="1"/>
            <p:nvPr/>
          </p:nvSpPr>
          <p:spPr>
            <a:xfrm>
              <a:off x="2143108" y="1640594"/>
              <a:ext cx="6572296" cy="1415772"/>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pPr lvl="0" algn="just"/>
              <a:r>
                <a:rPr lang="ms-MY" sz="1600" smtClean="0">
                  <a:solidFill>
                    <a:schemeClr val="bg1"/>
                  </a:solidFill>
                </a:rPr>
                <a:t>Penilaian perlu dilaksanakan bagi PYD yang telah memangku melebihi enam bulan dalam tahun semasa dan akan dipertimbangkan kenaikan pangkat sebelum urusan penilaian prestasi tahunan bagi tahun tersebut dilaksanakan pada hujung tahun.</a:t>
              </a:r>
            </a:p>
            <a:p>
              <a:endParaRPr lang="en-PH" sz="1600" dirty="0" smtClean="0">
                <a:solidFill>
                  <a:schemeClr val="bg1"/>
                </a:solidFill>
              </a:endParaRPr>
            </a:p>
          </p:txBody>
        </p:sp>
      </p:grpSp>
      <p:sp>
        <p:nvSpPr>
          <p:cNvPr id="25" name="TextBox 24"/>
          <p:cNvSpPr txBox="1"/>
          <p:nvPr/>
        </p:nvSpPr>
        <p:spPr>
          <a:xfrm>
            <a:off x="53907" y="4511344"/>
            <a:ext cx="2737600" cy="2215991"/>
          </a:xfrm>
          <a:prstGeom prst="rect">
            <a:avLst/>
          </a:prstGeom>
          <a:noFill/>
        </p:spPr>
        <p:txBody>
          <a:bodyPr wrap="square" rtlCol="0">
            <a:spAutoFit/>
          </a:bodyPr>
          <a:lstStyle/>
          <a:p>
            <a:pPr algn="ctr"/>
            <a:r>
              <a:rPr lang="en-US" sz="13800" b="1" dirty="0" smtClean="0">
                <a:solidFill>
                  <a:srgbClr val="F9F9F9"/>
                </a:solidFill>
              </a:rPr>
              <a:t>10</a:t>
            </a:r>
            <a:endParaRPr lang="en-PH" sz="13800" b="1" dirty="0">
              <a:solidFill>
                <a:srgbClr val="F9F9F9"/>
              </a:solidFill>
            </a:endParaRPr>
          </a:p>
        </p:txBody>
      </p:sp>
      <p:sp>
        <p:nvSpPr>
          <p:cNvPr id="17" name="Footer Placeholder 16"/>
          <p:cNvSpPr>
            <a:spLocks noGrp="1"/>
          </p:cNvSpPr>
          <p:nvPr>
            <p:ph type="ftr" sz="quarter" idx="11"/>
          </p:nvPr>
        </p:nvSpPr>
        <p:spPr>
          <a:xfrm>
            <a:off x="3290958" y="6257634"/>
            <a:ext cx="4958521" cy="365125"/>
          </a:xfrm>
        </p:spPr>
        <p:txBody>
          <a:bodyPr/>
          <a:lstStyle/>
          <a:p>
            <a:r>
              <a:rPr lang="en-US" smtClean="0"/>
              <a:t>GURU (SEKOLAH)</a:t>
            </a:r>
            <a:endParaRPr lang="en-US"/>
          </a:p>
        </p:txBody>
      </p:sp>
      <p:sp>
        <p:nvSpPr>
          <p:cNvPr id="22" name="Slide Number Placeholder 21"/>
          <p:cNvSpPr>
            <a:spLocks noGrp="1"/>
          </p:cNvSpPr>
          <p:nvPr>
            <p:ph type="sldNum" sz="quarter" idx="12"/>
          </p:nvPr>
        </p:nvSpPr>
        <p:spPr>
          <a:xfrm>
            <a:off x="6553200" y="6246591"/>
            <a:ext cx="2133600" cy="365125"/>
          </a:xfrm>
        </p:spPr>
        <p:txBody>
          <a:bodyPr/>
          <a:lstStyle/>
          <a:p>
            <a:fld id="{4D86EDED-B1AF-7E4B-94C9-3F0EAA36C7D5}" type="slidenum">
              <a:rPr lang="en-US" smtClean="0"/>
              <a:pPr/>
              <a:t>40</a:t>
            </a:fld>
            <a:endParaRPr lang="en-US"/>
          </a:p>
        </p:txBody>
      </p:sp>
      <p:sp>
        <p:nvSpPr>
          <p:cNvPr id="47" name="Title 1"/>
          <p:cNvSpPr txBox="1">
            <a:spLocks/>
          </p:cNvSpPr>
          <p:nvPr/>
        </p:nvSpPr>
        <p:spPr bwMode="auto">
          <a:xfrm>
            <a:off x="1906360" y="540728"/>
            <a:ext cx="3992731" cy="819454"/>
          </a:xfrm>
          <a:prstGeom prst="rect">
            <a:avLst/>
          </a:prstGeom>
          <a:noFill/>
          <a:ln w="9525">
            <a:noFill/>
            <a:miter lim="800000"/>
            <a:headEnd/>
            <a:tailEnd/>
          </a:ln>
        </p:spPr>
        <p:txBody>
          <a:bodyPr anchor="ctr"/>
          <a:lstStyle/>
          <a:p>
            <a:pPr>
              <a:defRPr/>
            </a:pPr>
            <a:r>
              <a:rPr lang="en-US" sz="3200" b="1" kern="0" dirty="0" err="1" smtClean="0">
                <a:latin typeface="Agency FB" pitchFamily="34" charset="0"/>
                <a:cs typeface="Arial" pitchFamily="34" charset="0"/>
              </a:rPr>
              <a:t>Semasa</a:t>
            </a:r>
            <a:r>
              <a:rPr lang="en-US" sz="3200" b="1" kern="0" dirty="0">
                <a:latin typeface="Agency FB" pitchFamily="34" charset="0"/>
                <a:cs typeface="Arial" pitchFamily="34" charset="0"/>
              </a:rPr>
              <a:t> </a:t>
            </a:r>
            <a:r>
              <a:rPr lang="en-US" sz="3200" b="1" kern="0" dirty="0" err="1" smtClean="0">
                <a:latin typeface="Agency FB" pitchFamily="34" charset="0"/>
                <a:cs typeface="Arial" pitchFamily="34" charset="0"/>
              </a:rPr>
              <a:t>Penilaian</a:t>
            </a:r>
            <a:endParaRPr lang="en-US" sz="3200" b="1" kern="0" dirty="0">
              <a:latin typeface="Agency FB" pitchFamily="34" charset="0"/>
              <a:cs typeface="Arial" pitchFamily="34" charset="0"/>
            </a:endParaRPr>
          </a:p>
        </p:txBody>
      </p:sp>
      <p:grpSp>
        <p:nvGrpSpPr>
          <p:cNvPr id="9" name="Group 47"/>
          <p:cNvGrpSpPr/>
          <p:nvPr/>
        </p:nvGrpSpPr>
        <p:grpSpPr>
          <a:xfrm>
            <a:off x="204972" y="253976"/>
            <a:ext cx="1457795" cy="1318382"/>
            <a:chOff x="1565920" y="3320709"/>
            <a:chExt cx="1457795" cy="1318382"/>
          </a:xfrm>
        </p:grpSpPr>
        <p:grpSp>
          <p:nvGrpSpPr>
            <p:cNvPr id="14" name="Group 48"/>
            <p:cNvGrpSpPr/>
            <p:nvPr/>
          </p:nvGrpSpPr>
          <p:grpSpPr>
            <a:xfrm>
              <a:off x="1565920" y="3320709"/>
              <a:ext cx="1457795" cy="1318382"/>
              <a:chOff x="6089820" y="2277827"/>
              <a:chExt cx="1457795" cy="1318382"/>
            </a:xfrm>
          </p:grpSpPr>
          <p:sp>
            <p:nvSpPr>
              <p:cNvPr id="54" name="Oval 53"/>
              <p:cNvSpPr/>
              <p:nvPr/>
            </p:nvSpPr>
            <p:spPr>
              <a:xfrm>
                <a:off x="6207299" y="2358065"/>
                <a:ext cx="1296524" cy="1160563"/>
              </a:xfrm>
              <a:prstGeom prst="ellipse">
                <a:avLst/>
              </a:prstGeom>
              <a:solidFill>
                <a:schemeClr val="bg1">
                  <a:alpha val="9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Donut 13"/>
              <p:cNvSpPr>
                <a:spLocks noChangeArrowheads="1"/>
              </p:cNvSpPr>
              <p:nvPr/>
            </p:nvSpPr>
            <p:spPr bwMode="auto">
              <a:xfrm flipV="1">
                <a:off x="6089820" y="2277827"/>
                <a:ext cx="1457795" cy="1318382"/>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gradFill rotWithShape="1">
                <a:gsLst>
                  <a:gs pos="0">
                    <a:srgbClr val="00B0F0"/>
                  </a:gs>
                  <a:gs pos="100000">
                    <a:srgbClr val="0070C0"/>
                  </a:gs>
                </a:gsLst>
                <a:lin ang="16200000"/>
              </a:gradFill>
              <a:ln w="9525">
                <a:noFill/>
                <a:miter lim="800000"/>
                <a:headEnd/>
                <a:tailEnd/>
              </a:ln>
              <a:effectLst>
                <a:outerShdw blurRad="63500" dist="23000" dir="5400000" rotWithShape="0">
                  <a:srgbClr val="000000">
                    <a:alpha val="34999"/>
                  </a:srgbClr>
                </a:outerShdw>
              </a:effectLst>
            </p:spPr>
            <p:txBody>
              <a:bodyPr anchor="ctr"/>
              <a:lstStyle/>
              <a:p>
                <a:pPr algn="ctr">
                  <a:defRPr/>
                </a:pPr>
                <a:endParaRPr lang="en-US" sz="2000" dirty="0">
                  <a:latin typeface=""/>
                  <a:ea typeface="+mn-ea"/>
                </a:endParaRPr>
              </a:p>
            </p:txBody>
          </p:sp>
        </p:grpSp>
        <p:grpSp>
          <p:nvGrpSpPr>
            <p:cNvPr id="26" name="Gruppe 66"/>
            <p:cNvGrpSpPr/>
            <p:nvPr/>
          </p:nvGrpSpPr>
          <p:grpSpPr bwMode="auto">
            <a:xfrm>
              <a:off x="1947096" y="3617437"/>
              <a:ext cx="737831" cy="670548"/>
              <a:chOff x="6412334" y="468369"/>
              <a:chExt cx="785176" cy="787474"/>
            </a:xfrm>
            <a:solidFill>
              <a:srgbClr val="000000"/>
            </a:solidFill>
          </p:grpSpPr>
          <p:sp>
            <p:nvSpPr>
              <p:cNvPr id="51" name="Freeform 36"/>
              <p:cNvSpPr>
                <a:spLocks/>
              </p:cNvSpPr>
              <p:nvPr/>
            </p:nvSpPr>
            <p:spPr bwMode="auto">
              <a:xfrm>
                <a:off x="6714219" y="874177"/>
                <a:ext cx="190813" cy="381664"/>
              </a:xfrm>
              <a:custGeom>
                <a:avLst/>
                <a:gdLst/>
                <a:ahLst/>
                <a:cxnLst>
                  <a:cxn ang="0">
                    <a:pos x="17" y="30"/>
                  </a:cxn>
                  <a:cxn ang="0">
                    <a:pos x="14" y="34"/>
                  </a:cxn>
                  <a:cxn ang="0">
                    <a:pos x="4" y="34"/>
                  </a:cxn>
                  <a:cxn ang="0">
                    <a:pos x="0" y="30"/>
                  </a:cxn>
                  <a:cxn ang="0">
                    <a:pos x="0" y="3"/>
                  </a:cxn>
                  <a:cxn ang="0">
                    <a:pos x="4" y="0"/>
                  </a:cxn>
                  <a:cxn ang="0">
                    <a:pos x="14" y="0"/>
                  </a:cxn>
                  <a:cxn ang="0">
                    <a:pos x="17" y="3"/>
                  </a:cxn>
                  <a:cxn ang="0">
                    <a:pos x="17" y="30"/>
                  </a:cxn>
                </a:cxnLst>
                <a:rect l="0" t="0" r="r" b="b"/>
                <a:pathLst>
                  <a:path w="17" h="34">
                    <a:moveTo>
                      <a:pt x="17" y="30"/>
                    </a:moveTo>
                    <a:cubicBezTo>
                      <a:pt x="17" y="32"/>
                      <a:pt x="16" y="34"/>
                      <a:pt x="14" y="34"/>
                    </a:cubicBezTo>
                    <a:cubicBezTo>
                      <a:pt x="4" y="34"/>
                      <a:pt x="4" y="34"/>
                      <a:pt x="4" y="34"/>
                    </a:cubicBezTo>
                    <a:cubicBezTo>
                      <a:pt x="2" y="34"/>
                      <a:pt x="0" y="32"/>
                      <a:pt x="0" y="30"/>
                    </a:cubicBezTo>
                    <a:cubicBezTo>
                      <a:pt x="0" y="3"/>
                      <a:pt x="0" y="3"/>
                      <a:pt x="0" y="3"/>
                    </a:cubicBezTo>
                    <a:cubicBezTo>
                      <a:pt x="0" y="1"/>
                      <a:pt x="2" y="0"/>
                      <a:pt x="4" y="0"/>
                    </a:cubicBezTo>
                    <a:cubicBezTo>
                      <a:pt x="14" y="0"/>
                      <a:pt x="14" y="0"/>
                      <a:pt x="14" y="0"/>
                    </a:cubicBezTo>
                    <a:cubicBezTo>
                      <a:pt x="16" y="0"/>
                      <a:pt x="17" y="1"/>
                      <a:pt x="17" y="3"/>
                    </a:cubicBezTo>
                    <a:lnTo>
                      <a:pt x="17" y="30"/>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sp>
            <p:nvSpPr>
              <p:cNvPr id="52" name="Freeform 37"/>
              <p:cNvSpPr>
                <a:spLocks/>
              </p:cNvSpPr>
              <p:nvPr/>
            </p:nvSpPr>
            <p:spPr bwMode="auto">
              <a:xfrm>
                <a:off x="7006697" y="750606"/>
                <a:ext cx="190813" cy="505237"/>
              </a:xfrm>
              <a:custGeom>
                <a:avLst/>
                <a:gdLst/>
                <a:ahLst/>
                <a:cxnLst>
                  <a:cxn ang="0">
                    <a:pos x="17" y="41"/>
                  </a:cxn>
                  <a:cxn ang="0">
                    <a:pos x="13" y="45"/>
                  </a:cxn>
                  <a:cxn ang="0">
                    <a:pos x="3" y="45"/>
                  </a:cxn>
                  <a:cxn ang="0">
                    <a:pos x="0" y="41"/>
                  </a:cxn>
                  <a:cxn ang="0">
                    <a:pos x="0" y="3"/>
                  </a:cxn>
                  <a:cxn ang="0">
                    <a:pos x="3" y="0"/>
                  </a:cxn>
                  <a:cxn ang="0">
                    <a:pos x="13" y="0"/>
                  </a:cxn>
                  <a:cxn ang="0">
                    <a:pos x="17" y="3"/>
                  </a:cxn>
                  <a:cxn ang="0">
                    <a:pos x="17" y="41"/>
                  </a:cxn>
                </a:cxnLst>
                <a:rect l="0" t="0" r="r" b="b"/>
                <a:pathLst>
                  <a:path w="17" h="45">
                    <a:moveTo>
                      <a:pt x="17" y="41"/>
                    </a:moveTo>
                    <a:cubicBezTo>
                      <a:pt x="17" y="43"/>
                      <a:pt x="15" y="45"/>
                      <a:pt x="13" y="45"/>
                    </a:cubicBezTo>
                    <a:cubicBezTo>
                      <a:pt x="3" y="45"/>
                      <a:pt x="3" y="45"/>
                      <a:pt x="3" y="45"/>
                    </a:cubicBezTo>
                    <a:cubicBezTo>
                      <a:pt x="1" y="45"/>
                      <a:pt x="0" y="43"/>
                      <a:pt x="0" y="41"/>
                    </a:cubicBezTo>
                    <a:cubicBezTo>
                      <a:pt x="0" y="3"/>
                      <a:pt x="0" y="3"/>
                      <a:pt x="0" y="3"/>
                    </a:cubicBezTo>
                    <a:cubicBezTo>
                      <a:pt x="0" y="1"/>
                      <a:pt x="1" y="0"/>
                      <a:pt x="3" y="0"/>
                    </a:cubicBezTo>
                    <a:cubicBezTo>
                      <a:pt x="13" y="0"/>
                      <a:pt x="13" y="0"/>
                      <a:pt x="13" y="0"/>
                    </a:cubicBezTo>
                    <a:cubicBezTo>
                      <a:pt x="15" y="0"/>
                      <a:pt x="17" y="1"/>
                      <a:pt x="17" y="3"/>
                    </a:cubicBezTo>
                    <a:lnTo>
                      <a:pt x="17" y="41"/>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sp>
            <p:nvSpPr>
              <p:cNvPr id="53" name="Freeform 37"/>
              <p:cNvSpPr>
                <a:spLocks/>
              </p:cNvSpPr>
              <p:nvPr/>
            </p:nvSpPr>
            <p:spPr bwMode="auto">
              <a:xfrm>
                <a:off x="6412334" y="468369"/>
                <a:ext cx="206554" cy="787474"/>
              </a:xfrm>
              <a:custGeom>
                <a:avLst/>
                <a:gdLst/>
                <a:ahLst/>
                <a:cxnLst>
                  <a:cxn ang="0">
                    <a:pos x="17" y="41"/>
                  </a:cxn>
                  <a:cxn ang="0">
                    <a:pos x="13" y="45"/>
                  </a:cxn>
                  <a:cxn ang="0">
                    <a:pos x="3" y="45"/>
                  </a:cxn>
                  <a:cxn ang="0">
                    <a:pos x="0" y="41"/>
                  </a:cxn>
                  <a:cxn ang="0">
                    <a:pos x="0" y="3"/>
                  </a:cxn>
                  <a:cxn ang="0">
                    <a:pos x="3" y="0"/>
                  </a:cxn>
                  <a:cxn ang="0">
                    <a:pos x="13" y="0"/>
                  </a:cxn>
                  <a:cxn ang="0">
                    <a:pos x="17" y="3"/>
                  </a:cxn>
                  <a:cxn ang="0">
                    <a:pos x="17" y="41"/>
                  </a:cxn>
                </a:cxnLst>
                <a:rect l="0" t="0" r="r" b="b"/>
                <a:pathLst>
                  <a:path w="17" h="45">
                    <a:moveTo>
                      <a:pt x="17" y="41"/>
                    </a:moveTo>
                    <a:cubicBezTo>
                      <a:pt x="17" y="43"/>
                      <a:pt x="15" y="45"/>
                      <a:pt x="13" y="45"/>
                    </a:cubicBezTo>
                    <a:cubicBezTo>
                      <a:pt x="3" y="45"/>
                      <a:pt x="3" y="45"/>
                      <a:pt x="3" y="45"/>
                    </a:cubicBezTo>
                    <a:cubicBezTo>
                      <a:pt x="1" y="45"/>
                      <a:pt x="0" y="43"/>
                      <a:pt x="0" y="41"/>
                    </a:cubicBezTo>
                    <a:cubicBezTo>
                      <a:pt x="0" y="3"/>
                      <a:pt x="0" y="3"/>
                      <a:pt x="0" y="3"/>
                    </a:cubicBezTo>
                    <a:cubicBezTo>
                      <a:pt x="0" y="1"/>
                      <a:pt x="1" y="0"/>
                      <a:pt x="3" y="0"/>
                    </a:cubicBezTo>
                    <a:cubicBezTo>
                      <a:pt x="13" y="0"/>
                      <a:pt x="13" y="0"/>
                      <a:pt x="13" y="0"/>
                    </a:cubicBezTo>
                    <a:cubicBezTo>
                      <a:pt x="15" y="0"/>
                      <a:pt x="17" y="1"/>
                      <a:pt x="17" y="3"/>
                    </a:cubicBezTo>
                    <a:lnTo>
                      <a:pt x="17" y="41"/>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1000"/>
                                        <p:tgtEl>
                                          <p:spTgt spid="47"/>
                                        </p:tgtEl>
                                      </p:cBhvr>
                                    </p:animEffect>
                                    <p:anim calcmode="lin" valueType="num">
                                      <p:cBhvr>
                                        <p:cTn id="8" dur="1000" fill="hold"/>
                                        <p:tgtEl>
                                          <p:spTgt spid="47"/>
                                        </p:tgtEl>
                                        <p:attrNameLst>
                                          <p:attrName>ppt_x</p:attrName>
                                        </p:attrNameLst>
                                      </p:cBhvr>
                                      <p:tavLst>
                                        <p:tav tm="0">
                                          <p:val>
                                            <p:strVal val="#ppt_x"/>
                                          </p:val>
                                        </p:tav>
                                        <p:tav tm="100000">
                                          <p:val>
                                            <p:strVal val="#ppt_x"/>
                                          </p:val>
                                        </p:tav>
                                      </p:tavLst>
                                    </p:anim>
                                    <p:anim calcmode="lin" valueType="num">
                                      <p:cBhvr>
                                        <p:cTn id="9" dur="900" decel="100000" fill="hold"/>
                                        <p:tgtEl>
                                          <p:spTgt spid="47"/>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47"/>
                                        </p:tgtEl>
                                        <p:attrNameLst>
                                          <p:attrName>ppt_y</p:attrName>
                                        </p:attrNameLst>
                                      </p:cBhvr>
                                      <p:tavLst>
                                        <p:tav tm="0">
                                          <p:val>
                                            <p:strVal val="#ppt_y-.03"/>
                                          </p:val>
                                        </p:tav>
                                        <p:tav tm="100000">
                                          <p:val>
                                            <p:strVal val="#ppt_y"/>
                                          </p:val>
                                        </p:tav>
                                      </p:tavLst>
                                    </p:anim>
                                  </p:childTnLst>
                                </p:cTn>
                              </p:par>
                              <p:par>
                                <p:cTn id="11" presetID="37"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900" decel="100000" fill="hold"/>
                                        <p:tgtEl>
                                          <p:spTgt spid="9"/>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9"/>
                                        </p:tgtEl>
                                        <p:attrNameLst>
                                          <p:attrName>ppt_y</p:attrName>
                                        </p:attrNameLst>
                                      </p:cBhvr>
                                      <p:tavLst>
                                        <p:tav tm="0">
                                          <p:val>
                                            <p:strVal val="#ppt_y-.03"/>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wipe(down)">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0" fill="hold" nodeType="clickEffect">
                                  <p:stCondLst>
                                    <p:cond delay="0"/>
                                  </p:stCondLst>
                                  <p:childTnLst>
                                    <p:set>
                                      <p:cBhvr>
                                        <p:cTn id="25" dur="1" fill="hold">
                                          <p:stCondLst>
                                            <p:cond delay="0"/>
                                          </p:stCondLst>
                                        </p:cTn>
                                        <p:tgtEl>
                                          <p:spTgt spid="2"/>
                                        </p:tgtEl>
                                        <p:attrNameLst>
                                          <p:attrName>style.visibility</p:attrName>
                                        </p:attrNameLst>
                                      </p:cBhvr>
                                      <p:to>
                                        <p:strVal val="visible"/>
                                      </p:to>
                                    </p:set>
                                    <p:anim calcmode="lin" valueType="num">
                                      <p:cBhvr>
                                        <p:cTn id="26" dur="500" fill="hold"/>
                                        <p:tgtEl>
                                          <p:spTgt spid="2"/>
                                        </p:tgtEl>
                                        <p:attrNameLst>
                                          <p:attrName>ppt_w</p:attrName>
                                        </p:attrNameLst>
                                      </p:cBhvr>
                                      <p:tavLst>
                                        <p:tav tm="0">
                                          <p:val>
                                            <p:fltVal val="0"/>
                                          </p:val>
                                        </p:tav>
                                        <p:tav tm="100000">
                                          <p:val>
                                            <p:strVal val="#ppt_w"/>
                                          </p:val>
                                        </p:tav>
                                      </p:tavLst>
                                    </p:anim>
                                    <p:anim calcmode="lin" valueType="num">
                                      <p:cBhvr>
                                        <p:cTn id="27" dur="500" fill="hold"/>
                                        <p:tgtEl>
                                          <p:spTgt spid="2"/>
                                        </p:tgtEl>
                                        <p:attrNameLst>
                                          <p:attrName>ppt_h</p:attrName>
                                        </p:attrNameLst>
                                      </p:cBhvr>
                                      <p:tavLst>
                                        <p:tav tm="0">
                                          <p:val>
                                            <p:fltVal val="0"/>
                                          </p:val>
                                        </p:tav>
                                        <p:tav tm="100000">
                                          <p:val>
                                            <p:strVal val="#ppt_h"/>
                                          </p:val>
                                        </p:tav>
                                      </p:tavLst>
                                    </p:anim>
                                    <p:animEffect transition="in" filter="fade">
                                      <p:cBhvr>
                                        <p:cTn id="28" dur="500"/>
                                        <p:tgtEl>
                                          <p:spTgt spid="2"/>
                                        </p:tgtEl>
                                      </p:cBhvr>
                                    </p:animEffect>
                                  </p:childTnLst>
                                </p:cTn>
                              </p:par>
                            </p:childTnLst>
                          </p:cTn>
                        </p:par>
                      </p:childTnLst>
                    </p:cTn>
                  </p:par>
                  <p:par>
                    <p:cTn id="29" fill="hold">
                      <p:stCondLst>
                        <p:cond delay="indefinite"/>
                      </p:stCondLst>
                      <p:childTnLst>
                        <p:par>
                          <p:cTn id="30" fill="hold">
                            <p:stCondLst>
                              <p:cond delay="0"/>
                            </p:stCondLst>
                            <p:childTnLst>
                              <p:par>
                                <p:cTn id="31" presetID="58" presetClass="entr" presetSubtype="0" accel="100000" fill="hold" nodeType="clickEffect">
                                  <p:stCondLst>
                                    <p:cond delay="0"/>
                                  </p:stCondLst>
                                  <p:childTnLst>
                                    <p:set>
                                      <p:cBhvr>
                                        <p:cTn id="32" dur="1" fill="hold">
                                          <p:stCondLst>
                                            <p:cond delay="0"/>
                                          </p:stCondLst>
                                        </p:cTn>
                                        <p:tgtEl>
                                          <p:spTgt spid="7"/>
                                        </p:tgtEl>
                                        <p:attrNameLst>
                                          <p:attrName>style.visibility</p:attrName>
                                        </p:attrNameLst>
                                      </p:cBhvr>
                                      <p:to>
                                        <p:strVal val="visible"/>
                                      </p:to>
                                    </p:set>
                                    <p:anim calcmode="lin" valueType="num">
                                      <p:cBhvr>
                                        <p:cTn id="33" dur="500" fill="hold"/>
                                        <p:tgtEl>
                                          <p:spTgt spid="7"/>
                                        </p:tgtEl>
                                        <p:attrNameLst>
                                          <p:attrName>ppt_w</p:attrName>
                                        </p:attrNameLst>
                                      </p:cBhvr>
                                      <p:tavLst>
                                        <p:tav tm="0">
                                          <p:val>
                                            <p:strVal val="#ppt_w*2.5"/>
                                          </p:val>
                                        </p:tav>
                                        <p:tav tm="100000">
                                          <p:val>
                                            <p:strVal val="#ppt_w"/>
                                          </p:val>
                                        </p:tav>
                                      </p:tavLst>
                                    </p:anim>
                                    <p:anim calcmode="lin" valueType="num">
                                      <p:cBhvr>
                                        <p:cTn id="34" dur="500" fill="hold"/>
                                        <p:tgtEl>
                                          <p:spTgt spid="7"/>
                                        </p:tgtEl>
                                        <p:attrNameLst>
                                          <p:attrName>ppt_h</p:attrName>
                                        </p:attrNameLst>
                                      </p:cBhvr>
                                      <p:tavLst>
                                        <p:tav tm="0">
                                          <p:val>
                                            <p:strVal val="#ppt_h*0.01"/>
                                          </p:val>
                                        </p:tav>
                                        <p:tav tm="100000">
                                          <p:val>
                                            <p:strVal val="#ppt_h"/>
                                          </p:val>
                                        </p:tav>
                                      </p:tavLst>
                                    </p:anim>
                                    <p:anim calcmode="lin" valueType="num">
                                      <p:cBhvr>
                                        <p:cTn id="35" dur="500" fill="hold"/>
                                        <p:tgtEl>
                                          <p:spTgt spid="7"/>
                                        </p:tgtEl>
                                        <p:attrNameLst>
                                          <p:attrName>ppt_x</p:attrName>
                                        </p:attrNameLst>
                                      </p:cBhvr>
                                      <p:tavLst>
                                        <p:tav tm="0">
                                          <p:val>
                                            <p:strVal val="#ppt_x"/>
                                          </p:val>
                                        </p:tav>
                                        <p:tav tm="100000">
                                          <p:val>
                                            <p:strVal val="#ppt_x"/>
                                          </p:val>
                                        </p:tav>
                                      </p:tavLst>
                                    </p:anim>
                                    <p:anim calcmode="lin" valueType="num">
                                      <p:cBhvr>
                                        <p:cTn id="36" dur="500" fill="hold"/>
                                        <p:tgtEl>
                                          <p:spTgt spid="7"/>
                                        </p:tgtEl>
                                        <p:attrNameLst>
                                          <p:attrName>ppt_y</p:attrName>
                                        </p:attrNameLst>
                                      </p:cBhvr>
                                      <p:tavLst>
                                        <p:tav tm="0">
                                          <p:val>
                                            <p:strVal val="#ppt_h+1"/>
                                          </p:val>
                                        </p:tav>
                                        <p:tav tm="100000">
                                          <p:val>
                                            <p:strVal val="#ppt_y"/>
                                          </p:val>
                                        </p:tav>
                                      </p:tavLst>
                                    </p:anim>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6" fill="hold" nodeType="click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barn(inHorizontal)">
                                      <p:cBhvr>
                                        <p:cTn id="42" dur="500"/>
                                        <p:tgtEl>
                                          <p:spTgt spid="4"/>
                                        </p:tgtEl>
                                      </p:cBhvr>
                                    </p:animEffect>
                                  </p:childTnLst>
                                </p:cTn>
                              </p:par>
                            </p:childTnLst>
                          </p:cTn>
                        </p:par>
                      </p:childTnLst>
                    </p:cTn>
                  </p:par>
                  <p:par>
                    <p:cTn id="43" fill="hold">
                      <p:stCondLst>
                        <p:cond delay="indefinite"/>
                      </p:stCondLst>
                      <p:childTnLst>
                        <p:par>
                          <p:cTn id="44" fill="hold">
                            <p:stCondLst>
                              <p:cond delay="0"/>
                            </p:stCondLst>
                            <p:childTnLst>
                              <p:par>
                                <p:cTn id="45" presetID="43" presetClass="entr" presetSubtype="0" fill="hold"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
                                        <p:tgtEl>
                                          <p:spTgt spid="8"/>
                                        </p:tgtEl>
                                      </p:cBhvr>
                                    </p:animEffect>
                                    <p:anim calcmode="lin" valueType="num">
                                      <p:cBhvr>
                                        <p:cTn id="48" dur="200" fill="hold"/>
                                        <p:tgtEl>
                                          <p:spTgt spid="8"/>
                                        </p:tgtEl>
                                        <p:attrNameLst>
                                          <p:attrName>ppt_x</p:attrName>
                                        </p:attrNameLst>
                                      </p:cBhvr>
                                      <p:tavLst>
                                        <p:tav tm="0">
                                          <p:val>
                                            <p:strVal val="#ppt_x"/>
                                          </p:val>
                                        </p:tav>
                                        <p:tav tm="100000">
                                          <p:val>
                                            <p:strVal val="#ppt_x"/>
                                          </p:val>
                                        </p:tav>
                                      </p:tavLst>
                                    </p:anim>
                                    <p:anim calcmode="lin" valueType="num">
                                      <p:cBhvr>
                                        <p:cTn id="49" dur="200" fill="hold"/>
                                        <p:tgtEl>
                                          <p:spTgt spid="8"/>
                                        </p:tgtEl>
                                        <p:attrNameLst>
                                          <p:attrName>ppt_y</p:attrName>
                                        </p:attrNameLst>
                                      </p:cBhvr>
                                      <p:tavLst>
                                        <p:tav tm="0">
                                          <p:val>
                                            <p:strVal val="#ppt_y+0.31"/>
                                          </p:val>
                                        </p:tav>
                                        <p:tav tm="100000">
                                          <p:val>
                                            <p:strVal val="#ppt_y+0.31"/>
                                          </p:val>
                                        </p:tav>
                                      </p:tavLst>
                                    </p:anim>
                                    <p:anim calcmode="lin" valueType="num">
                                      <p:cBhvr>
                                        <p:cTn id="50" dur="300" decel="50000" fill="hold">
                                          <p:stCondLst>
                                            <p:cond delay="200"/>
                                          </p:stCondLst>
                                        </p:cTn>
                                        <p:tgtEl>
                                          <p:spTgt spid="8"/>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51" dur="300" decel="50000" fill="hold">
                                          <p:stCondLst>
                                            <p:cond delay="200"/>
                                          </p:stCondLst>
                                        </p:cTn>
                                        <p:tgtEl>
                                          <p:spTgt spid="8"/>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p:nvPr/>
        </p:nvGrpSpPr>
        <p:grpSpPr>
          <a:xfrm>
            <a:off x="4651513" y="1716162"/>
            <a:ext cx="4068417" cy="1418836"/>
            <a:chOff x="4651513" y="1496642"/>
            <a:chExt cx="4068417" cy="1418836"/>
          </a:xfrm>
        </p:grpSpPr>
        <p:sp>
          <p:nvSpPr>
            <p:cNvPr id="5" name="Rectangle 4"/>
            <p:cNvSpPr/>
            <p:nvPr/>
          </p:nvSpPr>
          <p:spPr>
            <a:xfrm>
              <a:off x="4651513" y="1496642"/>
              <a:ext cx="4068417" cy="1418836"/>
            </a:xfrm>
            <a:prstGeom prst="rect">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1600">
                <a:solidFill>
                  <a:schemeClr val="bg1"/>
                </a:solidFill>
              </a:endParaRPr>
            </a:p>
          </p:txBody>
        </p:sp>
        <p:sp>
          <p:nvSpPr>
            <p:cNvPr id="6" name="TextBox 5"/>
            <p:cNvSpPr txBox="1"/>
            <p:nvPr/>
          </p:nvSpPr>
          <p:spPr>
            <a:xfrm>
              <a:off x="5811076" y="1640594"/>
              <a:ext cx="2904327" cy="1169551"/>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pPr lvl="0" algn="just"/>
              <a:r>
                <a:rPr lang="ms-MY" sz="1600" dirty="0" smtClean="0">
                  <a:solidFill>
                    <a:schemeClr val="bg1"/>
                  </a:solidFill>
                </a:rPr>
                <a:t>PP tidak mengambil jalan mudah dengan memberikan skor dalam lingkungan pertengahan sahaja.</a:t>
              </a:r>
            </a:p>
          </p:txBody>
        </p:sp>
      </p:grpSp>
      <p:grpSp>
        <p:nvGrpSpPr>
          <p:cNvPr id="3" name="Group 8"/>
          <p:cNvGrpSpPr/>
          <p:nvPr/>
        </p:nvGrpSpPr>
        <p:grpSpPr>
          <a:xfrm>
            <a:off x="477077" y="1716162"/>
            <a:ext cx="4043967" cy="1418836"/>
            <a:chOff x="477077" y="1496642"/>
            <a:chExt cx="4043967" cy="1418836"/>
          </a:xfrm>
        </p:grpSpPr>
        <p:sp>
          <p:nvSpPr>
            <p:cNvPr id="10" name="Rectangle 9"/>
            <p:cNvSpPr/>
            <p:nvPr/>
          </p:nvSpPr>
          <p:spPr>
            <a:xfrm>
              <a:off x="477077" y="1496642"/>
              <a:ext cx="4041913" cy="1418836"/>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1600">
                <a:solidFill>
                  <a:schemeClr val="bg1"/>
                </a:solidFill>
              </a:endParaRPr>
            </a:p>
          </p:txBody>
        </p:sp>
        <p:sp>
          <p:nvSpPr>
            <p:cNvPr id="11" name="TextBox 10"/>
            <p:cNvSpPr txBox="1"/>
            <p:nvPr/>
          </p:nvSpPr>
          <p:spPr>
            <a:xfrm>
              <a:off x="1643042" y="1714488"/>
              <a:ext cx="2878002" cy="923330"/>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pPr algn="just"/>
              <a:r>
                <a:rPr lang="ms-MY" sz="1600" dirty="0" smtClean="0">
                  <a:solidFill>
                    <a:schemeClr val="bg1"/>
                  </a:solidFill>
                </a:rPr>
                <a:t>Penilaian tidak dilaksanakan secara tergesa-gesa atau dilakukan pada saat akhir</a:t>
              </a:r>
              <a:endParaRPr lang="en-PH" sz="1600" dirty="0" smtClean="0">
                <a:solidFill>
                  <a:schemeClr val="bg1"/>
                </a:solidFill>
              </a:endParaRPr>
            </a:p>
          </p:txBody>
        </p:sp>
      </p:grpSp>
      <p:sp>
        <p:nvSpPr>
          <p:cNvPr id="12" name="TextBox 11"/>
          <p:cNvSpPr txBox="1"/>
          <p:nvPr/>
        </p:nvSpPr>
        <p:spPr>
          <a:xfrm>
            <a:off x="-142908" y="1588676"/>
            <a:ext cx="2523286" cy="1631216"/>
          </a:xfrm>
          <a:prstGeom prst="rect">
            <a:avLst/>
          </a:prstGeom>
          <a:noFill/>
        </p:spPr>
        <p:txBody>
          <a:bodyPr wrap="square" rtlCol="0">
            <a:spAutoFit/>
          </a:bodyPr>
          <a:lstStyle/>
          <a:p>
            <a:pPr algn="ctr"/>
            <a:r>
              <a:rPr lang="en-US" sz="10000" b="1" dirty="0" smtClean="0">
                <a:solidFill>
                  <a:srgbClr val="F9F9F9"/>
                </a:solidFill>
              </a:rPr>
              <a:t>11</a:t>
            </a:r>
            <a:endParaRPr lang="en-PH" sz="10000" b="1" dirty="0">
              <a:solidFill>
                <a:srgbClr val="F9F9F9"/>
              </a:solidFill>
            </a:endParaRPr>
          </a:p>
        </p:txBody>
      </p:sp>
      <p:sp>
        <p:nvSpPr>
          <p:cNvPr id="13" name="TextBox 12"/>
          <p:cNvSpPr txBox="1"/>
          <p:nvPr/>
        </p:nvSpPr>
        <p:spPr>
          <a:xfrm>
            <a:off x="4151447" y="1588676"/>
            <a:ext cx="2349379" cy="1631216"/>
          </a:xfrm>
          <a:prstGeom prst="rect">
            <a:avLst/>
          </a:prstGeom>
          <a:noFill/>
        </p:spPr>
        <p:txBody>
          <a:bodyPr wrap="square" rtlCol="0">
            <a:spAutoFit/>
          </a:bodyPr>
          <a:lstStyle/>
          <a:p>
            <a:pPr algn="ctr"/>
            <a:r>
              <a:rPr lang="en-US" sz="10000" b="1" smtClean="0">
                <a:solidFill>
                  <a:srgbClr val="F9F9F9"/>
                </a:solidFill>
              </a:rPr>
              <a:t>12</a:t>
            </a:r>
            <a:endParaRPr lang="en-PH" sz="10000" b="1" dirty="0">
              <a:solidFill>
                <a:srgbClr val="F9F9F9"/>
              </a:solidFill>
            </a:endParaRPr>
          </a:p>
        </p:txBody>
      </p:sp>
      <p:grpSp>
        <p:nvGrpSpPr>
          <p:cNvPr id="4" name="Group 16"/>
          <p:cNvGrpSpPr/>
          <p:nvPr/>
        </p:nvGrpSpPr>
        <p:grpSpPr>
          <a:xfrm>
            <a:off x="2214546" y="4901660"/>
            <a:ext cx="5143536" cy="1418836"/>
            <a:chOff x="477077" y="1496642"/>
            <a:chExt cx="4041913" cy="1418836"/>
          </a:xfrm>
        </p:grpSpPr>
        <p:sp>
          <p:nvSpPr>
            <p:cNvPr id="18" name="Rectangle 17"/>
            <p:cNvSpPr/>
            <p:nvPr/>
          </p:nvSpPr>
          <p:spPr>
            <a:xfrm>
              <a:off x="477077" y="1496642"/>
              <a:ext cx="4041913" cy="1418836"/>
            </a:xfrm>
            <a:prstGeom prst="rect">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1600">
                <a:solidFill>
                  <a:schemeClr val="bg1"/>
                </a:solidFill>
              </a:endParaRPr>
            </a:p>
          </p:txBody>
        </p:sp>
        <p:sp>
          <p:nvSpPr>
            <p:cNvPr id="19" name="TextBox 18"/>
            <p:cNvSpPr txBox="1"/>
            <p:nvPr/>
          </p:nvSpPr>
          <p:spPr>
            <a:xfrm>
              <a:off x="1500166" y="1716320"/>
              <a:ext cx="3000395" cy="923330"/>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pPr lvl="0" algn="just"/>
              <a:r>
                <a:rPr lang="ms-MY" sz="1600" smtClean="0">
                  <a:solidFill>
                    <a:schemeClr val="bg1"/>
                  </a:solidFill>
                </a:rPr>
                <a:t>Mengisi dan menghantar skor PYD melalui Sistem Maklumat Guru (SMG) Modul e-Prestasi.</a:t>
              </a:r>
              <a:endParaRPr lang="en-US" sz="1600" dirty="0">
                <a:solidFill>
                  <a:schemeClr val="bg1"/>
                </a:solidFill>
              </a:endParaRPr>
            </a:p>
          </p:txBody>
        </p:sp>
      </p:grpSp>
      <p:sp>
        <p:nvSpPr>
          <p:cNvPr id="20" name="TextBox 19"/>
          <p:cNvSpPr txBox="1"/>
          <p:nvPr/>
        </p:nvSpPr>
        <p:spPr>
          <a:xfrm>
            <a:off x="1428728" y="4770642"/>
            <a:ext cx="3000396" cy="1631216"/>
          </a:xfrm>
          <a:prstGeom prst="rect">
            <a:avLst/>
          </a:prstGeom>
          <a:noFill/>
        </p:spPr>
        <p:txBody>
          <a:bodyPr wrap="square" rtlCol="0">
            <a:spAutoFit/>
          </a:bodyPr>
          <a:lstStyle/>
          <a:p>
            <a:pPr algn="ctr"/>
            <a:r>
              <a:rPr lang="en-US" sz="10000" b="1" smtClean="0">
                <a:solidFill>
                  <a:srgbClr val="F9F9F9"/>
                </a:solidFill>
              </a:rPr>
              <a:t>14</a:t>
            </a:r>
            <a:endParaRPr lang="en-PH" sz="10000" b="1" dirty="0">
              <a:solidFill>
                <a:srgbClr val="F9F9F9"/>
              </a:solidFill>
            </a:endParaRPr>
          </a:p>
        </p:txBody>
      </p:sp>
      <p:grpSp>
        <p:nvGrpSpPr>
          <p:cNvPr id="7" name="Group 21"/>
          <p:cNvGrpSpPr/>
          <p:nvPr/>
        </p:nvGrpSpPr>
        <p:grpSpPr>
          <a:xfrm>
            <a:off x="500034" y="3308766"/>
            <a:ext cx="8242853" cy="1418836"/>
            <a:chOff x="477077" y="1496642"/>
            <a:chExt cx="8242853" cy="1418836"/>
          </a:xfrm>
        </p:grpSpPr>
        <p:sp>
          <p:nvSpPr>
            <p:cNvPr id="23" name="Rectangle 22"/>
            <p:cNvSpPr/>
            <p:nvPr/>
          </p:nvSpPr>
          <p:spPr>
            <a:xfrm>
              <a:off x="477077" y="1496642"/>
              <a:ext cx="8242853" cy="1418836"/>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1600">
                <a:solidFill>
                  <a:schemeClr val="bg1"/>
                </a:solidFill>
              </a:endParaRPr>
            </a:p>
          </p:txBody>
        </p:sp>
        <p:sp>
          <p:nvSpPr>
            <p:cNvPr id="24" name="TextBox 23"/>
            <p:cNvSpPr txBox="1"/>
            <p:nvPr/>
          </p:nvSpPr>
          <p:spPr>
            <a:xfrm>
              <a:off x="1977275" y="1684413"/>
              <a:ext cx="6572296" cy="1169551"/>
            </a:xfrm>
            <a:prstGeom prst="rect">
              <a:avLst/>
            </a:prstGeom>
            <a:noFill/>
            <a:effectLst>
              <a:outerShdw blurRad="50800" dist="38100" dir="2700000" algn="tl" rotWithShape="0">
                <a:prstClr val="black">
                  <a:alpha val="40000"/>
                </a:prstClr>
              </a:outerShdw>
            </a:effectLst>
          </p:spPr>
          <p:txBody>
            <a:bodyPr wrap="square" lIns="182880" tIns="91440" rIns="182880" bIns="91440" rtlCol="0">
              <a:spAutoFit/>
            </a:bodyPr>
            <a:lstStyle/>
            <a:p>
              <a:pPr lvl="0" algn="just"/>
              <a:r>
                <a:rPr lang="ms-MY" sz="1600" smtClean="0">
                  <a:solidFill>
                    <a:schemeClr val="bg1"/>
                  </a:solidFill>
                </a:rPr>
                <a:t>Tidak memberikan perhatian yang lebih kepada perkara yang baru berlaku, sama ada bersifat positif atau negatif yang boleh mempengaruhi penilaian keseluruhan seseorang pegawai.</a:t>
              </a:r>
            </a:p>
            <a:p>
              <a:endParaRPr lang="en-PH" sz="1600" dirty="0" smtClean="0">
                <a:solidFill>
                  <a:schemeClr val="bg1"/>
                </a:solidFill>
              </a:endParaRPr>
            </a:p>
          </p:txBody>
        </p:sp>
      </p:grpSp>
      <p:sp>
        <p:nvSpPr>
          <p:cNvPr id="25" name="TextBox 24"/>
          <p:cNvSpPr txBox="1"/>
          <p:nvPr/>
        </p:nvSpPr>
        <p:spPr>
          <a:xfrm>
            <a:off x="-71470" y="3177748"/>
            <a:ext cx="2737600" cy="1631216"/>
          </a:xfrm>
          <a:prstGeom prst="rect">
            <a:avLst/>
          </a:prstGeom>
          <a:noFill/>
        </p:spPr>
        <p:txBody>
          <a:bodyPr wrap="square" rtlCol="0">
            <a:spAutoFit/>
          </a:bodyPr>
          <a:lstStyle/>
          <a:p>
            <a:pPr algn="ctr"/>
            <a:r>
              <a:rPr lang="en-US" sz="10000" b="1" dirty="0" smtClean="0">
                <a:solidFill>
                  <a:srgbClr val="F9F9F9"/>
                </a:solidFill>
              </a:rPr>
              <a:t>13</a:t>
            </a:r>
            <a:endParaRPr lang="en-PH" sz="10000" b="1" dirty="0">
              <a:solidFill>
                <a:srgbClr val="F9F9F9"/>
              </a:solidFill>
            </a:endParaRPr>
          </a:p>
        </p:txBody>
      </p:sp>
      <p:sp>
        <p:nvSpPr>
          <p:cNvPr id="14" name="Footer Placeholder 13"/>
          <p:cNvSpPr>
            <a:spLocks noGrp="1"/>
          </p:cNvSpPr>
          <p:nvPr>
            <p:ph type="ftr" sz="quarter" idx="11"/>
          </p:nvPr>
        </p:nvSpPr>
        <p:spPr>
          <a:xfrm>
            <a:off x="3290958" y="6586914"/>
            <a:ext cx="4958521" cy="365125"/>
          </a:xfrm>
        </p:spPr>
        <p:txBody>
          <a:bodyPr/>
          <a:lstStyle/>
          <a:p>
            <a:r>
              <a:rPr lang="en-US" smtClean="0"/>
              <a:t>GURU (SEKOLAH)</a:t>
            </a:r>
            <a:endParaRPr lang="en-US"/>
          </a:p>
        </p:txBody>
      </p:sp>
      <p:sp>
        <p:nvSpPr>
          <p:cNvPr id="15" name="Slide Number Placeholder 14"/>
          <p:cNvSpPr>
            <a:spLocks noGrp="1"/>
          </p:cNvSpPr>
          <p:nvPr>
            <p:ph type="sldNum" sz="quarter" idx="12"/>
          </p:nvPr>
        </p:nvSpPr>
        <p:spPr>
          <a:xfrm>
            <a:off x="6553200" y="6575871"/>
            <a:ext cx="2133600" cy="365125"/>
          </a:xfrm>
        </p:spPr>
        <p:txBody>
          <a:bodyPr/>
          <a:lstStyle/>
          <a:p>
            <a:fld id="{4D86EDED-B1AF-7E4B-94C9-3F0EAA36C7D5}" type="slidenum">
              <a:rPr lang="en-US" smtClean="0"/>
              <a:pPr/>
              <a:t>41</a:t>
            </a:fld>
            <a:endParaRPr lang="en-US"/>
          </a:p>
        </p:txBody>
      </p:sp>
      <p:sp>
        <p:nvSpPr>
          <p:cNvPr id="36" name="Title 1"/>
          <p:cNvSpPr txBox="1">
            <a:spLocks/>
          </p:cNvSpPr>
          <p:nvPr/>
        </p:nvSpPr>
        <p:spPr bwMode="auto">
          <a:xfrm>
            <a:off x="1906360" y="540728"/>
            <a:ext cx="3992731" cy="819454"/>
          </a:xfrm>
          <a:prstGeom prst="rect">
            <a:avLst/>
          </a:prstGeom>
          <a:noFill/>
          <a:ln w="9525">
            <a:noFill/>
            <a:miter lim="800000"/>
            <a:headEnd/>
            <a:tailEnd/>
          </a:ln>
        </p:spPr>
        <p:txBody>
          <a:bodyPr anchor="ctr"/>
          <a:lstStyle/>
          <a:p>
            <a:pPr>
              <a:defRPr/>
            </a:pPr>
            <a:r>
              <a:rPr lang="en-US" sz="3200" b="1" kern="0" dirty="0" err="1" smtClean="0">
                <a:latin typeface="Agency FB" pitchFamily="34" charset="0"/>
                <a:cs typeface="Arial" pitchFamily="34" charset="0"/>
              </a:rPr>
              <a:t>Semasa</a:t>
            </a:r>
            <a:r>
              <a:rPr lang="en-US" sz="3200" b="1" kern="0" dirty="0">
                <a:latin typeface="Agency FB" pitchFamily="34" charset="0"/>
                <a:cs typeface="Arial" pitchFamily="34" charset="0"/>
              </a:rPr>
              <a:t> </a:t>
            </a:r>
            <a:r>
              <a:rPr lang="en-US" sz="3200" b="1" kern="0" dirty="0" err="1" smtClean="0">
                <a:latin typeface="Agency FB" pitchFamily="34" charset="0"/>
                <a:cs typeface="Arial" pitchFamily="34" charset="0"/>
              </a:rPr>
              <a:t>Penilaian</a:t>
            </a:r>
            <a:endParaRPr lang="en-US" sz="3200" b="1" kern="0" dirty="0">
              <a:latin typeface="Agency FB" pitchFamily="34" charset="0"/>
              <a:cs typeface="Arial" pitchFamily="34" charset="0"/>
            </a:endParaRPr>
          </a:p>
        </p:txBody>
      </p:sp>
      <p:grpSp>
        <p:nvGrpSpPr>
          <p:cNvPr id="8" name="Group 36"/>
          <p:cNvGrpSpPr/>
          <p:nvPr/>
        </p:nvGrpSpPr>
        <p:grpSpPr>
          <a:xfrm>
            <a:off x="204972" y="253976"/>
            <a:ext cx="1457795" cy="1318382"/>
            <a:chOff x="1565920" y="3320709"/>
            <a:chExt cx="1457795" cy="1318382"/>
          </a:xfrm>
        </p:grpSpPr>
        <p:grpSp>
          <p:nvGrpSpPr>
            <p:cNvPr id="9" name="Group 37"/>
            <p:cNvGrpSpPr/>
            <p:nvPr/>
          </p:nvGrpSpPr>
          <p:grpSpPr>
            <a:xfrm>
              <a:off x="1565920" y="3320709"/>
              <a:ext cx="1457795" cy="1318382"/>
              <a:chOff x="6089820" y="2277827"/>
              <a:chExt cx="1457795" cy="1318382"/>
            </a:xfrm>
          </p:grpSpPr>
          <p:sp>
            <p:nvSpPr>
              <p:cNvPr id="43" name="Oval 42"/>
              <p:cNvSpPr/>
              <p:nvPr/>
            </p:nvSpPr>
            <p:spPr>
              <a:xfrm>
                <a:off x="6207299" y="2358065"/>
                <a:ext cx="1296524" cy="1160563"/>
              </a:xfrm>
              <a:prstGeom prst="ellipse">
                <a:avLst/>
              </a:prstGeom>
              <a:solidFill>
                <a:schemeClr val="bg1">
                  <a:alpha val="9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Donut 13"/>
              <p:cNvSpPr>
                <a:spLocks noChangeArrowheads="1"/>
              </p:cNvSpPr>
              <p:nvPr/>
            </p:nvSpPr>
            <p:spPr bwMode="auto">
              <a:xfrm flipV="1">
                <a:off x="6089820" y="2277827"/>
                <a:ext cx="1457795" cy="1318382"/>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gradFill rotWithShape="1">
                <a:gsLst>
                  <a:gs pos="0">
                    <a:srgbClr val="00B0F0"/>
                  </a:gs>
                  <a:gs pos="100000">
                    <a:srgbClr val="0070C0"/>
                  </a:gs>
                </a:gsLst>
                <a:lin ang="16200000"/>
              </a:gradFill>
              <a:ln w="9525">
                <a:noFill/>
                <a:miter lim="800000"/>
                <a:headEnd/>
                <a:tailEnd/>
              </a:ln>
              <a:effectLst>
                <a:outerShdw blurRad="63500" dist="23000" dir="5400000" rotWithShape="0">
                  <a:srgbClr val="000000">
                    <a:alpha val="34999"/>
                  </a:srgbClr>
                </a:outerShdw>
              </a:effectLst>
            </p:spPr>
            <p:txBody>
              <a:bodyPr anchor="ctr"/>
              <a:lstStyle/>
              <a:p>
                <a:pPr algn="ctr">
                  <a:defRPr/>
                </a:pPr>
                <a:endParaRPr lang="en-US" sz="2000" dirty="0">
                  <a:latin typeface=""/>
                  <a:ea typeface="+mn-ea"/>
                </a:endParaRPr>
              </a:p>
            </p:txBody>
          </p:sp>
        </p:grpSp>
        <p:grpSp>
          <p:nvGrpSpPr>
            <p:cNvPr id="16" name="Gruppe 66"/>
            <p:cNvGrpSpPr/>
            <p:nvPr/>
          </p:nvGrpSpPr>
          <p:grpSpPr bwMode="auto">
            <a:xfrm>
              <a:off x="1947096" y="3617437"/>
              <a:ext cx="737831" cy="670548"/>
              <a:chOff x="6412334" y="468369"/>
              <a:chExt cx="785176" cy="787474"/>
            </a:xfrm>
            <a:solidFill>
              <a:srgbClr val="000000"/>
            </a:solidFill>
          </p:grpSpPr>
          <p:sp>
            <p:nvSpPr>
              <p:cNvPr id="40" name="Freeform 36"/>
              <p:cNvSpPr>
                <a:spLocks/>
              </p:cNvSpPr>
              <p:nvPr/>
            </p:nvSpPr>
            <p:spPr bwMode="auto">
              <a:xfrm>
                <a:off x="6714219" y="874177"/>
                <a:ext cx="190813" cy="381664"/>
              </a:xfrm>
              <a:custGeom>
                <a:avLst/>
                <a:gdLst/>
                <a:ahLst/>
                <a:cxnLst>
                  <a:cxn ang="0">
                    <a:pos x="17" y="30"/>
                  </a:cxn>
                  <a:cxn ang="0">
                    <a:pos x="14" y="34"/>
                  </a:cxn>
                  <a:cxn ang="0">
                    <a:pos x="4" y="34"/>
                  </a:cxn>
                  <a:cxn ang="0">
                    <a:pos x="0" y="30"/>
                  </a:cxn>
                  <a:cxn ang="0">
                    <a:pos x="0" y="3"/>
                  </a:cxn>
                  <a:cxn ang="0">
                    <a:pos x="4" y="0"/>
                  </a:cxn>
                  <a:cxn ang="0">
                    <a:pos x="14" y="0"/>
                  </a:cxn>
                  <a:cxn ang="0">
                    <a:pos x="17" y="3"/>
                  </a:cxn>
                  <a:cxn ang="0">
                    <a:pos x="17" y="30"/>
                  </a:cxn>
                </a:cxnLst>
                <a:rect l="0" t="0" r="r" b="b"/>
                <a:pathLst>
                  <a:path w="17" h="34">
                    <a:moveTo>
                      <a:pt x="17" y="30"/>
                    </a:moveTo>
                    <a:cubicBezTo>
                      <a:pt x="17" y="32"/>
                      <a:pt x="16" y="34"/>
                      <a:pt x="14" y="34"/>
                    </a:cubicBezTo>
                    <a:cubicBezTo>
                      <a:pt x="4" y="34"/>
                      <a:pt x="4" y="34"/>
                      <a:pt x="4" y="34"/>
                    </a:cubicBezTo>
                    <a:cubicBezTo>
                      <a:pt x="2" y="34"/>
                      <a:pt x="0" y="32"/>
                      <a:pt x="0" y="30"/>
                    </a:cubicBezTo>
                    <a:cubicBezTo>
                      <a:pt x="0" y="3"/>
                      <a:pt x="0" y="3"/>
                      <a:pt x="0" y="3"/>
                    </a:cubicBezTo>
                    <a:cubicBezTo>
                      <a:pt x="0" y="1"/>
                      <a:pt x="2" y="0"/>
                      <a:pt x="4" y="0"/>
                    </a:cubicBezTo>
                    <a:cubicBezTo>
                      <a:pt x="14" y="0"/>
                      <a:pt x="14" y="0"/>
                      <a:pt x="14" y="0"/>
                    </a:cubicBezTo>
                    <a:cubicBezTo>
                      <a:pt x="16" y="0"/>
                      <a:pt x="17" y="1"/>
                      <a:pt x="17" y="3"/>
                    </a:cubicBezTo>
                    <a:lnTo>
                      <a:pt x="17" y="30"/>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sp>
            <p:nvSpPr>
              <p:cNvPr id="41" name="Freeform 37"/>
              <p:cNvSpPr>
                <a:spLocks/>
              </p:cNvSpPr>
              <p:nvPr/>
            </p:nvSpPr>
            <p:spPr bwMode="auto">
              <a:xfrm>
                <a:off x="7006697" y="750606"/>
                <a:ext cx="190813" cy="505237"/>
              </a:xfrm>
              <a:custGeom>
                <a:avLst/>
                <a:gdLst/>
                <a:ahLst/>
                <a:cxnLst>
                  <a:cxn ang="0">
                    <a:pos x="17" y="41"/>
                  </a:cxn>
                  <a:cxn ang="0">
                    <a:pos x="13" y="45"/>
                  </a:cxn>
                  <a:cxn ang="0">
                    <a:pos x="3" y="45"/>
                  </a:cxn>
                  <a:cxn ang="0">
                    <a:pos x="0" y="41"/>
                  </a:cxn>
                  <a:cxn ang="0">
                    <a:pos x="0" y="3"/>
                  </a:cxn>
                  <a:cxn ang="0">
                    <a:pos x="3" y="0"/>
                  </a:cxn>
                  <a:cxn ang="0">
                    <a:pos x="13" y="0"/>
                  </a:cxn>
                  <a:cxn ang="0">
                    <a:pos x="17" y="3"/>
                  </a:cxn>
                  <a:cxn ang="0">
                    <a:pos x="17" y="41"/>
                  </a:cxn>
                </a:cxnLst>
                <a:rect l="0" t="0" r="r" b="b"/>
                <a:pathLst>
                  <a:path w="17" h="45">
                    <a:moveTo>
                      <a:pt x="17" y="41"/>
                    </a:moveTo>
                    <a:cubicBezTo>
                      <a:pt x="17" y="43"/>
                      <a:pt x="15" y="45"/>
                      <a:pt x="13" y="45"/>
                    </a:cubicBezTo>
                    <a:cubicBezTo>
                      <a:pt x="3" y="45"/>
                      <a:pt x="3" y="45"/>
                      <a:pt x="3" y="45"/>
                    </a:cubicBezTo>
                    <a:cubicBezTo>
                      <a:pt x="1" y="45"/>
                      <a:pt x="0" y="43"/>
                      <a:pt x="0" y="41"/>
                    </a:cubicBezTo>
                    <a:cubicBezTo>
                      <a:pt x="0" y="3"/>
                      <a:pt x="0" y="3"/>
                      <a:pt x="0" y="3"/>
                    </a:cubicBezTo>
                    <a:cubicBezTo>
                      <a:pt x="0" y="1"/>
                      <a:pt x="1" y="0"/>
                      <a:pt x="3" y="0"/>
                    </a:cubicBezTo>
                    <a:cubicBezTo>
                      <a:pt x="13" y="0"/>
                      <a:pt x="13" y="0"/>
                      <a:pt x="13" y="0"/>
                    </a:cubicBezTo>
                    <a:cubicBezTo>
                      <a:pt x="15" y="0"/>
                      <a:pt x="17" y="1"/>
                      <a:pt x="17" y="3"/>
                    </a:cubicBezTo>
                    <a:lnTo>
                      <a:pt x="17" y="41"/>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sp>
            <p:nvSpPr>
              <p:cNvPr id="42" name="Freeform 37"/>
              <p:cNvSpPr>
                <a:spLocks/>
              </p:cNvSpPr>
              <p:nvPr/>
            </p:nvSpPr>
            <p:spPr bwMode="auto">
              <a:xfrm>
                <a:off x="6412334" y="468369"/>
                <a:ext cx="206554" cy="787474"/>
              </a:xfrm>
              <a:custGeom>
                <a:avLst/>
                <a:gdLst/>
                <a:ahLst/>
                <a:cxnLst>
                  <a:cxn ang="0">
                    <a:pos x="17" y="41"/>
                  </a:cxn>
                  <a:cxn ang="0">
                    <a:pos x="13" y="45"/>
                  </a:cxn>
                  <a:cxn ang="0">
                    <a:pos x="3" y="45"/>
                  </a:cxn>
                  <a:cxn ang="0">
                    <a:pos x="0" y="41"/>
                  </a:cxn>
                  <a:cxn ang="0">
                    <a:pos x="0" y="3"/>
                  </a:cxn>
                  <a:cxn ang="0">
                    <a:pos x="3" y="0"/>
                  </a:cxn>
                  <a:cxn ang="0">
                    <a:pos x="13" y="0"/>
                  </a:cxn>
                  <a:cxn ang="0">
                    <a:pos x="17" y="3"/>
                  </a:cxn>
                  <a:cxn ang="0">
                    <a:pos x="17" y="41"/>
                  </a:cxn>
                </a:cxnLst>
                <a:rect l="0" t="0" r="r" b="b"/>
                <a:pathLst>
                  <a:path w="17" h="45">
                    <a:moveTo>
                      <a:pt x="17" y="41"/>
                    </a:moveTo>
                    <a:cubicBezTo>
                      <a:pt x="17" y="43"/>
                      <a:pt x="15" y="45"/>
                      <a:pt x="13" y="45"/>
                    </a:cubicBezTo>
                    <a:cubicBezTo>
                      <a:pt x="3" y="45"/>
                      <a:pt x="3" y="45"/>
                      <a:pt x="3" y="45"/>
                    </a:cubicBezTo>
                    <a:cubicBezTo>
                      <a:pt x="1" y="45"/>
                      <a:pt x="0" y="43"/>
                      <a:pt x="0" y="41"/>
                    </a:cubicBezTo>
                    <a:cubicBezTo>
                      <a:pt x="0" y="3"/>
                      <a:pt x="0" y="3"/>
                      <a:pt x="0" y="3"/>
                    </a:cubicBezTo>
                    <a:cubicBezTo>
                      <a:pt x="0" y="1"/>
                      <a:pt x="1" y="0"/>
                      <a:pt x="3" y="0"/>
                    </a:cubicBezTo>
                    <a:cubicBezTo>
                      <a:pt x="13" y="0"/>
                      <a:pt x="13" y="0"/>
                      <a:pt x="13" y="0"/>
                    </a:cubicBezTo>
                    <a:cubicBezTo>
                      <a:pt x="15" y="0"/>
                      <a:pt x="17" y="1"/>
                      <a:pt x="17" y="3"/>
                    </a:cubicBezTo>
                    <a:lnTo>
                      <a:pt x="17" y="41"/>
                    </a:ln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da-DK" sz="2000" kern="0" dirty="0">
                  <a:solidFill>
                    <a:sysClr val="windowText" lastClr="000000"/>
                  </a:solidFill>
                  <a:latin typeface=""/>
                  <a:ea typeface="ＭＳ Ｐゴシック" pitchFamily="-97" charset="-128"/>
                </a:endParaRPr>
              </a:p>
            </p:txBody>
          </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900" decel="100000" fill="hold"/>
                                        <p:tgtEl>
                                          <p:spTgt spid="8"/>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8"/>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1000"/>
                                        <p:tgtEl>
                                          <p:spTgt spid="36"/>
                                        </p:tgtEl>
                                      </p:cBhvr>
                                    </p:animEffect>
                                    <p:anim calcmode="lin" valueType="num">
                                      <p:cBhvr>
                                        <p:cTn id="14" dur="1000" fill="hold"/>
                                        <p:tgtEl>
                                          <p:spTgt spid="36"/>
                                        </p:tgtEl>
                                        <p:attrNameLst>
                                          <p:attrName>ppt_x</p:attrName>
                                        </p:attrNameLst>
                                      </p:cBhvr>
                                      <p:tavLst>
                                        <p:tav tm="0">
                                          <p:val>
                                            <p:strVal val="#ppt_x"/>
                                          </p:val>
                                        </p:tav>
                                        <p:tav tm="100000">
                                          <p:val>
                                            <p:strVal val="#ppt_x"/>
                                          </p:val>
                                        </p:tav>
                                      </p:tavLst>
                                    </p:anim>
                                    <p:anim calcmode="lin" valueType="num">
                                      <p:cBhvr>
                                        <p:cTn id="15" dur="900" decel="100000" fill="hold"/>
                                        <p:tgtEl>
                                          <p:spTgt spid="36"/>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36"/>
                                        </p:tgtEl>
                                        <p:attrNameLst>
                                          <p:attrName>ppt_y</p:attrName>
                                        </p:attrNameLst>
                                      </p:cBhvr>
                                      <p:tavLst>
                                        <p:tav tm="0">
                                          <p:val>
                                            <p:strVal val="#ppt_y-.03"/>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0"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wedge">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58" presetClass="entr" presetSubtype="0" accel="100000" fill="hold" nodeType="clickEffect">
                                  <p:stCondLst>
                                    <p:cond delay="0"/>
                                  </p:stCondLst>
                                  <p:childTnLst>
                                    <p:set>
                                      <p:cBhvr>
                                        <p:cTn id="25" dur="1" fill="hold">
                                          <p:stCondLst>
                                            <p:cond delay="0"/>
                                          </p:stCondLst>
                                        </p:cTn>
                                        <p:tgtEl>
                                          <p:spTgt spid="2"/>
                                        </p:tgtEl>
                                        <p:attrNameLst>
                                          <p:attrName>style.visibility</p:attrName>
                                        </p:attrNameLst>
                                      </p:cBhvr>
                                      <p:to>
                                        <p:strVal val="visible"/>
                                      </p:to>
                                    </p:set>
                                    <p:anim calcmode="lin" valueType="num">
                                      <p:cBhvr>
                                        <p:cTn id="26" dur="1000" fill="hold"/>
                                        <p:tgtEl>
                                          <p:spTgt spid="2"/>
                                        </p:tgtEl>
                                        <p:attrNameLst>
                                          <p:attrName>ppt_w</p:attrName>
                                        </p:attrNameLst>
                                      </p:cBhvr>
                                      <p:tavLst>
                                        <p:tav tm="0">
                                          <p:val>
                                            <p:strVal val="#ppt_w*2.5"/>
                                          </p:val>
                                        </p:tav>
                                        <p:tav tm="100000">
                                          <p:val>
                                            <p:strVal val="#ppt_w"/>
                                          </p:val>
                                        </p:tav>
                                      </p:tavLst>
                                    </p:anim>
                                    <p:anim calcmode="lin" valueType="num">
                                      <p:cBhvr>
                                        <p:cTn id="27" dur="1000" fill="hold"/>
                                        <p:tgtEl>
                                          <p:spTgt spid="2"/>
                                        </p:tgtEl>
                                        <p:attrNameLst>
                                          <p:attrName>ppt_h</p:attrName>
                                        </p:attrNameLst>
                                      </p:cBhvr>
                                      <p:tavLst>
                                        <p:tav tm="0">
                                          <p:val>
                                            <p:strVal val="#ppt_h*0.01"/>
                                          </p:val>
                                        </p:tav>
                                        <p:tav tm="100000">
                                          <p:val>
                                            <p:strVal val="#ppt_h"/>
                                          </p:val>
                                        </p:tav>
                                      </p:tavLst>
                                    </p:anim>
                                    <p:anim calcmode="lin" valueType="num">
                                      <p:cBhvr>
                                        <p:cTn id="28" dur="1000" fill="hold"/>
                                        <p:tgtEl>
                                          <p:spTgt spid="2"/>
                                        </p:tgtEl>
                                        <p:attrNameLst>
                                          <p:attrName>ppt_x</p:attrName>
                                        </p:attrNameLst>
                                      </p:cBhvr>
                                      <p:tavLst>
                                        <p:tav tm="0">
                                          <p:val>
                                            <p:strVal val="#ppt_x"/>
                                          </p:val>
                                        </p:tav>
                                        <p:tav tm="100000">
                                          <p:val>
                                            <p:strVal val="#ppt_x"/>
                                          </p:val>
                                        </p:tav>
                                      </p:tavLst>
                                    </p:anim>
                                    <p:anim calcmode="lin" valueType="num">
                                      <p:cBhvr>
                                        <p:cTn id="29" dur="1000" fill="hold"/>
                                        <p:tgtEl>
                                          <p:spTgt spid="2"/>
                                        </p:tgtEl>
                                        <p:attrNameLst>
                                          <p:attrName>ppt_y</p:attrName>
                                        </p:attrNameLst>
                                      </p:cBhvr>
                                      <p:tavLst>
                                        <p:tav tm="0">
                                          <p:val>
                                            <p:strVal val="#ppt_h+1"/>
                                          </p:val>
                                        </p:tav>
                                        <p:tav tm="100000">
                                          <p:val>
                                            <p:strVal val="#ppt_y"/>
                                          </p:val>
                                        </p:tav>
                                      </p:tavLst>
                                    </p:anim>
                                    <p:animEffect transition="in" filter="fade">
                                      <p:cBhvr>
                                        <p:cTn id="30" dur="1000"/>
                                        <p:tgtEl>
                                          <p:spTgt spid="2"/>
                                        </p:tgtEl>
                                      </p:cBhvr>
                                    </p:animEffect>
                                  </p:childTnLst>
                                </p:cTn>
                              </p:par>
                            </p:childTnLst>
                          </p:cTn>
                        </p:par>
                      </p:childTnLst>
                    </p:cTn>
                  </p:par>
                  <p:par>
                    <p:cTn id="31" fill="hold">
                      <p:stCondLst>
                        <p:cond delay="indefinite"/>
                      </p:stCondLst>
                      <p:childTnLst>
                        <p:par>
                          <p:cTn id="32" fill="hold">
                            <p:stCondLst>
                              <p:cond delay="0"/>
                            </p:stCondLst>
                            <p:childTnLst>
                              <p:par>
                                <p:cTn id="33" presetID="39" presetClass="entr" presetSubtype="0" accel="100000" fill="hold" nodeType="clickEffect">
                                  <p:stCondLst>
                                    <p:cond delay="0"/>
                                  </p:stCondLst>
                                  <p:childTnLst>
                                    <p:set>
                                      <p:cBhvr>
                                        <p:cTn id="34" dur="1" fill="hold">
                                          <p:stCondLst>
                                            <p:cond delay="0"/>
                                          </p:stCondLst>
                                        </p:cTn>
                                        <p:tgtEl>
                                          <p:spTgt spid="7"/>
                                        </p:tgtEl>
                                        <p:attrNameLst>
                                          <p:attrName>style.visibility</p:attrName>
                                        </p:attrNameLst>
                                      </p:cBhvr>
                                      <p:to>
                                        <p:strVal val="visible"/>
                                      </p:to>
                                    </p:set>
                                    <p:anim calcmode="lin" valueType="num">
                                      <p:cBhvr>
                                        <p:cTn id="35" dur="500" fill="hold"/>
                                        <p:tgtEl>
                                          <p:spTgt spid="7"/>
                                        </p:tgtEl>
                                        <p:attrNameLst>
                                          <p:attrName>ppt_h</p:attrName>
                                        </p:attrNameLst>
                                      </p:cBhvr>
                                      <p:tavLst>
                                        <p:tav tm="0">
                                          <p:val>
                                            <p:strVal val="#ppt_h/20"/>
                                          </p:val>
                                        </p:tav>
                                        <p:tav tm="50000">
                                          <p:val>
                                            <p:strVal val="#ppt_h/20"/>
                                          </p:val>
                                        </p:tav>
                                        <p:tav tm="100000">
                                          <p:val>
                                            <p:strVal val="#ppt_h"/>
                                          </p:val>
                                        </p:tav>
                                      </p:tavLst>
                                    </p:anim>
                                    <p:anim calcmode="lin" valueType="num">
                                      <p:cBhvr>
                                        <p:cTn id="36" dur="500" fill="hold"/>
                                        <p:tgtEl>
                                          <p:spTgt spid="7"/>
                                        </p:tgtEl>
                                        <p:attrNameLst>
                                          <p:attrName>ppt_w</p:attrName>
                                        </p:attrNameLst>
                                      </p:cBhvr>
                                      <p:tavLst>
                                        <p:tav tm="0">
                                          <p:val>
                                            <p:strVal val="#ppt_w+.3"/>
                                          </p:val>
                                        </p:tav>
                                        <p:tav tm="50000">
                                          <p:val>
                                            <p:strVal val="#ppt_w+.3"/>
                                          </p:val>
                                        </p:tav>
                                        <p:tav tm="100000">
                                          <p:val>
                                            <p:strVal val="#ppt_w"/>
                                          </p:val>
                                        </p:tav>
                                      </p:tavLst>
                                    </p:anim>
                                    <p:anim calcmode="lin" valueType="num">
                                      <p:cBhvr>
                                        <p:cTn id="37" dur="500" fill="hold"/>
                                        <p:tgtEl>
                                          <p:spTgt spid="7"/>
                                        </p:tgtEl>
                                        <p:attrNameLst>
                                          <p:attrName>ppt_x</p:attrName>
                                        </p:attrNameLst>
                                      </p:cBhvr>
                                      <p:tavLst>
                                        <p:tav tm="0">
                                          <p:val>
                                            <p:strVal val="#ppt_x-.3"/>
                                          </p:val>
                                        </p:tav>
                                        <p:tav tm="50000">
                                          <p:val>
                                            <p:strVal val="#ppt_x"/>
                                          </p:val>
                                        </p:tav>
                                        <p:tav tm="100000">
                                          <p:val>
                                            <p:strVal val="#ppt_x"/>
                                          </p:val>
                                        </p:tav>
                                      </p:tavLst>
                                    </p:anim>
                                    <p:anim calcmode="lin" valueType="num">
                                      <p:cBhvr>
                                        <p:cTn id="38"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51" presetClass="entr" presetSubtype="0" fill="hold" nodeType="click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193" decel="100000"/>
                                        <p:tgtEl>
                                          <p:spTgt spid="4"/>
                                        </p:tgtEl>
                                      </p:cBhvr>
                                    </p:animEffect>
                                    <p:animScale>
                                      <p:cBhvr>
                                        <p:cTn id="44" dur="193" decel="100000"/>
                                        <p:tgtEl>
                                          <p:spTgt spid="4"/>
                                        </p:tgtEl>
                                      </p:cBhvr>
                                      <p:from x="10000" y="10000"/>
                                      <p:to x="200000" y="450000"/>
                                    </p:animScale>
                                    <p:animScale>
                                      <p:cBhvr>
                                        <p:cTn id="45" dur="308" accel="100000" fill="hold">
                                          <p:stCondLst>
                                            <p:cond delay="193"/>
                                          </p:stCondLst>
                                        </p:cTn>
                                        <p:tgtEl>
                                          <p:spTgt spid="4"/>
                                        </p:tgtEl>
                                      </p:cBhvr>
                                      <p:from x="200000" y="450000"/>
                                      <p:to x="100000" y="100000"/>
                                    </p:animScale>
                                    <p:set>
                                      <p:cBhvr>
                                        <p:cTn id="46" dur="193" fill="hold"/>
                                        <p:tgtEl>
                                          <p:spTgt spid="4"/>
                                        </p:tgtEl>
                                        <p:attrNameLst>
                                          <p:attrName>ppt_x</p:attrName>
                                        </p:attrNameLst>
                                      </p:cBhvr>
                                      <p:to>
                                        <p:strVal val="(0.5)"/>
                                      </p:to>
                                    </p:set>
                                    <p:anim from="(0.5)" to="(#ppt_x)" calcmode="lin" valueType="num">
                                      <p:cBhvr>
                                        <p:cTn id="47" dur="308" accel="100000" fill="hold">
                                          <p:stCondLst>
                                            <p:cond delay="193"/>
                                          </p:stCondLst>
                                        </p:cTn>
                                        <p:tgtEl>
                                          <p:spTgt spid="4"/>
                                        </p:tgtEl>
                                        <p:attrNameLst>
                                          <p:attrName>ppt_x</p:attrName>
                                        </p:attrNameLst>
                                      </p:cBhvr>
                                    </p:anim>
                                    <p:set>
                                      <p:cBhvr>
                                        <p:cTn id="48" dur="193" fill="hold"/>
                                        <p:tgtEl>
                                          <p:spTgt spid="4"/>
                                        </p:tgtEl>
                                        <p:attrNameLst>
                                          <p:attrName>ppt_y</p:attrName>
                                        </p:attrNameLst>
                                      </p:cBhvr>
                                      <p:to>
                                        <p:strVal val="(#ppt_y+0.4)"/>
                                      </p:to>
                                    </p:set>
                                    <p:anim from="(#ppt_y+0.4)" to="(#ppt_y)" calcmode="lin" valueType="num">
                                      <p:cBhvr>
                                        <p:cTn id="49" dur="308" accel="100000" fill="hold">
                                          <p:stCondLst>
                                            <p:cond delay="193"/>
                                          </p:stCondLst>
                                        </p:cTn>
                                        <p:tgtEl>
                                          <p:spTgt spid="4"/>
                                        </p:tgtEl>
                                        <p:attrNameLst>
                                          <p:attrName>ppt_y</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55"/>
          <p:cNvGrpSpPr/>
          <p:nvPr/>
        </p:nvGrpSpPr>
        <p:grpSpPr>
          <a:xfrm>
            <a:off x="289091" y="2066856"/>
            <a:ext cx="3975236" cy="3741617"/>
            <a:chOff x="911151" y="2262448"/>
            <a:chExt cx="3261912" cy="2876166"/>
          </a:xfrm>
        </p:grpSpPr>
        <p:sp>
          <p:nvSpPr>
            <p:cNvPr id="45" name="Rectangle 5"/>
            <p:cNvSpPr/>
            <p:nvPr/>
          </p:nvSpPr>
          <p:spPr>
            <a:xfrm rot="21074577">
              <a:off x="999776" y="2356259"/>
              <a:ext cx="3011760" cy="2770350"/>
            </a:xfrm>
            <a:custGeom>
              <a:avLst/>
              <a:gdLst>
                <a:gd name="connsiteX0" fmla="*/ 0 w 2958182"/>
                <a:gd name="connsiteY0" fmla="*/ 0 h 2855644"/>
                <a:gd name="connsiteX1" fmla="*/ 2958182 w 2958182"/>
                <a:gd name="connsiteY1" fmla="*/ 0 h 2855644"/>
                <a:gd name="connsiteX2" fmla="*/ 2958182 w 2958182"/>
                <a:gd name="connsiteY2" fmla="*/ 2855644 h 2855644"/>
                <a:gd name="connsiteX3" fmla="*/ 0 w 2958182"/>
                <a:gd name="connsiteY3" fmla="*/ 2855644 h 2855644"/>
                <a:gd name="connsiteX4" fmla="*/ 0 w 2958182"/>
                <a:gd name="connsiteY4" fmla="*/ 0 h 2855644"/>
                <a:gd name="connsiteX0" fmla="*/ 0 w 2958182"/>
                <a:gd name="connsiteY0" fmla="*/ 0 h 2855644"/>
                <a:gd name="connsiteX1" fmla="*/ 2958182 w 2958182"/>
                <a:gd name="connsiteY1" fmla="*/ 0 h 2855644"/>
                <a:gd name="connsiteX2" fmla="*/ 2958182 w 2958182"/>
                <a:gd name="connsiteY2" fmla="*/ 2855644 h 2855644"/>
                <a:gd name="connsiteX3" fmla="*/ 99227 w 2958182"/>
                <a:gd name="connsiteY3" fmla="*/ 2774555 h 2855644"/>
                <a:gd name="connsiteX4" fmla="*/ 0 w 2958182"/>
                <a:gd name="connsiteY4" fmla="*/ 0 h 2855644"/>
                <a:gd name="connsiteX0" fmla="*/ 0 w 3007415"/>
                <a:gd name="connsiteY0" fmla="*/ 0 h 2911415"/>
                <a:gd name="connsiteX1" fmla="*/ 3007415 w 3007415"/>
                <a:gd name="connsiteY1" fmla="*/ 55771 h 2911415"/>
                <a:gd name="connsiteX2" fmla="*/ 3007415 w 3007415"/>
                <a:gd name="connsiteY2" fmla="*/ 2911415 h 2911415"/>
                <a:gd name="connsiteX3" fmla="*/ 148460 w 3007415"/>
                <a:gd name="connsiteY3" fmla="*/ 2830326 h 2911415"/>
                <a:gd name="connsiteX4" fmla="*/ 0 w 3007415"/>
                <a:gd name="connsiteY4" fmla="*/ 0 h 2911415"/>
                <a:gd name="connsiteX0" fmla="*/ 0 w 3007415"/>
                <a:gd name="connsiteY0" fmla="*/ 0 h 2911415"/>
                <a:gd name="connsiteX1" fmla="*/ 3007415 w 3007415"/>
                <a:gd name="connsiteY1" fmla="*/ 55771 h 2911415"/>
                <a:gd name="connsiteX2" fmla="*/ 3007415 w 3007415"/>
                <a:gd name="connsiteY2" fmla="*/ 2911415 h 2911415"/>
                <a:gd name="connsiteX3" fmla="*/ 148460 w 3007415"/>
                <a:gd name="connsiteY3" fmla="*/ 2830326 h 2911415"/>
                <a:gd name="connsiteX4" fmla="*/ 0 w 3007415"/>
                <a:gd name="connsiteY4" fmla="*/ 0 h 2911415"/>
                <a:gd name="connsiteX0" fmla="*/ 0 w 3007415"/>
                <a:gd name="connsiteY0" fmla="*/ 0 h 2911415"/>
                <a:gd name="connsiteX1" fmla="*/ 3007415 w 3007415"/>
                <a:gd name="connsiteY1" fmla="*/ 55771 h 2911415"/>
                <a:gd name="connsiteX2" fmla="*/ 3007415 w 3007415"/>
                <a:gd name="connsiteY2" fmla="*/ 2911415 h 2911415"/>
                <a:gd name="connsiteX3" fmla="*/ 148460 w 3007415"/>
                <a:gd name="connsiteY3" fmla="*/ 2830326 h 2911415"/>
                <a:gd name="connsiteX4" fmla="*/ 0 w 3007415"/>
                <a:gd name="connsiteY4" fmla="*/ 0 h 2911415"/>
                <a:gd name="connsiteX0" fmla="*/ 0 w 3007415"/>
                <a:gd name="connsiteY0" fmla="*/ 0 h 2911415"/>
                <a:gd name="connsiteX1" fmla="*/ 3007415 w 3007415"/>
                <a:gd name="connsiteY1" fmla="*/ 55771 h 2911415"/>
                <a:gd name="connsiteX2" fmla="*/ 3007415 w 3007415"/>
                <a:gd name="connsiteY2" fmla="*/ 2911415 h 2911415"/>
                <a:gd name="connsiteX3" fmla="*/ 152810 w 3007415"/>
                <a:gd name="connsiteY3" fmla="*/ 2802085 h 2911415"/>
                <a:gd name="connsiteX4" fmla="*/ 0 w 3007415"/>
                <a:gd name="connsiteY4" fmla="*/ 0 h 2911415"/>
                <a:gd name="connsiteX0" fmla="*/ 0 w 3007415"/>
                <a:gd name="connsiteY0" fmla="*/ 0 h 2911415"/>
                <a:gd name="connsiteX1" fmla="*/ 3007415 w 3007415"/>
                <a:gd name="connsiteY1" fmla="*/ 55771 h 2911415"/>
                <a:gd name="connsiteX2" fmla="*/ 3007415 w 3007415"/>
                <a:gd name="connsiteY2" fmla="*/ 2911415 h 2911415"/>
                <a:gd name="connsiteX3" fmla="*/ 152810 w 3007415"/>
                <a:gd name="connsiteY3" fmla="*/ 2802085 h 2911415"/>
                <a:gd name="connsiteX4" fmla="*/ 0 w 3007415"/>
                <a:gd name="connsiteY4" fmla="*/ 0 h 2911415"/>
                <a:gd name="connsiteX0" fmla="*/ 0 w 3007415"/>
                <a:gd name="connsiteY0" fmla="*/ 0 h 2802085"/>
                <a:gd name="connsiteX1" fmla="*/ 3007415 w 3007415"/>
                <a:gd name="connsiteY1" fmla="*/ 55771 h 2802085"/>
                <a:gd name="connsiteX2" fmla="*/ 2795981 w 3007415"/>
                <a:gd name="connsiteY2" fmla="*/ 2782473 h 2802085"/>
                <a:gd name="connsiteX3" fmla="*/ 152810 w 3007415"/>
                <a:gd name="connsiteY3" fmla="*/ 2802085 h 2802085"/>
                <a:gd name="connsiteX4" fmla="*/ 0 w 3007415"/>
                <a:gd name="connsiteY4" fmla="*/ 0 h 2802085"/>
                <a:gd name="connsiteX0" fmla="*/ 0 w 3007415"/>
                <a:gd name="connsiteY0" fmla="*/ 0 h 2910528"/>
                <a:gd name="connsiteX1" fmla="*/ 3007415 w 3007415"/>
                <a:gd name="connsiteY1" fmla="*/ 55771 h 2910528"/>
                <a:gd name="connsiteX2" fmla="*/ 2795981 w 3007415"/>
                <a:gd name="connsiteY2" fmla="*/ 2782473 h 2910528"/>
                <a:gd name="connsiteX3" fmla="*/ 152810 w 3007415"/>
                <a:gd name="connsiteY3" fmla="*/ 2802085 h 2910528"/>
                <a:gd name="connsiteX4" fmla="*/ 0 w 3007415"/>
                <a:gd name="connsiteY4" fmla="*/ 0 h 2910528"/>
                <a:gd name="connsiteX0" fmla="*/ 0 w 3016462"/>
                <a:gd name="connsiteY0" fmla="*/ 0 h 2910528"/>
                <a:gd name="connsiteX1" fmla="*/ 3007415 w 3016462"/>
                <a:gd name="connsiteY1" fmla="*/ 55771 h 2910528"/>
                <a:gd name="connsiteX2" fmla="*/ 2795981 w 3016462"/>
                <a:gd name="connsiteY2" fmla="*/ 2782473 h 2910528"/>
                <a:gd name="connsiteX3" fmla="*/ 152810 w 3016462"/>
                <a:gd name="connsiteY3" fmla="*/ 2802085 h 2910528"/>
                <a:gd name="connsiteX4" fmla="*/ 0 w 3016462"/>
                <a:gd name="connsiteY4" fmla="*/ 0 h 2910528"/>
                <a:gd name="connsiteX0" fmla="*/ 0 w 3064249"/>
                <a:gd name="connsiteY0" fmla="*/ 0 h 2898641"/>
                <a:gd name="connsiteX1" fmla="*/ 3007415 w 3064249"/>
                <a:gd name="connsiteY1" fmla="*/ 55771 h 2898641"/>
                <a:gd name="connsiteX2" fmla="*/ 2875643 w 3064249"/>
                <a:gd name="connsiteY2" fmla="*/ 2765832 h 2898641"/>
                <a:gd name="connsiteX3" fmla="*/ 152810 w 3064249"/>
                <a:gd name="connsiteY3" fmla="*/ 2802085 h 2898641"/>
                <a:gd name="connsiteX4" fmla="*/ 0 w 3064249"/>
                <a:gd name="connsiteY4" fmla="*/ 0 h 2898641"/>
                <a:gd name="connsiteX0" fmla="*/ 0 w 3070540"/>
                <a:gd name="connsiteY0" fmla="*/ 0 h 2898641"/>
                <a:gd name="connsiteX1" fmla="*/ 3007415 w 3070540"/>
                <a:gd name="connsiteY1" fmla="*/ 55771 h 2898641"/>
                <a:gd name="connsiteX2" fmla="*/ 2875643 w 3070540"/>
                <a:gd name="connsiteY2" fmla="*/ 2765832 h 2898641"/>
                <a:gd name="connsiteX3" fmla="*/ 152810 w 3070540"/>
                <a:gd name="connsiteY3" fmla="*/ 2802085 h 2898641"/>
                <a:gd name="connsiteX4" fmla="*/ 0 w 3070540"/>
                <a:gd name="connsiteY4" fmla="*/ 0 h 2898641"/>
                <a:gd name="connsiteX0" fmla="*/ 0 w 3050496"/>
                <a:gd name="connsiteY0" fmla="*/ 0 h 2831008"/>
                <a:gd name="connsiteX1" fmla="*/ 3007415 w 3050496"/>
                <a:gd name="connsiteY1" fmla="*/ 55771 h 2831008"/>
                <a:gd name="connsiteX2" fmla="*/ 2844527 w 3050496"/>
                <a:gd name="connsiteY2" fmla="*/ 2655027 h 2831008"/>
                <a:gd name="connsiteX3" fmla="*/ 152810 w 3050496"/>
                <a:gd name="connsiteY3" fmla="*/ 2802085 h 2831008"/>
                <a:gd name="connsiteX4" fmla="*/ 0 w 3050496"/>
                <a:gd name="connsiteY4" fmla="*/ 0 h 2831008"/>
                <a:gd name="connsiteX0" fmla="*/ 0 w 3083026"/>
                <a:gd name="connsiteY0" fmla="*/ 0 h 2802085"/>
                <a:gd name="connsiteX1" fmla="*/ 3007415 w 3083026"/>
                <a:gd name="connsiteY1" fmla="*/ 55771 h 2802085"/>
                <a:gd name="connsiteX2" fmla="*/ 2894153 w 3083026"/>
                <a:gd name="connsiteY2" fmla="*/ 2551842 h 2802085"/>
                <a:gd name="connsiteX3" fmla="*/ 152810 w 3083026"/>
                <a:gd name="connsiteY3" fmla="*/ 2802085 h 2802085"/>
                <a:gd name="connsiteX4" fmla="*/ 0 w 3083026"/>
                <a:gd name="connsiteY4" fmla="*/ 0 h 2802085"/>
                <a:gd name="connsiteX0" fmla="*/ 0 w 3077100"/>
                <a:gd name="connsiteY0" fmla="*/ 0 h 2839147"/>
                <a:gd name="connsiteX1" fmla="*/ 3007415 w 3077100"/>
                <a:gd name="connsiteY1" fmla="*/ 55771 h 2839147"/>
                <a:gd name="connsiteX2" fmla="*/ 2885440 w 3077100"/>
                <a:gd name="connsiteY2" fmla="*/ 2670966 h 2839147"/>
                <a:gd name="connsiteX3" fmla="*/ 152810 w 3077100"/>
                <a:gd name="connsiteY3" fmla="*/ 2802085 h 2839147"/>
                <a:gd name="connsiteX4" fmla="*/ 0 w 3077100"/>
                <a:gd name="connsiteY4" fmla="*/ 0 h 2839147"/>
                <a:gd name="connsiteX0" fmla="*/ 0 w 3084012"/>
                <a:gd name="connsiteY0" fmla="*/ 0 h 2810619"/>
                <a:gd name="connsiteX1" fmla="*/ 3007415 w 3084012"/>
                <a:gd name="connsiteY1" fmla="*/ 55771 h 2810619"/>
                <a:gd name="connsiteX2" fmla="*/ 2895591 w 3084012"/>
                <a:gd name="connsiteY2" fmla="*/ 2605068 h 2810619"/>
                <a:gd name="connsiteX3" fmla="*/ 152810 w 3084012"/>
                <a:gd name="connsiteY3" fmla="*/ 2802085 h 2810619"/>
                <a:gd name="connsiteX4" fmla="*/ 0 w 3084012"/>
                <a:gd name="connsiteY4" fmla="*/ 0 h 2810619"/>
                <a:gd name="connsiteX0" fmla="*/ 0 w 3108841"/>
                <a:gd name="connsiteY0" fmla="*/ 0 h 2802085"/>
                <a:gd name="connsiteX1" fmla="*/ 3007415 w 3108841"/>
                <a:gd name="connsiteY1" fmla="*/ 55771 h 2802085"/>
                <a:gd name="connsiteX2" fmla="*/ 2930854 w 3108841"/>
                <a:gd name="connsiteY2" fmla="*/ 2501276 h 2802085"/>
                <a:gd name="connsiteX3" fmla="*/ 152810 w 3108841"/>
                <a:gd name="connsiteY3" fmla="*/ 2802085 h 2802085"/>
                <a:gd name="connsiteX4" fmla="*/ 0 w 3108841"/>
                <a:gd name="connsiteY4" fmla="*/ 0 h 2802085"/>
                <a:gd name="connsiteX0" fmla="*/ 0 w 3073089"/>
                <a:gd name="connsiteY0" fmla="*/ 0 h 2802085"/>
                <a:gd name="connsiteX1" fmla="*/ 3007415 w 3073089"/>
                <a:gd name="connsiteY1" fmla="*/ 55771 h 2802085"/>
                <a:gd name="connsiteX2" fmla="*/ 2879470 w 3073089"/>
                <a:gd name="connsiteY2" fmla="*/ 2334344 h 2802085"/>
                <a:gd name="connsiteX3" fmla="*/ 152810 w 3073089"/>
                <a:gd name="connsiteY3" fmla="*/ 2802085 h 2802085"/>
                <a:gd name="connsiteX4" fmla="*/ 0 w 3073089"/>
                <a:gd name="connsiteY4" fmla="*/ 0 h 2802085"/>
                <a:gd name="connsiteX0" fmla="*/ 0 w 3142862"/>
                <a:gd name="connsiteY0" fmla="*/ 0 h 2802085"/>
                <a:gd name="connsiteX1" fmla="*/ 3007415 w 3142862"/>
                <a:gd name="connsiteY1" fmla="*/ 55771 h 2802085"/>
                <a:gd name="connsiteX2" fmla="*/ 2879470 w 3142862"/>
                <a:gd name="connsiteY2" fmla="*/ 2334344 h 2802085"/>
                <a:gd name="connsiteX3" fmla="*/ 152810 w 3142862"/>
                <a:gd name="connsiteY3" fmla="*/ 2802085 h 2802085"/>
                <a:gd name="connsiteX4" fmla="*/ 0 w 3142862"/>
                <a:gd name="connsiteY4" fmla="*/ 0 h 2802085"/>
                <a:gd name="connsiteX0" fmla="*/ 0 w 3142862"/>
                <a:gd name="connsiteY0" fmla="*/ 0 h 2860388"/>
                <a:gd name="connsiteX1" fmla="*/ 3007415 w 3142862"/>
                <a:gd name="connsiteY1" fmla="*/ 55771 h 2860388"/>
                <a:gd name="connsiteX2" fmla="*/ 2879470 w 3142862"/>
                <a:gd name="connsiteY2" fmla="*/ 2334344 h 2860388"/>
                <a:gd name="connsiteX3" fmla="*/ 187196 w 3142862"/>
                <a:gd name="connsiteY3" fmla="*/ 2860388 h 2860388"/>
                <a:gd name="connsiteX4" fmla="*/ 0 w 3142862"/>
                <a:gd name="connsiteY4" fmla="*/ 0 h 2860388"/>
                <a:gd name="connsiteX0" fmla="*/ 0 w 3142862"/>
                <a:gd name="connsiteY0" fmla="*/ 0 h 2876373"/>
                <a:gd name="connsiteX1" fmla="*/ 3007415 w 3142862"/>
                <a:gd name="connsiteY1" fmla="*/ 55771 h 2876373"/>
                <a:gd name="connsiteX2" fmla="*/ 2879470 w 3142862"/>
                <a:gd name="connsiteY2" fmla="*/ 2334344 h 2876373"/>
                <a:gd name="connsiteX3" fmla="*/ 187196 w 3142862"/>
                <a:gd name="connsiteY3" fmla="*/ 2860388 h 2876373"/>
                <a:gd name="connsiteX4" fmla="*/ 0 w 3142862"/>
                <a:gd name="connsiteY4" fmla="*/ 0 h 2876373"/>
                <a:gd name="connsiteX0" fmla="*/ 0 w 3142862"/>
                <a:gd name="connsiteY0" fmla="*/ 0 h 2869960"/>
                <a:gd name="connsiteX1" fmla="*/ 3007415 w 3142862"/>
                <a:gd name="connsiteY1" fmla="*/ 55771 h 2869960"/>
                <a:gd name="connsiteX2" fmla="*/ 2879470 w 3142862"/>
                <a:gd name="connsiteY2" fmla="*/ 2334344 h 2869960"/>
                <a:gd name="connsiteX3" fmla="*/ 187196 w 3142862"/>
                <a:gd name="connsiteY3" fmla="*/ 2860388 h 2869960"/>
                <a:gd name="connsiteX4" fmla="*/ 0 w 3142862"/>
                <a:gd name="connsiteY4" fmla="*/ 0 h 2869960"/>
                <a:gd name="connsiteX0" fmla="*/ 0 w 3142862"/>
                <a:gd name="connsiteY0" fmla="*/ 0 h 2875403"/>
                <a:gd name="connsiteX1" fmla="*/ 3007415 w 3142862"/>
                <a:gd name="connsiteY1" fmla="*/ 55771 h 2875403"/>
                <a:gd name="connsiteX2" fmla="*/ 2879470 w 3142862"/>
                <a:gd name="connsiteY2" fmla="*/ 2334344 h 2875403"/>
                <a:gd name="connsiteX3" fmla="*/ 187196 w 3142862"/>
                <a:gd name="connsiteY3" fmla="*/ 2860388 h 2875403"/>
                <a:gd name="connsiteX4" fmla="*/ 0 w 3142862"/>
                <a:gd name="connsiteY4" fmla="*/ 0 h 2875403"/>
                <a:gd name="connsiteX0" fmla="*/ 0 w 3155056"/>
                <a:gd name="connsiteY0" fmla="*/ 0 h 2875403"/>
                <a:gd name="connsiteX1" fmla="*/ 3007415 w 3155056"/>
                <a:gd name="connsiteY1" fmla="*/ 55771 h 2875403"/>
                <a:gd name="connsiteX2" fmla="*/ 2879470 w 3155056"/>
                <a:gd name="connsiteY2" fmla="*/ 2334344 h 2875403"/>
                <a:gd name="connsiteX3" fmla="*/ 187196 w 3155056"/>
                <a:gd name="connsiteY3" fmla="*/ 2860388 h 2875403"/>
                <a:gd name="connsiteX4" fmla="*/ 0 w 3155056"/>
                <a:gd name="connsiteY4" fmla="*/ 0 h 2875403"/>
                <a:gd name="connsiteX0" fmla="*/ 0 w 3111070"/>
                <a:gd name="connsiteY0" fmla="*/ 0 h 2875403"/>
                <a:gd name="connsiteX1" fmla="*/ 3007415 w 3111070"/>
                <a:gd name="connsiteY1" fmla="*/ 55771 h 2875403"/>
                <a:gd name="connsiteX2" fmla="*/ 2879470 w 3111070"/>
                <a:gd name="connsiteY2" fmla="*/ 2334344 h 2875403"/>
                <a:gd name="connsiteX3" fmla="*/ 187196 w 3111070"/>
                <a:gd name="connsiteY3" fmla="*/ 2860388 h 2875403"/>
                <a:gd name="connsiteX4" fmla="*/ 0 w 3111070"/>
                <a:gd name="connsiteY4" fmla="*/ 0 h 2875403"/>
                <a:gd name="connsiteX0" fmla="*/ 0 w 3116300"/>
                <a:gd name="connsiteY0" fmla="*/ 0 h 2875403"/>
                <a:gd name="connsiteX1" fmla="*/ 3007415 w 3116300"/>
                <a:gd name="connsiteY1" fmla="*/ 55771 h 2875403"/>
                <a:gd name="connsiteX2" fmla="*/ 2879470 w 3116300"/>
                <a:gd name="connsiteY2" fmla="*/ 2334344 h 2875403"/>
                <a:gd name="connsiteX3" fmla="*/ 187196 w 3116300"/>
                <a:gd name="connsiteY3" fmla="*/ 2860388 h 2875403"/>
                <a:gd name="connsiteX4" fmla="*/ 0 w 3116300"/>
                <a:gd name="connsiteY4" fmla="*/ 0 h 2875403"/>
                <a:gd name="connsiteX0" fmla="*/ 0 w 3083363"/>
                <a:gd name="connsiteY0" fmla="*/ 0 h 2875403"/>
                <a:gd name="connsiteX1" fmla="*/ 2885378 w 3083363"/>
                <a:gd name="connsiteY1" fmla="*/ 56216 h 2875403"/>
                <a:gd name="connsiteX2" fmla="*/ 2879470 w 3083363"/>
                <a:gd name="connsiteY2" fmla="*/ 2334344 h 2875403"/>
                <a:gd name="connsiteX3" fmla="*/ 187196 w 3083363"/>
                <a:gd name="connsiteY3" fmla="*/ 2860388 h 2875403"/>
                <a:gd name="connsiteX4" fmla="*/ 0 w 3083363"/>
                <a:gd name="connsiteY4" fmla="*/ 0 h 2875403"/>
                <a:gd name="connsiteX0" fmla="*/ 0 w 3096263"/>
                <a:gd name="connsiteY0" fmla="*/ 0 h 2875403"/>
                <a:gd name="connsiteX1" fmla="*/ 2937628 w 3096263"/>
                <a:gd name="connsiteY1" fmla="*/ 51384 h 2875403"/>
                <a:gd name="connsiteX2" fmla="*/ 2879470 w 3096263"/>
                <a:gd name="connsiteY2" fmla="*/ 2334344 h 2875403"/>
                <a:gd name="connsiteX3" fmla="*/ 187196 w 3096263"/>
                <a:gd name="connsiteY3" fmla="*/ 2860388 h 2875403"/>
                <a:gd name="connsiteX4" fmla="*/ 0 w 3096263"/>
                <a:gd name="connsiteY4" fmla="*/ 0 h 2875403"/>
                <a:gd name="connsiteX0" fmla="*/ 0 w 3094279"/>
                <a:gd name="connsiteY0" fmla="*/ 0 h 2875403"/>
                <a:gd name="connsiteX1" fmla="*/ 2930002 w 3094279"/>
                <a:gd name="connsiteY1" fmla="*/ 101565 h 2875403"/>
                <a:gd name="connsiteX2" fmla="*/ 2879470 w 3094279"/>
                <a:gd name="connsiteY2" fmla="*/ 2334344 h 2875403"/>
                <a:gd name="connsiteX3" fmla="*/ 187196 w 3094279"/>
                <a:gd name="connsiteY3" fmla="*/ 2860388 h 2875403"/>
                <a:gd name="connsiteX4" fmla="*/ 0 w 3094279"/>
                <a:gd name="connsiteY4" fmla="*/ 0 h 2875403"/>
                <a:gd name="connsiteX0" fmla="*/ 0 w 3102449"/>
                <a:gd name="connsiteY0" fmla="*/ 0 h 2875403"/>
                <a:gd name="connsiteX1" fmla="*/ 2960524 w 3102449"/>
                <a:gd name="connsiteY1" fmla="*/ 112644 h 2875403"/>
                <a:gd name="connsiteX2" fmla="*/ 2879470 w 3102449"/>
                <a:gd name="connsiteY2" fmla="*/ 2334344 h 2875403"/>
                <a:gd name="connsiteX3" fmla="*/ 187196 w 3102449"/>
                <a:gd name="connsiteY3" fmla="*/ 2860388 h 2875403"/>
                <a:gd name="connsiteX4" fmla="*/ 0 w 3102449"/>
                <a:gd name="connsiteY4" fmla="*/ 0 h 2875403"/>
                <a:gd name="connsiteX0" fmla="*/ 0 w 3104921"/>
                <a:gd name="connsiteY0" fmla="*/ 0 h 2875403"/>
                <a:gd name="connsiteX1" fmla="*/ 2969318 w 3104921"/>
                <a:gd name="connsiteY1" fmla="*/ 139644 h 2875403"/>
                <a:gd name="connsiteX2" fmla="*/ 2879470 w 3104921"/>
                <a:gd name="connsiteY2" fmla="*/ 2334344 h 2875403"/>
                <a:gd name="connsiteX3" fmla="*/ 187196 w 3104921"/>
                <a:gd name="connsiteY3" fmla="*/ 2860388 h 2875403"/>
                <a:gd name="connsiteX4" fmla="*/ 0 w 3104921"/>
                <a:gd name="connsiteY4" fmla="*/ 0 h 2875403"/>
                <a:gd name="connsiteX0" fmla="*/ 0 w 3097647"/>
                <a:gd name="connsiteY0" fmla="*/ 0 h 2875403"/>
                <a:gd name="connsiteX1" fmla="*/ 2942864 w 3097647"/>
                <a:gd name="connsiteY1" fmla="*/ 186902 h 2875403"/>
                <a:gd name="connsiteX2" fmla="*/ 2879470 w 3097647"/>
                <a:gd name="connsiteY2" fmla="*/ 2334344 h 2875403"/>
                <a:gd name="connsiteX3" fmla="*/ 187196 w 3097647"/>
                <a:gd name="connsiteY3" fmla="*/ 2860388 h 2875403"/>
                <a:gd name="connsiteX4" fmla="*/ 0 w 3097647"/>
                <a:gd name="connsiteY4" fmla="*/ 0 h 2875403"/>
                <a:gd name="connsiteX0" fmla="*/ 0 w 3053237"/>
                <a:gd name="connsiteY0" fmla="*/ 0 h 2830026"/>
                <a:gd name="connsiteX1" fmla="*/ 2898454 w 3053237"/>
                <a:gd name="connsiteY1" fmla="*/ 141525 h 2830026"/>
                <a:gd name="connsiteX2" fmla="*/ 2835060 w 3053237"/>
                <a:gd name="connsiteY2" fmla="*/ 2288967 h 2830026"/>
                <a:gd name="connsiteX3" fmla="*/ 142786 w 3053237"/>
                <a:gd name="connsiteY3" fmla="*/ 2815011 h 2830026"/>
                <a:gd name="connsiteX4" fmla="*/ 0 w 3053237"/>
                <a:gd name="connsiteY4" fmla="*/ 0 h 2830026"/>
                <a:gd name="connsiteX0" fmla="*/ 0 w 3002552"/>
                <a:gd name="connsiteY0" fmla="*/ 0 h 2783683"/>
                <a:gd name="connsiteX1" fmla="*/ 2847769 w 3002552"/>
                <a:gd name="connsiteY1" fmla="*/ 95182 h 2783683"/>
                <a:gd name="connsiteX2" fmla="*/ 2784375 w 3002552"/>
                <a:gd name="connsiteY2" fmla="*/ 2242624 h 2783683"/>
                <a:gd name="connsiteX3" fmla="*/ 92101 w 3002552"/>
                <a:gd name="connsiteY3" fmla="*/ 2768668 h 2783683"/>
                <a:gd name="connsiteX4" fmla="*/ 0 w 3002552"/>
                <a:gd name="connsiteY4" fmla="*/ 0 h 2783683"/>
                <a:gd name="connsiteX0" fmla="*/ 0 w 3002552"/>
                <a:gd name="connsiteY0" fmla="*/ 0 h 2780993"/>
                <a:gd name="connsiteX1" fmla="*/ 2847769 w 3002552"/>
                <a:gd name="connsiteY1" fmla="*/ 95182 h 2780993"/>
                <a:gd name="connsiteX2" fmla="*/ 2784375 w 3002552"/>
                <a:gd name="connsiteY2" fmla="*/ 2242624 h 2780993"/>
                <a:gd name="connsiteX3" fmla="*/ 92101 w 3002552"/>
                <a:gd name="connsiteY3" fmla="*/ 2768668 h 2780993"/>
                <a:gd name="connsiteX4" fmla="*/ 0 w 3002552"/>
                <a:gd name="connsiteY4" fmla="*/ 0 h 2780993"/>
                <a:gd name="connsiteX0" fmla="*/ 0 w 3008312"/>
                <a:gd name="connsiteY0" fmla="*/ 0 h 2781844"/>
                <a:gd name="connsiteX1" fmla="*/ 2847769 w 3008312"/>
                <a:gd name="connsiteY1" fmla="*/ 95182 h 2781844"/>
                <a:gd name="connsiteX2" fmla="*/ 2792196 w 3008312"/>
                <a:gd name="connsiteY2" fmla="*/ 2275334 h 2781844"/>
                <a:gd name="connsiteX3" fmla="*/ 92101 w 3008312"/>
                <a:gd name="connsiteY3" fmla="*/ 2768668 h 2781844"/>
                <a:gd name="connsiteX4" fmla="*/ 0 w 3008312"/>
                <a:gd name="connsiteY4" fmla="*/ 0 h 2781844"/>
                <a:gd name="connsiteX0" fmla="*/ 0 w 2989495"/>
                <a:gd name="connsiteY0" fmla="*/ 0 h 2781844"/>
                <a:gd name="connsiteX1" fmla="*/ 2847769 w 2989495"/>
                <a:gd name="connsiteY1" fmla="*/ 95182 h 2781844"/>
                <a:gd name="connsiteX2" fmla="*/ 2792196 w 2989495"/>
                <a:gd name="connsiteY2" fmla="*/ 2275334 h 2781844"/>
                <a:gd name="connsiteX3" fmla="*/ 92101 w 2989495"/>
                <a:gd name="connsiteY3" fmla="*/ 2768668 h 2781844"/>
                <a:gd name="connsiteX4" fmla="*/ 0 w 2989495"/>
                <a:gd name="connsiteY4" fmla="*/ 0 h 2781844"/>
                <a:gd name="connsiteX0" fmla="*/ 0 w 3011870"/>
                <a:gd name="connsiteY0" fmla="*/ 0 h 2781844"/>
                <a:gd name="connsiteX1" fmla="*/ 2847769 w 3011870"/>
                <a:gd name="connsiteY1" fmla="*/ 95182 h 2781844"/>
                <a:gd name="connsiteX2" fmla="*/ 2792196 w 3011870"/>
                <a:gd name="connsiteY2" fmla="*/ 2275334 h 2781844"/>
                <a:gd name="connsiteX3" fmla="*/ 92101 w 3011870"/>
                <a:gd name="connsiteY3" fmla="*/ 2768668 h 2781844"/>
                <a:gd name="connsiteX4" fmla="*/ 0 w 3011870"/>
                <a:gd name="connsiteY4" fmla="*/ 0 h 2781844"/>
                <a:gd name="connsiteX0" fmla="*/ 0 w 3011870"/>
                <a:gd name="connsiteY0" fmla="*/ 0 h 2783262"/>
                <a:gd name="connsiteX1" fmla="*/ 2847769 w 3011870"/>
                <a:gd name="connsiteY1" fmla="*/ 95182 h 2783262"/>
                <a:gd name="connsiteX2" fmla="*/ 2792196 w 3011870"/>
                <a:gd name="connsiteY2" fmla="*/ 2275334 h 2783262"/>
                <a:gd name="connsiteX3" fmla="*/ 92101 w 3011870"/>
                <a:gd name="connsiteY3" fmla="*/ 2768668 h 2783262"/>
                <a:gd name="connsiteX4" fmla="*/ 0 w 3011870"/>
                <a:gd name="connsiteY4" fmla="*/ 0 h 2783262"/>
                <a:gd name="connsiteX0" fmla="*/ 0 w 3011870"/>
                <a:gd name="connsiteY0" fmla="*/ 0 h 2767189"/>
                <a:gd name="connsiteX1" fmla="*/ 2847769 w 3011870"/>
                <a:gd name="connsiteY1" fmla="*/ 95182 h 2767189"/>
                <a:gd name="connsiteX2" fmla="*/ 2792196 w 3011870"/>
                <a:gd name="connsiteY2" fmla="*/ 2275334 h 2767189"/>
                <a:gd name="connsiteX3" fmla="*/ 113833 w 3011870"/>
                <a:gd name="connsiteY3" fmla="*/ 2752010 h 2767189"/>
                <a:gd name="connsiteX4" fmla="*/ 0 w 3011870"/>
                <a:gd name="connsiteY4" fmla="*/ 0 h 2767189"/>
                <a:gd name="connsiteX0" fmla="*/ 0 w 3011870"/>
                <a:gd name="connsiteY0" fmla="*/ 0 h 2764048"/>
                <a:gd name="connsiteX1" fmla="*/ 2847769 w 3011870"/>
                <a:gd name="connsiteY1" fmla="*/ 95182 h 2764048"/>
                <a:gd name="connsiteX2" fmla="*/ 2792196 w 3011870"/>
                <a:gd name="connsiteY2" fmla="*/ 2275334 h 2764048"/>
                <a:gd name="connsiteX3" fmla="*/ 128682 w 3011870"/>
                <a:gd name="connsiteY3" fmla="*/ 2748749 h 2764048"/>
                <a:gd name="connsiteX4" fmla="*/ 0 w 3011870"/>
                <a:gd name="connsiteY4" fmla="*/ 0 h 2764048"/>
                <a:gd name="connsiteX0" fmla="*/ 0 w 3011870"/>
                <a:gd name="connsiteY0" fmla="*/ 0 h 2766482"/>
                <a:gd name="connsiteX1" fmla="*/ 2847769 w 3011870"/>
                <a:gd name="connsiteY1" fmla="*/ 95182 h 2766482"/>
                <a:gd name="connsiteX2" fmla="*/ 2792196 w 3011870"/>
                <a:gd name="connsiteY2" fmla="*/ 2275334 h 2766482"/>
                <a:gd name="connsiteX3" fmla="*/ 118548 w 3011870"/>
                <a:gd name="connsiteY3" fmla="*/ 2751276 h 2766482"/>
                <a:gd name="connsiteX4" fmla="*/ 0 w 3011870"/>
                <a:gd name="connsiteY4" fmla="*/ 0 h 2766482"/>
                <a:gd name="connsiteX0" fmla="*/ 0 w 3011870"/>
                <a:gd name="connsiteY0" fmla="*/ 0 h 2769615"/>
                <a:gd name="connsiteX1" fmla="*/ 2847769 w 3011870"/>
                <a:gd name="connsiteY1" fmla="*/ 95182 h 2769615"/>
                <a:gd name="connsiteX2" fmla="*/ 2792196 w 3011870"/>
                <a:gd name="connsiteY2" fmla="*/ 2275334 h 2769615"/>
                <a:gd name="connsiteX3" fmla="*/ 113120 w 3011870"/>
                <a:gd name="connsiteY3" fmla="*/ 2754527 h 2769615"/>
                <a:gd name="connsiteX4" fmla="*/ 0 w 3011870"/>
                <a:gd name="connsiteY4" fmla="*/ 0 h 2769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1870" h="2769615">
                  <a:moveTo>
                    <a:pt x="0" y="0"/>
                  </a:moveTo>
                  <a:cubicBezTo>
                    <a:pt x="1127017" y="85961"/>
                    <a:pt x="1845297" y="76592"/>
                    <a:pt x="2847769" y="95182"/>
                  </a:cubicBezTo>
                  <a:cubicBezTo>
                    <a:pt x="2777291" y="1004083"/>
                    <a:pt x="3289279" y="2013053"/>
                    <a:pt x="2792196" y="2275334"/>
                  </a:cubicBezTo>
                  <a:cubicBezTo>
                    <a:pt x="2409503" y="2508287"/>
                    <a:pt x="1123783" y="2845055"/>
                    <a:pt x="113120" y="2754527"/>
                  </a:cubicBezTo>
                  <a:cubicBezTo>
                    <a:pt x="-60175" y="1676365"/>
                    <a:pt x="148001" y="804419"/>
                    <a:pt x="0" y="0"/>
                  </a:cubicBezTo>
                  <a:close/>
                </a:path>
              </a:pathLst>
            </a:custGeom>
            <a:solidFill>
              <a:schemeClr val="bg1"/>
            </a:solidFill>
            <a:ln>
              <a:noFill/>
            </a:ln>
            <a:effectLst>
              <a:outerShdw blurRad="215900" dist="114300" dir="4800000" sx="99000" sy="99000" algn="tr"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 name="Groupe 57"/>
            <p:cNvGrpSpPr/>
            <p:nvPr/>
          </p:nvGrpSpPr>
          <p:grpSpPr>
            <a:xfrm>
              <a:off x="911151" y="2262448"/>
              <a:ext cx="3261912" cy="2876166"/>
              <a:chOff x="3851532" y="1530934"/>
              <a:chExt cx="3261912" cy="2876166"/>
            </a:xfrm>
          </p:grpSpPr>
          <p:sp>
            <p:nvSpPr>
              <p:cNvPr id="76" name="Rectangle 5"/>
              <p:cNvSpPr/>
              <p:nvPr/>
            </p:nvSpPr>
            <p:spPr>
              <a:xfrm rot="21074577">
                <a:off x="3851532" y="1530934"/>
                <a:ext cx="3116185" cy="2876166"/>
              </a:xfrm>
              <a:custGeom>
                <a:avLst/>
                <a:gdLst>
                  <a:gd name="connsiteX0" fmla="*/ 0 w 2958182"/>
                  <a:gd name="connsiteY0" fmla="*/ 0 h 2855644"/>
                  <a:gd name="connsiteX1" fmla="*/ 2958182 w 2958182"/>
                  <a:gd name="connsiteY1" fmla="*/ 0 h 2855644"/>
                  <a:gd name="connsiteX2" fmla="*/ 2958182 w 2958182"/>
                  <a:gd name="connsiteY2" fmla="*/ 2855644 h 2855644"/>
                  <a:gd name="connsiteX3" fmla="*/ 0 w 2958182"/>
                  <a:gd name="connsiteY3" fmla="*/ 2855644 h 2855644"/>
                  <a:gd name="connsiteX4" fmla="*/ 0 w 2958182"/>
                  <a:gd name="connsiteY4" fmla="*/ 0 h 2855644"/>
                  <a:gd name="connsiteX0" fmla="*/ 0 w 2958182"/>
                  <a:gd name="connsiteY0" fmla="*/ 0 h 2855644"/>
                  <a:gd name="connsiteX1" fmla="*/ 2958182 w 2958182"/>
                  <a:gd name="connsiteY1" fmla="*/ 0 h 2855644"/>
                  <a:gd name="connsiteX2" fmla="*/ 2958182 w 2958182"/>
                  <a:gd name="connsiteY2" fmla="*/ 2855644 h 2855644"/>
                  <a:gd name="connsiteX3" fmla="*/ 99227 w 2958182"/>
                  <a:gd name="connsiteY3" fmla="*/ 2774555 h 2855644"/>
                  <a:gd name="connsiteX4" fmla="*/ 0 w 2958182"/>
                  <a:gd name="connsiteY4" fmla="*/ 0 h 2855644"/>
                  <a:gd name="connsiteX0" fmla="*/ 0 w 3007415"/>
                  <a:gd name="connsiteY0" fmla="*/ 0 h 2911415"/>
                  <a:gd name="connsiteX1" fmla="*/ 3007415 w 3007415"/>
                  <a:gd name="connsiteY1" fmla="*/ 55771 h 2911415"/>
                  <a:gd name="connsiteX2" fmla="*/ 3007415 w 3007415"/>
                  <a:gd name="connsiteY2" fmla="*/ 2911415 h 2911415"/>
                  <a:gd name="connsiteX3" fmla="*/ 148460 w 3007415"/>
                  <a:gd name="connsiteY3" fmla="*/ 2830326 h 2911415"/>
                  <a:gd name="connsiteX4" fmla="*/ 0 w 3007415"/>
                  <a:gd name="connsiteY4" fmla="*/ 0 h 2911415"/>
                  <a:gd name="connsiteX0" fmla="*/ 0 w 3007415"/>
                  <a:gd name="connsiteY0" fmla="*/ 0 h 2911415"/>
                  <a:gd name="connsiteX1" fmla="*/ 3007415 w 3007415"/>
                  <a:gd name="connsiteY1" fmla="*/ 55771 h 2911415"/>
                  <a:gd name="connsiteX2" fmla="*/ 3007415 w 3007415"/>
                  <a:gd name="connsiteY2" fmla="*/ 2911415 h 2911415"/>
                  <a:gd name="connsiteX3" fmla="*/ 148460 w 3007415"/>
                  <a:gd name="connsiteY3" fmla="*/ 2830326 h 2911415"/>
                  <a:gd name="connsiteX4" fmla="*/ 0 w 3007415"/>
                  <a:gd name="connsiteY4" fmla="*/ 0 h 2911415"/>
                  <a:gd name="connsiteX0" fmla="*/ 0 w 3007415"/>
                  <a:gd name="connsiteY0" fmla="*/ 0 h 2911415"/>
                  <a:gd name="connsiteX1" fmla="*/ 3007415 w 3007415"/>
                  <a:gd name="connsiteY1" fmla="*/ 55771 h 2911415"/>
                  <a:gd name="connsiteX2" fmla="*/ 3007415 w 3007415"/>
                  <a:gd name="connsiteY2" fmla="*/ 2911415 h 2911415"/>
                  <a:gd name="connsiteX3" fmla="*/ 148460 w 3007415"/>
                  <a:gd name="connsiteY3" fmla="*/ 2830326 h 2911415"/>
                  <a:gd name="connsiteX4" fmla="*/ 0 w 3007415"/>
                  <a:gd name="connsiteY4" fmla="*/ 0 h 2911415"/>
                  <a:gd name="connsiteX0" fmla="*/ 0 w 3007415"/>
                  <a:gd name="connsiteY0" fmla="*/ 0 h 2911415"/>
                  <a:gd name="connsiteX1" fmla="*/ 3007415 w 3007415"/>
                  <a:gd name="connsiteY1" fmla="*/ 55771 h 2911415"/>
                  <a:gd name="connsiteX2" fmla="*/ 3007415 w 3007415"/>
                  <a:gd name="connsiteY2" fmla="*/ 2911415 h 2911415"/>
                  <a:gd name="connsiteX3" fmla="*/ 152810 w 3007415"/>
                  <a:gd name="connsiteY3" fmla="*/ 2802085 h 2911415"/>
                  <a:gd name="connsiteX4" fmla="*/ 0 w 3007415"/>
                  <a:gd name="connsiteY4" fmla="*/ 0 h 2911415"/>
                  <a:gd name="connsiteX0" fmla="*/ 0 w 3007415"/>
                  <a:gd name="connsiteY0" fmla="*/ 0 h 2911415"/>
                  <a:gd name="connsiteX1" fmla="*/ 3007415 w 3007415"/>
                  <a:gd name="connsiteY1" fmla="*/ 55771 h 2911415"/>
                  <a:gd name="connsiteX2" fmla="*/ 3007415 w 3007415"/>
                  <a:gd name="connsiteY2" fmla="*/ 2911415 h 2911415"/>
                  <a:gd name="connsiteX3" fmla="*/ 152810 w 3007415"/>
                  <a:gd name="connsiteY3" fmla="*/ 2802085 h 2911415"/>
                  <a:gd name="connsiteX4" fmla="*/ 0 w 3007415"/>
                  <a:gd name="connsiteY4" fmla="*/ 0 h 2911415"/>
                  <a:gd name="connsiteX0" fmla="*/ 0 w 3007415"/>
                  <a:gd name="connsiteY0" fmla="*/ 0 h 2802085"/>
                  <a:gd name="connsiteX1" fmla="*/ 3007415 w 3007415"/>
                  <a:gd name="connsiteY1" fmla="*/ 55771 h 2802085"/>
                  <a:gd name="connsiteX2" fmla="*/ 2795981 w 3007415"/>
                  <a:gd name="connsiteY2" fmla="*/ 2782473 h 2802085"/>
                  <a:gd name="connsiteX3" fmla="*/ 152810 w 3007415"/>
                  <a:gd name="connsiteY3" fmla="*/ 2802085 h 2802085"/>
                  <a:gd name="connsiteX4" fmla="*/ 0 w 3007415"/>
                  <a:gd name="connsiteY4" fmla="*/ 0 h 2802085"/>
                  <a:gd name="connsiteX0" fmla="*/ 0 w 3007415"/>
                  <a:gd name="connsiteY0" fmla="*/ 0 h 2910528"/>
                  <a:gd name="connsiteX1" fmla="*/ 3007415 w 3007415"/>
                  <a:gd name="connsiteY1" fmla="*/ 55771 h 2910528"/>
                  <a:gd name="connsiteX2" fmla="*/ 2795981 w 3007415"/>
                  <a:gd name="connsiteY2" fmla="*/ 2782473 h 2910528"/>
                  <a:gd name="connsiteX3" fmla="*/ 152810 w 3007415"/>
                  <a:gd name="connsiteY3" fmla="*/ 2802085 h 2910528"/>
                  <a:gd name="connsiteX4" fmla="*/ 0 w 3007415"/>
                  <a:gd name="connsiteY4" fmla="*/ 0 h 2910528"/>
                  <a:gd name="connsiteX0" fmla="*/ 0 w 3016462"/>
                  <a:gd name="connsiteY0" fmla="*/ 0 h 2910528"/>
                  <a:gd name="connsiteX1" fmla="*/ 3007415 w 3016462"/>
                  <a:gd name="connsiteY1" fmla="*/ 55771 h 2910528"/>
                  <a:gd name="connsiteX2" fmla="*/ 2795981 w 3016462"/>
                  <a:gd name="connsiteY2" fmla="*/ 2782473 h 2910528"/>
                  <a:gd name="connsiteX3" fmla="*/ 152810 w 3016462"/>
                  <a:gd name="connsiteY3" fmla="*/ 2802085 h 2910528"/>
                  <a:gd name="connsiteX4" fmla="*/ 0 w 3016462"/>
                  <a:gd name="connsiteY4" fmla="*/ 0 h 2910528"/>
                  <a:gd name="connsiteX0" fmla="*/ 0 w 3064249"/>
                  <a:gd name="connsiteY0" fmla="*/ 0 h 2898641"/>
                  <a:gd name="connsiteX1" fmla="*/ 3007415 w 3064249"/>
                  <a:gd name="connsiteY1" fmla="*/ 55771 h 2898641"/>
                  <a:gd name="connsiteX2" fmla="*/ 2875643 w 3064249"/>
                  <a:gd name="connsiteY2" fmla="*/ 2765832 h 2898641"/>
                  <a:gd name="connsiteX3" fmla="*/ 152810 w 3064249"/>
                  <a:gd name="connsiteY3" fmla="*/ 2802085 h 2898641"/>
                  <a:gd name="connsiteX4" fmla="*/ 0 w 3064249"/>
                  <a:gd name="connsiteY4" fmla="*/ 0 h 2898641"/>
                  <a:gd name="connsiteX0" fmla="*/ 0 w 3070540"/>
                  <a:gd name="connsiteY0" fmla="*/ 0 h 2898641"/>
                  <a:gd name="connsiteX1" fmla="*/ 3007415 w 3070540"/>
                  <a:gd name="connsiteY1" fmla="*/ 55771 h 2898641"/>
                  <a:gd name="connsiteX2" fmla="*/ 2875643 w 3070540"/>
                  <a:gd name="connsiteY2" fmla="*/ 2765832 h 2898641"/>
                  <a:gd name="connsiteX3" fmla="*/ 152810 w 3070540"/>
                  <a:gd name="connsiteY3" fmla="*/ 2802085 h 2898641"/>
                  <a:gd name="connsiteX4" fmla="*/ 0 w 3070540"/>
                  <a:gd name="connsiteY4" fmla="*/ 0 h 2898641"/>
                  <a:gd name="connsiteX0" fmla="*/ 0 w 3050496"/>
                  <a:gd name="connsiteY0" fmla="*/ 0 h 2831008"/>
                  <a:gd name="connsiteX1" fmla="*/ 3007415 w 3050496"/>
                  <a:gd name="connsiteY1" fmla="*/ 55771 h 2831008"/>
                  <a:gd name="connsiteX2" fmla="*/ 2844527 w 3050496"/>
                  <a:gd name="connsiteY2" fmla="*/ 2655027 h 2831008"/>
                  <a:gd name="connsiteX3" fmla="*/ 152810 w 3050496"/>
                  <a:gd name="connsiteY3" fmla="*/ 2802085 h 2831008"/>
                  <a:gd name="connsiteX4" fmla="*/ 0 w 3050496"/>
                  <a:gd name="connsiteY4" fmla="*/ 0 h 2831008"/>
                  <a:gd name="connsiteX0" fmla="*/ 0 w 3083026"/>
                  <a:gd name="connsiteY0" fmla="*/ 0 h 2802085"/>
                  <a:gd name="connsiteX1" fmla="*/ 3007415 w 3083026"/>
                  <a:gd name="connsiteY1" fmla="*/ 55771 h 2802085"/>
                  <a:gd name="connsiteX2" fmla="*/ 2894153 w 3083026"/>
                  <a:gd name="connsiteY2" fmla="*/ 2551842 h 2802085"/>
                  <a:gd name="connsiteX3" fmla="*/ 152810 w 3083026"/>
                  <a:gd name="connsiteY3" fmla="*/ 2802085 h 2802085"/>
                  <a:gd name="connsiteX4" fmla="*/ 0 w 3083026"/>
                  <a:gd name="connsiteY4" fmla="*/ 0 h 2802085"/>
                  <a:gd name="connsiteX0" fmla="*/ 0 w 3077100"/>
                  <a:gd name="connsiteY0" fmla="*/ 0 h 2839147"/>
                  <a:gd name="connsiteX1" fmla="*/ 3007415 w 3077100"/>
                  <a:gd name="connsiteY1" fmla="*/ 55771 h 2839147"/>
                  <a:gd name="connsiteX2" fmla="*/ 2885440 w 3077100"/>
                  <a:gd name="connsiteY2" fmla="*/ 2670966 h 2839147"/>
                  <a:gd name="connsiteX3" fmla="*/ 152810 w 3077100"/>
                  <a:gd name="connsiteY3" fmla="*/ 2802085 h 2839147"/>
                  <a:gd name="connsiteX4" fmla="*/ 0 w 3077100"/>
                  <a:gd name="connsiteY4" fmla="*/ 0 h 2839147"/>
                  <a:gd name="connsiteX0" fmla="*/ 0 w 3084012"/>
                  <a:gd name="connsiteY0" fmla="*/ 0 h 2810619"/>
                  <a:gd name="connsiteX1" fmla="*/ 3007415 w 3084012"/>
                  <a:gd name="connsiteY1" fmla="*/ 55771 h 2810619"/>
                  <a:gd name="connsiteX2" fmla="*/ 2895591 w 3084012"/>
                  <a:gd name="connsiteY2" fmla="*/ 2605068 h 2810619"/>
                  <a:gd name="connsiteX3" fmla="*/ 152810 w 3084012"/>
                  <a:gd name="connsiteY3" fmla="*/ 2802085 h 2810619"/>
                  <a:gd name="connsiteX4" fmla="*/ 0 w 3084012"/>
                  <a:gd name="connsiteY4" fmla="*/ 0 h 2810619"/>
                  <a:gd name="connsiteX0" fmla="*/ 0 w 3108841"/>
                  <a:gd name="connsiteY0" fmla="*/ 0 h 2802085"/>
                  <a:gd name="connsiteX1" fmla="*/ 3007415 w 3108841"/>
                  <a:gd name="connsiteY1" fmla="*/ 55771 h 2802085"/>
                  <a:gd name="connsiteX2" fmla="*/ 2930854 w 3108841"/>
                  <a:gd name="connsiteY2" fmla="*/ 2501276 h 2802085"/>
                  <a:gd name="connsiteX3" fmla="*/ 152810 w 3108841"/>
                  <a:gd name="connsiteY3" fmla="*/ 2802085 h 2802085"/>
                  <a:gd name="connsiteX4" fmla="*/ 0 w 3108841"/>
                  <a:gd name="connsiteY4" fmla="*/ 0 h 2802085"/>
                  <a:gd name="connsiteX0" fmla="*/ 0 w 3073089"/>
                  <a:gd name="connsiteY0" fmla="*/ 0 h 2802085"/>
                  <a:gd name="connsiteX1" fmla="*/ 3007415 w 3073089"/>
                  <a:gd name="connsiteY1" fmla="*/ 55771 h 2802085"/>
                  <a:gd name="connsiteX2" fmla="*/ 2879470 w 3073089"/>
                  <a:gd name="connsiteY2" fmla="*/ 2334344 h 2802085"/>
                  <a:gd name="connsiteX3" fmla="*/ 152810 w 3073089"/>
                  <a:gd name="connsiteY3" fmla="*/ 2802085 h 2802085"/>
                  <a:gd name="connsiteX4" fmla="*/ 0 w 3073089"/>
                  <a:gd name="connsiteY4" fmla="*/ 0 h 2802085"/>
                  <a:gd name="connsiteX0" fmla="*/ 0 w 3142862"/>
                  <a:gd name="connsiteY0" fmla="*/ 0 h 2802085"/>
                  <a:gd name="connsiteX1" fmla="*/ 3007415 w 3142862"/>
                  <a:gd name="connsiteY1" fmla="*/ 55771 h 2802085"/>
                  <a:gd name="connsiteX2" fmla="*/ 2879470 w 3142862"/>
                  <a:gd name="connsiteY2" fmla="*/ 2334344 h 2802085"/>
                  <a:gd name="connsiteX3" fmla="*/ 152810 w 3142862"/>
                  <a:gd name="connsiteY3" fmla="*/ 2802085 h 2802085"/>
                  <a:gd name="connsiteX4" fmla="*/ 0 w 3142862"/>
                  <a:gd name="connsiteY4" fmla="*/ 0 h 2802085"/>
                  <a:gd name="connsiteX0" fmla="*/ 0 w 3142862"/>
                  <a:gd name="connsiteY0" fmla="*/ 0 h 2860388"/>
                  <a:gd name="connsiteX1" fmla="*/ 3007415 w 3142862"/>
                  <a:gd name="connsiteY1" fmla="*/ 55771 h 2860388"/>
                  <a:gd name="connsiteX2" fmla="*/ 2879470 w 3142862"/>
                  <a:gd name="connsiteY2" fmla="*/ 2334344 h 2860388"/>
                  <a:gd name="connsiteX3" fmla="*/ 187196 w 3142862"/>
                  <a:gd name="connsiteY3" fmla="*/ 2860388 h 2860388"/>
                  <a:gd name="connsiteX4" fmla="*/ 0 w 3142862"/>
                  <a:gd name="connsiteY4" fmla="*/ 0 h 2860388"/>
                  <a:gd name="connsiteX0" fmla="*/ 0 w 3142862"/>
                  <a:gd name="connsiteY0" fmla="*/ 0 h 2876373"/>
                  <a:gd name="connsiteX1" fmla="*/ 3007415 w 3142862"/>
                  <a:gd name="connsiteY1" fmla="*/ 55771 h 2876373"/>
                  <a:gd name="connsiteX2" fmla="*/ 2879470 w 3142862"/>
                  <a:gd name="connsiteY2" fmla="*/ 2334344 h 2876373"/>
                  <a:gd name="connsiteX3" fmla="*/ 187196 w 3142862"/>
                  <a:gd name="connsiteY3" fmla="*/ 2860388 h 2876373"/>
                  <a:gd name="connsiteX4" fmla="*/ 0 w 3142862"/>
                  <a:gd name="connsiteY4" fmla="*/ 0 h 2876373"/>
                  <a:gd name="connsiteX0" fmla="*/ 0 w 3142862"/>
                  <a:gd name="connsiteY0" fmla="*/ 0 h 2869960"/>
                  <a:gd name="connsiteX1" fmla="*/ 3007415 w 3142862"/>
                  <a:gd name="connsiteY1" fmla="*/ 55771 h 2869960"/>
                  <a:gd name="connsiteX2" fmla="*/ 2879470 w 3142862"/>
                  <a:gd name="connsiteY2" fmla="*/ 2334344 h 2869960"/>
                  <a:gd name="connsiteX3" fmla="*/ 187196 w 3142862"/>
                  <a:gd name="connsiteY3" fmla="*/ 2860388 h 2869960"/>
                  <a:gd name="connsiteX4" fmla="*/ 0 w 3142862"/>
                  <a:gd name="connsiteY4" fmla="*/ 0 h 2869960"/>
                  <a:gd name="connsiteX0" fmla="*/ 0 w 3142862"/>
                  <a:gd name="connsiteY0" fmla="*/ 0 h 2875403"/>
                  <a:gd name="connsiteX1" fmla="*/ 3007415 w 3142862"/>
                  <a:gd name="connsiteY1" fmla="*/ 55771 h 2875403"/>
                  <a:gd name="connsiteX2" fmla="*/ 2879470 w 3142862"/>
                  <a:gd name="connsiteY2" fmla="*/ 2334344 h 2875403"/>
                  <a:gd name="connsiteX3" fmla="*/ 187196 w 3142862"/>
                  <a:gd name="connsiteY3" fmla="*/ 2860388 h 2875403"/>
                  <a:gd name="connsiteX4" fmla="*/ 0 w 3142862"/>
                  <a:gd name="connsiteY4" fmla="*/ 0 h 2875403"/>
                  <a:gd name="connsiteX0" fmla="*/ 0 w 3155056"/>
                  <a:gd name="connsiteY0" fmla="*/ 0 h 2875403"/>
                  <a:gd name="connsiteX1" fmla="*/ 3007415 w 3155056"/>
                  <a:gd name="connsiteY1" fmla="*/ 55771 h 2875403"/>
                  <a:gd name="connsiteX2" fmla="*/ 2879470 w 3155056"/>
                  <a:gd name="connsiteY2" fmla="*/ 2334344 h 2875403"/>
                  <a:gd name="connsiteX3" fmla="*/ 187196 w 3155056"/>
                  <a:gd name="connsiteY3" fmla="*/ 2860388 h 2875403"/>
                  <a:gd name="connsiteX4" fmla="*/ 0 w 3155056"/>
                  <a:gd name="connsiteY4" fmla="*/ 0 h 2875403"/>
                  <a:gd name="connsiteX0" fmla="*/ 0 w 3111070"/>
                  <a:gd name="connsiteY0" fmla="*/ 0 h 2875403"/>
                  <a:gd name="connsiteX1" fmla="*/ 3007415 w 3111070"/>
                  <a:gd name="connsiteY1" fmla="*/ 55771 h 2875403"/>
                  <a:gd name="connsiteX2" fmla="*/ 2879470 w 3111070"/>
                  <a:gd name="connsiteY2" fmla="*/ 2334344 h 2875403"/>
                  <a:gd name="connsiteX3" fmla="*/ 187196 w 3111070"/>
                  <a:gd name="connsiteY3" fmla="*/ 2860388 h 2875403"/>
                  <a:gd name="connsiteX4" fmla="*/ 0 w 3111070"/>
                  <a:gd name="connsiteY4" fmla="*/ 0 h 2875403"/>
                  <a:gd name="connsiteX0" fmla="*/ 0 w 3116300"/>
                  <a:gd name="connsiteY0" fmla="*/ 0 h 2875403"/>
                  <a:gd name="connsiteX1" fmla="*/ 3007415 w 3116300"/>
                  <a:gd name="connsiteY1" fmla="*/ 55771 h 2875403"/>
                  <a:gd name="connsiteX2" fmla="*/ 2879470 w 3116300"/>
                  <a:gd name="connsiteY2" fmla="*/ 2334344 h 2875403"/>
                  <a:gd name="connsiteX3" fmla="*/ 187196 w 3116300"/>
                  <a:gd name="connsiteY3" fmla="*/ 2860388 h 2875403"/>
                  <a:gd name="connsiteX4" fmla="*/ 0 w 3116300"/>
                  <a:gd name="connsiteY4" fmla="*/ 0 h 2875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6300" h="2875403">
                    <a:moveTo>
                      <a:pt x="0" y="0"/>
                    </a:moveTo>
                    <a:cubicBezTo>
                      <a:pt x="1127017" y="85961"/>
                      <a:pt x="2004943" y="37181"/>
                      <a:pt x="3007415" y="55771"/>
                    </a:cubicBezTo>
                    <a:cubicBezTo>
                      <a:pt x="2936937" y="964672"/>
                      <a:pt x="3368549" y="2290401"/>
                      <a:pt x="2879470" y="2334344"/>
                    </a:cubicBezTo>
                    <a:cubicBezTo>
                      <a:pt x="2708049" y="2614029"/>
                      <a:pt x="1197859" y="2950916"/>
                      <a:pt x="187196" y="2860388"/>
                    </a:cubicBezTo>
                    <a:cubicBezTo>
                      <a:pt x="13901" y="1782226"/>
                      <a:pt x="148001" y="804419"/>
                      <a:pt x="0" y="0"/>
                    </a:cubicBezTo>
                    <a:close/>
                  </a:path>
                </a:pathLst>
              </a:custGeom>
              <a:solidFill>
                <a:srgbClr val="ABFF2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7" name="Triangle rectangle 7"/>
              <p:cNvSpPr/>
              <p:nvPr/>
            </p:nvSpPr>
            <p:spPr>
              <a:xfrm rot="14260875">
                <a:off x="6185180" y="3089786"/>
                <a:ext cx="337253" cy="1519274"/>
              </a:xfrm>
              <a:custGeom>
                <a:avLst/>
                <a:gdLst>
                  <a:gd name="connsiteX0" fmla="*/ 0 w 360040"/>
                  <a:gd name="connsiteY0" fmla="*/ 1205112 h 1205112"/>
                  <a:gd name="connsiteX1" fmla="*/ 0 w 360040"/>
                  <a:gd name="connsiteY1" fmla="*/ 0 h 1205112"/>
                  <a:gd name="connsiteX2" fmla="*/ 360040 w 360040"/>
                  <a:gd name="connsiteY2" fmla="*/ 1205112 h 1205112"/>
                  <a:gd name="connsiteX3" fmla="*/ 0 w 360040"/>
                  <a:gd name="connsiteY3" fmla="*/ 1205112 h 1205112"/>
                  <a:gd name="connsiteX0" fmla="*/ 0 w 284031"/>
                  <a:gd name="connsiteY0" fmla="*/ 1205112 h 1205112"/>
                  <a:gd name="connsiteX1" fmla="*/ 0 w 284031"/>
                  <a:gd name="connsiteY1" fmla="*/ 0 h 1205112"/>
                  <a:gd name="connsiteX2" fmla="*/ 284031 w 284031"/>
                  <a:gd name="connsiteY2" fmla="*/ 826409 h 1205112"/>
                  <a:gd name="connsiteX3" fmla="*/ 0 w 284031"/>
                  <a:gd name="connsiteY3" fmla="*/ 1205112 h 1205112"/>
                  <a:gd name="connsiteX0" fmla="*/ 0 w 366580"/>
                  <a:gd name="connsiteY0" fmla="*/ 1205112 h 1205112"/>
                  <a:gd name="connsiteX1" fmla="*/ 0 w 366580"/>
                  <a:gd name="connsiteY1" fmla="*/ 0 h 1205112"/>
                  <a:gd name="connsiteX2" fmla="*/ 366580 w 366580"/>
                  <a:gd name="connsiteY2" fmla="*/ 963165 h 1205112"/>
                  <a:gd name="connsiteX3" fmla="*/ 0 w 366580"/>
                  <a:gd name="connsiteY3" fmla="*/ 1205112 h 1205112"/>
                  <a:gd name="connsiteX0" fmla="*/ 0 w 366580"/>
                  <a:gd name="connsiteY0" fmla="*/ 1205112 h 1205112"/>
                  <a:gd name="connsiteX1" fmla="*/ 0 w 366580"/>
                  <a:gd name="connsiteY1" fmla="*/ 0 h 1205112"/>
                  <a:gd name="connsiteX2" fmla="*/ 366580 w 366580"/>
                  <a:gd name="connsiteY2" fmla="*/ 963165 h 1205112"/>
                  <a:gd name="connsiteX3" fmla="*/ 0 w 366580"/>
                  <a:gd name="connsiteY3" fmla="*/ 1205112 h 1205112"/>
                  <a:gd name="connsiteX0" fmla="*/ 0 w 375287"/>
                  <a:gd name="connsiteY0" fmla="*/ 1227782 h 1227782"/>
                  <a:gd name="connsiteX1" fmla="*/ 8707 w 375287"/>
                  <a:gd name="connsiteY1" fmla="*/ 0 h 1227782"/>
                  <a:gd name="connsiteX2" fmla="*/ 375287 w 375287"/>
                  <a:gd name="connsiteY2" fmla="*/ 963165 h 1227782"/>
                  <a:gd name="connsiteX3" fmla="*/ 0 w 375287"/>
                  <a:gd name="connsiteY3" fmla="*/ 1227782 h 1227782"/>
                  <a:gd name="connsiteX0" fmla="*/ 0 w 375287"/>
                  <a:gd name="connsiteY0" fmla="*/ 1227782 h 1227782"/>
                  <a:gd name="connsiteX1" fmla="*/ 8707 w 375287"/>
                  <a:gd name="connsiteY1" fmla="*/ 0 h 1227782"/>
                  <a:gd name="connsiteX2" fmla="*/ 375287 w 375287"/>
                  <a:gd name="connsiteY2" fmla="*/ 963165 h 1227782"/>
                  <a:gd name="connsiteX3" fmla="*/ 0 w 375287"/>
                  <a:gd name="connsiteY3" fmla="*/ 1227782 h 1227782"/>
                  <a:gd name="connsiteX0" fmla="*/ 0 w 375287"/>
                  <a:gd name="connsiteY0" fmla="*/ 1227782 h 1227782"/>
                  <a:gd name="connsiteX1" fmla="*/ 8707 w 375287"/>
                  <a:gd name="connsiteY1" fmla="*/ 0 h 1227782"/>
                  <a:gd name="connsiteX2" fmla="*/ 375287 w 375287"/>
                  <a:gd name="connsiteY2" fmla="*/ 963165 h 1227782"/>
                  <a:gd name="connsiteX3" fmla="*/ 0 w 375287"/>
                  <a:gd name="connsiteY3" fmla="*/ 1227782 h 1227782"/>
                  <a:gd name="connsiteX0" fmla="*/ 0 w 375287"/>
                  <a:gd name="connsiteY0" fmla="*/ 1227782 h 1227782"/>
                  <a:gd name="connsiteX1" fmla="*/ 8707 w 375287"/>
                  <a:gd name="connsiteY1" fmla="*/ 0 h 1227782"/>
                  <a:gd name="connsiteX2" fmla="*/ 375287 w 375287"/>
                  <a:gd name="connsiteY2" fmla="*/ 963165 h 1227782"/>
                  <a:gd name="connsiteX3" fmla="*/ 0 w 375287"/>
                  <a:gd name="connsiteY3" fmla="*/ 1227782 h 1227782"/>
                  <a:gd name="connsiteX0" fmla="*/ 0 w 375287"/>
                  <a:gd name="connsiteY0" fmla="*/ 1227782 h 1227782"/>
                  <a:gd name="connsiteX1" fmla="*/ 8707 w 375287"/>
                  <a:gd name="connsiteY1" fmla="*/ 0 h 1227782"/>
                  <a:gd name="connsiteX2" fmla="*/ 375287 w 375287"/>
                  <a:gd name="connsiteY2" fmla="*/ 963165 h 1227782"/>
                  <a:gd name="connsiteX3" fmla="*/ 0 w 375287"/>
                  <a:gd name="connsiteY3" fmla="*/ 1227782 h 1227782"/>
                  <a:gd name="connsiteX0" fmla="*/ 0 w 375287"/>
                  <a:gd name="connsiteY0" fmla="*/ 1227782 h 1227782"/>
                  <a:gd name="connsiteX1" fmla="*/ 8707 w 375287"/>
                  <a:gd name="connsiteY1" fmla="*/ 0 h 1227782"/>
                  <a:gd name="connsiteX2" fmla="*/ 375287 w 375287"/>
                  <a:gd name="connsiteY2" fmla="*/ 963165 h 1227782"/>
                  <a:gd name="connsiteX3" fmla="*/ 0 w 375287"/>
                  <a:gd name="connsiteY3" fmla="*/ 1227782 h 1227782"/>
                  <a:gd name="connsiteX0" fmla="*/ 126017 w 501304"/>
                  <a:gd name="connsiteY0" fmla="*/ 1227782 h 1227782"/>
                  <a:gd name="connsiteX1" fmla="*/ 134724 w 501304"/>
                  <a:gd name="connsiteY1" fmla="*/ 0 h 1227782"/>
                  <a:gd name="connsiteX2" fmla="*/ 501304 w 501304"/>
                  <a:gd name="connsiteY2" fmla="*/ 963165 h 1227782"/>
                  <a:gd name="connsiteX3" fmla="*/ 126017 w 501304"/>
                  <a:gd name="connsiteY3" fmla="*/ 1227782 h 1227782"/>
                  <a:gd name="connsiteX0" fmla="*/ 129311 w 504598"/>
                  <a:gd name="connsiteY0" fmla="*/ 1227782 h 1227782"/>
                  <a:gd name="connsiteX1" fmla="*/ 138018 w 504598"/>
                  <a:gd name="connsiteY1" fmla="*/ 0 h 1227782"/>
                  <a:gd name="connsiteX2" fmla="*/ 504598 w 504598"/>
                  <a:gd name="connsiteY2" fmla="*/ 963165 h 1227782"/>
                  <a:gd name="connsiteX3" fmla="*/ 129311 w 504598"/>
                  <a:gd name="connsiteY3" fmla="*/ 1227782 h 1227782"/>
                  <a:gd name="connsiteX0" fmla="*/ 122131 w 497418"/>
                  <a:gd name="connsiteY0" fmla="*/ 1406841 h 1406841"/>
                  <a:gd name="connsiteX1" fmla="*/ 159583 w 497418"/>
                  <a:gd name="connsiteY1" fmla="*/ 0 h 1406841"/>
                  <a:gd name="connsiteX2" fmla="*/ 497418 w 497418"/>
                  <a:gd name="connsiteY2" fmla="*/ 1142224 h 1406841"/>
                  <a:gd name="connsiteX3" fmla="*/ 122131 w 497418"/>
                  <a:gd name="connsiteY3" fmla="*/ 1406841 h 1406841"/>
                  <a:gd name="connsiteX0" fmla="*/ 134513 w 509800"/>
                  <a:gd name="connsiteY0" fmla="*/ 1406841 h 1406841"/>
                  <a:gd name="connsiteX1" fmla="*/ 171965 w 509800"/>
                  <a:gd name="connsiteY1" fmla="*/ 0 h 1406841"/>
                  <a:gd name="connsiteX2" fmla="*/ 509800 w 509800"/>
                  <a:gd name="connsiteY2" fmla="*/ 1142224 h 1406841"/>
                  <a:gd name="connsiteX3" fmla="*/ 134513 w 509800"/>
                  <a:gd name="connsiteY3" fmla="*/ 1406841 h 1406841"/>
                  <a:gd name="connsiteX0" fmla="*/ 134513 w 509800"/>
                  <a:gd name="connsiteY0" fmla="*/ 1406841 h 1406841"/>
                  <a:gd name="connsiteX1" fmla="*/ 171965 w 509800"/>
                  <a:gd name="connsiteY1" fmla="*/ 0 h 1406841"/>
                  <a:gd name="connsiteX2" fmla="*/ 509800 w 509800"/>
                  <a:gd name="connsiteY2" fmla="*/ 1142224 h 1406841"/>
                  <a:gd name="connsiteX3" fmla="*/ 134513 w 509800"/>
                  <a:gd name="connsiteY3" fmla="*/ 1406841 h 1406841"/>
                  <a:gd name="connsiteX0" fmla="*/ 134513 w 403203"/>
                  <a:gd name="connsiteY0" fmla="*/ 1406841 h 1406841"/>
                  <a:gd name="connsiteX1" fmla="*/ 171965 w 403203"/>
                  <a:gd name="connsiteY1" fmla="*/ 0 h 1406841"/>
                  <a:gd name="connsiteX2" fmla="*/ 403203 w 403203"/>
                  <a:gd name="connsiteY2" fmla="*/ 1117809 h 1406841"/>
                  <a:gd name="connsiteX3" fmla="*/ 134513 w 403203"/>
                  <a:gd name="connsiteY3" fmla="*/ 1406841 h 1406841"/>
                  <a:gd name="connsiteX0" fmla="*/ 134513 w 412457"/>
                  <a:gd name="connsiteY0" fmla="*/ 1406841 h 1406841"/>
                  <a:gd name="connsiteX1" fmla="*/ 171965 w 412457"/>
                  <a:gd name="connsiteY1" fmla="*/ 0 h 1406841"/>
                  <a:gd name="connsiteX2" fmla="*/ 412456 w 412457"/>
                  <a:gd name="connsiteY2" fmla="*/ 1149013 h 1406841"/>
                  <a:gd name="connsiteX3" fmla="*/ 134513 w 412457"/>
                  <a:gd name="connsiteY3" fmla="*/ 1406841 h 1406841"/>
                  <a:gd name="connsiteX0" fmla="*/ 134513 w 412456"/>
                  <a:gd name="connsiteY0" fmla="*/ 1406841 h 1406841"/>
                  <a:gd name="connsiteX1" fmla="*/ 171965 w 412456"/>
                  <a:gd name="connsiteY1" fmla="*/ 0 h 1406841"/>
                  <a:gd name="connsiteX2" fmla="*/ 412456 w 412456"/>
                  <a:gd name="connsiteY2" fmla="*/ 1149013 h 1406841"/>
                  <a:gd name="connsiteX3" fmla="*/ 134513 w 412456"/>
                  <a:gd name="connsiteY3" fmla="*/ 1406841 h 1406841"/>
                  <a:gd name="connsiteX0" fmla="*/ 134513 w 412456"/>
                  <a:gd name="connsiteY0" fmla="*/ 1406841 h 1406841"/>
                  <a:gd name="connsiteX1" fmla="*/ 171965 w 412456"/>
                  <a:gd name="connsiteY1" fmla="*/ 0 h 1406841"/>
                  <a:gd name="connsiteX2" fmla="*/ 412456 w 412456"/>
                  <a:gd name="connsiteY2" fmla="*/ 1149013 h 1406841"/>
                  <a:gd name="connsiteX3" fmla="*/ 134513 w 412456"/>
                  <a:gd name="connsiteY3" fmla="*/ 1406841 h 1406841"/>
                  <a:gd name="connsiteX0" fmla="*/ 140084 w 398701"/>
                  <a:gd name="connsiteY0" fmla="*/ 1442880 h 1442880"/>
                  <a:gd name="connsiteX1" fmla="*/ 158210 w 398701"/>
                  <a:gd name="connsiteY1" fmla="*/ 0 h 1442880"/>
                  <a:gd name="connsiteX2" fmla="*/ 398701 w 398701"/>
                  <a:gd name="connsiteY2" fmla="*/ 1149013 h 1442880"/>
                  <a:gd name="connsiteX3" fmla="*/ 140084 w 398701"/>
                  <a:gd name="connsiteY3" fmla="*/ 1442880 h 1442880"/>
                  <a:gd name="connsiteX0" fmla="*/ 163454 w 422071"/>
                  <a:gd name="connsiteY0" fmla="*/ 1442880 h 1442880"/>
                  <a:gd name="connsiteX1" fmla="*/ 181580 w 422071"/>
                  <a:gd name="connsiteY1" fmla="*/ 0 h 1442880"/>
                  <a:gd name="connsiteX2" fmla="*/ 422071 w 422071"/>
                  <a:gd name="connsiteY2" fmla="*/ 1149013 h 1442880"/>
                  <a:gd name="connsiteX3" fmla="*/ 163454 w 422071"/>
                  <a:gd name="connsiteY3" fmla="*/ 1442880 h 1442880"/>
                  <a:gd name="connsiteX0" fmla="*/ 163454 w 422071"/>
                  <a:gd name="connsiteY0" fmla="*/ 1442880 h 1442880"/>
                  <a:gd name="connsiteX1" fmla="*/ 181580 w 422071"/>
                  <a:gd name="connsiteY1" fmla="*/ 0 h 1442880"/>
                  <a:gd name="connsiteX2" fmla="*/ 422071 w 422071"/>
                  <a:gd name="connsiteY2" fmla="*/ 1149013 h 1442880"/>
                  <a:gd name="connsiteX3" fmla="*/ 163454 w 422071"/>
                  <a:gd name="connsiteY3" fmla="*/ 1442880 h 1442880"/>
                </a:gdLst>
                <a:ahLst/>
                <a:cxnLst>
                  <a:cxn ang="0">
                    <a:pos x="connsiteX0" y="connsiteY0"/>
                  </a:cxn>
                  <a:cxn ang="0">
                    <a:pos x="connsiteX1" y="connsiteY1"/>
                  </a:cxn>
                  <a:cxn ang="0">
                    <a:pos x="connsiteX2" y="connsiteY2"/>
                  </a:cxn>
                  <a:cxn ang="0">
                    <a:pos x="connsiteX3" y="connsiteY3"/>
                  </a:cxn>
                </a:cxnLst>
                <a:rect l="l" t="t" r="r" b="b"/>
                <a:pathLst>
                  <a:path w="422071" h="1442880">
                    <a:moveTo>
                      <a:pt x="163454" y="1442880"/>
                    </a:moveTo>
                    <a:cubicBezTo>
                      <a:pt x="-176501" y="1226284"/>
                      <a:pt x="107547" y="307905"/>
                      <a:pt x="181580" y="0"/>
                    </a:cubicBezTo>
                    <a:cubicBezTo>
                      <a:pt x="115191" y="556789"/>
                      <a:pt x="137346" y="827855"/>
                      <a:pt x="422071" y="1149013"/>
                    </a:cubicBezTo>
                    <a:cubicBezTo>
                      <a:pt x="129579" y="963158"/>
                      <a:pt x="66208" y="1301405"/>
                      <a:pt x="163454" y="1442880"/>
                    </a:cubicBezTo>
                    <a:close/>
                  </a:path>
                </a:pathLst>
              </a:custGeom>
              <a:gradFill flip="none" rotWithShape="1">
                <a:gsLst>
                  <a:gs pos="0">
                    <a:srgbClr val="ABFF2B">
                      <a:shade val="30000"/>
                      <a:satMod val="115000"/>
                    </a:srgbClr>
                  </a:gs>
                  <a:gs pos="50000">
                    <a:srgbClr val="ABFF2B">
                      <a:shade val="67500"/>
                      <a:satMod val="115000"/>
                    </a:srgbClr>
                  </a:gs>
                  <a:gs pos="100000">
                    <a:srgbClr val="ABFF2B">
                      <a:shade val="100000"/>
                      <a:satMod val="115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grpSp>
        <p:nvGrpSpPr>
          <p:cNvPr id="4" name="Groupe 63"/>
          <p:cNvGrpSpPr/>
          <p:nvPr/>
        </p:nvGrpSpPr>
        <p:grpSpPr>
          <a:xfrm>
            <a:off x="4389756" y="1601838"/>
            <a:ext cx="4403508" cy="4376804"/>
            <a:chOff x="502144" y="4009086"/>
            <a:chExt cx="2363185" cy="2387008"/>
          </a:xfrm>
          <a:solidFill>
            <a:srgbClr val="FF00FF"/>
          </a:solidFill>
        </p:grpSpPr>
        <p:sp>
          <p:nvSpPr>
            <p:cNvPr id="81" name="Rectangle 3"/>
            <p:cNvSpPr/>
            <p:nvPr/>
          </p:nvSpPr>
          <p:spPr>
            <a:xfrm>
              <a:off x="525538" y="4168008"/>
              <a:ext cx="2234044" cy="2173783"/>
            </a:xfrm>
            <a:custGeom>
              <a:avLst/>
              <a:gdLst>
                <a:gd name="connsiteX0" fmla="*/ 0 w 2798440"/>
                <a:gd name="connsiteY0" fmla="*/ 0 h 2808312"/>
                <a:gd name="connsiteX1" fmla="*/ 2798440 w 2798440"/>
                <a:gd name="connsiteY1" fmla="*/ 0 h 2808312"/>
                <a:gd name="connsiteX2" fmla="*/ 2798440 w 2798440"/>
                <a:gd name="connsiteY2" fmla="*/ 2808312 h 2808312"/>
                <a:gd name="connsiteX3" fmla="*/ 0 w 2798440"/>
                <a:gd name="connsiteY3" fmla="*/ 2808312 h 2808312"/>
                <a:gd name="connsiteX4" fmla="*/ 0 w 2798440"/>
                <a:gd name="connsiteY4" fmla="*/ 0 h 2808312"/>
                <a:gd name="connsiteX0" fmla="*/ 0 w 2900040"/>
                <a:gd name="connsiteY0" fmla="*/ 0 h 2808312"/>
                <a:gd name="connsiteX1" fmla="*/ 2900040 w 2900040"/>
                <a:gd name="connsiteY1" fmla="*/ 76200 h 2808312"/>
                <a:gd name="connsiteX2" fmla="*/ 2798440 w 2900040"/>
                <a:gd name="connsiteY2" fmla="*/ 2808312 h 2808312"/>
                <a:gd name="connsiteX3" fmla="*/ 0 w 2900040"/>
                <a:gd name="connsiteY3" fmla="*/ 2808312 h 2808312"/>
                <a:gd name="connsiteX4" fmla="*/ 0 w 2900040"/>
                <a:gd name="connsiteY4" fmla="*/ 0 h 2808312"/>
                <a:gd name="connsiteX0" fmla="*/ 171450 w 2900040"/>
                <a:gd name="connsiteY0" fmla="*/ 0 h 2827362"/>
                <a:gd name="connsiteX1" fmla="*/ 2900040 w 2900040"/>
                <a:gd name="connsiteY1" fmla="*/ 95250 h 2827362"/>
                <a:gd name="connsiteX2" fmla="*/ 2798440 w 2900040"/>
                <a:gd name="connsiteY2" fmla="*/ 2827362 h 2827362"/>
                <a:gd name="connsiteX3" fmla="*/ 0 w 2900040"/>
                <a:gd name="connsiteY3" fmla="*/ 2827362 h 2827362"/>
                <a:gd name="connsiteX4" fmla="*/ 171450 w 2900040"/>
                <a:gd name="connsiteY4" fmla="*/ 0 h 2827362"/>
                <a:gd name="connsiteX0" fmla="*/ 0 w 2728590"/>
                <a:gd name="connsiteY0" fmla="*/ 0 h 2827362"/>
                <a:gd name="connsiteX1" fmla="*/ 2728590 w 2728590"/>
                <a:gd name="connsiteY1" fmla="*/ 95250 h 2827362"/>
                <a:gd name="connsiteX2" fmla="*/ 2626990 w 2728590"/>
                <a:gd name="connsiteY2" fmla="*/ 2827362 h 2827362"/>
                <a:gd name="connsiteX3" fmla="*/ 0 w 2728590"/>
                <a:gd name="connsiteY3" fmla="*/ 2586062 h 2827362"/>
                <a:gd name="connsiteX4" fmla="*/ 0 w 2728590"/>
                <a:gd name="connsiteY4" fmla="*/ 0 h 2827362"/>
                <a:gd name="connsiteX0" fmla="*/ 70555 w 2799145"/>
                <a:gd name="connsiteY0" fmla="*/ 0 h 2827362"/>
                <a:gd name="connsiteX1" fmla="*/ 2799145 w 2799145"/>
                <a:gd name="connsiteY1" fmla="*/ 95250 h 2827362"/>
                <a:gd name="connsiteX2" fmla="*/ 2697545 w 2799145"/>
                <a:gd name="connsiteY2" fmla="*/ 2827362 h 2827362"/>
                <a:gd name="connsiteX3" fmla="*/ 70555 w 2799145"/>
                <a:gd name="connsiteY3" fmla="*/ 2586062 h 2827362"/>
                <a:gd name="connsiteX4" fmla="*/ 70555 w 2799145"/>
                <a:gd name="connsiteY4" fmla="*/ 0 h 2827362"/>
                <a:gd name="connsiteX0" fmla="*/ 70555 w 2799145"/>
                <a:gd name="connsiteY0" fmla="*/ 0 h 2827362"/>
                <a:gd name="connsiteX1" fmla="*/ 2799145 w 2799145"/>
                <a:gd name="connsiteY1" fmla="*/ 95250 h 2827362"/>
                <a:gd name="connsiteX2" fmla="*/ 2697545 w 2799145"/>
                <a:gd name="connsiteY2" fmla="*/ 2827362 h 2827362"/>
                <a:gd name="connsiteX3" fmla="*/ 70555 w 2799145"/>
                <a:gd name="connsiteY3" fmla="*/ 2586062 h 2827362"/>
                <a:gd name="connsiteX4" fmla="*/ 70555 w 2799145"/>
                <a:gd name="connsiteY4" fmla="*/ 0 h 2827362"/>
                <a:gd name="connsiteX0" fmla="*/ 70555 w 2799145"/>
                <a:gd name="connsiteY0" fmla="*/ 0 h 2827362"/>
                <a:gd name="connsiteX1" fmla="*/ 2799145 w 2799145"/>
                <a:gd name="connsiteY1" fmla="*/ 95250 h 2827362"/>
                <a:gd name="connsiteX2" fmla="*/ 2697545 w 2799145"/>
                <a:gd name="connsiteY2" fmla="*/ 2827362 h 2827362"/>
                <a:gd name="connsiteX3" fmla="*/ 70555 w 2799145"/>
                <a:gd name="connsiteY3" fmla="*/ 2586062 h 2827362"/>
                <a:gd name="connsiteX4" fmla="*/ 70555 w 2799145"/>
                <a:gd name="connsiteY4" fmla="*/ 0 h 2827362"/>
                <a:gd name="connsiteX0" fmla="*/ 175198 w 2776580"/>
                <a:gd name="connsiteY0" fmla="*/ 0 h 2827362"/>
                <a:gd name="connsiteX1" fmla="*/ 2776580 w 2776580"/>
                <a:gd name="connsiteY1" fmla="*/ 95250 h 2827362"/>
                <a:gd name="connsiteX2" fmla="*/ 2674980 w 2776580"/>
                <a:gd name="connsiteY2" fmla="*/ 2827362 h 2827362"/>
                <a:gd name="connsiteX3" fmla="*/ 47990 w 2776580"/>
                <a:gd name="connsiteY3" fmla="*/ 2586062 h 2827362"/>
                <a:gd name="connsiteX4" fmla="*/ 175198 w 2776580"/>
                <a:gd name="connsiteY4" fmla="*/ 0 h 2827362"/>
                <a:gd name="connsiteX0" fmla="*/ 175198 w 2776580"/>
                <a:gd name="connsiteY0" fmla="*/ 0 h 2782269"/>
                <a:gd name="connsiteX1" fmla="*/ 2776580 w 2776580"/>
                <a:gd name="connsiteY1" fmla="*/ 95250 h 2782269"/>
                <a:gd name="connsiteX2" fmla="*/ 2690881 w 2776580"/>
                <a:gd name="connsiteY2" fmla="*/ 2771708 h 2782269"/>
                <a:gd name="connsiteX3" fmla="*/ 47990 w 2776580"/>
                <a:gd name="connsiteY3" fmla="*/ 2586062 h 2782269"/>
                <a:gd name="connsiteX4" fmla="*/ 175198 w 2776580"/>
                <a:gd name="connsiteY4" fmla="*/ 0 h 2782269"/>
                <a:gd name="connsiteX0" fmla="*/ 175198 w 2776580"/>
                <a:gd name="connsiteY0" fmla="*/ 0 h 2773467"/>
                <a:gd name="connsiteX1" fmla="*/ 2776580 w 2776580"/>
                <a:gd name="connsiteY1" fmla="*/ 95250 h 2773467"/>
                <a:gd name="connsiteX2" fmla="*/ 2762436 w 2776580"/>
                <a:gd name="connsiteY2" fmla="*/ 2755807 h 2773467"/>
                <a:gd name="connsiteX3" fmla="*/ 47990 w 2776580"/>
                <a:gd name="connsiteY3" fmla="*/ 2586062 h 2773467"/>
                <a:gd name="connsiteX4" fmla="*/ 175198 w 2776580"/>
                <a:gd name="connsiteY4" fmla="*/ 0 h 2773467"/>
                <a:gd name="connsiteX0" fmla="*/ 175198 w 2794791"/>
                <a:gd name="connsiteY0" fmla="*/ 0 h 2777766"/>
                <a:gd name="connsiteX1" fmla="*/ 2776580 w 2794791"/>
                <a:gd name="connsiteY1" fmla="*/ 95250 h 2777766"/>
                <a:gd name="connsiteX2" fmla="*/ 2794238 w 2794791"/>
                <a:gd name="connsiteY2" fmla="*/ 2763757 h 2777766"/>
                <a:gd name="connsiteX3" fmla="*/ 47990 w 2794791"/>
                <a:gd name="connsiteY3" fmla="*/ 2586062 h 2777766"/>
                <a:gd name="connsiteX4" fmla="*/ 175198 w 2794791"/>
                <a:gd name="connsiteY4" fmla="*/ 0 h 2777766"/>
                <a:gd name="connsiteX0" fmla="*/ 175198 w 2834230"/>
                <a:gd name="connsiteY0" fmla="*/ 0 h 2777766"/>
                <a:gd name="connsiteX1" fmla="*/ 2776580 w 2834230"/>
                <a:gd name="connsiteY1" fmla="*/ 95250 h 2777766"/>
                <a:gd name="connsiteX2" fmla="*/ 2833991 w 2834230"/>
                <a:gd name="connsiteY2" fmla="*/ 2763757 h 2777766"/>
                <a:gd name="connsiteX3" fmla="*/ 47990 w 2834230"/>
                <a:gd name="connsiteY3" fmla="*/ 2586062 h 2777766"/>
                <a:gd name="connsiteX4" fmla="*/ 175198 w 2834230"/>
                <a:gd name="connsiteY4" fmla="*/ 0 h 2777766"/>
                <a:gd name="connsiteX0" fmla="*/ 175198 w 2881835"/>
                <a:gd name="connsiteY0" fmla="*/ 0 h 2782269"/>
                <a:gd name="connsiteX1" fmla="*/ 2776580 w 2881835"/>
                <a:gd name="connsiteY1" fmla="*/ 95250 h 2782269"/>
                <a:gd name="connsiteX2" fmla="*/ 2881694 w 2881835"/>
                <a:gd name="connsiteY2" fmla="*/ 2771707 h 2782269"/>
                <a:gd name="connsiteX3" fmla="*/ 47990 w 2881835"/>
                <a:gd name="connsiteY3" fmla="*/ 2586062 h 2782269"/>
                <a:gd name="connsiteX4" fmla="*/ 175198 w 2881835"/>
                <a:gd name="connsiteY4" fmla="*/ 0 h 2782269"/>
                <a:gd name="connsiteX0" fmla="*/ 175198 w 2858020"/>
                <a:gd name="connsiteY0" fmla="*/ 0 h 2769357"/>
                <a:gd name="connsiteX1" fmla="*/ 2776580 w 2858020"/>
                <a:gd name="connsiteY1" fmla="*/ 95250 h 2769357"/>
                <a:gd name="connsiteX2" fmla="*/ 2857843 w 2858020"/>
                <a:gd name="connsiteY2" fmla="*/ 2747855 h 2769357"/>
                <a:gd name="connsiteX3" fmla="*/ 47990 w 2858020"/>
                <a:gd name="connsiteY3" fmla="*/ 2586062 h 2769357"/>
                <a:gd name="connsiteX4" fmla="*/ 175198 w 2858020"/>
                <a:gd name="connsiteY4" fmla="*/ 0 h 2769357"/>
                <a:gd name="connsiteX0" fmla="*/ 215022 w 2853154"/>
                <a:gd name="connsiteY0" fmla="*/ 0 h 2769357"/>
                <a:gd name="connsiteX1" fmla="*/ 2771714 w 2853154"/>
                <a:gd name="connsiteY1" fmla="*/ 95250 h 2769357"/>
                <a:gd name="connsiteX2" fmla="*/ 2852977 w 2853154"/>
                <a:gd name="connsiteY2" fmla="*/ 2747855 h 2769357"/>
                <a:gd name="connsiteX3" fmla="*/ 43124 w 2853154"/>
                <a:gd name="connsiteY3" fmla="*/ 2586062 h 2769357"/>
                <a:gd name="connsiteX4" fmla="*/ 215022 w 2853154"/>
                <a:gd name="connsiteY4" fmla="*/ 0 h 2769357"/>
                <a:gd name="connsiteX0" fmla="*/ 210546 w 2853644"/>
                <a:gd name="connsiteY0" fmla="*/ 0 h 2810809"/>
                <a:gd name="connsiteX1" fmla="*/ 2772204 w 2853644"/>
                <a:gd name="connsiteY1" fmla="*/ 136702 h 2810809"/>
                <a:gd name="connsiteX2" fmla="*/ 2853467 w 2853644"/>
                <a:gd name="connsiteY2" fmla="*/ 2789307 h 2810809"/>
                <a:gd name="connsiteX3" fmla="*/ 43614 w 2853644"/>
                <a:gd name="connsiteY3" fmla="*/ 2627514 h 2810809"/>
                <a:gd name="connsiteX4" fmla="*/ 210546 w 2853644"/>
                <a:gd name="connsiteY4" fmla="*/ 0 h 2810809"/>
                <a:gd name="connsiteX0" fmla="*/ 186033 w 2829131"/>
                <a:gd name="connsiteY0" fmla="*/ 0 h 2801315"/>
                <a:gd name="connsiteX1" fmla="*/ 2747691 w 2829131"/>
                <a:gd name="connsiteY1" fmla="*/ 136702 h 2801315"/>
                <a:gd name="connsiteX2" fmla="*/ 2828954 w 2829131"/>
                <a:gd name="connsiteY2" fmla="*/ 2789307 h 2801315"/>
                <a:gd name="connsiteX3" fmla="*/ 46548 w 2829131"/>
                <a:gd name="connsiteY3" fmla="*/ 2607057 h 2801315"/>
                <a:gd name="connsiteX4" fmla="*/ 186033 w 2829131"/>
                <a:gd name="connsiteY4" fmla="*/ 0 h 2801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9131" h="2801315">
                  <a:moveTo>
                    <a:pt x="186033" y="0"/>
                  </a:moveTo>
                  <a:lnTo>
                    <a:pt x="2747691" y="136702"/>
                  </a:lnTo>
                  <a:cubicBezTo>
                    <a:pt x="2742976" y="1023554"/>
                    <a:pt x="2833669" y="1902455"/>
                    <a:pt x="2828954" y="2789307"/>
                  </a:cubicBezTo>
                  <a:cubicBezTo>
                    <a:pt x="1927891" y="2766024"/>
                    <a:pt x="1233361" y="2903390"/>
                    <a:pt x="46548" y="2607057"/>
                  </a:cubicBezTo>
                  <a:cubicBezTo>
                    <a:pt x="-112202" y="1776786"/>
                    <a:pt x="186033" y="862021"/>
                    <a:pt x="186033" y="0"/>
                  </a:cubicBezTo>
                  <a:close/>
                </a:path>
              </a:pathLst>
            </a:custGeom>
            <a:grpFill/>
            <a:ln>
              <a:noFill/>
            </a:ln>
            <a:effectLst>
              <a:outerShdw blurRad="139700" dist="139700" dir="8100000" algn="tr" rotWithShape="0">
                <a:prstClr val="black">
                  <a:alpha val="3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2" name="Rectangle 3"/>
            <p:cNvSpPr/>
            <p:nvPr/>
          </p:nvSpPr>
          <p:spPr>
            <a:xfrm>
              <a:off x="502144" y="4009086"/>
              <a:ext cx="2363185" cy="2387008"/>
            </a:xfrm>
            <a:custGeom>
              <a:avLst/>
              <a:gdLst>
                <a:gd name="connsiteX0" fmla="*/ 0 w 2798440"/>
                <a:gd name="connsiteY0" fmla="*/ 0 h 2808312"/>
                <a:gd name="connsiteX1" fmla="*/ 2798440 w 2798440"/>
                <a:gd name="connsiteY1" fmla="*/ 0 h 2808312"/>
                <a:gd name="connsiteX2" fmla="*/ 2798440 w 2798440"/>
                <a:gd name="connsiteY2" fmla="*/ 2808312 h 2808312"/>
                <a:gd name="connsiteX3" fmla="*/ 0 w 2798440"/>
                <a:gd name="connsiteY3" fmla="*/ 2808312 h 2808312"/>
                <a:gd name="connsiteX4" fmla="*/ 0 w 2798440"/>
                <a:gd name="connsiteY4" fmla="*/ 0 h 2808312"/>
                <a:gd name="connsiteX0" fmla="*/ 0 w 2900040"/>
                <a:gd name="connsiteY0" fmla="*/ 0 h 2808312"/>
                <a:gd name="connsiteX1" fmla="*/ 2900040 w 2900040"/>
                <a:gd name="connsiteY1" fmla="*/ 76200 h 2808312"/>
                <a:gd name="connsiteX2" fmla="*/ 2798440 w 2900040"/>
                <a:gd name="connsiteY2" fmla="*/ 2808312 h 2808312"/>
                <a:gd name="connsiteX3" fmla="*/ 0 w 2900040"/>
                <a:gd name="connsiteY3" fmla="*/ 2808312 h 2808312"/>
                <a:gd name="connsiteX4" fmla="*/ 0 w 2900040"/>
                <a:gd name="connsiteY4" fmla="*/ 0 h 2808312"/>
                <a:gd name="connsiteX0" fmla="*/ 171450 w 2900040"/>
                <a:gd name="connsiteY0" fmla="*/ 0 h 2827362"/>
                <a:gd name="connsiteX1" fmla="*/ 2900040 w 2900040"/>
                <a:gd name="connsiteY1" fmla="*/ 95250 h 2827362"/>
                <a:gd name="connsiteX2" fmla="*/ 2798440 w 2900040"/>
                <a:gd name="connsiteY2" fmla="*/ 2827362 h 2827362"/>
                <a:gd name="connsiteX3" fmla="*/ 0 w 2900040"/>
                <a:gd name="connsiteY3" fmla="*/ 2827362 h 2827362"/>
                <a:gd name="connsiteX4" fmla="*/ 171450 w 2900040"/>
                <a:gd name="connsiteY4" fmla="*/ 0 h 2827362"/>
                <a:gd name="connsiteX0" fmla="*/ 0 w 2728590"/>
                <a:gd name="connsiteY0" fmla="*/ 0 h 2827362"/>
                <a:gd name="connsiteX1" fmla="*/ 2728590 w 2728590"/>
                <a:gd name="connsiteY1" fmla="*/ 95250 h 2827362"/>
                <a:gd name="connsiteX2" fmla="*/ 2626990 w 2728590"/>
                <a:gd name="connsiteY2" fmla="*/ 2827362 h 2827362"/>
                <a:gd name="connsiteX3" fmla="*/ 0 w 2728590"/>
                <a:gd name="connsiteY3" fmla="*/ 2586062 h 2827362"/>
                <a:gd name="connsiteX4" fmla="*/ 0 w 2728590"/>
                <a:gd name="connsiteY4" fmla="*/ 0 h 2827362"/>
                <a:gd name="connsiteX0" fmla="*/ 70555 w 2799145"/>
                <a:gd name="connsiteY0" fmla="*/ 0 h 2827362"/>
                <a:gd name="connsiteX1" fmla="*/ 2799145 w 2799145"/>
                <a:gd name="connsiteY1" fmla="*/ 95250 h 2827362"/>
                <a:gd name="connsiteX2" fmla="*/ 2697545 w 2799145"/>
                <a:gd name="connsiteY2" fmla="*/ 2827362 h 2827362"/>
                <a:gd name="connsiteX3" fmla="*/ 70555 w 2799145"/>
                <a:gd name="connsiteY3" fmla="*/ 2586062 h 2827362"/>
                <a:gd name="connsiteX4" fmla="*/ 70555 w 2799145"/>
                <a:gd name="connsiteY4" fmla="*/ 0 h 2827362"/>
                <a:gd name="connsiteX0" fmla="*/ 70555 w 2799145"/>
                <a:gd name="connsiteY0" fmla="*/ 0 h 2827362"/>
                <a:gd name="connsiteX1" fmla="*/ 2799145 w 2799145"/>
                <a:gd name="connsiteY1" fmla="*/ 95250 h 2827362"/>
                <a:gd name="connsiteX2" fmla="*/ 2697545 w 2799145"/>
                <a:gd name="connsiteY2" fmla="*/ 2827362 h 2827362"/>
                <a:gd name="connsiteX3" fmla="*/ 70555 w 2799145"/>
                <a:gd name="connsiteY3" fmla="*/ 2586062 h 2827362"/>
                <a:gd name="connsiteX4" fmla="*/ 70555 w 2799145"/>
                <a:gd name="connsiteY4" fmla="*/ 0 h 2827362"/>
                <a:gd name="connsiteX0" fmla="*/ 70555 w 2799145"/>
                <a:gd name="connsiteY0" fmla="*/ 0 h 2827362"/>
                <a:gd name="connsiteX1" fmla="*/ 2799145 w 2799145"/>
                <a:gd name="connsiteY1" fmla="*/ 95250 h 2827362"/>
                <a:gd name="connsiteX2" fmla="*/ 2697545 w 2799145"/>
                <a:gd name="connsiteY2" fmla="*/ 2827362 h 2827362"/>
                <a:gd name="connsiteX3" fmla="*/ 70555 w 2799145"/>
                <a:gd name="connsiteY3" fmla="*/ 2586062 h 2827362"/>
                <a:gd name="connsiteX4" fmla="*/ 70555 w 2799145"/>
                <a:gd name="connsiteY4" fmla="*/ 0 h 2827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9145" h="2827362">
                  <a:moveTo>
                    <a:pt x="70555" y="0"/>
                  </a:moveTo>
                  <a:lnTo>
                    <a:pt x="2799145" y="95250"/>
                  </a:lnTo>
                  <a:lnTo>
                    <a:pt x="2697545" y="2827362"/>
                  </a:lnTo>
                  <a:cubicBezTo>
                    <a:pt x="1796482" y="2804079"/>
                    <a:pt x="1257368" y="2882395"/>
                    <a:pt x="70555" y="2586062"/>
                  </a:cubicBezTo>
                  <a:cubicBezTo>
                    <a:pt x="-88195" y="1755791"/>
                    <a:pt x="70555" y="862021"/>
                    <a:pt x="70555"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6" name="TextBox 25"/>
          <p:cNvSpPr txBox="1"/>
          <p:nvPr/>
        </p:nvSpPr>
        <p:spPr>
          <a:xfrm>
            <a:off x="482660" y="2523385"/>
            <a:ext cx="3217269" cy="2646878"/>
          </a:xfrm>
          <a:prstGeom prst="rect">
            <a:avLst/>
          </a:prstGeom>
          <a:noFill/>
          <a:effectLst/>
        </p:spPr>
        <p:txBody>
          <a:bodyPr wrap="square" lIns="182880" tIns="91440" rIns="182880" bIns="91440" rtlCol="0">
            <a:spAutoFit/>
          </a:bodyPr>
          <a:lstStyle/>
          <a:p>
            <a:pPr lvl="0" algn="ctr"/>
            <a:r>
              <a:rPr lang="ms-MY" sz="3200" dirty="0" smtClean="0">
                <a:solidFill>
                  <a:schemeClr val="tx2">
                    <a:lumMod val="50000"/>
                  </a:schemeClr>
                </a:solidFill>
              </a:rPr>
              <a:t>Markah penilaian adalah </a:t>
            </a:r>
            <a:r>
              <a:rPr lang="ms-MY" sz="3200" b="1" dirty="0" smtClean="0">
                <a:solidFill>
                  <a:schemeClr val="tx2">
                    <a:lumMod val="50000"/>
                  </a:schemeClr>
                </a:solidFill>
              </a:rPr>
              <a:t>sulit bagi pihak yang tidak berkenaan</a:t>
            </a:r>
            <a:endParaRPr lang="en-PH" sz="3200" dirty="0" smtClean="0">
              <a:solidFill>
                <a:schemeClr val="tx2">
                  <a:lumMod val="50000"/>
                </a:schemeClr>
              </a:solidFill>
            </a:endParaRPr>
          </a:p>
        </p:txBody>
      </p:sp>
      <p:sp>
        <p:nvSpPr>
          <p:cNvPr id="29" name="TextBox 28"/>
          <p:cNvSpPr txBox="1"/>
          <p:nvPr/>
        </p:nvSpPr>
        <p:spPr>
          <a:xfrm>
            <a:off x="4625433" y="2315956"/>
            <a:ext cx="3970784" cy="3139321"/>
          </a:xfrm>
          <a:prstGeom prst="rect">
            <a:avLst/>
          </a:prstGeom>
          <a:noFill/>
          <a:effectLst/>
        </p:spPr>
        <p:txBody>
          <a:bodyPr wrap="square" lIns="182880" tIns="91440" rIns="182880" bIns="91440" rtlCol="0">
            <a:spAutoFit/>
          </a:bodyPr>
          <a:lstStyle/>
          <a:p>
            <a:pPr lvl="0" algn="ctr"/>
            <a:r>
              <a:rPr lang="ms-MY" sz="2400" dirty="0" smtClean="0"/>
              <a:t>Masalah berkaitan penilaian perlu dibincangkan dan diputuskan oleh Jawatankuasa PBPPP Organisasi berdasarkan garis panduan/ budi bicara/ pertimbangan profesional dalam membuat keputusan.</a:t>
            </a:r>
            <a:endParaRPr lang="en-US" sz="2400" dirty="0" smtClean="0"/>
          </a:p>
        </p:txBody>
      </p:sp>
      <p:sp>
        <p:nvSpPr>
          <p:cNvPr id="78" name="Rectangle 21"/>
          <p:cNvSpPr/>
          <p:nvPr/>
        </p:nvSpPr>
        <p:spPr>
          <a:xfrm rot="18900000">
            <a:off x="-398671" y="2563996"/>
            <a:ext cx="1940953" cy="360103"/>
          </a:xfrm>
          <a:custGeom>
            <a:avLst/>
            <a:gdLst>
              <a:gd name="connsiteX0" fmla="*/ 0 w 1152128"/>
              <a:gd name="connsiteY0" fmla="*/ 0 h 242604"/>
              <a:gd name="connsiteX1" fmla="*/ 1152128 w 1152128"/>
              <a:gd name="connsiteY1" fmla="*/ 0 h 242604"/>
              <a:gd name="connsiteX2" fmla="*/ 1152128 w 1152128"/>
              <a:gd name="connsiteY2" fmla="*/ 242604 h 242604"/>
              <a:gd name="connsiteX3" fmla="*/ 0 w 1152128"/>
              <a:gd name="connsiteY3" fmla="*/ 242604 h 242604"/>
              <a:gd name="connsiteX4" fmla="*/ 0 w 1152128"/>
              <a:gd name="connsiteY4" fmla="*/ 0 h 242604"/>
              <a:gd name="connsiteX0" fmla="*/ 1637 w 1153765"/>
              <a:gd name="connsiteY0" fmla="*/ 0 h 242604"/>
              <a:gd name="connsiteX1" fmla="*/ 1153765 w 1153765"/>
              <a:gd name="connsiteY1" fmla="*/ 0 h 242604"/>
              <a:gd name="connsiteX2" fmla="*/ 1153765 w 1153765"/>
              <a:gd name="connsiteY2" fmla="*/ 242604 h 242604"/>
              <a:gd name="connsiteX3" fmla="*/ 1637 w 1153765"/>
              <a:gd name="connsiteY3" fmla="*/ 242604 h 242604"/>
              <a:gd name="connsiteX4" fmla="*/ 0 w 1153765"/>
              <a:gd name="connsiteY4" fmla="*/ 57657 h 242604"/>
              <a:gd name="connsiteX5" fmla="*/ 1637 w 1153765"/>
              <a:gd name="connsiteY5" fmla="*/ 0 h 242604"/>
              <a:gd name="connsiteX0" fmla="*/ 85266 w 1237394"/>
              <a:gd name="connsiteY0" fmla="*/ 0 h 242604"/>
              <a:gd name="connsiteX1" fmla="*/ 1237394 w 1237394"/>
              <a:gd name="connsiteY1" fmla="*/ 0 h 242604"/>
              <a:gd name="connsiteX2" fmla="*/ 1237394 w 1237394"/>
              <a:gd name="connsiteY2" fmla="*/ 242604 h 242604"/>
              <a:gd name="connsiteX3" fmla="*/ 85266 w 1237394"/>
              <a:gd name="connsiteY3" fmla="*/ 242604 h 242604"/>
              <a:gd name="connsiteX4" fmla="*/ 85314 w 1237394"/>
              <a:gd name="connsiteY4" fmla="*/ 96385 h 242604"/>
              <a:gd name="connsiteX5" fmla="*/ 83629 w 1237394"/>
              <a:gd name="connsiteY5" fmla="*/ 57657 h 242604"/>
              <a:gd name="connsiteX6" fmla="*/ 85266 w 1237394"/>
              <a:gd name="connsiteY6" fmla="*/ 0 h 242604"/>
              <a:gd name="connsiteX0" fmla="*/ 105071 w 1257199"/>
              <a:gd name="connsiteY0" fmla="*/ 0 h 242604"/>
              <a:gd name="connsiteX1" fmla="*/ 1257199 w 1257199"/>
              <a:gd name="connsiteY1" fmla="*/ 0 h 242604"/>
              <a:gd name="connsiteX2" fmla="*/ 1257199 w 1257199"/>
              <a:gd name="connsiteY2" fmla="*/ 242604 h 242604"/>
              <a:gd name="connsiteX3" fmla="*/ 105071 w 1257199"/>
              <a:gd name="connsiteY3" fmla="*/ 242604 h 242604"/>
              <a:gd name="connsiteX4" fmla="*/ 52921 w 1257199"/>
              <a:gd name="connsiteY4" fmla="*/ 155317 h 242604"/>
              <a:gd name="connsiteX5" fmla="*/ 105119 w 1257199"/>
              <a:gd name="connsiteY5" fmla="*/ 96385 h 242604"/>
              <a:gd name="connsiteX6" fmla="*/ 103434 w 1257199"/>
              <a:gd name="connsiteY6" fmla="*/ 57657 h 242604"/>
              <a:gd name="connsiteX7" fmla="*/ 105071 w 1257199"/>
              <a:gd name="connsiteY7" fmla="*/ 0 h 242604"/>
              <a:gd name="connsiteX0" fmla="*/ 123870 w 1275998"/>
              <a:gd name="connsiteY0" fmla="*/ 0 h 242604"/>
              <a:gd name="connsiteX1" fmla="*/ 1275998 w 1275998"/>
              <a:gd name="connsiteY1" fmla="*/ 0 h 242604"/>
              <a:gd name="connsiteX2" fmla="*/ 1275998 w 1275998"/>
              <a:gd name="connsiteY2" fmla="*/ 242604 h 242604"/>
              <a:gd name="connsiteX3" fmla="*/ 123870 w 1275998"/>
              <a:gd name="connsiteY3" fmla="*/ 242604 h 242604"/>
              <a:gd name="connsiteX4" fmla="*/ 26256 w 1275998"/>
              <a:gd name="connsiteY4" fmla="*/ 197412 h 242604"/>
              <a:gd name="connsiteX5" fmla="*/ 71720 w 1275998"/>
              <a:gd name="connsiteY5" fmla="*/ 155317 h 242604"/>
              <a:gd name="connsiteX6" fmla="*/ 123918 w 1275998"/>
              <a:gd name="connsiteY6" fmla="*/ 96385 h 242604"/>
              <a:gd name="connsiteX7" fmla="*/ 122233 w 1275998"/>
              <a:gd name="connsiteY7" fmla="*/ 57657 h 242604"/>
              <a:gd name="connsiteX8" fmla="*/ 123870 w 1275998"/>
              <a:gd name="connsiteY8" fmla="*/ 0 h 242604"/>
              <a:gd name="connsiteX0" fmla="*/ 123870 w 1275998"/>
              <a:gd name="connsiteY0" fmla="*/ 0 h 242604"/>
              <a:gd name="connsiteX1" fmla="*/ 1275998 w 1275998"/>
              <a:gd name="connsiteY1" fmla="*/ 0 h 242604"/>
              <a:gd name="connsiteX2" fmla="*/ 1275998 w 1275998"/>
              <a:gd name="connsiteY2" fmla="*/ 242604 h 242604"/>
              <a:gd name="connsiteX3" fmla="*/ 123870 w 1275998"/>
              <a:gd name="connsiteY3" fmla="*/ 242604 h 242604"/>
              <a:gd name="connsiteX4" fmla="*/ 26256 w 1275998"/>
              <a:gd name="connsiteY4" fmla="*/ 197412 h 242604"/>
              <a:gd name="connsiteX5" fmla="*/ 71720 w 1275998"/>
              <a:gd name="connsiteY5" fmla="*/ 155317 h 242604"/>
              <a:gd name="connsiteX6" fmla="*/ 123918 w 1275998"/>
              <a:gd name="connsiteY6" fmla="*/ 96385 h 242604"/>
              <a:gd name="connsiteX7" fmla="*/ 199688 w 1275998"/>
              <a:gd name="connsiteY7" fmla="*/ 57657 h 242604"/>
              <a:gd name="connsiteX8" fmla="*/ 123870 w 1275998"/>
              <a:gd name="connsiteY8" fmla="*/ 0 h 242604"/>
              <a:gd name="connsiteX0" fmla="*/ 123870 w 1275998"/>
              <a:gd name="connsiteY0" fmla="*/ 0 h 242604"/>
              <a:gd name="connsiteX1" fmla="*/ 1275998 w 1275998"/>
              <a:gd name="connsiteY1" fmla="*/ 0 h 242604"/>
              <a:gd name="connsiteX2" fmla="*/ 1275998 w 1275998"/>
              <a:gd name="connsiteY2" fmla="*/ 242604 h 242604"/>
              <a:gd name="connsiteX3" fmla="*/ 123870 w 1275998"/>
              <a:gd name="connsiteY3" fmla="*/ 242604 h 242604"/>
              <a:gd name="connsiteX4" fmla="*/ 26256 w 1275998"/>
              <a:gd name="connsiteY4" fmla="*/ 197412 h 242604"/>
              <a:gd name="connsiteX5" fmla="*/ 90242 w 1275998"/>
              <a:gd name="connsiteY5" fmla="*/ 150265 h 242604"/>
              <a:gd name="connsiteX6" fmla="*/ 123918 w 1275998"/>
              <a:gd name="connsiteY6" fmla="*/ 96385 h 242604"/>
              <a:gd name="connsiteX7" fmla="*/ 199688 w 1275998"/>
              <a:gd name="connsiteY7" fmla="*/ 57657 h 242604"/>
              <a:gd name="connsiteX8" fmla="*/ 123870 w 1275998"/>
              <a:gd name="connsiteY8" fmla="*/ 0 h 242604"/>
              <a:gd name="connsiteX0" fmla="*/ 123870 w 1277318"/>
              <a:gd name="connsiteY0" fmla="*/ 0 h 242604"/>
              <a:gd name="connsiteX1" fmla="*/ 1275998 w 1277318"/>
              <a:gd name="connsiteY1" fmla="*/ 0 h 242604"/>
              <a:gd name="connsiteX2" fmla="*/ 1277318 w 1277318"/>
              <a:gd name="connsiteY2" fmla="*/ 47554 h 242604"/>
              <a:gd name="connsiteX3" fmla="*/ 1275998 w 1277318"/>
              <a:gd name="connsiteY3" fmla="*/ 242604 h 242604"/>
              <a:gd name="connsiteX4" fmla="*/ 123870 w 1277318"/>
              <a:gd name="connsiteY4" fmla="*/ 242604 h 242604"/>
              <a:gd name="connsiteX5" fmla="*/ 26256 w 1277318"/>
              <a:gd name="connsiteY5" fmla="*/ 197412 h 242604"/>
              <a:gd name="connsiteX6" fmla="*/ 90242 w 1277318"/>
              <a:gd name="connsiteY6" fmla="*/ 150265 h 242604"/>
              <a:gd name="connsiteX7" fmla="*/ 123918 w 1277318"/>
              <a:gd name="connsiteY7" fmla="*/ 96385 h 242604"/>
              <a:gd name="connsiteX8" fmla="*/ 199688 w 1277318"/>
              <a:gd name="connsiteY8" fmla="*/ 57657 h 242604"/>
              <a:gd name="connsiteX9" fmla="*/ 123870 w 1277318"/>
              <a:gd name="connsiteY9" fmla="*/ 0 h 242604"/>
              <a:gd name="connsiteX0" fmla="*/ 123870 w 1277318"/>
              <a:gd name="connsiteY0" fmla="*/ 0 h 242604"/>
              <a:gd name="connsiteX1" fmla="*/ 1275998 w 1277318"/>
              <a:gd name="connsiteY1" fmla="*/ 0 h 242604"/>
              <a:gd name="connsiteX2" fmla="*/ 1277318 w 1277318"/>
              <a:gd name="connsiteY2" fmla="*/ 47554 h 242604"/>
              <a:gd name="connsiteX3" fmla="*/ 1277318 w 1277318"/>
              <a:gd name="connsiteY3" fmla="*/ 175523 h 242604"/>
              <a:gd name="connsiteX4" fmla="*/ 1275998 w 1277318"/>
              <a:gd name="connsiteY4" fmla="*/ 242604 h 242604"/>
              <a:gd name="connsiteX5" fmla="*/ 123870 w 1277318"/>
              <a:gd name="connsiteY5" fmla="*/ 242604 h 242604"/>
              <a:gd name="connsiteX6" fmla="*/ 26256 w 1277318"/>
              <a:gd name="connsiteY6" fmla="*/ 197412 h 242604"/>
              <a:gd name="connsiteX7" fmla="*/ 90242 w 1277318"/>
              <a:gd name="connsiteY7" fmla="*/ 150265 h 242604"/>
              <a:gd name="connsiteX8" fmla="*/ 123918 w 1277318"/>
              <a:gd name="connsiteY8" fmla="*/ 96385 h 242604"/>
              <a:gd name="connsiteX9" fmla="*/ 199688 w 1277318"/>
              <a:gd name="connsiteY9" fmla="*/ 57657 h 242604"/>
              <a:gd name="connsiteX10" fmla="*/ 123870 w 1277318"/>
              <a:gd name="connsiteY10" fmla="*/ 0 h 242604"/>
              <a:gd name="connsiteX0" fmla="*/ 123870 w 1277318"/>
              <a:gd name="connsiteY0" fmla="*/ 0 h 242604"/>
              <a:gd name="connsiteX1" fmla="*/ 1275998 w 1277318"/>
              <a:gd name="connsiteY1" fmla="*/ 0 h 242604"/>
              <a:gd name="connsiteX2" fmla="*/ 1277318 w 1277318"/>
              <a:gd name="connsiteY2" fmla="*/ 47554 h 242604"/>
              <a:gd name="connsiteX3" fmla="*/ 1277317 w 1277318"/>
              <a:gd name="connsiteY3" fmla="*/ 98069 h 242604"/>
              <a:gd name="connsiteX4" fmla="*/ 1277318 w 1277318"/>
              <a:gd name="connsiteY4" fmla="*/ 175523 h 242604"/>
              <a:gd name="connsiteX5" fmla="*/ 1275998 w 1277318"/>
              <a:gd name="connsiteY5" fmla="*/ 242604 h 242604"/>
              <a:gd name="connsiteX6" fmla="*/ 123870 w 1277318"/>
              <a:gd name="connsiteY6" fmla="*/ 242604 h 242604"/>
              <a:gd name="connsiteX7" fmla="*/ 26256 w 1277318"/>
              <a:gd name="connsiteY7" fmla="*/ 197412 h 242604"/>
              <a:gd name="connsiteX8" fmla="*/ 90242 w 1277318"/>
              <a:gd name="connsiteY8" fmla="*/ 150265 h 242604"/>
              <a:gd name="connsiteX9" fmla="*/ 123918 w 1277318"/>
              <a:gd name="connsiteY9" fmla="*/ 96385 h 242604"/>
              <a:gd name="connsiteX10" fmla="*/ 199688 w 1277318"/>
              <a:gd name="connsiteY10" fmla="*/ 57657 h 242604"/>
              <a:gd name="connsiteX11" fmla="*/ 123870 w 1277318"/>
              <a:gd name="connsiteY11" fmla="*/ 0 h 242604"/>
              <a:gd name="connsiteX0" fmla="*/ 123870 w 1277318"/>
              <a:gd name="connsiteY0" fmla="*/ 0 h 242604"/>
              <a:gd name="connsiteX1" fmla="*/ 1275998 w 1277318"/>
              <a:gd name="connsiteY1" fmla="*/ 0 h 242604"/>
              <a:gd name="connsiteX2" fmla="*/ 1248694 w 1277318"/>
              <a:gd name="connsiteY2" fmla="*/ 42503 h 242604"/>
              <a:gd name="connsiteX3" fmla="*/ 1277317 w 1277318"/>
              <a:gd name="connsiteY3" fmla="*/ 98069 h 242604"/>
              <a:gd name="connsiteX4" fmla="*/ 1277318 w 1277318"/>
              <a:gd name="connsiteY4" fmla="*/ 175523 h 242604"/>
              <a:gd name="connsiteX5" fmla="*/ 1275998 w 1277318"/>
              <a:gd name="connsiteY5" fmla="*/ 242604 h 242604"/>
              <a:gd name="connsiteX6" fmla="*/ 123870 w 1277318"/>
              <a:gd name="connsiteY6" fmla="*/ 242604 h 242604"/>
              <a:gd name="connsiteX7" fmla="*/ 26256 w 1277318"/>
              <a:gd name="connsiteY7" fmla="*/ 197412 h 242604"/>
              <a:gd name="connsiteX8" fmla="*/ 90242 w 1277318"/>
              <a:gd name="connsiteY8" fmla="*/ 150265 h 242604"/>
              <a:gd name="connsiteX9" fmla="*/ 123918 w 1277318"/>
              <a:gd name="connsiteY9" fmla="*/ 96385 h 242604"/>
              <a:gd name="connsiteX10" fmla="*/ 199688 w 1277318"/>
              <a:gd name="connsiteY10" fmla="*/ 57657 h 242604"/>
              <a:gd name="connsiteX11" fmla="*/ 123870 w 1277318"/>
              <a:gd name="connsiteY11" fmla="*/ 0 h 242604"/>
              <a:gd name="connsiteX0" fmla="*/ 123870 w 1295839"/>
              <a:gd name="connsiteY0" fmla="*/ 0 h 242604"/>
              <a:gd name="connsiteX1" fmla="*/ 1275998 w 1295839"/>
              <a:gd name="connsiteY1" fmla="*/ 0 h 242604"/>
              <a:gd name="connsiteX2" fmla="*/ 1248694 w 1295839"/>
              <a:gd name="connsiteY2" fmla="*/ 42503 h 242604"/>
              <a:gd name="connsiteX3" fmla="*/ 1295839 w 1295839"/>
              <a:gd name="connsiteY3" fmla="*/ 89650 h 242604"/>
              <a:gd name="connsiteX4" fmla="*/ 1277318 w 1295839"/>
              <a:gd name="connsiteY4" fmla="*/ 175523 h 242604"/>
              <a:gd name="connsiteX5" fmla="*/ 1275998 w 1295839"/>
              <a:gd name="connsiteY5" fmla="*/ 242604 h 242604"/>
              <a:gd name="connsiteX6" fmla="*/ 123870 w 1295839"/>
              <a:gd name="connsiteY6" fmla="*/ 242604 h 242604"/>
              <a:gd name="connsiteX7" fmla="*/ 26256 w 1295839"/>
              <a:gd name="connsiteY7" fmla="*/ 197412 h 242604"/>
              <a:gd name="connsiteX8" fmla="*/ 90242 w 1295839"/>
              <a:gd name="connsiteY8" fmla="*/ 150265 h 242604"/>
              <a:gd name="connsiteX9" fmla="*/ 123918 w 1295839"/>
              <a:gd name="connsiteY9" fmla="*/ 96385 h 242604"/>
              <a:gd name="connsiteX10" fmla="*/ 199688 w 1295839"/>
              <a:gd name="connsiteY10" fmla="*/ 57657 h 242604"/>
              <a:gd name="connsiteX11" fmla="*/ 123870 w 1295839"/>
              <a:gd name="connsiteY11" fmla="*/ 0 h 242604"/>
              <a:gd name="connsiteX0" fmla="*/ 123870 w 1296242"/>
              <a:gd name="connsiteY0" fmla="*/ 0 h 242604"/>
              <a:gd name="connsiteX1" fmla="*/ 1275998 w 1296242"/>
              <a:gd name="connsiteY1" fmla="*/ 0 h 242604"/>
              <a:gd name="connsiteX2" fmla="*/ 1248694 w 1296242"/>
              <a:gd name="connsiteY2" fmla="*/ 42503 h 242604"/>
              <a:gd name="connsiteX3" fmla="*/ 1295839 w 1296242"/>
              <a:gd name="connsiteY3" fmla="*/ 89650 h 242604"/>
              <a:gd name="connsiteX4" fmla="*/ 1243642 w 1296242"/>
              <a:gd name="connsiteY4" fmla="*/ 141847 h 242604"/>
              <a:gd name="connsiteX5" fmla="*/ 1277318 w 1296242"/>
              <a:gd name="connsiteY5" fmla="*/ 175523 h 242604"/>
              <a:gd name="connsiteX6" fmla="*/ 1275998 w 1296242"/>
              <a:gd name="connsiteY6" fmla="*/ 242604 h 242604"/>
              <a:gd name="connsiteX7" fmla="*/ 123870 w 1296242"/>
              <a:gd name="connsiteY7" fmla="*/ 242604 h 242604"/>
              <a:gd name="connsiteX8" fmla="*/ 26256 w 1296242"/>
              <a:gd name="connsiteY8" fmla="*/ 197412 h 242604"/>
              <a:gd name="connsiteX9" fmla="*/ 90242 w 1296242"/>
              <a:gd name="connsiteY9" fmla="*/ 150265 h 242604"/>
              <a:gd name="connsiteX10" fmla="*/ 123918 w 1296242"/>
              <a:gd name="connsiteY10" fmla="*/ 96385 h 242604"/>
              <a:gd name="connsiteX11" fmla="*/ 199688 w 1296242"/>
              <a:gd name="connsiteY11" fmla="*/ 57657 h 242604"/>
              <a:gd name="connsiteX12" fmla="*/ 123870 w 1296242"/>
              <a:gd name="connsiteY12" fmla="*/ 0 h 242604"/>
              <a:gd name="connsiteX0" fmla="*/ 123870 w 1307634"/>
              <a:gd name="connsiteY0" fmla="*/ 0 h 242604"/>
              <a:gd name="connsiteX1" fmla="*/ 1275998 w 1307634"/>
              <a:gd name="connsiteY1" fmla="*/ 0 h 242604"/>
              <a:gd name="connsiteX2" fmla="*/ 1248694 w 1307634"/>
              <a:gd name="connsiteY2" fmla="*/ 42503 h 242604"/>
              <a:gd name="connsiteX3" fmla="*/ 1295839 w 1307634"/>
              <a:gd name="connsiteY3" fmla="*/ 89650 h 242604"/>
              <a:gd name="connsiteX4" fmla="*/ 1243642 w 1307634"/>
              <a:gd name="connsiteY4" fmla="*/ 141847 h 242604"/>
              <a:gd name="connsiteX5" fmla="*/ 1277318 w 1307634"/>
              <a:gd name="connsiteY5" fmla="*/ 175523 h 242604"/>
              <a:gd name="connsiteX6" fmla="*/ 1307627 w 1307634"/>
              <a:gd name="connsiteY6" fmla="*/ 229404 h 242604"/>
              <a:gd name="connsiteX7" fmla="*/ 1275998 w 1307634"/>
              <a:gd name="connsiteY7" fmla="*/ 242604 h 242604"/>
              <a:gd name="connsiteX8" fmla="*/ 123870 w 1307634"/>
              <a:gd name="connsiteY8" fmla="*/ 242604 h 242604"/>
              <a:gd name="connsiteX9" fmla="*/ 26256 w 1307634"/>
              <a:gd name="connsiteY9" fmla="*/ 197412 h 242604"/>
              <a:gd name="connsiteX10" fmla="*/ 90242 w 1307634"/>
              <a:gd name="connsiteY10" fmla="*/ 150265 h 242604"/>
              <a:gd name="connsiteX11" fmla="*/ 123918 w 1307634"/>
              <a:gd name="connsiteY11" fmla="*/ 96385 h 242604"/>
              <a:gd name="connsiteX12" fmla="*/ 199688 w 1307634"/>
              <a:gd name="connsiteY12" fmla="*/ 57657 h 242604"/>
              <a:gd name="connsiteX13" fmla="*/ 123870 w 1307634"/>
              <a:gd name="connsiteY13" fmla="*/ 0 h 24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7634" h="242604">
                <a:moveTo>
                  <a:pt x="123870" y="0"/>
                </a:moveTo>
                <a:lnTo>
                  <a:pt x="1275998" y="0"/>
                </a:lnTo>
                <a:lnTo>
                  <a:pt x="1248694" y="42503"/>
                </a:lnTo>
                <a:cubicBezTo>
                  <a:pt x="1248694" y="59341"/>
                  <a:pt x="1295839" y="72812"/>
                  <a:pt x="1295839" y="89650"/>
                </a:cubicBezTo>
                <a:cubicBezTo>
                  <a:pt x="1301451" y="109856"/>
                  <a:pt x="1246729" y="127535"/>
                  <a:pt x="1243642" y="141847"/>
                </a:cubicBezTo>
                <a:cubicBezTo>
                  <a:pt x="1240555" y="156159"/>
                  <a:pt x="1271986" y="168507"/>
                  <a:pt x="1277318" y="175523"/>
                </a:cubicBezTo>
                <a:cubicBezTo>
                  <a:pt x="1276757" y="178329"/>
                  <a:pt x="1308188" y="226598"/>
                  <a:pt x="1307627" y="229404"/>
                </a:cubicBezTo>
                <a:lnTo>
                  <a:pt x="1275998" y="242604"/>
                </a:lnTo>
                <a:lnTo>
                  <a:pt x="123870" y="242604"/>
                </a:lnTo>
                <a:cubicBezTo>
                  <a:pt x="-84420" y="235072"/>
                  <a:pt x="34948" y="211960"/>
                  <a:pt x="26256" y="197412"/>
                </a:cubicBezTo>
                <a:cubicBezTo>
                  <a:pt x="17564" y="182864"/>
                  <a:pt x="73965" y="167103"/>
                  <a:pt x="90242" y="150265"/>
                </a:cubicBezTo>
                <a:cubicBezTo>
                  <a:pt x="106519" y="133427"/>
                  <a:pt x="115499" y="112662"/>
                  <a:pt x="123918" y="96385"/>
                </a:cubicBezTo>
                <a:cubicBezTo>
                  <a:pt x="132337" y="80108"/>
                  <a:pt x="199696" y="73721"/>
                  <a:pt x="199688" y="57657"/>
                </a:cubicBezTo>
                <a:cubicBezTo>
                  <a:pt x="200234" y="38438"/>
                  <a:pt x="123324" y="19219"/>
                  <a:pt x="123870" y="0"/>
                </a:cubicBezTo>
                <a:close/>
              </a:path>
            </a:pathLst>
          </a:custGeom>
          <a:solidFill>
            <a:srgbClr val="BEC6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3" name="Rectangle 21"/>
          <p:cNvSpPr/>
          <p:nvPr/>
        </p:nvSpPr>
        <p:spPr>
          <a:xfrm rot="2959865">
            <a:off x="2370777" y="1952842"/>
            <a:ext cx="2142799" cy="474717"/>
          </a:xfrm>
          <a:custGeom>
            <a:avLst/>
            <a:gdLst>
              <a:gd name="connsiteX0" fmla="*/ 0 w 1152128"/>
              <a:gd name="connsiteY0" fmla="*/ 0 h 242604"/>
              <a:gd name="connsiteX1" fmla="*/ 1152128 w 1152128"/>
              <a:gd name="connsiteY1" fmla="*/ 0 h 242604"/>
              <a:gd name="connsiteX2" fmla="*/ 1152128 w 1152128"/>
              <a:gd name="connsiteY2" fmla="*/ 242604 h 242604"/>
              <a:gd name="connsiteX3" fmla="*/ 0 w 1152128"/>
              <a:gd name="connsiteY3" fmla="*/ 242604 h 242604"/>
              <a:gd name="connsiteX4" fmla="*/ 0 w 1152128"/>
              <a:gd name="connsiteY4" fmla="*/ 0 h 242604"/>
              <a:gd name="connsiteX0" fmla="*/ 1637 w 1153765"/>
              <a:gd name="connsiteY0" fmla="*/ 0 h 242604"/>
              <a:gd name="connsiteX1" fmla="*/ 1153765 w 1153765"/>
              <a:gd name="connsiteY1" fmla="*/ 0 h 242604"/>
              <a:gd name="connsiteX2" fmla="*/ 1153765 w 1153765"/>
              <a:gd name="connsiteY2" fmla="*/ 242604 h 242604"/>
              <a:gd name="connsiteX3" fmla="*/ 1637 w 1153765"/>
              <a:gd name="connsiteY3" fmla="*/ 242604 h 242604"/>
              <a:gd name="connsiteX4" fmla="*/ 0 w 1153765"/>
              <a:gd name="connsiteY4" fmla="*/ 57657 h 242604"/>
              <a:gd name="connsiteX5" fmla="*/ 1637 w 1153765"/>
              <a:gd name="connsiteY5" fmla="*/ 0 h 242604"/>
              <a:gd name="connsiteX0" fmla="*/ 85266 w 1237394"/>
              <a:gd name="connsiteY0" fmla="*/ 0 h 242604"/>
              <a:gd name="connsiteX1" fmla="*/ 1237394 w 1237394"/>
              <a:gd name="connsiteY1" fmla="*/ 0 h 242604"/>
              <a:gd name="connsiteX2" fmla="*/ 1237394 w 1237394"/>
              <a:gd name="connsiteY2" fmla="*/ 242604 h 242604"/>
              <a:gd name="connsiteX3" fmla="*/ 85266 w 1237394"/>
              <a:gd name="connsiteY3" fmla="*/ 242604 h 242604"/>
              <a:gd name="connsiteX4" fmla="*/ 85314 w 1237394"/>
              <a:gd name="connsiteY4" fmla="*/ 96385 h 242604"/>
              <a:gd name="connsiteX5" fmla="*/ 83629 w 1237394"/>
              <a:gd name="connsiteY5" fmla="*/ 57657 h 242604"/>
              <a:gd name="connsiteX6" fmla="*/ 85266 w 1237394"/>
              <a:gd name="connsiteY6" fmla="*/ 0 h 242604"/>
              <a:gd name="connsiteX0" fmla="*/ 105071 w 1257199"/>
              <a:gd name="connsiteY0" fmla="*/ 0 h 242604"/>
              <a:gd name="connsiteX1" fmla="*/ 1257199 w 1257199"/>
              <a:gd name="connsiteY1" fmla="*/ 0 h 242604"/>
              <a:gd name="connsiteX2" fmla="*/ 1257199 w 1257199"/>
              <a:gd name="connsiteY2" fmla="*/ 242604 h 242604"/>
              <a:gd name="connsiteX3" fmla="*/ 105071 w 1257199"/>
              <a:gd name="connsiteY3" fmla="*/ 242604 h 242604"/>
              <a:gd name="connsiteX4" fmla="*/ 52921 w 1257199"/>
              <a:gd name="connsiteY4" fmla="*/ 155317 h 242604"/>
              <a:gd name="connsiteX5" fmla="*/ 105119 w 1257199"/>
              <a:gd name="connsiteY5" fmla="*/ 96385 h 242604"/>
              <a:gd name="connsiteX6" fmla="*/ 103434 w 1257199"/>
              <a:gd name="connsiteY6" fmla="*/ 57657 h 242604"/>
              <a:gd name="connsiteX7" fmla="*/ 105071 w 1257199"/>
              <a:gd name="connsiteY7" fmla="*/ 0 h 242604"/>
              <a:gd name="connsiteX0" fmla="*/ 123870 w 1275998"/>
              <a:gd name="connsiteY0" fmla="*/ 0 h 242604"/>
              <a:gd name="connsiteX1" fmla="*/ 1275998 w 1275998"/>
              <a:gd name="connsiteY1" fmla="*/ 0 h 242604"/>
              <a:gd name="connsiteX2" fmla="*/ 1275998 w 1275998"/>
              <a:gd name="connsiteY2" fmla="*/ 242604 h 242604"/>
              <a:gd name="connsiteX3" fmla="*/ 123870 w 1275998"/>
              <a:gd name="connsiteY3" fmla="*/ 242604 h 242604"/>
              <a:gd name="connsiteX4" fmla="*/ 26256 w 1275998"/>
              <a:gd name="connsiteY4" fmla="*/ 197412 h 242604"/>
              <a:gd name="connsiteX5" fmla="*/ 71720 w 1275998"/>
              <a:gd name="connsiteY5" fmla="*/ 155317 h 242604"/>
              <a:gd name="connsiteX6" fmla="*/ 123918 w 1275998"/>
              <a:gd name="connsiteY6" fmla="*/ 96385 h 242604"/>
              <a:gd name="connsiteX7" fmla="*/ 122233 w 1275998"/>
              <a:gd name="connsiteY7" fmla="*/ 57657 h 242604"/>
              <a:gd name="connsiteX8" fmla="*/ 123870 w 1275998"/>
              <a:gd name="connsiteY8" fmla="*/ 0 h 242604"/>
              <a:gd name="connsiteX0" fmla="*/ 123870 w 1275998"/>
              <a:gd name="connsiteY0" fmla="*/ 0 h 242604"/>
              <a:gd name="connsiteX1" fmla="*/ 1275998 w 1275998"/>
              <a:gd name="connsiteY1" fmla="*/ 0 h 242604"/>
              <a:gd name="connsiteX2" fmla="*/ 1275998 w 1275998"/>
              <a:gd name="connsiteY2" fmla="*/ 242604 h 242604"/>
              <a:gd name="connsiteX3" fmla="*/ 123870 w 1275998"/>
              <a:gd name="connsiteY3" fmla="*/ 242604 h 242604"/>
              <a:gd name="connsiteX4" fmla="*/ 26256 w 1275998"/>
              <a:gd name="connsiteY4" fmla="*/ 197412 h 242604"/>
              <a:gd name="connsiteX5" fmla="*/ 71720 w 1275998"/>
              <a:gd name="connsiteY5" fmla="*/ 155317 h 242604"/>
              <a:gd name="connsiteX6" fmla="*/ 123918 w 1275998"/>
              <a:gd name="connsiteY6" fmla="*/ 96385 h 242604"/>
              <a:gd name="connsiteX7" fmla="*/ 199688 w 1275998"/>
              <a:gd name="connsiteY7" fmla="*/ 57657 h 242604"/>
              <a:gd name="connsiteX8" fmla="*/ 123870 w 1275998"/>
              <a:gd name="connsiteY8" fmla="*/ 0 h 242604"/>
              <a:gd name="connsiteX0" fmla="*/ 123870 w 1275998"/>
              <a:gd name="connsiteY0" fmla="*/ 0 h 242604"/>
              <a:gd name="connsiteX1" fmla="*/ 1275998 w 1275998"/>
              <a:gd name="connsiteY1" fmla="*/ 0 h 242604"/>
              <a:gd name="connsiteX2" fmla="*/ 1275998 w 1275998"/>
              <a:gd name="connsiteY2" fmla="*/ 242604 h 242604"/>
              <a:gd name="connsiteX3" fmla="*/ 123870 w 1275998"/>
              <a:gd name="connsiteY3" fmla="*/ 242604 h 242604"/>
              <a:gd name="connsiteX4" fmla="*/ 26256 w 1275998"/>
              <a:gd name="connsiteY4" fmla="*/ 197412 h 242604"/>
              <a:gd name="connsiteX5" fmla="*/ 90242 w 1275998"/>
              <a:gd name="connsiteY5" fmla="*/ 150265 h 242604"/>
              <a:gd name="connsiteX6" fmla="*/ 123918 w 1275998"/>
              <a:gd name="connsiteY6" fmla="*/ 96385 h 242604"/>
              <a:gd name="connsiteX7" fmla="*/ 199688 w 1275998"/>
              <a:gd name="connsiteY7" fmla="*/ 57657 h 242604"/>
              <a:gd name="connsiteX8" fmla="*/ 123870 w 1275998"/>
              <a:gd name="connsiteY8" fmla="*/ 0 h 242604"/>
              <a:gd name="connsiteX0" fmla="*/ 123870 w 1277318"/>
              <a:gd name="connsiteY0" fmla="*/ 0 h 242604"/>
              <a:gd name="connsiteX1" fmla="*/ 1275998 w 1277318"/>
              <a:gd name="connsiteY1" fmla="*/ 0 h 242604"/>
              <a:gd name="connsiteX2" fmla="*/ 1277318 w 1277318"/>
              <a:gd name="connsiteY2" fmla="*/ 47554 h 242604"/>
              <a:gd name="connsiteX3" fmla="*/ 1275998 w 1277318"/>
              <a:gd name="connsiteY3" fmla="*/ 242604 h 242604"/>
              <a:gd name="connsiteX4" fmla="*/ 123870 w 1277318"/>
              <a:gd name="connsiteY4" fmla="*/ 242604 h 242604"/>
              <a:gd name="connsiteX5" fmla="*/ 26256 w 1277318"/>
              <a:gd name="connsiteY5" fmla="*/ 197412 h 242604"/>
              <a:gd name="connsiteX6" fmla="*/ 90242 w 1277318"/>
              <a:gd name="connsiteY6" fmla="*/ 150265 h 242604"/>
              <a:gd name="connsiteX7" fmla="*/ 123918 w 1277318"/>
              <a:gd name="connsiteY7" fmla="*/ 96385 h 242604"/>
              <a:gd name="connsiteX8" fmla="*/ 199688 w 1277318"/>
              <a:gd name="connsiteY8" fmla="*/ 57657 h 242604"/>
              <a:gd name="connsiteX9" fmla="*/ 123870 w 1277318"/>
              <a:gd name="connsiteY9" fmla="*/ 0 h 242604"/>
              <a:gd name="connsiteX0" fmla="*/ 123870 w 1277318"/>
              <a:gd name="connsiteY0" fmla="*/ 0 h 242604"/>
              <a:gd name="connsiteX1" fmla="*/ 1275998 w 1277318"/>
              <a:gd name="connsiteY1" fmla="*/ 0 h 242604"/>
              <a:gd name="connsiteX2" fmla="*/ 1277318 w 1277318"/>
              <a:gd name="connsiteY2" fmla="*/ 47554 h 242604"/>
              <a:gd name="connsiteX3" fmla="*/ 1277318 w 1277318"/>
              <a:gd name="connsiteY3" fmla="*/ 175523 h 242604"/>
              <a:gd name="connsiteX4" fmla="*/ 1275998 w 1277318"/>
              <a:gd name="connsiteY4" fmla="*/ 242604 h 242604"/>
              <a:gd name="connsiteX5" fmla="*/ 123870 w 1277318"/>
              <a:gd name="connsiteY5" fmla="*/ 242604 h 242604"/>
              <a:gd name="connsiteX6" fmla="*/ 26256 w 1277318"/>
              <a:gd name="connsiteY6" fmla="*/ 197412 h 242604"/>
              <a:gd name="connsiteX7" fmla="*/ 90242 w 1277318"/>
              <a:gd name="connsiteY7" fmla="*/ 150265 h 242604"/>
              <a:gd name="connsiteX8" fmla="*/ 123918 w 1277318"/>
              <a:gd name="connsiteY8" fmla="*/ 96385 h 242604"/>
              <a:gd name="connsiteX9" fmla="*/ 199688 w 1277318"/>
              <a:gd name="connsiteY9" fmla="*/ 57657 h 242604"/>
              <a:gd name="connsiteX10" fmla="*/ 123870 w 1277318"/>
              <a:gd name="connsiteY10" fmla="*/ 0 h 242604"/>
              <a:gd name="connsiteX0" fmla="*/ 123870 w 1277318"/>
              <a:gd name="connsiteY0" fmla="*/ 0 h 242604"/>
              <a:gd name="connsiteX1" fmla="*/ 1275998 w 1277318"/>
              <a:gd name="connsiteY1" fmla="*/ 0 h 242604"/>
              <a:gd name="connsiteX2" fmla="*/ 1277318 w 1277318"/>
              <a:gd name="connsiteY2" fmla="*/ 47554 h 242604"/>
              <a:gd name="connsiteX3" fmla="*/ 1277317 w 1277318"/>
              <a:gd name="connsiteY3" fmla="*/ 98069 h 242604"/>
              <a:gd name="connsiteX4" fmla="*/ 1277318 w 1277318"/>
              <a:gd name="connsiteY4" fmla="*/ 175523 h 242604"/>
              <a:gd name="connsiteX5" fmla="*/ 1275998 w 1277318"/>
              <a:gd name="connsiteY5" fmla="*/ 242604 h 242604"/>
              <a:gd name="connsiteX6" fmla="*/ 123870 w 1277318"/>
              <a:gd name="connsiteY6" fmla="*/ 242604 h 242604"/>
              <a:gd name="connsiteX7" fmla="*/ 26256 w 1277318"/>
              <a:gd name="connsiteY7" fmla="*/ 197412 h 242604"/>
              <a:gd name="connsiteX8" fmla="*/ 90242 w 1277318"/>
              <a:gd name="connsiteY8" fmla="*/ 150265 h 242604"/>
              <a:gd name="connsiteX9" fmla="*/ 123918 w 1277318"/>
              <a:gd name="connsiteY9" fmla="*/ 96385 h 242604"/>
              <a:gd name="connsiteX10" fmla="*/ 199688 w 1277318"/>
              <a:gd name="connsiteY10" fmla="*/ 57657 h 242604"/>
              <a:gd name="connsiteX11" fmla="*/ 123870 w 1277318"/>
              <a:gd name="connsiteY11" fmla="*/ 0 h 242604"/>
              <a:gd name="connsiteX0" fmla="*/ 123870 w 1277318"/>
              <a:gd name="connsiteY0" fmla="*/ 0 h 242604"/>
              <a:gd name="connsiteX1" fmla="*/ 1275998 w 1277318"/>
              <a:gd name="connsiteY1" fmla="*/ 0 h 242604"/>
              <a:gd name="connsiteX2" fmla="*/ 1248694 w 1277318"/>
              <a:gd name="connsiteY2" fmla="*/ 42503 h 242604"/>
              <a:gd name="connsiteX3" fmla="*/ 1277317 w 1277318"/>
              <a:gd name="connsiteY3" fmla="*/ 98069 h 242604"/>
              <a:gd name="connsiteX4" fmla="*/ 1277318 w 1277318"/>
              <a:gd name="connsiteY4" fmla="*/ 175523 h 242604"/>
              <a:gd name="connsiteX5" fmla="*/ 1275998 w 1277318"/>
              <a:gd name="connsiteY5" fmla="*/ 242604 h 242604"/>
              <a:gd name="connsiteX6" fmla="*/ 123870 w 1277318"/>
              <a:gd name="connsiteY6" fmla="*/ 242604 h 242604"/>
              <a:gd name="connsiteX7" fmla="*/ 26256 w 1277318"/>
              <a:gd name="connsiteY7" fmla="*/ 197412 h 242604"/>
              <a:gd name="connsiteX8" fmla="*/ 90242 w 1277318"/>
              <a:gd name="connsiteY8" fmla="*/ 150265 h 242604"/>
              <a:gd name="connsiteX9" fmla="*/ 123918 w 1277318"/>
              <a:gd name="connsiteY9" fmla="*/ 96385 h 242604"/>
              <a:gd name="connsiteX10" fmla="*/ 199688 w 1277318"/>
              <a:gd name="connsiteY10" fmla="*/ 57657 h 242604"/>
              <a:gd name="connsiteX11" fmla="*/ 123870 w 1277318"/>
              <a:gd name="connsiteY11" fmla="*/ 0 h 242604"/>
              <a:gd name="connsiteX0" fmla="*/ 123870 w 1295839"/>
              <a:gd name="connsiteY0" fmla="*/ 0 h 242604"/>
              <a:gd name="connsiteX1" fmla="*/ 1275998 w 1295839"/>
              <a:gd name="connsiteY1" fmla="*/ 0 h 242604"/>
              <a:gd name="connsiteX2" fmla="*/ 1248694 w 1295839"/>
              <a:gd name="connsiteY2" fmla="*/ 42503 h 242604"/>
              <a:gd name="connsiteX3" fmla="*/ 1295839 w 1295839"/>
              <a:gd name="connsiteY3" fmla="*/ 89650 h 242604"/>
              <a:gd name="connsiteX4" fmla="*/ 1277318 w 1295839"/>
              <a:gd name="connsiteY4" fmla="*/ 175523 h 242604"/>
              <a:gd name="connsiteX5" fmla="*/ 1275998 w 1295839"/>
              <a:gd name="connsiteY5" fmla="*/ 242604 h 242604"/>
              <a:gd name="connsiteX6" fmla="*/ 123870 w 1295839"/>
              <a:gd name="connsiteY6" fmla="*/ 242604 h 242604"/>
              <a:gd name="connsiteX7" fmla="*/ 26256 w 1295839"/>
              <a:gd name="connsiteY7" fmla="*/ 197412 h 242604"/>
              <a:gd name="connsiteX8" fmla="*/ 90242 w 1295839"/>
              <a:gd name="connsiteY8" fmla="*/ 150265 h 242604"/>
              <a:gd name="connsiteX9" fmla="*/ 123918 w 1295839"/>
              <a:gd name="connsiteY9" fmla="*/ 96385 h 242604"/>
              <a:gd name="connsiteX10" fmla="*/ 199688 w 1295839"/>
              <a:gd name="connsiteY10" fmla="*/ 57657 h 242604"/>
              <a:gd name="connsiteX11" fmla="*/ 123870 w 1295839"/>
              <a:gd name="connsiteY11" fmla="*/ 0 h 242604"/>
              <a:gd name="connsiteX0" fmla="*/ 123870 w 1296242"/>
              <a:gd name="connsiteY0" fmla="*/ 0 h 242604"/>
              <a:gd name="connsiteX1" fmla="*/ 1275998 w 1296242"/>
              <a:gd name="connsiteY1" fmla="*/ 0 h 242604"/>
              <a:gd name="connsiteX2" fmla="*/ 1248694 w 1296242"/>
              <a:gd name="connsiteY2" fmla="*/ 42503 h 242604"/>
              <a:gd name="connsiteX3" fmla="*/ 1295839 w 1296242"/>
              <a:gd name="connsiteY3" fmla="*/ 89650 h 242604"/>
              <a:gd name="connsiteX4" fmla="*/ 1243642 w 1296242"/>
              <a:gd name="connsiteY4" fmla="*/ 141847 h 242604"/>
              <a:gd name="connsiteX5" fmla="*/ 1277318 w 1296242"/>
              <a:gd name="connsiteY5" fmla="*/ 175523 h 242604"/>
              <a:gd name="connsiteX6" fmla="*/ 1275998 w 1296242"/>
              <a:gd name="connsiteY6" fmla="*/ 242604 h 242604"/>
              <a:gd name="connsiteX7" fmla="*/ 123870 w 1296242"/>
              <a:gd name="connsiteY7" fmla="*/ 242604 h 242604"/>
              <a:gd name="connsiteX8" fmla="*/ 26256 w 1296242"/>
              <a:gd name="connsiteY8" fmla="*/ 197412 h 242604"/>
              <a:gd name="connsiteX9" fmla="*/ 90242 w 1296242"/>
              <a:gd name="connsiteY9" fmla="*/ 150265 h 242604"/>
              <a:gd name="connsiteX10" fmla="*/ 123918 w 1296242"/>
              <a:gd name="connsiteY10" fmla="*/ 96385 h 242604"/>
              <a:gd name="connsiteX11" fmla="*/ 199688 w 1296242"/>
              <a:gd name="connsiteY11" fmla="*/ 57657 h 242604"/>
              <a:gd name="connsiteX12" fmla="*/ 123870 w 1296242"/>
              <a:gd name="connsiteY12" fmla="*/ 0 h 242604"/>
              <a:gd name="connsiteX0" fmla="*/ 123870 w 1307634"/>
              <a:gd name="connsiteY0" fmla="*/ 0 h 242604"/>
              <a:gd name="connsiteX1" fmla="*/ 1275998 w 1307634"/>
              <a:gd name="connsiteY1" fmla="*/ 0 h 242604"/>
              <a:gd name="connsiteX2" fmla="*/ 1248694 w 1307634"/>
              <a:gd name="connsiteY2" fmla="*/ 42503 h 242604"/>
              <a:gd name="connsiteX3" fmla="*/ 1295839 w 1307634"/>
              <a:gd name="connsiteY3" fmla="*/ 89650 h 242604"/>
              <a:gd name="connsiteX4" fmla="*/ 1243642 w 1307634"/>
              <a:gd name="connsiteY4" fmla="*/ 141847 h 242604"/>
              <a:gd name="connsiteX5" fmla="*/ 1277318 w 1307634"/>
              <a:gd name="connsiteY5" fmla="*/ 175523 h 242604"/>
              <a:gd name="connsiteX6" fmla="*/ 1307627 w 1307634"/>
              <a:gd name="connsiteY6" fmla="*/ 229404 h 242604"/>
              <a:gd name="connsiteX7" fmla="*/ 1275998 w 1307634"/>
              <a:gd name="connsiteY7" fmla="*/ 242604 h 242604"/>
              <a:gd name="connsiteX8" fmla="*/ 123870 w 1307634"/>
              <a:gd name="connsiteY8" fmla="*/ 242604 h 242604"/>
              <a:gd name="connsiteX9" fmla="*/ 26256 w 1307634"/>
              <a:gd name="connsiteY9" fmla="*/ 197412 h 242604"/>
              <a:gd name="connsiteX10" fmla="*/ 90242 w 1307634"/>
              <a:gd name="connsiteY10" fmla="*/ 150265 h 242604"/>
              <a:gd name="connsiteX11" fmla="*/ 123918 w 1307634"/>
              <a:gd name="connsiteY11" fmla="*/ 96385 h 242604"/>
              <a:gd name="connsiteX12" fmla="*/ 199688 w 1307634"/>
              <a:gd name="connsiteY12" fmla="*/ 57657 h 242604"/>
              <a:gd name="connsiteX13" fmla="*/ 123870 w 1307634"/>
              <a:gd name="connsiteY13" fmla="*/ 0 h 24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7634" h="242604">
                <a:moveTo>
                  <a:pt x="123870" y="0"/>
                </a:moveTo>
                <a:lnTo>
                  <a:pt x="1275998" y="0"/>
                </a:lnTo>
                <a:lnTo>
                  <a:pt x="1248694" y="42503"/>
                </a:lnTo>
                <a:cubicBezTo>
                  <a:pt x="1248694" y="59341"/>
                  <a:pt x="1295839" y="72812"/>
                  <a:pt x="1295839" y="89650"/>
                </a:cubicBezTo>
                <a:cubicBezTo>
                  <a:pt x="1301451" y="109856"/>
                  <a:pt x="1246729" y="127535"/>
                  <a:pt x="1243642" y="141847"/>
                </a:cubicBezTo>
                <a:cubicBezTo>
                  <a:pt x="1240555" y="156159"/>
                  <a:pt x="1271986" y="168507"/>
                  <a:pt x="1277318" y="175523"/>
                </a:cubicBezTo>
                <a:cubicBezTo>
                  <a:pt x="1276757" y="178329"/>
                  <a:pt x="1308188" y="226598"/>
                  <a:pt x="1307627" y="229404"/>
                </a:cubicBezTo>
                <a:lnTo>
                  <a:pt x="1275998" y="242604"/>
                </a:lnTo>
                <a:lnTo>
                  <a:pt x="123870" y="242604"/>
                </a:lnTo>
                <a:cubicBezTo>
                  <a:pt x="-84420" y="235072"/>
                  <a:pt x="34948" y="211960"/>
                  <a:pt x="26256" y="197412"/>
                </a:cubicBezTo>
                <a:cubicBezTo>
                  <a:pt x="17564" y="182864"/>
                  <a:pt x="73965" y="167103"/>
                  <a:pt x="90242" y="150265"/>
                </a:cubicBezTo>
                <a:cubicBezTo>
                  <a:pt x="106519" y="133427"/>
                  <a:pt x="115499" y="112662"/>
                  <a:pt x="123918" y="96385"/>
                </a:cubicBezTo>
                <a:cubicBezTo>
                  <a:pt x="132337" y="80108"/>
                  <a:pt x="199696" y="73721"/>
                  <a:pt x="199688" y="57657"/>
                </a:cubicBezTo>
                <a:cubicBezTo>
                  <a:pt x="200234" y="38438"/>
                  <a:pt x="123324" y="19219"/>
                  <a:pt x="123870" y="0"/>
                </a:cubicBezTo>
                <a:close/>
              </a:path>
            </a:pathLst>
          </a:custGeom>
          <a:solidFill>
            <a:srgbClr val="FFFF00">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5" name="Groupe 73"/>
          <p:cNvGrpSpPr/>
          <p:nvPr/>
        </p:nvGrpSpPr>
        <p:grpSpPr>
          <a:xfrm rot="20156212">
            <a:off x="6666018" y="1028635"/>
            <a:ext cx="500066" cy="1272268"/>
            <a:chOff x="7812360" y="1196752"/>
            <a:chExt cx="929938" cy="2387190"/>
          </a:xfrm>
        </p:grpSpPr>
        <p:grpSp>
          <p:nvGrpSpPr>
            <p:cNvPr id="6" name="Groupe 74"/>
            <p:cNvGrpSpPr/>
            <p:nvPr/>
          </p:nvGrpSpPr>
          <p:grpSpPr>
            <a:xfrm>
              <a:off x="8087395" y="2295838"/>
              <a:ext cx="654903" cy="1288104"/>
              <a:chOff x="7867665" y="2738470"/>
              <a:chExt cx="654903" cy="1288104"/>
            </a:xfr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lin ang="5400000" scaled="1"/>
              <a:tileRect/>
            </a:gradFill>
          </p:grpSpPr>
          <p:sp>
            <p:nvSpPr>
              <p:cNvPr id="91" name="Rectangle 11"/>
              <p:cNvSpPr/>
              <p:nvPr/>
            </p:nvSpPr>
            <p:spPr>
              <a:xfrm rot="8100000">
                <a:off x="7867665" y="2738470"/>
                <a:ext cx="49481" cy="1179861"/>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 name="connsiteX0" fmla="*/ 0 w 360040"/>
                  <a:gd name="connsiteY0" fmla="*/ 0 h 1790586"/>
                  <a:gd name="connsiteX1" fmla="*/ 360040 w 360040"/>
                  <a:gd name="connsiteY1" fmla="*/ 0 h 1790586"/>
                  <a:gd name="connsiteX2" fmla="*/ 360040 w 360040"/>
                  <a:gd name="connsiteY2" fmla="*/ 1705177 h 1790586"/>
                  <a:gd name="connsiteX3" fmla="*/ 0 w 360040"/>
                  <a:gd name="connsiteY3" fmla="*/ 1691782 h 1790586"/>
                  <a:gd name="connsiteX4" fmla="*/ 0 w 360040"/>
                  <a:gd name="connsiteY4" fmla="*/ 0 h 1790586"/>
                  <a:gd name="connsiteX0" fmla="*/ 0 w 360040"/>
                  <a:gd name="connsiteY0" fmla="*/ 0 h 1772202"/>
                  <a:gd name="connsiteX1" fmla="*/ 360040 w 360040"/>
                  <a:gd name="connsiteY1" fmla="*/ 0 h 1772202"/>
                  <a:gd name="connsiteX2" fmla="*/ 360040 w 360040"/>
                  <a:gd name="connsiteY2" fmla="*/ 1705177 h 1772202"/>
                  <a:gd name="connsiteX3" fmla="*/ 0 w 360040"/>
                  <a:gd name="connsiteY3" fmla="*/ 1691782 h 1772202"/>
                  <a:gd name="connsiteX4" fmla="*/ 0 w 360040"/>
                  <a:gd name="connsiteY4" fmla="*/ 0 h 1772202"/>
                  <a:gd name="connsiteX0" fmla="*/ 0 w 360040"/>
                  <a:gd name="connsiteY0" fmla="*/ 0 h 1733131"/>
                  <a:gd name="connsiteX1" fmla="*/ 360040 w 360040"/>
                  <a:gd name="connsiteY1" fmla="*/ 0 h 1733131"/>
                  <a:gd name="connsiteX2" fmla="*/ 360040 w 360040"/>
                  <a:gd name="connsiteY2" fmla="*/ 1705177 h 1733131"/>
                  <a:gd name="connsiteX3" fmla="*/ 0 w 360040"/>
                  <a:gd name="connsiteY3" fmla="*/ 1691782 h 1733131"/>
                  <a:gd name="connsiteX4" fmla="*/ 0 w 360040"/>
                  <a:gd name="connsiteY4" fmla="*/ 0 h 1733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40" h="1733131">
                    <a:moveTo>
                      <a:pt x="0" y="0"/>
                    </a:moveTo>
                    <a:lnTo>
                      <a:pt x="360040" y="0"/>
                    </a:lnTo>
                    <a:lnTo>
                      <a:pt x="360040" y="1705177"/>
                    </a:lnTo>
                    <a:cubicBezTo>
                      <a:pt x="257708" y="1740044"/>
                      <a:pt x="10734" y="1749273"/>
                      <a:pt x="0" y="1691782"/>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2" name="Ellipse 81"/>
              <p:cNvSpPr/>
              <p:nvPr/>
            </p:nvSpPr>
            <p:spPr>
              <a:xfrm rot="20597230">
                <a:off x="7967730" y="3141310"/>
                <a:ext cx="554838" cy="8852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7" name="Groupe 75"/>
            <p:cNvGrpSpPr/>
            <p:nvPr/>
          </p:nvGrpSpPr>
          <p:grpSpPr>
            <a:xfrm>
              <a:off x="7812360" y="1196752"/>
              <a:ext cx="792088" cy="1386214"/>
              <a:chOff x="7812360" y="1196752"/>
              <a:chExt cx="792088" cy="1386214"/>
            </a:xfrm>
          </p:grpSpPr>
          <p:grpSp>
            <p:nvGrpSpPr>
              <p:cNvPr id="8" name="Groupe 76"/>
              <p:cNvGrpSpPr/>
              <p:nvPr/>
            </p:nvGrpSpPr>
            <p:grpSpPr>
              <a:xfrm>
                <a:off x="7812360" y="1196752"/>
                <a:ext cx="792088" cy="1386214"/>
                <a:chOff x="7812360" y="1196752"/>
                <a:chExt cx="792088" cy="1386214"/>
              </a:xfrm>
            </p:grpSpPr>
            <p:sp>
              <p:nvSpPr>
                <p:cNvPr id="89" name="Rectangle 11"/>
                <p:cNvSpPr/>
                <p:nvPr/>
              </p:nvSpPr>
              <p:spPr>
                <a:xfrm rot="1800000">
                  <a:off x="7953633" y="1403105"/>
                  <a:ext cx="49481" cy="1179861"/>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 name="connsiteX0" fmla="*/ 0 w 360040"/>
                    <a:gd name="connsiteY0" fmla="*/ 0 h 1790586"/>
                    <a:gd name="connsiteX1" fmla="*/ 360040 w 360040"/>
                    <a:gd name="connsiteY1" fmla="*/ 0 h 1790586"/>
                    <a:gd name="connsiteX2" fmla="*/ 360040 w 360040"/>
                    <a:gd name="connsiteY2" fmla="*/ 1705177 h 1790586"/>
                    <a:gd name="connsiteX3" fmla="*/ 0 w 360040"/>
                    <a:gd name="connsiteY3" fmla="*/ 1691782 h 1790586"/>
                    <a:gd name="connsiteX4" fmla="*/ 0 w 360040"/>
                    <a:gd name="connsiteY4" fmla="*/ 0 h 1790586"/>
                    <a:gd name="connsiteX0" fmla="*/ 0 w 360040"/>
                    <a:gd name="connsiteY0" fmla="*/ 0 h 1772202"/>
                    <a:gd name="connsiteX1" fmla="*/ 360040 w 360040"/>
                    <a:gd name="connsiteY1" fmla="*/ 0 h 1772202"/>
                    <a:gd name="connsiteX2" fmla="*/ 360040 w 360040"/>
                    <a:gd name="connsiteY2" fmla="*/ 1705177 h 1772202"/>
                    <a:gd name="connsiteX3" fmla="*/ 0 w 360040"/>
                    <a:gd name="connsiteY3" fmla="*/ 1691782 h 1772202"/>
                    <a:gd name="connsiteX4" fmla="*/ 0 w 360040"/>
                    <a:gd name="connsiteY4" fmla="*/ 0 h 1772202"/>
                    <a:gd name="connsiteX0" fmla="*/ 0 w 360040"/>
                    <a:gd name="connsiteY0" fmla="*/ 0 h 1733131"/>
                    <a:gd name="connsiteX1" fmla="*/ 360040 w 360040"/>
                    <a:gd name="connsiteY1" fmla="*/ 0 h 1733131"/>
                    <a:gd name="connsiteX2" fmla="*/ 360040 w 360040"/>
                    <a:gd name="connsiteY2" fmla="*/ 1705177 h 1733131"/>
                    <a:gd name="connsiteX3" fmla="*/ 0 w 360040"/>
                    <a:gd name="connsiteY3" fmla="*/ 1691782 h 1733131"/>
                    <a:gd name="connsiteX4" fmla="*/ 0 w 360040"/>
                    <a:gd name="connsiteY4" fmla="*/ 0 h 1733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40" h="1733131">
                      <a:moveTo>
                        <a:pt x="0" y="0"/>
                      </a:moveTo>
                      <a:lnTo>
                        <a:pt x="360040" y="0"/>
                      </a:lnTo>
                      <a:lnTo>
                        <a:pt x="360040" y="1705177"/>
                      </a:lnTo>
                      <a:cubicBezTo>
                        <a:pt x="257708" y="1740044"/>
                        <a:pt x="10734" y="1749273"/>
                        <a:pt x="0" y="1691782"/>
                      </a:cubicBezTo>
                      <a:lnTo>
                        <a:pt x="0" y="0"/>
                      </a:lnTo>
                      <a:close/>
                    </a:path>
                  </a:pathLst>
                </a:custGeom>
                <a:gradFill flip="none" rotWithShape="1">
                  <a:gsLst>
                    <a:gs pos="0">
                      <a:srgbClr val="FFFFFF"/>
                    </a:gs>
                    <a:gs pos="7001">
                      <a:srgbClr val="E6E6E6"/>
                    </a:gs>
                    <a:gs pos="32001">
                      <a:srgbClr val="7D8496"/>
                    </a:gs>
                    <a:gs pos="47000">
                      <a:srgbClr val="E6E6E6"/>
                    </a:gs>
                    <a:gs pos="85001">
                      <a:srgbClr val="7D8496"/>
                    </a:gs>
                    <a:gs pos="100000">
                      <a:srgbClr val="E6E6E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0" name="Ellipse 79"/>
                <p:cNvSpPr/>
                <p:nvPr/>
              </p:nvSpPr>
              <p:spPr>
                <a:xfrm>
                  <a:off x="7812360" y="1196752"/>
                  <a:ext cx="792088" cy="792088"/>
                </a:xfrm>
                <a:prstGeom prst="ellipse">
                  <a:avLst/>
                </a:prstGeom>
                <a:gradFill flip="none" rotWithShape="1">
                  <a:gsLst>
                    <a:gs pos="0">
                      <a:srgbClr val="EE7339">
                        <a:shade val="30000"/>
                        <a:satMod val="115000"/>
                      </a:srgbClr>
                    </a:gs>
                    <a:gs pos="50000">
                      <a:srgbClr val="EE7339">
                        <a:shade val="67500"/>
                        <a:satMod val="115000"/>
                      </a:srgbClr>
                    </a:gs>
                    <a:gs pos="100000">
                      <a:srgbClr val="EE7339">
                        <a:shade val="100000"/>
                        <a:satMod val="115000"/>
                      </a:srgbClr>
                    </a:gs>
                  </a:gsLst>
                  <a:lin ang="135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88" name="Picture 5"/>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l="23138" t="19901" r="24571" b="27188"/>
              <a:stretch/>
            </p:blipFill>
            <p:spPr bwMode="auto">
              <a:xfrm rot="19764694">
                <a:off x="7894415" y="1289116"/>
                <a:ext cx="385960" cy="294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pic>
        <p:nvPicPr>
          <p:cNvPr id="102" name="Picture 18" descr="http://a1.mzstatic.com/us/r1000/119/Purple2/v4/5d/88/2c/5d882cfb-c6bb-b738-ab2a-9767ddef7ff3/mzl.yrgiodhe.175x175-75.png"/>
          <p:cNvPicPr>
            <a:picLocks noChangeAspect="1" noChangeArrowheads="1"/>
          </p:cNvPicPr>
          <p:nvPr/>
        </p:nvPicPr>
        <p:blipFill>
          <a:blip r:embed="rId5" cstate="print"/>
          <a:srcRect/>
          <a:stretch>
            <a:fillRect/>
          </a:stretch>
        </p:blipFill>
        <p:spPr bwMode="auto">
          <a:xfrm rot="20851696">
            <a:off x="988167" y="5223232"/>
            <a:ext cx="857250" cy="857250"/>
          </a:xfrm>
          <a:prstGeom prst="rect">
            <a:avLst/>
          </a:prstGeom>
          <a:noFill/>
          <a:ln w="9525">
            <a:noFill/>
            <a:miter lim="800000"/>
            <a:headEnd/>
            <a:tailEnd/>
          </a:ln>
        </p:spPr>
      </p:pic>
      <p:pic>
        <p:nvPicPr>
          <p:cNvPr id="103" name="Picture 19" descr="C:\Documents and Settings\dalida.nordin\Desktop\analysis.png"/>
          <p:cNvPicPr>
            <a:picLocks noChangeAspect="1" noChangeArrowheads="1"/>
          </p:cNvPicPr>
          <p:nvPr/>
        </p:nvPicPr>
        <p:blipFill>
          <a:blip r:embed="rId6" cstate="print"/>
          <a:srcRect/>
          <a:stretch>
            <a:fillRect/>
          </a:stretch>
        </p:blipFill>
        <p:spPr bwMode="auto">
          <a:xfrm>
            <a:off x="3271304" y="3839825"/>
            <a:ext cx="857250" cy="857250"/>
          </a:xfrm>
          <a:prstGeom prst="rect">
            <a:avLst/>
          </a:prstGeom>
          <a:noFill/>
          <a:ln w="9525">
            <a:noFill/>
            <a:miter lim="800000"/>
            <a:headEnd/>
            <a:tailEnd/>
          </a:ln>
        </p:spPr>
      </p:pic>
      <p:sp>
        <p:nvSpPr>
          <p:cNvPr id="12" name="Footer Placeholder 11"/>
          <p:cNvSpPr>
            <a:spLocks noGrp="1"/>
          </p:cNvSpPr>
          <p:nvPr>
            <p:ph type="ftr" sz="quarter" idx="11"/>
          </p:nvPr>
        </p:nvSpPr>
        <p:spPr/>
        <p:txBody>
          <a:bodyPr/>
          <a:lstStyle/>
          <a:p>
            <a:r>
              <a:rPr lang="en-US" smtClean="0"/>
              <a:t>GURU (SEKOLAH)</a:t>
            </a:r>
            <a:endParaRPr lang="en-US"/>
          </a:p>
        </p:txBody>
      </p:sp>
      <p:sp>
        <p:nvSpPr>
          <p:cNvPr id="15" name="Slide Number Placeholder 14"/>
          <p:cNvSpPr>
            <a:spLocks noGrp="1"/>
          </p:cNvSpPr>
          <p:nvPr>
            <p:ph type="sldNum" sz="quarter" idx="12"/>
          </p:nvPr>
        </p:nvSpPr>
        <p:spPr/>
        <p:txBody>
          <a:bodyPr/>
          <a:lstStyle/>
          <a:p>
            <a:fld id="{4D86EDED-B1AF-7E4B-94C9-3F0EAA36C7D5}" type="slidenum">
              <a:rPr lang="en-US" smtClean="0"/>
              <a:pPr/>
              <a:t>42</a:t>
            </a:fld>
            <a:endParaRPr lang="en-US"/>
          </a:p>
        </p:txBody>
      </p:sp>
      <p:sp>
        <p:nvSpPr>
          <p:cNvPr id="41" name="Title 1"/>
          <p:cNvSpPr txBox="1">
            <a:spLocks/>
          </p:cNvSpPr>
          <p:nvPr/>
        </p:nvSpPr>
        <p:spPr bwMode="auto">
          <a:xfrm>
            <a:off x="1951120" y="493577"/>
            <a:ext cx="3992731" cy="819454"/>
          </a:xfrm>
          <a:prstGeom prst="rect">
            <a:avLst/>
          </a:prstGeom>
          <a:noFill/>
          <a:ln w="9525">
            <a:noFill/>
            <a:miter lim="800000"/>
            <a:headEnd/>
            <a:tailEnd/>
          </a:ln>
        </p:spPr>
        <p:txBody>
          <a:bodyPr anchor="ctr"/>
          <a:lstStyle/>
          <a:p>
            <a:pPr>
              <a:defRPr/>
            </a:pPr>
            <a:r>
              <a:rPr lang="en-US" sz="3200" b="1" kern="0" dirty="0" err="1" smtClean="0">
                <a:latin typeface="Agency FB" pitchFamily="34" charset="0"/>
                <a:cs typeface="Arial" pitchFamily="34" charset="0"/>
              </a:rPr>
              <a:t>Pasca</a:t>
            </a:r>
            <a:r>
              <a:rPr lang="en-US" sz="3200" b="1" kern="0" dirty="0" smtClean="0">
                <a:latin typeface="Agency FB" pitchFamily="34" charset="0"/>
                <a:cs typeface="Arial" pitchFamily="34" charset="0"/>
              </a:rPr>
              <a:t> </a:t>
            </a:r>
            <a:r>
              <a:rPr lang="en-US" sz="3200" b="1" kern="0" dirty="0" err="1">
                <a:latin typeface="Agency FB" pitchFamily="34" charset="0"/>
                <a:cs typeface="Arial" pitchFamily="34" charset="0"/>
              </a:rPr>
              <a:t>P</a:t>
            </a:r>
            <a:r>
              <a:rPr lang="en-US" sz="3200" b="1" kern="0" dirty="0" err="1" smtClean="0">
                <a:latin typeface="Agency FB" pitchFamily="34" charset="0"/>
                <a:cs typeface="Arial" pitchFamily="34" charset="0"/>
              </a:rPr>
              <a:t>enilaian</a:t>
            </a:r>
            <a:endParaRPr lang="en-US" sz="3200" b="1" kern="0" dirty="0">
              <a:latin typeface="Agency FB" pitchFamily="34" charset="0"/>
              <a:cs typeface="Arial" pitchFamily="34" charset="0"/>
            </a:endParaRPr>
          </a:p>
        </p:txBody>
      </p:sp>
      <p:grpSp>
        <p:nvGrpSpPr>
          <p:cNvPr id="9" name="Group 41"/>
          <p:cNvGrpSpPr/>
          <p:nvPr/>
        </p:nvGrpSpPr>
        <p:grpSpPr>
          <a:xfrm>
            <a:off x="187850" y="272411"/>
            <a:ext cx="1457795" cy="1318382"/>
            <a:chOff x="954501" y="4872402"/>
            <a:chExt cx="1457795" cy="1318382"/>
          </a:xfrm>
        </p:grpSpPr>
        <p:grpSp>
          <p:nvGrpSpPr>
            <p:cNvPr id="10" name="Group 42"/>
            <p:cNvGrpSpPr/>
            <p:nvPr/>
          </p:nvGrpSpPr>
          <p:grpSpPr>
            <a:xfrm>
              <a:off x="954501" y="4872402"/>
              <a:ext cx="1457795" cy="1318382"/>
              <a:chOff x="6089820" y="2277827"/>
              <a:chExt cx="1457795" cy="1318382"/>
            </a:xfrm>
          </p:grpSpPr>
          <p:sp>
            <p:nvSpPr>
              <p:cNvPr id="46" name="Oval 45"/>
              <p:cNvSpPr/>
              <p:nvPr/>
            </p:nvSpPr>
            <p:spPr>
              <a:xfrm>
                <a:off x="6207299" y="2358065"/>
                <a:ext cx="1296524" cy="1160563"/>
              </a:xfrm>
              <a:prstGeom prst="ellipse">
                <a:avLst/>
              </a:prstGeom>
              <a:solidFill>
                <a:schemeClr val="bg1">
                  <a:alpha val="9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Donut 13"/>
              <p:cNvSpPr>
                <a:spLocks noChangeArrowheads="1"/>
              </p:cNvSpPr>
              <p:nvPr/>
            </p:nvSpPr>
            <p:spPr bwMode="auto">
              <a:xfrm flipV="1">
                <a:off x="6089820" y="2277827"/>
                <a:ext cx="1457795" cy="1318382"/>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gradFill rotWithShape="1">
                <a:gsLst>
                  <a:gs pos="0">
                    <a:srgbClr val="00B0F0"/>
                  </a:gs>
                  <a:gs pos="100000">
                    <a:srgbClr val="0070C0"/>
                  </a:gs>
                </a:gsLst>
                <a:lin ang="16200000"/>
              </a:gradFill>
              <a:ln w="9525">
                <a:noFill/>
                <a:miter lim="800000"/>
                <a:headEnd/>
                <a:tailEnd/>
              </a:ln>
              <a:effectLst>
                <a:outerShdw blurRad="63500" dist="23000" dir="5400000" rotWithShape="0">
                  <a:srgbClr val="000000">
                    <a:alpha val="34999"/>
                  </a:srgbClr>
                </a:outerShdw>
              </a:effectLst>
            </p:spPr>
            <p:txBody>
              <a:bodyPr anchor="ctr"/>
              <a:lstStyle/>
              <a:p>
                <a:pPr algn="ctr">
                  <a:defRPr/>
                </a:pPr>
                <a:endParaRPr lang="en-US" sz="2000" dirty="0">
                  <a:latin typeface=""/>
                  <a:ea typeface="+mn-ea"/>
                </a:endParaRPr>
              </a:p>
            </p:txBody>
          </p:sp>
        </p:grpSp>
        <p:sp>
          <p:nvSpPr>
            <p:cNvPr id="44" name="Freeform 17"/>
            <p:cNvSpPr>
              <a:spLocks noEditPoints="1"/>
            </p:cNvSpPr>
            <p:nvPr/>
          </p:nvSpPr>
          <p:spPr bwMode="auto">
            <a:xfrm>
              <a:off x="1338456" y="5224954"/>
              <a:ext cx="663380" cy="634535"/>
            </a:xfrm>
            <a:custGeom>
              <a:avLst/>
              <a:gdLst>
                <a:gd name="T0" fmla="*/ 2147483647 w 63"/>
                <a:gd name="T1" fmla="*/ 0 h 73"/>
                <a:gd name="T2" fmla="*/ 1122599098 w 63"/>
                <a:gd name="T3" fmla="*/ 0 h 73"/>
                <a:gd name="T4" fmla="*/ 561299549 w 63"/>
                <a:gd name="T5" fmla="*/ 560595689 h 73"/>
                <a:gd name="T6" fmla="*/ 561299549 w 63"/>
                <a:gd name="T7" fmla="*/ 1009069293 h 73"/>
                <a:gd name="T8" fmla="*/ 785819275 w 63"/>
                <a:gd name="T9" fmla="*/ 953011760 h 73"/>
                <a:gd name="T10" fmla="*/ 1852288207 w 63"/>
                <a:gd name="T11" fmla="*/ 2074203372 h 73"/>
                <a:gd name="T12" fmla="*/ 1627768481 w 63"/>
                <a:gd name="T13" fmla="*/ 2147483647 h 73"/>
                <a:gd name="T14" fmla="*/ 1627768481 w 63"/>
                <a:gd name="T15" fmla="*/ 2147483647 h 73"/>
                <a:gd name="T16" fmla="*/ 2147483647 w 63"/>
                <a:gd name="T17" fmla="*/ 2147483647 h 73"/>
                <a:gd name="T18" fmla="*/ 2147483647 w 63"/>
                <a:gd name="T19" fmla="*/ 2147483647 h 73"/>
                <a:gd name="T20" fmla="*/ 2147483647 w 63"/>
                <a:gd name="T21" fmla="*/ 1121191379 h 73"/>
                <a:gd name="T22" fmla="*/ 2147483647 w 63"/>
                <a:gd name="T23" fmla="*/ 0 h 73"/>
                <a:gd name="T24" fmla="*/ 2147483647 w 63"/>
                <a:gd name="T25" fmla="*/ 1345428064 h 73"/>
                <a:gd name="T26" fmla="*/ 2147483647 w 63"/>
                <a:gd name="T27" fmla="*/ 728775075 h 73"/>
                <a:gd name="T28" fmla="*/ 2147483647 w 63"/>
                <a:gd name="T29" fmla="*/ 56057314 h 73"/>
                <a:gd name="T30" fmla="*/ 2147483647 w 63"/>
                <a:gd name="T31" fmla="*/ 280294101 h 73"/>
                <a:gd name="T32" fmla="*/ 2147483647 w 63"/>
                <a:gd name="T33" fmla="*/ 560595689 h 73"/>
                <a:gd name="T34" fmla="*/ 2147483647 w 63"/>
                <a:gd name="T35" fmla="*/ 1121191379 h 73"/>
                <a:gd name="T36" fmla="*/ 2147483647 w 63"/>
                <a:gd name="T37" fmla="*/ 1121191379 h 73"/>
                <a:gd name="T38" fmla="*/ 2147483647 w 63"/>
                <a:gd name="T39" fmla="*/ 1345428064 h 73"/>
                <a:gd name="T40" fmla="*/ 2147483647 w 63"/>
                <a:gd name="T41" fmla="*/ 1345428064 h 73"/>
                <a:gd name="T42" fmla="*/ 224519784 w 63"/>
                <a:gd name="T43" fmla="*/ 2147483647 h 73"/>
                <a:gd name="T44" fmla="*/ 224519784 w 63"/>
                <a:gd name="T45" fmla="*/ 2147483647 h 73"/>
                <a:gd name="T46" fmla="*/ 785819275 w 63"/>
                <a:gd name="T47" fmla="*/ 2147483647 h 73"/>
                <a:gd name="T48" fmla="*/ 785819275 w 63"/>
                <a:gd name="T49" fmla="*/ 2147483647 h 73"/>
                <a:gd name="T50" fmla="*/ 1347118824 w 63"/>
                <a:gd name="T51" fmla="*/ 2147483647 h 73"/>
                <a:gd name="T52" fmla="*/ 1347118824 w 63"/>
                <a:gd name="T53" fmla="*/ 2147483647 h 73"/>
                <a:gd name="T54" fmla="*/ 785819275 w 63"/>
                <a:gd name="T55" fmla="*/ 2147483647 h 73"/>
                <a:gd name="T56" fmla="*/ 224519784 w 63"/>
                <a:gd name="T57" fmla="*/ 2147483647 h 73"/>
                <a:gd name="T58" fmla="*/ 785819275 w 63"/>
                <a:gd name="T59" fmla="*/ 1289370764 h 73"/>
                <a:gd name="T60" fmla="*/ 0 w 63"/>
                <a:gd name="T61" fmla="*/ 2074203372 h 73"/>
                <a:gd name="T62" fmla="*/ 785819275 w 63"/>
                <a:gd name="T63" fmla="*/ 2147483647 h 73"/>
                <a:gd name="T64" fmla="*/ 1515508618 w 63"/>
                <a:gd name="T65" fmla="*/ 2074203372 h 73"/>
                <a:gd name="T66" fmla="*/ 785819275 w 63"/>
                <a:gd name="T67" fmla="*/ 1289370764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73"/>
                <a:gd name="T104" fmla="*/ 63 w 6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73">
                  <a:moveTo>
                    <a:pt x="43" y="0"/>
                  </a:moveTo>
                  <a:cubicBezTo>
                    <a:pt x="20" y="0"/>
                    <a:pt x="20" y="0"/>
                    <a:pt x="20" y="0"/>
                  </a:cubicBezTo>
                  <a:cubicBezTo>
                    <a:pt x="15" y="0"/>
                    <a:pt x="10" y="4"/>
                    <a:pt x="10" y="10"/>
                  </a:cubicBezTo>
                  <a:cubicBezTo>
                    <a:pt x="10" y="18"/>
                    <a:pt x="10" y="18"/>
                    <a:pt x="10" y="18"/>
                  </a:cubicBezTo>
                  <a:cubicBezTo>
                    <a:pt x="11" y="18"/>
                    <a:pt x="13" y="17"/>
                    <a:pt x="14" y="17"/>
                  </a:cubicBezTo>
                  <a:cubicBezTo>
                    <a:pt x="24" y="17"/>
                    <a:pt x="33" y="26"/>
                    <a:pt x="33" y="37"/>
                  </a:cubicBezTo>
                  <a:cubicBezTo>
                    <a:pt x="33" y="41"/>
                    <a:pt x="32" y="45"/>
                    <a:pt x="29" y="48"/>
                  </a:cubicBezTo>
                  <a:cubicBezTo>
                    <a:pt x="29" y="64"/>
                    <a:pt x="29" y="64"/>
                    <a:pt x="29" y="64"/>
                  </a:cubicBezTo>
                  <a:cubicBezTo>
                    <a:pt x="53" y="64"/>
                    <a:pt x="53" y="64"/>
                    <a:pt x="53" y="64"/>
                  </a:cubicBezTo>
                  <a:cubicBezTo>
                    <a:pt x="58" y="64"/>
                    <a:pt x="63" y="59"/>
                    <a:pt x="63" y="54"/>
                  </a:cubicBezTo>
                  <a:cubicBezTo>
                    <a:pt x="63" y="20"/>
                    <a:pt x="63" y="20"/>
                    <a:pt x="63" y="20"/>
                  </a:cubicBezTo>
                  <a:lnTo>
                    <a:pt x="43" y="0"/>
                  </a:lnTo>
                  <a:close/>
                  <a:moveTo>
                    <a:pt x="50" y="24"/>
                  </a:moveTo>
                  <a:cubicBezTo>
                    <a:pt x="44" y="24"/>
                    <a:pt x="39" y="19"/>
                    <a:pt x="39" y="13"/>
                  </a:cubicBezTo>
                  <a:cubicBezTo>
                    <a:pt x="39" y="1"/>
                    <a:pt x="39" y="1"/>
                    <a:pt x="39" y="1"/>
                  </a:cubicBezTo>
                  <a:cubicBezTo>
                    <a:pt x="43" y="5"/>
                    <a:pt x="43" y="5"/>
                    <a:pt x="43" y="5"/>
                  </a:cubicBezTo>
                  <a:cubicBezTo>
                    <a:pt x="43" y="10"/>
                    <a:pt x="43" y="10"/>
                    <a:pt x="43" y="10"/>
                  </a:cubicBezTo>
                  <a:cubicBezTo>
                    <a:pt x="43" y="16"/>
                    <a:pt x="47" y="20"/>
                    <a:pt x="53" y="20"/>
                  </a:cubicBezTo>
                  <a:cubicBezTo>
                    <a:pt x="58" y="20"/>
                    <a:pt x="58" y="20"/>
                    <a:pt x="58" y="20"/>
                  </a:cubicBezTo>
                  <a:cubicBezTo>
                    <a:pt x="62" y="24"/>
                    <a:pt x="62" y="24"/>
                    <a:pt x="62" y="24"/>
                  </a:cubicBezTo>
                  <a:lnTo>
                    <a:pt x="50" y="24"/>
                  </a:lnTo>
                  <a:close/>
                  <a:moveTo>
                    <a:pt x="4" y="52"/>
                  </a:moveTo>
                  <a:cubicBezTo>
                    <a:pt x="4" y="73"/>
                    <a:pt x="4" y="73"/>
                    <a:pt x="4" y="73"/>
                  </a:cubicBezTo>
                  <a:cubicBezTo>
                    <a:pt x="14" y="64"/>
                    <a:pt x="14" y="64"/>
                    <a:pt x="14" y="64"/>
                  </a:cubicBezTo>
                  <a:cubicBezTo>
                    <a:pt x="14" y="64"/>
                    <a:pt x="14" y="64"/>
                    <a:pt x="14" y="64"/>
                  </a:cubicBezTo>
                  <a:cubicBezTo>
                    <a:pt x="24" y="73"/>
                    <a:pt x="24" y="73"/>
                    <a:pt x="24" y="73"/>
                  </a:cubicBezTo>
                  <a:cubicBezTo>
                    <a:pt x="24" y="52"/>
                    <a:pt x="24" y="52"/>
                    <a:pt x="24" y="52"/>
                  </a:cubicBezTo>
                  <a:cubicBezTo>
                    <a:pt x="21" y="54"/>
                    <a:pt x="17" y="55"/>
                    <a:pt x="14" y="55"/>
                  </a:cubicBezTo>
                  <a:cubicBezTo>
                    <a:pt x="10" y="55"/>
                    <a:pt x="7" y="54"/>
                    <a:pt x="4" y="52"/>
                  </a:cubicBezTo>
                  <a:close/>
                  <a:moveTo>
                    <a:pt x="14" y="23"/>
                  </a:moveTo>
                  <a:cubicBezTo>
                    <a:pt x="6" y="23"/>
                    <a:pt x="0" y="29"/>
                    <a:pt x="0" y="37"/>
                  </a:cubicBezTo>
                  <a:cubicBezTo>
                    <a:pt x="0" y="44"/>
                    <a:pt x="6" y="50"/>
                    <a:pt x="14" y="50"/>
                  </a:cubicBezTo>
                  <a:cubicBezTo>
                    <a:pt x="21" y="50"/>
                    <a:pt x="27" y="44"/>
                    <a:pt x="27" y="37"/>
                  </a:cubicBezTo>
                  <a:cubicBezTo>
                    <a:pt x="27" y="29"/>
                    <a:pt x="21" y="23"/>
                    <a:pt x="14" y="23"/>
                  </a:cubicBezTo>
                  <a:close/>
                </a:path>
              </a:pathLst>
            </a:custGeom>
            <a:solidFill>
              <a:srgbClr val="000000">
                <a:alpha val="50000"/>
              </a:srgbClr>
            </a:solidFill>
            <a:ln w="9525">
              <a:noFill/>
              <a:round/>
              <a:headEnd/>
              <a:tailEnd/>
            </a:ln>
          </p:spPr>
          <p:txBody>
            <a:bodyPr/>
            <a:lstStyle/>
            <a:p>
              <a:pPr defTabSz="914400" fontAlgn="auto">
                <a:spcBef>
                  <a:spcPts val="0"/>
                </a:spcBef>
                <a:spcAft>
                  <a:spcPts val="0"/>
                </a:spcAft>
                <a:defRPr/>
              </a:pPr>
              <a:endParaRPr lang="en-US" sz="2000" kern="0" dirty="0">
                <a:solidFill>
                  <a:sysClr val="windowText" lastClr="000000"/>
                </a:solidFill>
                <a:latin typeface=""/>
                <a:ea typeface="ＭＳ Ｐゴシック" pitchFamily="-97" charset="-128"/>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900" decel="100000" fill="hold"/>
                                        <p:tgtEl>
                                          <p:spTgt spid="9"/>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9"/>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1000"/>
                                        <p:tgtEl>
                                          <p:spTgt spid="41"/>
                                        </p:tgtEl>
                                      </p:cBhvr>
                                    </p:animEffect>
                                    <p:anim calcmode="lin" valueType="num">
                                      <p:cBhvr>
                                        <p:cTn id="14" dur="1000" fill="hold"/>
                                        <p:tgtEl>
                                          <p:spTgt spid="41"/>
                                        </p:tgtEl>
                                        <p:attrNameLst>
                                          <p:attrName>ppt_x</p:attrName>
                                        </p:attrNameLst>
                                      </p:cBhvr>
                                      <p:tavLst>
                                        <p:tav tm="0">
                                          <p:val>
                                            <p:strVal val="#ppt_x"/>
                                          </p:val>
                                        </p:tav>
                                        <p:tav tm="100000">
                                          <p:val>
                                            <p:strVal val="#ppt_x"/>
                                          </p:val>
                                        </p:tav>
                                      </p:tavLst>
                                    </p:anim>
                                    <p:anim calcmode="lin" valueType="num">
                                      <p:cBhvr>
                                        <p:cTn id="15" dur="900" decel="100000" fill="hold"/>
                                        <p:tgtEl>
                                          <p:spTgt spid="41"/>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41"/>
                                        </p:tgtEl>
                                        <p:attrNameLst>
                                          <p:attrName>ppt_y</p:attrName>
                                        </p:attrNameLst>
                                      </p:cBhvr>
                                      <p:tavLst>
                                        <p:tav tm="0">
                                          <p:val>
                                            <p:strVal val="#ppt_y-.03"/>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grpId="0" nodeType="click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blinds(horizontal)">
                                      <p:cBhvr>
                                        <p:cTn id="21" dur="500"/>
                                        <p:tgtEl>
                                          <p:spTgt spid="26"/>
                                        </p:tgtEl>
                                      </p:cBhvr>
                                    </p:animEffect>
                                  </p:childTnLst>
                                </p:cTn>
                              </p:par>
                              <p:par>
                                <p:cTn id="22" presetID="3" presetClass="entr" presetSubtype="10"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blinds(horizontal)">
                                      <p:cBhvr>
                                        <p:cTn id="24" dur="500"/>
                                        <p:tgtEl>
                                          <p:spTgt spid="2"/>
                                        </p:tgtEl>
                                      </p:cBhvr>
                                    </p:animEffect>
                                  </p:childTnLst>
                                </p:cTn>
                              </p:par>
                              <p:par>
                                <p:cTn id="25" presetID="3" presetClass="entr" presetSubtype="10" fill="hold" grpId="0" nodeType="withEffect">
                                  <p:stCondLst>
                                    <p:cond delay="0"/>
                                  </p:stCondLst>
                                  <p:childTnLst>
                                    <p:set>
                                      <p:cBhvr>
                                        <p:cTn id="26" dur="1" fill="hold">
                                          <p:stCondLst>
                                            <p:cond delay="0"/>
                                          </p:stCondLst>
                                        </p:cTn>
                                        <p:tgtEl>
                                          <p:spTgt spid="83"/>
                                        </p:tgtEl>
                                        <p:attrNameLst>
                                          <p:attrName>style.visibility</p:attrName>
                                        </p:attrNameLst>
                                      </p:cBhvr>
                                      <p:to>
                                        <p:strVal val="visible"/>
                                      </p:to>
                                    </p:set>
                                    <p:animEffect transition="in" filter="blinds(horizontal)">
                                      <p:cBhvr>
                                        <p:cTn id="27" dur="500"/>
                                        <p:tgtEl>
                                          <p:spTgt spid="83"/>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78"/>
                                        </p:tgtEl>
                                        <p:attrNameLst>
                                          <p:attrName>style.visibility</p:attrName>
                                        </p:attrNameLst>
                                      </p:cBhvr>
                                      <p:to>
                                        <p:strVal val="visible"/>
                                      </p:to>
                                    </p:set>
                                    <p:animEffect transition="in" filter="blinds(horizontal)">
                                      <p:cBhvr>
                                        <p:cTn id="30" dur="500"/>
                                        <p:tgtEl>
                                          <p:spTgt spid="78"/>
                                        </p:tgtEl>
                                      </p:cBhvr>
                                    </p:animEffect>
                                  </p:childTnLst>
                                </p:cTn>
                              </p:par>
                              <p:par>
                                <p:cTn id="31" presetID="3" presetClass="entr" presetSubtype="10" fill="hold" nodeType="withEffect">
                                  <p:stCondLst>
                                    <p:cond delay="0"/>
                                  </p:stCondLst>
                                  <p:childTnLst>
                                    <p:set>
                                      <p:cBhvr>
                                        <p:cTn id="32" dur="1" fill="hold">
                                          <p:stCondLst>
                                            <p:cond delay="0"/>
                                          </p:stCondLst>
                                        </p:cTn>
                                        <p:tgtEl>
                                          <p:spTgt spid="102"/>
                                        </p:tgtEl>
                                        <p:attrNameLst>
                                          <p:attrName>style.visibility</p:attrName>
                                        </p:attrNameLst>
                                      </p:cBhvr>
                                      <p:to>
                                        <p:strVal val="visible"/>
                                      </p:to>
                                    </p:set>
                                    <p:animEffect transition="in" filter="blinds(horizontal)">
                                      <p:cBhvr>
                                        <p:cTn id="33" dur="500"/>
                                        <p:tgtEl>
                                          <p:spTgt spid="102"/>
                                        </p:tgtEl>
                                      </p:cBhvr>
                                    </p:animEffect>
                                  </p:childTnLst>
                                </p:cTn>
                              </p:par>
                              <p:par>
                                <p:cTn id="34" presetID="3" presetClass="entr" presetSubtype="10" fill="hold" nodeType="withEffect">
                                  <p:stCondLst>
                                    <p:cond delay="0"/>
                                  </p:stCondLst>
                                  <p:childTnLst>
                                    <p:set>
                                      <p:cBhvr>
                                        <p:cTn id="35" dur="1" fill="hold">
                                          <p:stCondLst>
                                            <p:cond delay="0"/>
                                          </p:stCondLst>
                                        </p:cTn>
                                        <p:tgtEl>
                                          <p:spTgt spid="103"/>
                                        </p:tgtEl>
                                        <p:attrNameLst>
                                          <p:attrName>style.visibility</p:attrName>
                                        </p:attrNameLst>
                                      </p:cBhvr>
                                      <p:to>
                                        <p:strVal val="visible"/>
                                      </p:to>
                                    </p:set>
                                    <p:animEffect transition="in" filter="blinds(horizontal)">
                                      <p:cBhvr>
                                        <p:cTn id="36" dur="500"/>
                                        <p:tgtEl>
                                          <p:spTgt spid="103"/>
                                        </p:tgtEl>
                                      </p:cBhvr>
                                    </p:animEffect>
                                  </p:childTnLst>
                                </p:cTn>
                              </p:par>
                            </p:childTnLst>
                          </p:cTn>
                        </p:par>
                      </p:childTnLst>
                    </p:cTn>
                  </p:par>
                  <p:par>
                    <p:cTn id="37" fill="hold">
                      <p:stCondLst>
                        <p:cond delay="indefinite"/>
                      </p:stCondLst>
                      <p:childTnLst>
                        <p:par>
                          <p:cTn id="38" fill="hold">
                            <p:stCondLst>
                              <p:cond delay="0"/>
                            </p:stCondLst>
                            <p:childTnLst>
                              <p:par>
                                <p:cTn id="39" presetID="4" presetClass="entr" presetSubtype="16"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box(in)">
                                      <p:cBhvr>
                                        <p:cTn id="41" dur="500"/>
                                        <p:tgtEl>
                                          <p:spTgt spid="5"/>
                                        </p:tgtEl>
                                      </p:cBhvr>
                                    </p:animEffect>
                                  </p:childTnLst>
                                </p:cTn>
                              </p:par>
                              <p:par>
                                <p:cTn id="42" presetID="4" presetClass="entr" presetSubtype="16" fill="hold" nodeType="with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box(in)">
                                      <p:cBhvr>
                                        <p:cTn id="44" dur="500"/>
                                        <p:tgtEl>
                                          <p:spTgt spid="4"/>
                                        </p:tgtEl>
                                      </p:cBhvr>
                                    </p:animEffect>
                                  </p:childTnLst>
                                </p:cTn>
                              </p:par>
                              <p:par>
                                <p:cTn id="45" presetID="4" presetClass="entr" presetSubtype="16" fill="hold" grpId="0" nodeType="withEffect">
                                  <p:stCondLst>
                                    <p:cond delay="0"/>
                                  </p:stCondLst>
                                  <p:childTnLst>
                                    <p:set>
                                      <p:cBhvr>
                                        <p:cTn id="46" dur="1" fill="hold">
                                          <p:stCondLst>
                                            <p:cond delay="0"/>
                                          </p:stCondLst>
                                        </p:cTn>
                                        <p:tgtEl>
                                          <p:spTgt spid="29"/>
                                        </p:tgtEl>
                                        <p:attrNameLst>
                                          <p:attrName>style.visibility</p:attrName>
                                        </p:attrNameLst>
                                      </p:cBhvr>
                                      <p:to>
                                        <p:strVal val="visible"/>
                                      </p:to>
                                    </p:set>
                                    <p:animEffect transition="in" filter="box(in)">
                                      <p:cBhvr>
                                        <p:cTn id="4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9" grpId="0"/>
      <p:bldP spid="78" grpId="0" animBg="1"/>
      <p:bldP spid="83" grpId="0" animBg="1"/>
      <p:bldP spid="41"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43</a:t>
            </a:fld>
            <a:endParaRPr lang="en-US"/>
          </a:p>
        </p:txBody>
      </p:sp>
      <p:grpSp>
        <p:nvGrpSpPr>
          <p:cNvPr id="2" name="Group 6"/>
          <p:cNvGrpSpPr>
            <a:grpSpLocks noChangeAspect="1"/>
          </p:cNvGrpSpPr>
          <p:nvPr/>
        </p:nvGrpSpPr>
        <p:grpSpPr>
          <a:xfrm>
            <a:off x="1461719" y="3440945"/>
            <a:ext cx="741352" cy="2377440"/>
            <a:chOff x="733780" y="2128363"/>
            <a:chExt cx="552450" cy="1771650"/>
          </a:xfrm>
        </p:grpSpPr>
        <p:sp>
          <p:nvSpPr>
            <p:cNvPr id="8" name="Freeform 45"/>
            <p:cNvSpPr>
              <a:spLocks/>
            </p:cNvSpPr>
            <p:nvPr/>
          </p:nvSpPr>
          <p:spPr bwMode="auto">
            <a:xfrm>
              <a:off x="971905" y="2461738"/>
              <a:ext cx="136525" cy="101600"/>
            </a:xfrm>
            <a:custGeom>
              <a:avLst/>
              <a:gdLst>
                <a:gd name="T0" fmla="*/ 0 w 64"/>
                <a:gd name="T1" fmla="*/ 47 h 48"/>
                <a:gd name="T2" fmla="*/ 8 w 64"/>
                <a:gd name="T3" fmla="*/ 45 h 48"/>
                <a:gd name="T4" fmla="*/ 16 w 64"/>
                <a:gd name="T5" fmla="*/ 46 h 48"/>
                <a:gd name="T6" fmla="*/ 20 w 64"/>
                <a:gd name="T7" fmla="*/ 47 h 48"/>
                <a:gd name="T8" fmla="*/ 28 w 64"/>
                <a:gd name="T9" fmla="*/ 42 h 48"/>
                <a:gd name="T10" fmla="*/ 35 w 64"/>
                <a:gd name="T11" fmla="*/ 45 h 48"/>
                <a:gd name="T12" fmla="*/ 40 w 64"/>
                <a:gd name="T13" fmla="*/ 44 h 48"/>
                <a:gd name="T14" fmla="*/ 45 w 64"/>
                <a:gd name="T15" fmla="*/ 43 h 48"/>
                <a:gd name="T16" fmla="*/ 50 w 64"/>
                <a:gd name="T17" fmla="*/ 41 h 48"/>
                <a:gd name="T18" fmla="*/ 55 w 64"/>
                <a:gd name="T19" fmla="*/ 36 h 48"/>
                <a:gd name="T20" fmla="*/ 60 w 64"/>
                <a:gd name="T21" fmla="*/ 29 h 48"/>
                <a:gd name="T22" fmla="*/ 64 w 64"/>
                <a:gd name="T23" fmla="*/ 25 h 48"/>
                <a:gd name="T24" fmla="*/ 62 w 64"/>
                <a:gd name="T25" fmla="*/ 25 h 48"/>
                <a:gd name="T26" fmla="*/ 59 w 64"/>
                <a:gd name="T27" fmla="*/ 28 h 48"/>
                <a:gd name="T28" fmla="*/ 56 w 64"/>
                <a:gd name="T29" fmla="*/ 30 h 48"/>
                <a:gd name="T30" fmla="*/ 53 w 64"/>
                <a:gd name="T31" fmla="*/ 33 h 48"/>
                <a:gd name="T32" fmla="*/ 51 w 64"/>
                <a:gd name="T33" fmla="*/ 36 h 48"/>
                <a:gd name="T34" fmla="*/ 51 w 64"/>
                <a:gd name="T35" fmla="*/ 32 h 48"/>
                <a:gd name="T36" fmla="*/ 54 w 64"/>
                <a:gd name="T37" fmla="*/ 14 h 48"/>
                <a:gd name="T38" fmla="*/ 53 w 64"/>
                <a:gd name="T39" fmla="*/ 5 h 48"/>
                <a:gd name="T40" fmla="*/ 53 w 64"/>
                <a:gd name="T41" fmla="*/ 4 h 48"/>
                <a:gd name="T42" fmla="*/ 54 w 64"/>
                <a:gd name="T43" fmla="*/ 15 h 48"/>
                <a:gd name="T44" fmla="*/ 52 w 64"/>
                <a:gd name="T45" fmla="*/ 23 h 48"/>
                <a:gd name="T46" fmla="*/ 51 w 64"/>
                <a:gd name="T47" fmla="*/ 36 h 48"/>
                <a:gd name="T48" fmla="*/ 49 w 64"/>
                <a:gd name="T49" fmla="*/ 38 h 48"/>
                <a:gd name="T50" fmla="*/ 46 w 64"/>
                <a:gd name="T51" fmla="*/ 42 h 48"/>
                <a:gd name="T52" fmla="*/ 42 w 64"/>
                <a:gd name="T53" fmla="*/ 43 h 48"/>
                <a:gd name="T54" fmla="*/ 36 w 64"/>
                <a:gd name="T55" fmla="*/ 44 h 48"/>
                <a:gd name="T56" fmla="*/ 28 w 64"/>
                <a:gd name="T57" fmla="*/ 42 h 48"/>
                <a:gd name="T58" fmla="*/ 19 w 64"/>
                <a:gd name="T59" fmla="*/ 47 h 48"/>
                <a:gd name="T60" fmla="*/ 16 w 64"/>
                <a:gd name="T61" fmla="*/ 45 h 48"/>
                <a:gd name="T62" fmla="*/ 8 w 64"/>
                <a:gd name="T63" fmla="*/ 45 h 48"/>
                <a:gd name="T64" fmla="*/ 0 w 64"/>
                <a:gd name="T65" fmla="*/ 4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48">
                  <a:moveTo>
                    <a:pt x="0" y="47"/>
                  </a:moveTo>
                  <a:cubicBezTo>
                    <a:pt x="3" y="47"/>
                    <a:pt x="3" y="46"/>
                    <a:pt x="8" y="45"/>
                  </a:cubicBezTo>
                  <a:cubicBezTo>
                    <a:pt x="12" y="44"/>
                    <a:pt x="14" y="45"/>
                    <a:pt x="16" y="46"/>
                  </a:cubicBezTo>
                  <a:cubicBezTo>
                    <a:pt x="17" y="46"/>
                    <a:pt x="18" y="48"/>
                    <a:pt x="20" y="47"/>
                  </a:cubicBezTo>
                  <a:cubicBezTo>
                    <a:pt x="21" y="47"/>
                    <a:pt x="25" y="43"/>
                    <a:pt x="28" y="42"/>
                  </a:cubicBezTo>
                  <a:cubicBezTo>
                    <a:pt x="31" y="42"/>
                    <a:pt x="33" y="45"/>
                    <a:pt x="35" y="45"/>
                  </a:cubicBezTo>
                  <a:cubicBezTo>
                    <a:pt x="37" y="45"/>
                    <a:pt x="38" y="44"/>
                    <a:pt x="40" y="44"/>
                  </a:cubicBezTo>
                  <a:cubicBezTo>
                    <a:pt x="42" y="44"/>
                    <a:pt x="43" y="44"/>
                    <a:pt x="45" y="43"/>
                  </a:cubicBezTo>
                  <a:cubicBezTo>
                    <a:pt x="47" y="43"/>
                    <a:pt x="48" y="42"/>
                    <a:pt x="50" y="41"/>
                  </a:cubicBezTo>
                  <a:cubicBezTo>
                    <a:pt x="52" y="40"/>
                    <a:pt x="54" y="38"/>
                    <a:pt x="55" y="36"/>
                  </a:cubicBezTo>
                  <a:cubicBezTo>
                    <a:pt x="57" y="34"/>
                    <a:pt x="59" y="31"/>
                    <a:pt x="60" y="29"/>
                  </a:cubicBezTo>
                  <a:cubicBezTo>
                    <a:pt x="62" y="27"/>
                    <a:pt x="64" y="25"/>
                    <a:pt x="64" y="25"/>
                  </a:cubicBezTo>
                  <a:cubicBezTo>
                    <a:pt x="64" y="25"/>
                    <a:pt x="63" y="25"/>
                    <a:pt x="62" y="25"/>
                  </a:cubicBezTo>
                  <a:cubicBezTo>
                    <a:pt x="61" y="25"/>
                    <a:pt x="60" y="27"/>
                    <a:pt x="59" y="28"/>
                  </a:cubicBezTo>
                  <a:cubicBezTo>
                    <a:pt x="58" y="29"/>
                    <a:pt x="58" y="29"/>
                    <a:pt x="56" y="30"/>
                  </a:cubicBezTo>
                  <a:cubicBezTo>
                    <a:pt x="55" y="31"/>
                    <a:pt x="54" y="32"/>
                    <a:pt x="53" y="33"/>
                  </a:cubicBezTo>
                  <a:cubicBezTo>
                    <a:pt x="52" y="34"/>
                    <a:pt x="51" y="36"/>
                    <a:pt x="51" y="36"/>
                  </a:cubicBezTo>
                  <a:cubicBezTo>
                    <a:pt x="51" y="36"/>
                    <a:pt x="51" y="35"/>
                    <a:pt x="51" y="32"/>
                  </a:cubicBezTo>
                  <a:cubicBezTo>
                    <a:pt x="51" y="29"/>
                    <a:pt x="54" y="14"/>
                    <a:pt x="54" y="14"/>
                  </a:cubicBezTo>
                  <a:cubicBezTo>
                    <a:pt x="54" y="14"/>
                    <a:pt x="53" y="9"/>
                    <a:pt x="53" y="5"/>
                  </a:cubicBezTo>
                  <a:cubicBezTo>
                    <a:pt x="53" y="2"/>
                    <a:pt x="53" y="0"/>
                    <a:pt x="53" y="4"/>
                  </a:cubicBezTo>
                  <a:cubicBezTo>
                    <a:pt x="52" y="8"/>
                    <a:pt x="54" y="15"/>
                    <a:pt x="54" y="15"/>
                  </a:cubicBezTo>
                  <a:cubicBezTo>
                    <a:pt x="54" y="15"/>
                    <a:pt x="53" y="16"/>
                    <a:pt x="52" y="23"/>
                  </a:cubicBezTo>
                  <a:cubicBezTo>
                    <a:pt x="50" y="30"/>
                    <a:pt x="51" y="36"/>
                    <a:pt x="51" y="36"/>
                  </a:cubicBezTo>
                  <a:cubicBezTo>
                    <a:pt x="51" y="36"/>
                    <a:pt x="51" y="37"/>
                    <a:pt x="49" y="38"/>
                  </a:cubicBezTo>
                  <a:cubicBezTo>
                    <a:pt x="48" y="40"/>
                    <a:pt x="47" y="42"/>
                    <a:pt x="46" y="42"/>
                  </a:cubicBezTo>
                  <a:cubicBezTo>
                    <a:pt x="46" y="42"/>
                    <a:pt x="45" y="43"/>
                    <a:pt x="42" y="43"/>
                  </a:cubicBezTo>
                  <a:cubicBezTo>
                    <a:pt x="38" y="43"/>
                    <a:pt x="36" y="44"/>
                    <a:pt x="36" y="44"/>
                  </a:cubicBezTo>
                  <a:cubicBezTo>
                    <a:pt x="35" y="45"/>
                    <a:pt x="30" y="42"/>
                    <a:pt x="28" y="42"/>
                  </a:cubicBezTo>
                  <a:cubicBezTo>
                    <a:pt x="25" y="42"/>
                    <a:pt x="19" y="47"/>
                    <a:pt x="19" y="47"/>
                  </a:cubicBezTo>
                  <a:cubicBezTo>
                    <a:pt x="19" y="47"/>
                    <a:pt x="18" y="47"/>
                    <a:pt x="16" y="45"/>
                  </a:cubicBezTo>
                  <a:cubicBezTo>
                    <a:pt x="13" y="43"/>
                    <a:pt x="12" y="44"/>
                    <a:pt x="8" y="45"/>
                  </a:cubicBezTo>
                  <a:cubicBezTo>
                    <a:pt x="4" y="45"/>
                    <a:pt x="0" y="47"/>
                    <a:pt x="0" y="47"/>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46"/>
            <p:cNvSpPr>
              <a:spLocks noEditPoints="1"/>
            </p:cNvSpPr>
            <p:nvPr/>
          </p:nvSpPr>
          <p:spPr bwMode="auto">
            <a:xfrm>
              <a:off x="733780" y="2128363"/>
              <a:ext cx="552450" cy="1771650"/>
            </a:xfrm>
            <a:custGeom>
              <a:avLst/>
              <a:gdLst>
                <a:gd name="T0" fmla="*/ 248 w 260"/>
                <a:gd name="T1" fmla="*/ 672 h 837"/>
                <a:gd name="T2" fmla="*/ 235 w 260"/>
                <a:gd name="T3" fmla="*/ 583 h 837"/>
                <a:gd name="T4" fmla="*/ 226 w 260"/>
                <a:gd name="T5" fmla="*/ 465 h 837"/>
                <a:gd name="T6" fmla="*/ 218 w 260"/>
                <a:gd name="T7" fmla="*/ 382 h 837"/>
                <a:gd name="T8" fmla="*/ 208 w 260"/>
                <a:gd name="T9" fmla="*/ 350 h 837"/>
                <a:gd name="T10" fmla="*/ 208 w 260"/>
                <a:gd name="T11" fmla="*/ 338 h 837"/>
                <a:gd name="T12" fmla="*/ 215 w 260"/>
                <a:gd name="T13" fmla="*/ 313 h 837"/>
                <a:gd name="T14" fmla="*/ 225 w 260"/>
                <a:gd name="T15" fmla="*/ 224 h 837"/>
                <a:gd name="T16" fmla="*/ 227 w 260"/>
                <a:gd name="T17" fmla="*/ 170 h 837"/>
                <a:gd name="T18" fmla="*/ 205 w 260"/>
                <a:gd name="T19" fmla="*/ 123 h 837"/>
                <a:gd name="T20" fmla="*/ 166 w 260"/>
                <a:gd name="T21" fmla="*/ 112 h 837"/>
                <a:gd name="T22" fmla="*/ 167 w 260"/>
                <a:gd name="T23" fmla="*/ 72 h 837"/>
                <a:gd name="T24" fmla="*/ 144 w 260"/>
                <a:gd name="T25" fmla="*/ 3 h 837"/>
                <a:gd name="T26" fmla="*/ 94 w 260"/>
                <a:gd name="T27" fmla="*/ 77 h 837"/>
                <a:gd name="T28" fmla="*/ 101 w 260"/>
                <a:gd name="T29" fmla="*/ 121 h 837"/>
                <a:gd name="T30" fmla="*/ 53 w 260"/>
                <a:gd name="T31" fmla="*/ 135 h 837"/>
                <a:gd name="T32" fmla="*/ 27 w 260"/>
                <a:gd name="T33" fmla="*/ 170 h 837"/>
                <a:gd name="T34" fmla="*/ 1 w 260"/>
                <a:gd name="T35" fmla="*/ 255 h 837"/>
                <a:gd name="T36" fmla="*/ 47 w 260"/>
                <a:gd name="T37" fmla="*/ 282 h 837"/>
                <a:gd name="T38" fmla="*/ 62 w 260"/>
                <a:gd name="T39" fmla="*/ 343 h 837"/>
                <a:gd name="T40" fmla="*/ 60 w 260"/>
                <a:gd name="T41" fmla="*/ 369 h 837"/>
                <a:gd name="T42" fmla="*/ 49 w 260"/>
                <a:gd name="T43" fmla="*/ 417 h 837"/>
                <a:gd name="T44" fmla="*/ 54 w 260"/>
                <a:gd name="T45" fmla="*/ 452 h 837"/>
                <a:gd name="T46" fmla="*/ 70 w 260"/>
                <a:gd name="T47" fmla="*/ 587 h 837"/>
                <a:gd name="T48" fmla="*/ 96 w 260"/>
                <a:gd name="T49" fmla="*/ 704 h 837"/>
                <a:gd name="T50" fmla="*/ 88 w 260"/>
                <a:gd name="T51" fmla="*/ 753 h 837"/>
                <a:gd name="T52" fmla="*/ 73 w 260"/>
                <a:gd name="T53" fmla="*/ 782 h 837"/>
                <a:gd name="T54" fmla="*/ 35 w 260"/>
                <a:gd name="T55" fmla="*/ 808 h 837"/>
                <a:gd name="T56" fmla="*/ 71 w 260"/>
                <a:gd name="T57" fmla="*/ 815 h 837"/>
                <a:gd name="T58" fmla="*/ 89 w 260"/>
                <a:gd name="T59" fmla="*/ 813 h 837"/>
                <a:gd name="T60" fmla="*/ 128 w 260"/>
                <a:gd name="T61" fmla="*/ 807 h 837"/>
                <a:gd name="T62" fmla="*/ 151 w 260"/>
                <a:gd name="T63" fmla="*/ 804 h 837"/>
                <a:gd name="T64" fmla="*/ 156 w 260"/>
                <a:gd name="T65" fmla="*/ 780 h 837"/>
                <a:gd name="T66" fmla="*/ 166 w 260"/>
                <a:gd name="T67" fmla="*/ 743 h 837"/>
                <a:gd name="T68" fmla="*/ 153 w 260"/>
                <a:gd name="T69" fmla="*/ 663 h 837"/>
                <a:gd name="T70" fmla="*/ 154 w 260"/>
                <a:gd name="T71" fmla="*/ 580 h 837"/>
                <a:gd name="T72" fmla="*/ 154 w 260"/>
                <a:gd name="T73" fmla="*/ 550 h 837"/>
                <a:gd name="T74" fmla="*/ 166 w 260"/>
                <a:gd name="T75" fmla="*/ 611 h 837"/>
                <a:gd name="T76" fmla="*/ 172 w 260"/>
                <a:gd name="T77" fmla="*/ 685 h 837"/>
                <a:gd name="T78" fmla="*/ 189 w 260"/>
                <a:gd name="T79" fmla="*/ 759 h 837"/>
                <a:gd name="T80" fmla="*/ 194 w 260"/>
                <a:gd name="T81" fmla="*/ 800 h 837"/>
                <a:gd name="T82" fmla="*/ 196 w 260"/>
                <a:gd name="T83" fmla="*/ 834 h 837"/>
                <a:gd name="T84" fmla="*/ 249 w 260"/>
                <a:gd name="T85" fmla="*/ 815 h 837"/>
                <a:gd name="T86" fmla="*/ 257 w 260"/>
                <a:gd name="T87" fmla="*/ 778 h 837"/>
                <a:gd name="T88" fmla="*/ 144 w 260"/>
                <a:gd name="T89" fmla="*/ 107 h 837"/>
                <a:gd name="T90" fmla="*/ 165 w 260"/>
                <a:gd name="T91" fmla="*/ 112 h 837"/>
                <a:gd name="T92" fmla="*/ 182 w 260"/>
                <a:gd name="T93" fmla="*/ 118 h 837"/>
                <a:gd name="T94" fmla="*/ 226 w 260"/>
                <a:gd name="T95" fmla="*/ 212 h 837"/>
                <a:gd name="T96" fmla="*/ 145 w 260"/>
                <a:gd name="T97" fmla="*/ 262 h 837"/>
                <a:gd name="T98" fmla="*/ 80 w 260"/>
                <a:gd name="T99" fmla="*/ 210 h 837"/>
                <a:gd name="T100" fmla="*/ 63 w 260"/>
                <a:gd name="T101" fmla="*/ 345 h 837"/>
                <a:gd name="T102" fmla="*/ 23 w 260"/>
                <a:gd name="T103" fmla="*/ 275 h 837"/>
                <a:gd name="T104" fmla="*/ 42 w 260"/>
                <a:gd name="T105" fmla="*/ 144 h 837"/>
                <a:gd name="T106" fmla="*/ 107 w 260"/>
                <a:gd name="T107" fmla="*/ 108 h 837"/>
                <a:gd name="T108" fmla="*/ 101 w 260"/>
                <a:gd name="T109" fmla="*/ 131 h 837"/>
                <a:gd name="T110" fmla="*/ 44 w 260"/>
                <a:gd name="T111" fmla="*/ 219 h 837"/>
                <a:gd name="T112" fmla="*/ 108 w 260"/>
                <a:gd name="T113" fmla="*/ 258 h 837"/>
                <a:gd name="T114" fmla="*/ 67 w 260"/>
                <a:gd name="T115" fmla="*/ 294 h 837"/>
                <a:gd name="T116" fmla="*/ 114 w 260"/>
                <a:gd name="T117" fmla="*/ 347 h 837"/>
                <a:gd name="T118" fmla="*/ 102 w 260"/>
                <a:gd name="T119" fmla="*/ 284 h 837"/>
                <a:gd name="T120" fmla="*/ 157 w 260"/>
                <a:gd name="T121" fmla="*/ 265 h 837"/>
                <a:gd name="T122" fmla="*/ 224 w 260"/>
                <a:gd name="T123" fmla="*/ 218 h 837"/>
                <a:gd name="T124" fmla="*/ 212 w 260"/>
                <a:gd name="T125" fmla="*/ 335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0" h="837">
                  <a:moveTo>
                    <a:pt x="258" y="770"/>
                  </a:moveTo>
                  <a:cubicBezTo>
                    <a:pt x="258" y="769"/>
                    <a:pt x="257" y="768"/>
                    <a:pt x="257" y="767"/>
                  </a:cubicBezTo>
                  <a:cubicBezTo>
                    <a:pt x="257" y="766"/>
                    <a:pt x="257" y="762"/>
                    <a:pt x="257" y="760"/>
                  </a:cubicBezTo>
                  <a:cubicBezTo>
                    <a:pt x="257" y="758"/>
                    <a:pt x="255" y="744"/>
                    <a:pt x="255" y="742"/>
                  </a:cubicBezTo>
                  <a:cubicBezTo>
                    <a:pt x="255" y="740"/>
                    <a:pt x="255" y="735"/>
                    <a:pt x="254" y="731"/>
                  </a:cubicBezTo>
                  <a:cubicBezTo>
                    <a:pt x="254" y="726"/>
                    <a:pt x="253" y="715"/>
                    <a:pt x="253" y="711"/>
                  </a:cubicBezTo>
                  <a:cubicBezTo>
                    <a:pt x="252" y="707"/>
                    <a:pt x="251" y="695"/>
                    <a:pt x="251" y="694"/>
                  </a:cubicBezTo>
                  <a:cubicBezTo>
                    <a:pt x="251" y="692"/>
                    <a:pt x="250" y="688"/>
                    <a:pt x="250" y="686"/>
                  </a:cubicBezTo>
                  <a:cubicBezTo>
                    <a:pt x="249" y="684"/>
                    <a:pt x="248" y="678"/>
                    <a:pt x="248" y="677"/>
                  </a:cubicBezTo>
                  <a:cubicBezTo>
                    <a:pt x="248" y="676"/>
                    <a:pt x="248" y="673"/>
                    <a:pt x="248" y="672"/>
                  </a:cubicBezTo>
                  <a:cubicBezTo>
                    <a:pt x="247" y="671"/>
                    <a:pt x="247" y="668"/>
                    <a:pt x="247" y="666"/>
                  </a:cubicBezTo>
                  <a:cubicBezTo>
                    <a:pt x="247" y="665"/>
                    <a:pt x="247" y="663"/>
                    <a:pt x="246" y="662"/>
                  </a:cubicBezTo>
                  <a:cubicBezTo>
                    <a:pt x="246" y="660"/>
                    <a:pt x="245" y="651"/>
                    <a:pt x="245" y="648"/>
                  </a:cubicBezTo>
                  <a:cubicBezTo>
                    <a:pt x="245" y="645"/>
                    <a:pt x="244" y="641"/>
                    <a:pt x="244" y="637"/>
                  </a:cubicBezTo>
                  <a:cubicBezTo>
                    <a:pt x="243" y="632"/>
                    <a:pt x="242" y="626"/>
                    <a:pt x="242" y="624"/>
                  </a:cubicBezTo>
                  <a:cubicBezTo>
                    <a:pt x="242" y="623"/>
                    <a:pt x="242" y="618"/>
                    <a:pt x="242" y="615"/>
                  </a:cubicBezTo>
                  <a:cubicBezTo>
                    <a:pt x="242" y="613"/>
                    <a:pt x="242" y="607"/>
                    <a:pt x="242" y="603"/>
                  </a:cubicBezTo>
                  <a:cubicBezTo>
                    <a:pt x="242" y="600"/>
                    <a:pt x="240" y="595"/>
                    <a:pt x="240" y="594"/>
                  </a:cubicBezTo>
                  <a:cubicBezTo>
                    <a:pt x="239" y="592"/>
                    <a:pt x="236" y="586"/>
                    <a:pt x="236" y="585"/>
                  </a:cubicBezTo>
                  <a:cubicBezTo>
                    <a:pt x="235" y="584"/>
                    <a:pt x="235" y="584"/>
                    <a:pt x="235" y="583"/>
                  </a:cubicBezTo>
                  <a:cubicBezTo>
                    <a:pt x="235" y="581"/>
                    <a:pt x="235" y="577"/>
                    <a:pt x="235" y="573"/>
                  </a:cubicBezTo>
                  <a:cubicBezTo>
                    <a:pt x="235" y="569"/>
                    <a:pt x="235" y="561"/>
                    <a:pt x="235" y="557"/>
                  </a:cubicBezTo>
                  <a:cubicBezTo>
                    <a:pt x="235" y="553"/>
                    <a:pt x="235" y="544"/>
                    <a:pt x="236" y="541"/>
                  </a:cubicBezTo>
                  <a:cubicBezTo>
                    <a:pt x="236" y="539"/>
                    <a:pt x="235" y="535"/>
                    <a:pt x="235" y="532"/>
                  </a:cubicBezTo>
                  <a:cubicBezTo>
                    <a:pt x="234" y="529"/>
                    <a:pt x="233" y="520"/>
                    <a:pt x="232" y="515"/>
                  </a:cubicBezTo>
                  <a:cubicBezTo>
                    <a:pt x="232" y="510"/>
                    <a:pt x="229" y="498"/>
                    <a:pt x="229" y="496"/>
                  </a:cubicBezTo>
                  <a:cubicBezTo>
                    <a:pt x="229" y="493"/>
                    <a:pt x="227" y="484"/>
                    <a:pt x="227" y="483"/>
                  </a:cubicBezTo>
                  <a:cubicBezTo>
                    <a:pt x="227" y="481"/>
                    <a:pt x="227" y="477"/>
                    <a:pt x="227" y="477"/>
                  </a:cubicBezTo>
                  <a:cubicBezTo>
                    <a:pt x="226" y="476"/>
                    <a:pt x="226" y="475"/>
                    <a:pt x="226" y="473"/>
                  </a:cubicBezTo>
                  <a:cubicBezTo>
                    <a:pt x="226" y="471"/>
                    <a:pt x="226" y="466"/>
                    <a:pt x="226" y="465"/>
                  </a:cubicBezTo>
                  <a:cubicBezTo>
                    <a:pt x="226" y="464"/>
                    <a:pt x="226" y="456"/>
                    <a:pt x="226" y="453"/>
                  </a:cubicBezTo>
                  <a:cubicBezTo>
                    <a:pt x="226" y="449"/>
                    <a:pt x="225" y="448"/>
                    <a:pt x="225" y="447"/>
                  </a:cubicBezTo>
                  <a:cubicBezTo>
                    <a:pt x="224" y="446"/>
                    <a:pt x="224" y="441"/>
                    <a:pt x="224" y="438"/>
                  </a:cubicBezTo>
                  <a:cubicBezTo>
                    <a:pt x="223" y="434"/>
                    <a:pt x="223" y="429"/>
                    <a:pt x="223" y="428"/>
                  </a:cubicBezTo>
                  <a:cubicBezTo>
                    <a:pt x="223" y="427"/>
                    <a:pt x="222" y="424"/>
                    <a:pt x="222" y="423"/>
                  </a:cubicBezTo>
                  <a:cubicBezTo>
                    <a:pt x="222" y="422"/>
                    <a:pt x="223" y="422"/>
                    <a:pt x="224" y="418"/>
                  </a:cubicBezTo>
                  <a:cubicBezTo>
                    <a:pt x="224" y="414"/>
                    <a:pt x="224" y="411"/>
                    <a:pt x="224" y="408"/>
                  </a:cubicBezTo>
                  <a:cubicBezTo>
                    <a:pt x="224" y="405"/>
                    <a:pt x="223" y="401"/>
                    <a:pt x="223" y="399"/>
                  </a:cubicBezTo>
                  <a:cubicBezTo>
                    <a:pt x="222" y="396"/>
                    <a:pt x="220" y="388"/>
                    <a:pt x="220" y="387"/>
                  </a:cubicBezTo>
                  <a:cubicBezTo>
                    <a:pt x="219" y="385"/>
                    <a:pt x="218" y="382"/>
                    <a:pt x="218" y="382"/>
                  </a:cubicBezTo>
                  <a:cubicBezTo>
                    <a:pt x="218" y="382"/>
                    <a:pt x="217" y="381"/>
                    <a:pt x="217" y="381"/>
                  </a:cubicBezTo>
                  <a:cubicBezTo>
                    <a:pt x="217" y="381"/>
                    <a:pt x="217" y="380"/>
                    <a:pt x="217" y="380"/>
                  </a:cubicBezTo>
                  <a:cubicBezTo>
                    <a:pt x="217" y="379"/>
                    <a:pt x="217" y="377"/>
                    <a:pt x="217" y="376"/>
                  </a:cubicBezTo>
                  <a:cubicBezTo>
                    <a:pt x="216" y="375"/>
                    <a:pt x="216" y="375"/>
                    <a:pt x="215" y="374"/>
                  </a:cubicBezTo>
                  <a:cubicBezTo>
                    <a:pt x="215" y="373"/>
                    <a:pt x="215" y="373"/>
                    <a:pt x="214" y="371"/>
                  </a:cubicBezTo>
                  <a:cubicBezTo>
                    <a:pt x="214" y="370"/>
                    <a:pt x="212" y="364"/>
                    <a:pt x="211" y="362"/>
                  </a:cubicBezTo>
                  <a:cubicBezTo>
                    <a:pt x="211" y="361"/>
                    <a:pt x="211" y="360"/>
                    <a:pt x="210" y="359"/>
                  </a:cubicBezTo>
                  <a:cubicBezTo>
                    <a:pt x="210" y="358"/>
                    <a:pt x="210" y="357"/>
                    <a:pt x="210" y="356"/>
                  </a:cubicBezTo>
                  <a:cubicBezTo>
                    <a:pt x="210" y="355"/>
                    <a:pt x="209" y="354"/>
                    <a:pt x="209" y="353"/>
                  </a:cubicBezTo>
                  <a:cubicBezTo>
                    <a:pt x="209" y="351"/>
                    <a:pt x="208" y="350"/>
                    <a:pt x="208" y="350"/>
                  </a:cubicBezTo>
                  <a:cubicBezTo>
                    <a:pt x="208" y="349"/>
                    <a:pt x="207" y="346"/>
                    <a:pt x="206" y="346"/>
                  </a:cubicBezTo>
                  <a:cubicBezTo>
                    <a:pt x="206" y="346"/>
                    <a:pt x="207" y="345"/>
                    <a:pt x="206" y="344"/>
                  </a:cubicBezTo>
                  <a:cubicBezTo>
                    <a:pt x="206" y="343"/>
                    <a:pt x="206" y="343"/>
                    <a:pt x="205" y="343"/>
                  </a:cubicBezTo>
                  <a:cubicBezTo>
                    <a:pt x="205" y="343"/>
                    <a:pt x="205" y="332"/>
                    <a:pt x="204" y="332"/>
                  </a:cubicBezTo>
                  <a:cubicBezTo>
                    <a:pt x="203" y="331"/>
                    <a:pt x="203" y="331"/>
                    <a:pt x="204" y="331"/>
                  </a:cubicBezTo>
                  <a:cubicBezTo>
                    <a:pt x="204" y="331"/>
                    <a:pt x="204" y="331"/>
                    <a:pt x="205" y="331"/>
                  </a:cubicBezTo>
                  <a:cubicBezTo>
                    <a:pt x="205" y="330"/>
                    <a:pt x="205" y="331"/>
                    <a:pt x="205" y="331"/>
                  </a:cubicBezTo>
                  <a:cubicBezTo>
                    <a:pt x="205" y="332"/>
                    <a:pt x="206" y="339"/>
                    <a:pt x="206" y="339"/>
                  </a:cubicBezTo>
                  <a:cubicBezTo>
                    <a:pt x="206" y="339"/>
                    <a:pt x="206" y="339"/>
                    <a:pt x="206" y="339"/>
                  </a:cubicBezTo>
                  <a:cubicBezTo>
                    <a:pt x="206" y="339"/>
                    <a:pt x="207" y="339"/>
                    <a:pt x="208" y="338"/>
                  </a:cubicBezTo>
                  <a:cubicBezTo>
                    <a:pt x="209" y="337"/>
                    <a:pt x="211" y="337"/>
                    <a:pt x="212" y="336"/>
                  </a:cubicBezTo>
                  <a:cubicBezTo>
                    <a:pt x="213" y="336"/>
                    <a:pt x="213" y="335"/>
                    <a:pt x="213" y="335"/>
                  </a:cubicBezTo>
                  <a:cubicBezTo>
                    <a:pt x="213" y="334"/>
                    <a:pt x="213" y="334"/>
                    <a:pt x="214" y="333"/>
                  </a:cubicBezTo>
                  <a:cubicBezTo>
                    <a:pt x="214" y="332"/>
                    <a:pt x="216" y="331"/>
                    <a:pt x="217" y="330"/>
                  </a:cubicBezTo>
                  <a:cubicBezTo>
                    <a:pt x="218" y="329"/>
                    <a:pt x="219" y="327"/>
                    <a:pt x="221" y="326"/>
                  </a:cubicBezTo>
                  <a:cubicBezTo>
                    <a:pt x="222" y="325"/>
                    <a:pt x="223" y="323"/>
                    <a:pt x="223" y="322"/>
                  </a:cubicBezTo>
                  <a:cubicBezTo>
                    <a:pt x="223" y="322"/>
                    <a:pt x="223" y="322"/>
                    <a:pt x="223" y="321"/>
                  </a:cubicBezTo>
                  <a:cubicBezTo>
                    <a:pt x="222" y="321"/>
                    <a:pt x="222" y="321"/>
                    <a:pt x="221" y="320"/>
                  </a:cubicBezTo>
                  <a:cubicBezTo>
                    <a:pt x="220" y="319"/>
                    <a:pt x="218" y="318"/>
                    <a:pt x="217" y="317"/>
                  </a:cubicBezTo>
                  <a:cubicBezTo>
                    <a:pt x="217" y="317"/>
                    <a:pt x="216" y="314"/>
                    <a:pt x="215" y="313"/>
                  </a:cubicBezTo>
                  <a:cubicBezTo>
                    <a:pt x="215" y="312"/>
                    <a:pt x="211" y="302"/>
                    <a:pt x="211" y="301"/>
                  </a:cubicBezTo>
                  <a:cubicBezTo>
                    <a:pt x="210" y="299"/>
                    <a:pt x="210" y="299"/>
                    <a:pt x="210" y="297"/>
                  </a:cubicBezTo>
                  <a:cubicBezTo>
                    <a:pt x="210" y="295"/>
                    <a:pt x="210" y="289"/>
                    <a:pt x="210" y="287"/>
                  </a:cubicBezTo>
                  <a:cubicBezTo>
                    <a:pt x="210" y="286"/>
                    <a:pt x="209" y="273"/>
                    <a:pt x="209" y="271"/>
                  </a:cubicBezTo>
                  <a:cubicBezTo>
                    <a:pt x="209" y="269"/>
                    <a:pt x="210" y="269"/>
                    <a:pt x="210" y="268"/>
                  </a:cubicBezTo>
                  <a:cubicBezTo>
                    <a:pt x="210" y="267"/>
                    <a:pt x="212" y="259"/>
                    <a:pt x="213" y="256"/>
                  </a:cubicBezTo>
                  <a:cubicBezTo>
                    <a:pt x="214" y="253"/>
                    <a:pt x="216" y="246"/>
                    <a:pt x="217" y="244"/>
                  </a:cubicBezTo>
                  <a:cubicBezTo>
                    <a:pt x="217" y="243"/>
                    <a:pt x="218" y="240"/>
                    <a:pt x="219" y="239"/>
                  </a:cubicBezTo>
                  <a:cubicBezTo>
                    <a:pt x="219" y="238"/>
                    <a:pt x="220" y="235"/>
                    <a:pt x="221" y="233"/>
                  </a:cubicBezTo>
                  <a:cubicBezTo>
                    <a:pt x="222" y="231"/>
                    <a:pt x="224" y="226"/>
                    <a:pt x="225" y="224"/>
                  </a:cubicBezTo>
                  <a:cubicBezTo>
                    <a:pt x="226" y="223"/>
                    <a:pt x="226" y="221"/>
                    <a:pt x="226" y="220"/>
                  </a:cubicBezTo>
                  <a:cubicBezTo>
                    <a:pt x="226" y="218"/>
                    <a:pt x="227" y="215"/>
                    <a:pt x="227" y="214"/>
                  </a:cubicBezTo>
                  <a:cubicBezTo>
                    <a:pt x="228" y="212"/>
                    <a:pt x="228" y="211"/>
                    <a:pt x="228" y="210"/>
                  </a:cubicBezTo>
                  <a:cubicBezTo>
                    <a:pt x="229" y="210"/>
                    <a:pt x="231" y="207"/>
                    <a:pt x="231" y="206"/>
                  </a:cubicBezTo>
                  <a:cubicBezTo>
                    <a:pt x="231" y="206"/>
                    <a:pt x="232" y="205"/>
                    <a:pt x="231" y="204"/>
                  </a:cubicBezTo>
                  <a:cubicBezTo>
                    <a:pt x="231" y="203"/>
                    <a:pt x="231" y="200"/>
                    <a:pt x="231" y="199"/>
                  </a:cubicBezTo>
                  <a:cubicBezTo>
                    <a:pt x="231" y="197"/>
                    <a:pt x="232" y="196"/>
                    <a:pt x="232" y="195"/>
                  </a:cubicBezTo>
                  <a:cubicBezTo>
                    <a:pt x="232" y="194"/>
                    <a:pt x="232" y="193"/>
                    <a:pt x="232" y="192"/>
                  </a:cubicBezTo>
                  <a:cubicBezTo>
                    <a:pt x="232" y="191"/>
                    <a:pt x="230" y="186"/>
                    <a:pt x="230" y="183"/>
                  </a:cubicBezTo>
                  <a:cubicBezTo>
                    <a:pt x="229" y="179"/>
                    <a:pt x="227" y="171"/>
                    <a:pt x="227" y="170"/>
                  </a:cubicBezTo>
                  <a:cubicBezTo>
                    <a:pt x="227" y="169"/>
                    <a:pt x="226" y="168"/>
                    <a:pt x="226" y="167"/>
                  </a:cubicBezTo>
                  <a:cubicBezTo>
                    <a:pt x="226" y="166"/>
                    <a:pt x="226" y="164"/>
                    <a:pt x="227" y="161"/>
                  </a:cubicBezTo>
                  <a:cubicBezTo>
                    <a:pt x="227" y="157"/>
                    <a:pt x="227" y="152"/>
                    <a:pt x="226" y="149"/>
                  </a:cubicBezTo>
                  <a:cubicBezTo>
                    <a:pt x="226" y="146"/>
                    <a:pt x="225" y="145"/>
                    <a:pt x="224" y="144"/>
                  </a:cubicBezTo>
                  <a:cubicBezTo>
                    <a:pt x="224" y="143"/>
                    <a:pt x="223" y="141"/>
                    <a:pt x="222" y="140"/>
                  </a:cubicBezTo>
                  <a:cubicBezTo>
                    <a:pt x="221" y="140"/>
                    <a:pt x="221" y="139"/>
                    <a:pt x="220" y="138"/>
                  </a:cubicBezTo>
                  <a:cubicBezTo>
                    <a:pt x="219" y="137"/>
                    <a:pt x="218" y="135"/>
                    <a:pt x="217" y="134"/>
                  </a:cubicBezTo>
                  <a:cubicBezTo>
                    <a:pt x="217" y="133"/>
                    <a:pt x="216" y="131"/>
                    <a:pt x="214" y="129"/>
                  </a:cubicBezTo>
                  <a:cubicBezTo>
                    <a:pt x="213" y="127"/>
                    <a:pt x="209" y="124"/>
                    <a:pt x="208" y="124"/>
                  </a:cubicBezTo>
                  <a:cubicBezTo>
                    <a:pt x="207" y="124"/>
                    <a:pt x="206" y="123"/>
                    <a:pt x="205" y="123"/>
                  </a:cubicBezTo>
                  <a:cubicBezTo>
                    <a:pt x="203" y="122"/>
                    <a:pt x="201" y="122"/>
                    <a:pt x="200" y="122"/>
                  </a:cubicBezTo>
                  <a:cubicBezTo>
                    <a:pt x="199" y="122"/>
                    <a:pt x="198" y="122"/>
                    <a:pt x="197" y="122"/>
                  </a:cubicBezTo>
                  <a:cubicBezTo>
                    <a:pt x="196" y="121"/>
                    <a:pt x="195" y="120"/>
                    <a:pt x="194" y="120"/>
                  </a:cubicBezTo>
                  <a:cubicBezTo>
                    <a:pt x="192" y="119"/>
                    <a:pt x="190" y="118"/>
                    <a:pt x="189" y="118"/>
                  </a:cubicBezTo>
                  <a:cubicBezTo>
                    <a:pt x="188" y="118"/>
                    <a:pt x="186" y="118"/>
                    <a:pt x="184" y="117"/>
                  </a:cubicBezTo>
                  <a:cubicBezTo>
                    <a:pt x="182" y="117"/>
                    <a:pt x="180" y="116"/>
                    <a:pt x="178" y="116"/>
                  </a:cubicBezTo>
                  <a:cubicBezTo>
                    <a:pt x="177" y="116"/>
                    <a:pt x="174" y="115"/>
                    <a:pt x="173" y="115"/>
                  </a:cubicBezTo>
                  <a:cubicBezTo>
                    <a:pt x="172" y="115"/>
                    <a:pt x="172" y="114"/>
                    <a:pt x="171" y="113"/>
                  </a:cubicBezTo>
                  <a:cubicBezTo>
                    <a:pt x="169" y="112"/>
                    <a:pt x="167" y="112"/>
                    <a:pt x="167" y="112"/>
                  </a:cubicBezTo>
                  <a:cubicBezTo>
                    <a:pt x="166" y="113"/>
                    <a:pt x="166" y="113"/>
                    <a:pt x="166" y="112"/>
                  </a:cubicBezTo>
                  <a:cubicBezTo>
                    <a:pt x="166" y="112"/>
                    <a:pt x="165" y="111"/>
                    <a:pt x="165" y="109"/>
                  </a:cubicBezTo>
                  <a:cubicBezTo>
                    <a:pt x="164" y="107"/>
                    <a:pt x="164" y="107"/>
                    <a:pt x="164" y="106"/>
                  </a:cubicBezTo>
                  <a:cubicBezTo>
                    <a:pt x="163" y="105"/>
                    <a:pt x="163" y="103"/>
                    <a:pt x="162" y="102"/>
                  </a:cubicBezTo>
                  <a:cubicBezTo>
                    <a:pt x="162" y="101"/>
                    <a:pt x="162" y="98"/>
                    <a:pt x="162" y="97"/>
                  </a:cubicBezTo>
                  <a:cubicBezTo>
                    <a:pt x="161" y="96"/>
                    <a:pt x="161" y="96"/>
                    <a:pt x="160" y="96"/>
                  </a:cubicBezTo>
                  <a:cubicBezTo>
                    <a:pt x="159" y="96"/>
                    <a:pt x="159" y="96"/>
                    <a:pt x="159" y="95"/>
                  </a:cubicBezTo>
                  <a:cubicBezTo>
                    <a:pt x="159" y="94"/>
                    <a:pt x="160" y="88"/>
                    <a:pt x="160" y="85"/>
                  </a:cubicBezTo>
                  <a:cubicBezTo>
                    <a:pt x="161" y="81"/>
                    <a:pt x="162" y="76"/>
                    <a:pt x="162" y="75"/>
                  </a:cubicBezTo>
                  <a:cubicBezTo>
                    <a:pt x="162" y="74"/>
                    <a:pt x="162" y="73"/>
                    <a:pt x="163" y="73"/>
                  </a:cubicBezTo>
                  <a:cubicBezTo>
                    <a:pt x="166" y="73"/>
                    <a:pt x="167" y="72"/>
                    <a:pt x="167" y="72"/>
                  </a:cubicBezTo>
                  <a:cubicBezTo>
                    <a:pt x="168" y="71"/>
                    <a:pt x="169" y="70"/>
                    <a:pt x="169" y="69"/>
                  </a:cubicBezTo>
                  <a:cubicBezTo>
                    <a:pt x="169" y="69"/>
                    <a:pt x="169" y="69"/>
                    <a:pt x="170" y="68"/>
                  </a:cubicBezTo>
                  <a:cubicBezTo>
                    <a:pt x="170" y="67"/>
                    <a:pt x="171" y="67"/>
                    <a:pt x="172" y="65"/>
                  </a:cubicBezTo>
                  <a:cubicBezTo>
                    <a:pt x="173" y="62"/>
                    <a:pt x="173" y="60"/>
                    <a:pt x="173" y="59"/>
                  </a:cubicBezTo>
                  <a:cubicBezTo>
                    <a:pt x="173" y="57"/>
                    <a:pt x="173" y="57"/>
                    <a:pt x="173" y="54"/>
                  </a:cubicBezTo>
                  <a:cubicBezTo>
                    <a:pt x="173" y="50"/>
                    <a:pt x="172" y="47"/>
                    <a:pt x="171" y="46"/>
                  </a:cubicBezTo>
                  <a:cubicBezTo>
                    <a:pt x="171" y="45"/>
                    <a:pt x="170" y="44"/>
                    <a:pt x="169" y="44"/>
                  </a:cubicBezTo>
                  <a:cubicBezTo>
                    <a:pt x="169" y="43"/>
                    <a:pt x="169" y="43"/>
                    <a:pt x="169" y="42"/>
                  </a:cubicBezTo>
                  <a:cubicBezTo>
                    <a:pt x="169" y="40"/>
                    <a:pt x="169" y="30"/>
                    <a:pt x="168" y="29"/>
                  </a:cubicBezTo>
                  <a:cubicBezTo>
                    <a:pt x="165" y="15"/>
                    <a:pt x="153" y="6"/>
                    <a:pt x="144" y="3"/>
                  </a:cubicBezTo>
                  <a:cubicBezTo>
                    <a:pt x="135" y="0"/>
                    <a:pt x="129" y="0"/>
                    <a:pt x="122" y="2"/>
                  </a:cubicBezTo>
                  <a:cubicBezTo>
                    <a:pt x="116" y="3"/>
                    <a:pt x="109" y="7"/>
                    <a:pt x="108" y="8"/>
                  </a:cubicBezTo>
                  <a:cubicBezTo>
                    <a:pt x="108" y="8"/>
                    <a:pt x="107" y="8"/>
                    <a:pt x="106" y="10"/>
                  </a:cubicBezTo>
                  <a:cubicBezTo>
                    <a:pt x="103" y="12"/>
                    <a:pt x="101" y="15"/>
                    <a:pt x="99" y="18"/>
                  </a:cubicBezTo>
                  <a:cubicBezTo>
                    <a:pt x="97" y="22"/>
                    <a:pt x="95" y="27"/>
                    <a:pt x="94" y="30"/>
                  </a:cubicBezTo>
                  <a:cubicBezTo>
                    <a:pt x="93" y="33"/>
                    <a:pt x="93" y="38"/>
                    <a:pt x="93" y="41"/>
                  </a:cubicBezTo>
                  <a:cubicBezTo>
                    <a:pt x="93" y="43"/>
                    <a:pt x="93" y="45"/>
                    <a:pt x="93" y="47"/>
                  </a:cubicBezTo>
                  <a:cubicBezTo>
                    <a:pt x="93" y="49"/>
                    <a:pt x="93" y="53"/>
                    <a:pt x="93" y="55"/>
                  </a:cubicBezTo>
                  <a:cubicBezTo>
                    <a:pt x="93" y="58"/>
                    <a:pt x="94" y="61"/>
                    <a:pt x="94" y="63"/>
                  </a:cubicBezTo>
                  <a:cubicBezTo>
                    <a:pt x="93" y="66"/>
                    <a:pt x="94" y="71"/>
                    <a:pt x="94" y="77"/>
                  </a:cubicBezTo>
                  <a:cubicBezTo>
                    <a:pt x="94" y="82"/>
                    <a:pt x="95" y="85"/>
                    <a:pt x="97" y="89"/>
                  </a:cubicBezTo>
                  <a:cubicBezTo>
                    <a:pt x="98" y="94"/>
                    <a:pt x="102" y="98"/>
                    <a:pt x="103" y="99"/>
                  </a:cubicBezTo>
                  <a:cubicBezTo>
                    <a:pt x="105" y="101"/>
                    <a:pt x="106" y="102"/>
                    <a:pt x="107" y="102"/>
                  </a:cubicBezTo>
                  <a:cubicBezTo>
                    <a:pt x="107" y="103"/>
                    <a:pt x="107" y="103"/>
                    <a:pt x="107" y="104"/>
                  </a:cubicBezTo>
                  <a:cubicBezTo>
                    <a:pt x="107" y="105"/>
                    <a:pt x="107" y="105"/>
                    <a:pt x="107" y="107"/>
                  </a:cubicBezTo>
                  <a:cubicBezTo>
                    <a:pt x="106" y="109"/>
                    <a:pt x="106" y="111"/>
                    <a:pt x="106" y="113"/>
                  </a:cubicBezTo>
                  <a:cubicBezTo>
                    <a:pt x="106" y="114"/>
                    <a:pt x="106" y="116"/>
                    <a:pt x="106" y="116"/>
                  </a:cubicBezTo>
                  <a:cubicBezTo>
                    <a:pt x="106" y="117"/>
                    <a:pt x="106" y="117"/>
                    <a:pt x="105" y="118"/>
                  </a:cubicBezTo>
                  <a:cubicBezTo>
                    <a:pt x="105" y="119"/>
                    <a:pt x="105" y="119"/>
                    <a:pt x="104" y="119"/>
                  </a:cubicBezTo>
                  <a:cubicBezTo>
                    <a:pt x="104" y="119"/>
                    <a:pt x="103" y="120"/>
                    <a:pt x="101" y="121"/>
                  </a:cubicBezTo>
                  <a:cubicBezTo>
                    <a:pt x="100" y="122"/>
                    <a:pt x="96" y="124"/>
                    <a:pt x="94" y="125"/>
                  </a:cubicBezTo>
                  <a:cubicBezTo>
                    <a:pt x="93" y="126"/>
                    <a:pt x="91" y="128"/>
                    <a:pt x="90" y="129"/>
                  </a:cubicBezTo>
                  <a:cubicBezTo>
                    <a:pt x="89" y="130"/>
                    <a:pt x="85" y="131"/>
                    <a:pt x="83" y="131"/>
                  </a:cubicBezTo>
                  <a:cubicBezTo>
                    <a:pt x="81" y="131"/>
                    <a:pt x="79" y="130"/>
                    <a:pt x="77" y="130"/>
                  </a:cubicBezTo>
                  <a:cubicBezTo>
                    <a:pt x="74" y="130"/>
                    <a:pt x="71" y="131"/>
                    <a:pt x="70" y="131"/>
                  </a:cubicBezTo>
                  <a:cubicBezTo>
                    <a:pt x="69" y="131"/>
                    <a:pt x="67" y="132"/>
                    <a:pt x="65" y="133"/>
                  </a:cubicBezTo>
                  <a:cubicBezTo>
                    <a:pt x="64" y="133"/>
                    <a:pt x="63" y="134"/>
                    <a:pt x="62" y="134"/>
                  </a:cubicBezTo>
                  <a:cubicBezTo>
                    <a:pt x="61" y="134"/>
                    <a:pt x="60" y="134"/>
                    <a:pt x="59" y="134"/>
                  </a:cubicBezTo>
                  <a:cubicBezTo>
                    <a:pt x="59" y="134"/>
                    <a:pt x="58" y="133"/>
                    <a:pt x="57" y="133"/>
                  </a:cubicBezTo>
                  <a:cubicBezTo>
                    <a:pt x="55" y="133"/>
                    <a:pt x="53" y="135"/>
                    <a:pt x="53" y="135"/>
                  </a:cubicBezTo>
                  <a:cubicBezTo>
                    <a:pt x="52" y="136"/>
                    <a:pt x="52" y="136"/>
                    <a:pt x="51" y="136"/>
                  </a:cubicBezTo>
                  <a:cubicBezTo>
                    <a:pt x="50" y="137"/>
                    <a:pt x="48" y="138"/>
                    <a:pt x="47" y="139"/>
                  </a:cubicBezTo>
                  <a:cubicBezTo>
                    <a:pt x="46" y="139"/>
                    <a:pt x="46" y="139"/>
                    <a:pt x="45" y="139"/>
                  </a:cubicBezTo>
                  <a:cubicBezTo>
                    <a:pt x="43" y="139"/>
                    <a:pt x="42" y="141"/>
                    <a:pt x="42" y="142"/>
                  </a:cubicBezTo>
                  <a:cubicBezTo>
                    <a:pt x="42" y="142"/>
                    <a:pt x="42" y="143"/>
                    <a:pt x="40" y="144"/>
                  </a:cubicBezTo>
                  <a:cubicBezTo>
                    <a:pt x="39" y="145"/>
                    <a:pt x="38" y="148"/>
                    <a:pt x="38" y="148"/>
                  </a:cubicBezTo>
                  <a:cubicBezTo>
                    <a:pt x="37" y="149"/>
                    <a:pt x="36" y="150"/>
                    <a:pt x="35" y="151"/>
                  </a:cubicBezTo>
                  <a:cubicBezTo>
                    <a:pt x="33" y="152"/>
                    <a:pt x="33" y="156"/>
                    <a:pt x="32" y="159"/>
                  </a:cubicBezTo>
                  <a:cubicBezTo>
                    <a:pt x="32" y="161"/>
                    <a:pt x="30" y="166"/>
                    <a:pt x="30" y="167"/>
                  </a:cubicBezTo>
                  <a:cubicBezTo>
                    <a:pt x="30" y="167"/>
                    <a:pt x="29" y="168"/>
                    <a:pt x="27" y="170"/>
                  </a:cubicBezTo>
                  <a:cubicBezTo>
                    <a:pt x="25" y="171"/>
                    <a:pt x="24" y="172"/>
                    <a:pt x="23" y="174"/>
                  </a:cubicBezTo>
                  <a:cubicBezTo>
                    <a:pt x="22" y="176"/>
                    <a:pt x="21" y="181"/>
                    <a:pt x="21" y="184"/>
                  </a:cubicBezTo>
                  <a:cubicBezTo>
                    <a:pt x="21" y="187"/>
                    <a:pt x="19" y="189"/>
                    <a:pt x="19" y="191"/>
                  </a:cubicBezTo>
                  <a:cubicBezTo>
                    <a:pt x="18" y="192"/>
                    <a:pt x="18" y="193"/>
                    <a:pt x="17" y="195"/>
                  </a:cubicBezTo>
                  <a:cubicBezTo>
                    <a:pt x="17" y="196"/>
                    <a:pt x="14" y="203"/>
                    <a:pt x="13" y="204"/>
                  </a:cubicBezTo>
                  <a:cubicBezTo>
                    <a:pt x="13" y="206"/>
                    <a:pt x="11" y="210"/>
                    <a:pt x="10" y="213"/>
                  </a:cubicBezTo>
                  <a:cubicBezTo>
                    <a:pt x="9" y="215"/>
                    <a:pt x="8" y="217"/>
                    <a:pt x="8" y="218"/>
                  </a:cubicBezTo>
                  <a:cubicBezTo>
                    <a:pt x="7" y="219"/>
                    <a:pt x="7" y="220"/>
                    <a:pt x="6" y="223"/>
                  </a:cubicBezTo>
                  <a:cubicBezTo>
                    <a:pt x="6" y="225"/>
                    <a:pt x="4" y="231"/>
                    <a:pt x="2" y="236"/>
                  </a:cubicBezTo>
                  <a:cubicBezTo>
                    <a:pt x="1" y="241"/>
                    <a:pt x="1" y="251"/>
                    <a:pt x="1" y="255"/>
                  </a:cubicBezTo>
                  <a:cubicBezTo>
                    <a:pt x="1" y="258"/>
                    <a:pt x="1" y="264"/>
                    <a:pt x="2" y="267"/>
                  </a:cubicBezTo>
                  <a:cubicBezTo>
                    <a:pt x="2" y="270"/>
                    <a:pt x="5" y="271"/>
                    <a:pt x="6" y="272"/>
                  </a:cubicBezTo>
                  <a:cubicBezTo>
                    <a:pt x="7" y="273"/>
                    <a:pt x="8" y="274"/>
                    <a:pt x="10" y="274"/>
                  </a:cubicBezTo>
                  <a:cubicBezTo>
                    <a:pt x="12" y="275"/>
                    <a:pt x="16" y="275"/>
                    <a:pt x="18" y="276"/>
                  </a:cubicBezTo>
                  <a:cubicBezTo>
                    <a:pt x="20" y="276"/>
                    <a:pt x="20" y="276"/>
                    <a:pt x="20" y="276"/>
                  </a:cubicBezTo>
                  <a:cubicBezTo>
                    <a:pt x="21" y="276"/>
                    <a:pt x="23" y="276"/>
                    <a:pt x="24" y="276"/>
                  </a:cubicBezTo>
                  <a:cubicBezTo>
                    <a:pt x="26" y="276"/>
                    <a:pt x="28" y="277"/>
                    <a:pt x="30" y="277"/>
                  </a:cubicBezTo>
                  <a:cubicBezTo>
                    <a:pt x="31" y="278"/>
                    <a:pt x="34" y="279"/>
                    <a:pt x="36" y="279"/>
                  </a:cubicBezTo>
                  <a:cubicBezTo>
                    <a:pt x="38" y="280"/>
                    <a:pt x="42" y="281"/>
                    <a:pt x="43" y="281"/>
                  </a:cubicBezTo>
                  <a:cubicBezTo>
                    <a:pt x="44" y="281"/>
                    <a:pt x="46" y="282"/>
                    <a:pt x="47" y="282"/>
                  </a:cubicBezTo>
                  <a:cubicBezTo>
                    <a:pt x="48" y="282"/>
                    <a:pt x="50" y="281"/>
                    <a:pt x="51" y="281"/>
                  </a:cubicBezTo>
                  <a:cubicBezTo>
                    <a:pt x="52" y="281"/>
                    <a:pt x="53" y="281"/>
                    <a:pt x="54" y="281"/>
                  </a:cubicBezTo>
                  <a:cubicBezTo>
                    <a:pt x="55" y="281"/>
                    <a:pt x="55" y="281"/>
                    <a:pt x="55" y="282"/>
                  </a:cubicBezTo>
                  <a:cubicBezTo>
                    <a:pt x="55" y="283"/>
                    <a:pt x="55" y="284"/>
                    <a:pt x="54" y="287"/>
                  </a:cubicBezTo>
                  <a:cubicBezTo>
                    <a:pt x="54" y="291"/>
                    <a:pt x="54" y="299"/>
                    <a:pt x="53" y="304"/>
                  </a:cubicBezTo>
                  <a:cubicBezTo>
                    <a:pt x="53" y="308"/>
                    <a:pt x="52" y="320"/>
                    <a:pt x="52" y="324"/>
                  </a:cubicBezTo>
                  <a:cubicBezTo>
                    <a:pt x="52" y="329"/>
                    <a:pt x="52" y="333"/>
                    <a:pt x="53" y="334"/>
                  </a:cubicBezTo>
                  <a:cubicBezTo>
                    <a:pt x="53" y="336"/>
                    <a:pt x="54" y="337"/>
                    <a:pt x="55" y="338"/>
                  </a:cubicBezTo>
                  <a:cubicBezTo>
                    <a:pt x="55" y="339"/>
                    <a:pt x="57" y="341"/>
                    <a:pt x="58" y="341"/>
                  </a:cubicBezTo>
                  <a:cubicBezTo>
                    <a:pt x="59" y="342"/>
                    <a:pt x="61" y="343"/>
                    <a:pt x="62" y="343"/>
                  </a:cubicBezTo>
                  <a:cubicBezTo>
                    <a:pt x="62" y="343"/>
                    <a:pt x="62" y="344"/>
                    <a:pt x="62" y="344"/>
                  </a:cubicBezTo>
                  <a:cubicBezTo>
                    <a:pt x="62" y="344"/>
                    <a:pt x="63" y="345"/>
                    <a:pt x="63" y="346"/>
                  </a:cubicBezTo>
                  <a:cubicBezTo>
                    <a:pt x="63" y="347"/>
                    <a:pt x="63" y="347"/>
                    <a:pt x="63" y="347"/>
                  </a:cubicBezTo>
                  <a:cubicBezTo>
                    <a:pt x="62" y="347"/>
                    <a:pt x="62" y="347"/>
                    <a:pt x="63" y="348"/>
                  </a:cubicBezTo>
                  <a:cubicBezTo>
                    <a:pt x="63" y="348"/>
                    <a:pt x="63" y="349"/>
                    <a:pt x="63" y="349"/>
                  </a:cubicBezTo>
                  <a:cubicBezTo>
                    <a:pt x="62" y="350"/>
                    <a:pt x="62" y="350"/>
                    <a:pt x="62" y="352"/>
                  </a:cubicBezTo>
                  <a:cubicBezTo>
                    <a:pt x="62" y="353"/>
                    <a:pt x="63" y="357"/>
                    <a:pt x="62" y="357"/>
                  </a:cubicBezTo>
                  <a:cubicBezTo>
                    <a:pt x="62" y="357"/>
                    <a:pt x="59" y="358"/>
                    <a:pt x="59" y="358"/>
                  </a:cubicBezTo>
                  <a:cubicBezTo>
                    <a:pt x="59" y="359"/>
                    <a:pt x="59" y="362"/>
                    <a:pt x="59" y="365"/>
                  </a:cubicBezTo>
                  <a:cubicBezTo>
                    <a:pt x="59" y="367"/>
                    <a:pt x="59" y="368"/>
                    <a:pt x="60" y="369"/>
                  </a:cubicBezTo>
                  <a:cubicBezTo>
                    <a:pt x="60" y="370"/>
                    <a:pt x="60" y="370"/>
                    <a:pt x="59" y="371"/>
                  </a:cubicBezTo>
                  <a:cubicBezTo>
                    <a:pt x="58" y="374"/>
                    <a:pt x="58" y="375"/>
                    <a:pt x="58" y="377"/>
                  </a:cubicBezTo>
                  <a:cubicBezTo>
                    <a:pt x="58" y="379"/>
                    <a:pt x="58" y="380"/>
                    <a:pt x="57" y="381"/>
                  </a:cubicBezTo>
                  <a:cubicBezTo>
                    <a:pt x="56" y="385"/>
                    <a:pt x="56" y="385"/>
                    <a:pt x="56" y="388"/>
                  </a:cubicBezTo>
                  <a:cubicBezTo>
                    <a:pt x="56" y="391"/>
                    <a:pt x="56" y="390"/>
                    <a:pt x="55" y="391"/>
                  </a:cubicBezTo>
                  <a:cubicBezTo>
                    <a:pt x="55" y="393"/>
                    <a:pt x="54" y="394"/>
                    <a:pt x="54" y="395"/>
                  </a:cubicBezTo>
                  <a:cubicBezTo>
                    <a:pt x="53" y="397"/>
                    <a:pt x="52" y="398"/>
                    <a:pt x="52" y="399"/>
                  </a:cubicBezTo>
                  <a:cubicBezTo>
                    <a:pt x="51" y="401"/>
                    <a:pt x="51" y="403"/>
                    <a:pt x="50" y="407"/>
                  </a:cubicBezTo>
                  <a:cubicBezTo>
                    <a:pt x="49" y="410"/>
                    <a:pt x="49" y="413"/>
                    <a:pt x="49" y="413"/>
                  </a:cubicBezTo>
                  <a:cubicBezTo>
                    <a:pt x="49" y="414"/>
                    <a:pt x="49" y="416"/>
                    <a:pt x="49" y="417"/>
                  </a:cubicBezTo>
                  <a:cubicBezTo>
                    <a:pt x="48" y="417"/>
                    <a:pt x="49" y="421"/>
                    <a:pt x="48" y="422"/>
                  </a:cubicBezTo>
                  <a:cubicBezTo>
                    <a:pt x="48" y="422"/>
                    <a:pt x="49" y="423"/>
                    <a:pt x="49" y="425"/>
                  </a:cubicBezTo>
                  <a:cubicBezTo>
                    <a:pt x="49" y="426"/>
                    <a:pt x="49" y="427"/>
                    <a:pt x="49" y="428"/>
                  </a:cubicBezTo>
                  <a:cubicBezTo>
                    <a:pt x="49" y="429"/>
                    <a:pt x="49" y="430"/>
                    <a:pt x="50" y="430"/>
                  </a:cubicBezTo>
                  <a:cubicBezTo>
                    <a:pt x="50" y="431"/>
                    <a:pt x="50" y="433"/>
                    <a:pt x="50" y="433"/>
                  </a:cubicBezTo>
                  <a:cubicBezTo>
                    <a:pt x="50" y="434"/>
                    <a:pt x="51" y="435"/>
                    <a:pt x="51" y="436"/>
                  </a:cubicBezTo>
                  <a:cubicBezTo>
                    <a:pt x="51" y="437"/>
                    <a:pt x="51" y="438"/>
                    <a:pt x="52" y="438"/>
                  </a:cubicBezTo>
                  <a:cubicBezTo>
                    <a:pt x="52" y="439"/>
                    <a:pt x="52" y="440"/>
                    <a:pt x="52" y="441"/>
                  </a:cubicBezTo>
                  <a:cubicBezTo>
                    <a:pt x="53" y="444"/>
                    <a:pt x="53" y="446"/>
                    <a:pt x="53" y="447"/>
                  </a:cubicBezTo>
                  <a:cubicBezTo>
                    <a:pt x="54" y="448"/>
                    <a:pt x="54" y="451"/>
                    <a:pt x="54" y="452"/>
                  </a:cubicBezTo>
                  <a:cubicBezTo>
                    <a:pt x="53" y="453"/>
                    <a:pt x="53" y="454"/>
                    <a:pt x="53" y="457"/>
                  </a:cubicBezTo>
                  <a:cubicBezTo>
                    <a:pt x="54" y="461"/>
                    <a:pt x="53" y="463"/>
                    <a:pt x="53" y="466"/>
                  </a:cubicBezTo>
                  <a:cubicBezTo>
                    <a:pt x="53" y="472"/>
                    <a:pt x="54" y="477"/>
                    <a:pt x="54" y="483"/>
                  </a:cubicBezTo>
                  <a:cubicBezTo>
                    <a:pt x="55" y="488"/>
                    <a:pt x="56" y="491"/>
                    <a:pt x="57" y="495"/>
                  </a:cubicBezTo>
                  <a:cubicBezTo>
                    <a:pt x="58" y="498"/>
                    <a:pt x="60" y="507"/>
                    <a:pt x="61" y="511"/>
                  </a:cubicBezTo>
                  <a:cubicBezTo>
                    <a:pt x="62" y="514"/>
                    <a:pt x="63" y="519"/>
                    <a:pt x="64" y="520"/>
                  </a:cubicBezTo>
                  <a:cubicBezTo>
                    <a:pt x="64" y="522"/>
                    <a:pt x="64" y="527"/>
                    <a:pt x="65" y="530"/>
                  </a:cubicBezTo>
                  <a:cubicBezTo>
                    <a:pt x="65" y="533"/>
                    <a:pt x="66" y="542"/>
                    <a:pt x="66" y="544"/>
                  </a:cubicBezTo>
                  <a:cubicBezTo>
                    <a:pt x="66" y="546"/>
                    <a:pt x="67" y="562"/>
                    <a:pt x="68" y="565"/>
                  </a:cubicBezTo>
                  <a:cubicBezTo>
                    <a:pt x="68" y="568"/>
                    <a:pt x="70" y="584"/>
                    <a:pt x="70" y="587"/>
                  </a:cubicBezTo>
                  <a:cubicBezTo>
                    <a:pt x="70" y="590"/>
                    <a:pt x="71" y="605"/>
                    <a:pt x="72" y="610"/>
                  </a:cubicBezTo>
                  <a:cubicBezTo>
                    <a:pt x="72" y="616"/>
                    <a:pt x="75" y="627"/>
                    <a:pt x="75" y="629"/>
                  </a:cubicBezTo>
                  <a:cubicBezTo>
                    <a:pt x="76" y="631"/>
                    <a:pt x="77" y="639"/>
                    <a:pt x="78" y="641"/>
                  </a:cubicBezTo>
                  <a:cubicBezTo>
                    <a:pt x="78" y="642"/>
                    <a:pt x="80" y="651"/>
                    <a:pt x="81" y="655"/>
                  </a:cubicBezTo>
                  <a:cubicBezTo>
                    <a:pt x="81" y="659"/>
                    <a:pt x="83" y="664"/>
                    <a:pt x="84" y="668"/>
                  </a:cubicBezTo>
                  <a:cubicBezTo>
                    <a:pt x="84" y="671"/>
                    <a:pt x="85" y="673"/>
                    <a:pt x="86" y="674"/>
                  </a:cubicBezTo>
                  <a:cubicBezTo>
                    <a:pt x="86" y="676"/>
                    <a:pt x="88" y="680"/>
                    <a:pt x="88" y="681"/>
                  </a:cubicBezTo>
                  <a:cubicBezTo>
                    <a:pt x="89" y="682"/>
                    <a:pt x="91" y="689"/>
                    <a:pt x="92" y="691"/>
                  </a:cubicBezTo>
                  <a:cubicBezTo>
                    <a:pt x="92" y="692"/>
                    <a:pt x="96" y="701"/>
                    <a:pt x="96" y="702"/>
                  </a:cubicBezTo>
                  <a:cubicBezTo>
                    <a:pt x="96" y="703"/>
                    <a:pt x="96" y="703"/>
                    <a:pt x="96" y="704"/>
                  </a:cubicBezTo>
                  <a:cubicBezTo>
                    <a:pt x="96" y="704"/>
                    <a:pt x="96" y="705"/>
                    <a:pt x="96" y="706"/>
                  </a:cubicBezTo>
                  <a:cubicBezTo>
                    <a:pt x="96" y="706"/>
                    <a:pt x="93" y="710"/>
                    <a:pt x="92" y="713"/>
                  </a:cubicBezTo>
                  <a:cubicBezTo>
                    <a:pt x="89" y="717"/>
                    <a:pt x="88" y="720"/>
                    <a:pt x="88" y="721"/>
                  </a:cubicBezTo>
                  <a:cubicBezTo>
                    <a:pt x="87" y="722"/>
                    <a:pt x="85" y="728"/>
                    <a:pt x="85" y="730"/>
                  </a:cubicBezTo>
                  <a:cubicBezTo>
                    <a:pt x="85" y="732"/>
                    <a:pt x="85" y="734"/>
                    <a:pt x="83" y="737"/>
                  </a:cubicBezTo>
                  <a:cubicBezTo>
                    <a:pt x="82" y="740"/>
                    <a:pt x="81" y="743"/>
                    <a:pt x="80" y="744"/>
                  </a:cubicBezTo>
                  <a:cubicBezTo>
                    <a:pt x="80" y="744"/>
                    <a:pt x="79" y="745"/>
                    <a:pt x="79" y="746"/>
                  </a:cubicBezTo>
                  <a:cubicBezTo>
                    <a:pt x="79" y="747"/>
                    <a:pt x="80" y="749"/>
                    <a:pt x="80" y="750"/>
                  </a:cubicBezTo>
                  <a:cubicBezTo>
                    <a:pt x="81" y="751"/>
                    <a:pt x="82" y="752"/>
                    <a:pt x="83" y="753"/>
                  </a:cubicBezTo>
                  <a:cubicBezTo>
                    <a:pt x="84" y="753"/>
                    <a:pt x="87" y="753"/>
                    <a:pt x="88" y="753"/>
                  </a:cubicBezTo>
                  <a:cubicBezTo>
                    <a:pt x="89" y="753"/>
                    <a:pt x="89" y="755"/>
                    <a:pt x="89" y="755"/>
                  </a:cubicBezTo>
                  <a:cubicBezTo>
                    <a:pt x="88" y="756"/>
                    <a:pt x="87" y="758"/>
                    <a:pt x="86" y="759"/>
                  </a:cubicBezTo>
                  <a:cubicBezTo>
                    <a:pt x="86" y="760"/>
                    <a:pt x="85" y="761"/>
                    <a:pt x="84" y="762"/>
                  </a:cubicBezTo>
                  <a:cubicBezTo>
                    <a:pt x="84" y="762"/>
                    <a:pt x="83" y="763"/>
                    <a:pt x="83" y="764"/>
                  </a:cubicBezTo>
                  <a:cubicBezTo>
                    <a:pt x="82" y="765"/>
                    <a:pt x="81" y="766"/>
                    <a:pt x="80" y="769"/>
                  </a:cubicBezTo>
                  <a:cubicBezTo>
                    <a:pt x="79" y="772"/>
                    <a:pt x="78" y="774"/>
                    <a:pt x="77" y="775"/>
                  </a:cubicBezTo>
                  <a:cubicBezTo>
                    <a:pt x="77" y="775"/>
                    <a:pt x="77" y="775"/>
                    <a:pt x="77" y="776"/>
                  </a:cubicBezTo>
                  <a:cubicBezTo>
                    <a:pt x="77" y="776"/>
                    <a:pt x="77" y="776"/>
                    <a:pt x="77" y="777"/>
                  </a:cubicBezTo>
                  <a:cubicBezTo>
                    <a:pt x="77" y="777"/>
                    <a:pt x="76" y="778"/>
                    <a:pt x="75" y="779"/>
                  </a:cubicBezTo>
                  <a:cubicBezTo>
                    <a:pt x="75" y="780"/>
                    <a:pt x="74" y="781"/>
                    <a:pt x="73" y="782"/>
                  </a:cubicBezTo>
                  <a:cubicBezTo>
                    <a:pt x="72" y="783"/>
                    <a:pt x="70" y="785"/>
                    <a:pt x="69" y="785"/>
                  </a:cubicBezTo>
                  <a:cubicBezTo>
                    <a:pt x="68" y="786"/>
                    <a:pt x="63" y="787"/>
                    <a:pt x="60" y="787"/>
                  </a:cubicBezTo>
                  <a:cubicBezTo>
                    <a:pt x="58" y="788"/>
                    <a:pt x="52" y="789"/>
                    <a:pt x="49" y="790"/>
                  </a:cubicBezTo>
                  <a:cubicBezTo>
                    <a:pt x="46" y="791"/>
                    <a:pt x="43" y="792"/>
                    <a:pt x="42" y="793"/>
                  </a:cubicBezTo>
                  <a:cubicBezTo>
                    <a:pt x="41" y="794"/>
                    <a:pt x="39" y="797"/>
                    <a:pt x="39" y="798"/>
                  </a:cubicBezTo>
                  <a:cubicBezTo>
                    <a:pt x="39" y="798"/>
                    <a:pt x="38" y="799"/>
                    <a:pt x="38" y="799"/>
                  </a:cubicBezTo>
                  <a:cubicBezTo>
                    <a:pt x="37" y="799"/>
                    <a:pt x="37" y="800"/>
                    <a:pt x="37" y="801"/>
                  </a:cubicBezTo>
                  <a:cubicBezTo>
                    <a:pt x="37" y="801"/>
                    <a:pt x="36" y="802"/>
                    <a:pt x="36" y="802"/>
                  </a:cubicBezTo>
                  <a:cubicBezTo>
                    <a:pt x="35" y="802"/>
                    <a:pt x="35" y="802"/>
                    <a:pt x="35" y="803"/>
                  </a:cubicBezTo>
                  <a:cubicBezTo>
                    <a:pt x="35" y="804"/>
                    <a:pt x="35" y="807"/>
                    <a:pt x="35" y="808"/>
                  </a:cubicBezTo>
                  <a:cubicBezTo>
                    <a:pt x="34" y="809"/>
                    <a:pt x="35" y="809"/>
                    <a:pt x="36" y="810"/>
                  </a:cubicBezTo>
                  <a:cubicBezTo>
                    <a:pt x="37" y="811"/>
                    <a:pt x="38" y="811"/>
                    <a:pt x="40" y="812"/>
                  </a:cubicBezTo>
                  <a:cubicBezTo>
                    <a:pt x="43" y="813"/>
                    <a:pt x="47" y="814"/>
                    <a:pt x="48" y="814"/>
                  </a:cubicBezTo>
                  <a:cubicBezTo>
                    <a:pt x="49" y="814"/>
                    <a:pt x="49" y="814"/>
                    <a:pt x="50" y="814"/>
                  </a:cubicBezTo>
                  <a:cubicBezTo>
                    <a:pt x="51" y="814"/>
                    <a:pt x="54" y="815"/>
                    <a:pt x="55" y="815"/>
                  </a:cubicBezTo>
                  <a:cubicBezTo>
                    <a:pt x="57" y="815"/>
                    <a:pt x="60" y="815"/>
                    <a:pt x="62" y="815"/>
                  </a:cubicBezTo>
                  <a:cubicBezTo>
                    <a:pt x="63" y="815"/>
                    <a:pt x="63" y="814"/>
                    <a:pt x="63" y="814"/>
                  </a:cubicBezTo>
                  <a:cubicBezTo>
                    <a:pt x="64" y="814"/>
                    <a:pt x="65" y="815"/>
                    <a:pt x="66" y="815"/>
                  </a:cubicBezTo>
                  <a:cubicBezTo>
                    <a:pt x="67" y="815"/>
                    <a:pt x="67" y="815"/>
                    <a:pt x="69" y="815"/>
                  </a:cubicBezTo>
                  <a:cubicBezTo>
                    <a:pt x="70" y="815"/>
                    <a:pt x="70" y="815"/>
                    <a:pt x="71" y="815"/>
                  </a:cubicBezTo>
                  <a:cubicBezTo>
                    <a:pt x="71" y="814"/>
                    <a:pt x="71" y="814"/>
                    <a:pt x="72" y="815"/>
                  </a:cubicBezTo>
                  <a:cubicBezTo>
                    <a:pt x="73" y="815"/>
                    <a:pt x="74" y="815"/>
                    <a:pt x="75" y="815"/>
                  </a:cubicBezTo>
                  <a:cubicBezTo>
                    <a:pt x="77" y="815"/>
                    <a:pt x="76" y="814"/>
                    <a:pt x="77" y="813"/>
                  </a:cubicBezTo>
                  <a:cubicBezTo>
                    <a:pt x="77" y="813"/>
                    <a:pt x="77" y="814"/>
                    <a:pt x="78" y="814"/>
                  </a:cubicBezTo>
                  <a:cubicBezTo>
                    <a:pt x="79" y="815"/>
                    <a:pt x="80" y="814"/>
                    <a:pt x="81" y="814"/>
                  </a:cubicBezTo>
                  <a:cubicBezTo>
                    <a:pt x="83" y="814"/>
                    <a:pt x="82" y="814"/>
                    <a:pt x="83" y="813"/>
                  </a:cubicBezTo>
                  <a:cubicBezTo>
                    <a:pt x="83" y="813"/>
                    <a:pt x="83" y="813"/>
                    <a:pt x="84" y="813"/>
                  </a:cubicBezTo>
                  <a:cubicBezTo>
                    <a:pt x="84" y="814"/>
                    <a:pt x="85" y="813"/>
                    <a:pt x="86" y="813"/>
                  </a:cubicBezTo>
                  <a:cubicBezTo>
                    <a:pt x="87" y="813"/>
                    <a:pt x="88" y="813"/>
                    <a:pt x="88" y="813"/>
                  </a:cubicBezTo>
                  <a:cubicBezTo>
                    <a:pt x="88" y="812"/>
                    <a:pt x="88" y="813"/>
                    <a:pt x="89" y="813"/>
                  </a:cubicBezTo>
                  <a:cubicBezTo>
                    <a:pt x="90" y="813"/>
                    <a:pt x="90" y="813"/>
                    <a:pt x="91" y="813"/>
                  </a:cubicBezTo>
                  <a:cubicBezTo>
                    <a:pt x="93" y="813"/>
                    <a:pt x="93" y="813"/>
                    <a:pt x="93" y="812"/>
                  </a:cubicBezTo>
                  <a:cubicBezTo>
                    <a:pt x="94" y="812"/>
                    <a:pt x="93" y="812"/>
                    <a:pt x="94" y="812"/>
                  </a:cubicBezTo>
                  <a:cubicBezTo>
                    <a:pt x="95" y="812"/>
                    <a:pt x="96" y="812"/>
                    <a:pt x="97" y="812"/>
                  </a:cubicBezTo>
                  <a:cubicBezTo>
                    <a:pt x="99" y="811"/>
                    <a:pt x="99" y="811"/>
                    <a:pt x="99" y="810"/>
                  </a:cubicBezTo>
                  <a:cubicBezTo>
                    <a:pt x="99" y="809"/>
                    <a:pt x="100" y="809"/>
                    <a:pt x="101" y="808"/>
                  </a:cubicBezTo>
                  <a:cubicBezTo>
                    <a:pt x="102" y="808"/>
                    <a:pt x="103" y="808"/>
                    <a:pt x="107" y="807"/>
                  </a:cubicBezTo>
                  <a:cubicBezTo>
                    <a:pt x="110" y="806"/>
                    <a:pt x="118" y="804"/>
                    <a:pt x="119" y="803"/>
                  </a:cubicBezTo>
                  <a:cubicBezTo>
                    <a:pt x="120" y="803"/>
                    <a:pt x="120" y="803"/>
                    <a:pt x="122" y="804"/>
                  </a:cubicBezTo>
                  <a:cubicBezTo>
                    <a:pt x="124" y="805"/>
                    <a:pt x="126" y="806"/>
                    <a:pt x="128" y="807"/>
                  </a:cubicBezTo>
                  <a:cubicBezTo>
                    <a:pt x="129" y="807"/>
                    <a:pt x="131" y="808"/>
                    <a:pt x="132" y="808"/>
                  </a:cubicBezTo>
                  <a:cubicBezTo>
                    <a:pt x="132" y="808"/>
                    <a:pt x="135" y="807"/>
                    <a:pt x="137" y="807"/>
                  </a:cubicBezTo>
                  <a:cubicBezTo>
                    <a:pt x="139" y="807"/>
                    <a:pt x="138" y="807"/>
                    <a:pt x="139" y="806"/>
                  </a:cubicBezTo>
                  <a:cubicBezTo>
                    <a:pt x="139" y="806"/>
                    <a:pt x="139" y="805"/>
                    <a:pt x="140" y="806"/>
                  </a:cubicBezTo>
                  <a:cubicBezTo>
                    <a:pt x="140" y="806"/>
                    <a:pt x="140" y="807"/>
                    <a:pt x="142" y="806"/>
                  </a:cubicBezTo>
                  <a:cubicBezTo>
                    <a:pt x="144" y="806"/>
                    <a:pt x="144" y="806"/>
                    <a:pt x="144" y="806"/>
                  </a:cubicBezTo>
                  <a:cubicBezTo>
                    <a:pt x="145" y="805"/>
                    <a:pt x="145" y="805"/>
                    <a:pt x="145" y="806"/>
                  </a:cubicBezTo>
                  <a:cubicBezTo>
                    <a:pt x="146" y="806"/>
                    <a:pt x="147" y="806"/>
                    <a:pt x="149" y="806"/>
                  </a:cubicBezTo>
                  <a:cubicBezTo>
                    <a:pt x="150" y="806"/>
                    <a:pt x="150" y="806"/>
                    <a:pt x="150" y="805"/>
                  </a:cubicBezTo>
                  <a:cubicBezTo>
                    <a:pt x="150" y="804"/>
                    <a:pt x="150" y="804"/>
                    <a:pt x="151" y="804"/>
                  </a:cubicBezTo>
                  <a:cubicBezTo>
                    <a:pt x="152" y="804"/>
                    <a:pt x="153" y="804"/>
                    <a:pt x="154" y="804"/>
                  </a:cubicBezTo>
                  <a:cubicBezTo>
                    <a:pt x="155" y="804"/>
                    <a:pt x="156" y="803"/>
                    <a:pt x="156" y="803"/>
                  </a:cubicBezTo>
                  <a:cubicBezTo>
                    <a:pt x="156" y="802"/>
                    <a:pt x="157" y="803"/>
                    <a:pt x="158" y="802"/>
                  </a:cubicBezTo>
                  <a:cubicBezTo>
                    <a:pt x="158" y="802"/>
                    <a:pt x="158" y="801"/>
                    <a:pt x="158" y="800"/>
                  </a:cubicBezTo>
                  <a:cubicBezTo>
                    <a:pt x="158" y="799"/>
                    <a:pt x="158" y="794"/>
                    <a:pt x="157" y="791"/>
                  </a:cubicBezTo>
                  <a:cubicBezTo>
                    <a:pt x="157" y="789"/>
                    <a:pt x="157" y="788"/>
                    <a:pt x="157" y="788"/>
                  </a:cubicBezTo>
                  <a:cubicBezTo>
                    <a:pt x="156" y="788"/>
                    <a:pt x="156" y="788"/>
                    <a:pt x="156" y="787"/>
                  </a:cubicBezTo>
                  <a:cubicBezTo>
                    <a:pt x="156" y="786"/>
                    <a:pt x="156" y="786"/>
                    <a:pt x="156" y="785"/>
                  </a:cubicBezTo>
                  <a:cubicBezTo>
                    <a:pt x="156" y="784"/>
                    <a:pt x="156" y="783"/>
                    <a:pt x="156" y="782"/>
                  </a:cubicBezTo>
                  <a:cubicBezTo>
                    <a:pt x="155" y="781"/>
                    <a:pt x="155" y="781"/>
                    <a:pt x="156" y="780"/>
                  </a:cubicBezTo>
                  <a:cubicBezTo>
                    <a:pt x="156" y="779"/>
                    <a:pt x="156" y="777"/>
                    <a:pt x="156" y="775"/>
                  </a:cubicBezTo>
                  <a:cubicBezTo>
                    <a:pt x="156" y="774"/>
                    <a:pt x="156" y="772"/>
                    <a:pt x="155" y="771"/>
                  </a:cubicBezTo>
                  <a:cubicBezTo>
                    <a:pt x="155" y="770"/>
                    <a:pt x="155" y="769"/>
                    <a:pt x="156" y="769"/>
                  </a:cubicBezTo>
                  <a:cubicBezTo>
                    <a:pt x="156" y="769"/>
                    <a:pt x="156" y="769"/>
                    <a:pt x="156" y="768"/>
                  </a:cubicBezTo>
                  <a:cubicBezTo>
                    <a:pt x="156" y="768"/>
                    <a:pt x="156" y="767"/>
                    <a:pt x="157" y="766"/>
                  </a:cubicBezTo>
                  <a:cubicBezTo>
                    <a:pt x="157" y="766"/>
                    <a:pt x="159" y="763"/>
                    <a:pt x="161" y="761"/>
                  </a:cubicBezTo>
                  <a:cubicBezTo>
                    <a:pt x="162" y="760"/>
                    <a:pt x="164" y="758"/>
                    <a:pt x="164" y="757"/>
                  </a:cubicBezTo>
                  <a:cubicBezTo>
                    <a:pt x="165" y="756"/>
                    <a:pt x="166" y="754"/>
                    <a:pt x="166" y="752"/>
                  </a:cubicBezTo>
                  <a:cubicBezTo>
                    <a:pt x="167" y="750"/>
                    <a:pt x="167" y="748"/>
                    <a:pt x="167" y="747"/>
                  </a:cubicBezTo>
                  <a:cubicBezTo>
                    <a:pt x="167" y="746"/>
                    <a:pt x="166" y="745"/>
                    <a:pt x="166" y="743"/>
                  </a:cubicBezTo>
                  <a:cubicBezTo>
                    <a:pt x="165" y="742"/>
                    <a:pt x="162" y="734"/>
                    <a:pt x="160" y="731"/>
                  </a:cubicBezTo>
                  <a:cubicBezTo>
                    <a:pt x="159" y="728"/>
                    <a:pt x="157" y="725"/>
                    <a:pt x="157" y="724"/>
                  </a:cubicBezTo>
                  <a:cubicBezTo>
                    <a:pt x="156" y="723"/>
                    <a:pt x="152" y="717"/>
                    <a:pt x="152" y="717"/>
                  </a:cubicBezTo>
                  <a:cubicBezTo>
                    <a:pt x="152" y="716"/>
                    <a:pt x="151" y="714"/>
                    <a:pt x="150" y="714"/>
                  </a:cubicBezTo>
                  <a:cubicBezTo>
                    <a:pt x="150" y="713"/>
                    <a:pt x="150" y="713"/>
                    <a:pt x="150" y="712"/>
                  </a:cubicBezTo>
                  <a:cubicBezTo>
                    <a:pt x="150" y="712"/>
                    <a:pt x="150" y="711"/>
                    <a:pt x="151" y="708"/>
                  </a:cubicBezTo>
                  <a:cubicBezTo>
                    <a:pt x="151" y="705"/>
                    <a:pt x="152" y="700"/>
                    <a:pt x="152" y="699"/>
                  </a:cubicBezTo>
                  <a:cubicBezTo>
                    <a:pt x="152" y="697"/>
                    <a:pt x="152" y="684"/>
                    <a:pt x="152" y="681"/>
                  </a:cubicBezTo>
                  <a:cubicBezTo>
                    <a:pt x="152" y="677"/>
                    <a:pt x="152" y="673"/>
                    <a:pt x="152" y="670"/>
                  </a:cubicBezTo>
                  <a:cubicBezTo>
                    <a:pt x="152" y="668"/>
                    <a:pt x="153" y="665"/>
                    <a:pt x="153" y="663"/>
                  </a:cubicBezTo>
                  <a:cubicBezTo>
                    <a:pt x="153" y="661"/>
                    <a:pt x="153" y="655"/>
                    <a:pt x="152" y="654"/>
                  </a:cubicBezTo>
                  <a:cubicBezTo>
                    <a:pt x="152" y="653"/>
                    <a:pt x="153" y="651"/>
                    <a:pt x="153" y="650"/>
                  </a:cubicBezTo>
                  <a:cubicBezTo>
                    <a:pt x="153" y="650"/>
                    <a:pt x="153" y="648"/>
                    <a:pt x="153" y="647"/>
                  </a:cubicBezTo>
                  <a:cubicBezTo>
                    <a:pt x="153" y="646"/>
                    <a:pt x="153" y="638"/>
                    <a:pt x="152" y="636"/>
                  </a:cubicBezTo>
                  <a:cubicBezTo>
                    <a:pt x="152" y="634"/>
                    <a:pt x="151" y="622"/>
                    <a:pt x="151" y="619"/>
                  </a:cubicBezTo>
                  <a:cubicBezTo>
                    <a:pt x="151" y="615"/>
                    <a:pt x="150" y="614"/>
                    <a:pt x="150" y="611"/>
                  </a:cubicBezTo>
                  <a:cubicBezTo>
                    <a:pt x="149" y="609"/>
                    <a:pt x="149" y="608"/>
                    <a:pt x="149" y="607"/>
                  </a:cubicBezTo>
                  <a:cubicBezTo>
                    <a:pt x="150" y="606"/>
                    <a:pt x="151" y="603"/>
                    <a:pt x="151" y="600"/>
                  </a:cubicBezTo>
                  <a:cubicBezTo>
                    <a:pt x="152" y="598"/>
                    <a:pt x="153" y="591"/>
                    <a:pt x="153" y="588"/>
                  </a:cubicBezTo>
                  <a:cubicBezTo>
                    <a:pt x="154" y="585"/>
                    <a:pt x="154" y="581"/>
                    <a:pt x="154" y="580"/>
                  </a:cubicBezTo>
                  <a:cubicBezTo>
                    <a:pt x="154" y="580"/>
                    <a:pt x="154" y="573"/>
                    <a:pt x="154" y="571"/>
                  </a:cubicBezTo>
                  <a:cubicBezTo>
                    <a:pt x="154" y="570"/>
                    <a:pt x="153" y="561"/>
                    <a:pt x="153" y="560"/>
                  </a:cubicBezTo>
                  <a:cubicBezTo>
                    <a:pt x="153" y="559"/>
                    <a:pt x="152" y="555"/>
                    <a:pt x="152" y="553"/>
                  </a:cubicBezTo>
                  <a:cubicBezTo>
                    <a:pt x="151" y="551"/>
                    <a:pt x="151" y="548"/>
                    <a:pt x="150" y="547"/>
                  </a:cubicBezTo>
                  <a:cubicBezTo>
                    <a:pt x="150" y="546"/>
                    <a:pt x="150" y="542"/>
                    <a:pt x="149" y="540"/>
                  </a:cubicBezTo>
                  <a:cubicBezTo>
                    <a:pt x="149" y="538"/>
                    <a:pt x="149" y="533"/>
                    <a:pt x="149" y="532"/>
                  </a:cubicBezTo>
                  <a:cubicBezTo>
                    <a:pt x="149" y="532"/>
                    <a:pt x="150" y="532"/>
                    <a:pt x="150" y="533"/>
                  </a:cubicBezTo>
                  <a:cubicBezTo>
                    <a:pt x="150" y="534"/>
                    <a:pt x="151" y="535"/>
                    <a:pt x="151" y="536"/>
                  </a:cubicBezTo>
                  <a:cubicBezTo>
                    <a:pt x="151" y="538"/>
                    <a:pt x="152" y="541"/>
                    <a:pt x="152" y="542"/>
                  </a:cubicBezTo>
                  <a:cubicBezTo>
                    <a:pt x="153" y="543"/>
                    <a:pt x="154" y="548"/>
                    <a:pt x="154" y="550"/>
                  </a:cubicBezTo>
                  <a:cubicBezTo>
                    <a:pt x="154" y="551"/>
                    <a:pt x="155" y="552"/>
                    <a:pt x="155" y="552"/>
                  </a:cubicBezTo>
                  <a:cubicBezTo>
                    <a:pt x="155" y="553"/>
                    <a:pt x="156" y="556"/>
                    <a:pt x="156" y="558"/>
                  </a:cubicBezTo>
                  <a:cubicBezTo>
                    <a:pt x="156" y="560"/>
                    <a:pt x="158" y="564"/>
                    <a:pt x="158" y="566"/>
                  </a:cubicBezTo>
                  <a:cubicBezTo>
                    <a:pt x="159" y="568"/>
                    <a:pt x="160" y="571"/>
                    <a:pt x="160" y="573"/>
                  </a:cubicBezTo>
                  <a:cubicBezTo>
                    <a:pt x="160" y="575"/>
                    <a:pt x="161" y="579"/>
                    <a:pt x="162" y="581"/>
                  </a:cubicBezTo>
                  <a:cubicBezTo>
                    <a:pt x="162" y="582"/>
                    <a:pt x="163" y="586"/>
                    <a:pt x="163" y="588"/>
                  </a:cubicBezTo>
                  <a:cubicBezTo>
                    <a:pt x="163" y="589"/>
                    <a:pt x="164" y="593"/>
                    <a:pt x="164" y="595"/>
                  </a:cubicBezTo>
                  <a:cubicBezTo>
                    <a:pt x="164" y="596"/>
                    <a:pt x="165" y="598"/>
                    <a:pt x="165" y="600"/>
                  </a:cubicBezTo>
                  <a:cubicBezTo>
                    <a:pt x="165" y="601"/>
                    <a:pt x="165" y="603"/>
                    <a:pt x="165" y="604"/>
                  </a:cubicBezTo>
                  <a:cubicBezTo>
                    <a:pt x="165" y="606"/>
                    <a:pt x="166" y="610"/>
                    <a:pt x="166" y="611"/>
                  </a:cubicBezTo>
                  <a:cubicBezTo>
                    <a:pt x="166" y="612"/>
                    <a:pt x="166" y="615"/>
                    <a:pt x="166" y="617"/>
                  </a:cubicBezTo>
                  <a:cubicBezTo>
                    <a:pt x="166" y="619"/>
                    <a:pt x="167" y="623"/>
                    <a:pt x="167" y="624"/>
                  </a:cubicBezTo>
                  <a:cubicBezTo>
                    <a:pt x="167" y="626"/>
                    <a:pt x="168" y="628"/>
                    <a:pt x="168" y="629"/>
                  </a:cubicBezTo>
                  <a:cubicBezTo>
                    <a:pt x="168" y="631"/>
                    <a:pt x="168" y="634"/>
                    <a:pt x="168" y="635"/>
                  </a:cubicBezTo>
                  <a:cubicBezTo>
                    <a:pt x="168" y="636"/>
                    <a:pt x="169" y="639"/>
                    <a:pt x="169" y="642"/>
                  </a:cubicBezTo>
                  <a:cubicBezTo>
                    <a:pt x="169" y="644"/>
                    <a:pt x="170" y="647"/>
                    <a:pt x="170" y="648"/>
                  </a:cubicBezTo>
                  <a:cubicBezTo>
                    <a:pt x="170" y="649"/>
                    <a:pt x="170" y="651"/>
                    <a:pt x="170" y="653"/>
                  </a:cubicBezTo>
                  <a:cubicBezTo>
                    <a:pt x="170" y="654"/>
                    <a:pt x="171" y="655"/>
                    <a:pt x="171" y="656"/>
                  </a:cubicBezTo>
                  <a:cubicBezTo>
                    <a:pt x="171" y="657"/>
                    <a:pt x="171" y="665"/>
                    <a:pt x="171" y="668"/>
                  </a:cubicBezTo>
                  <a:cubicBezTo>
                    <a:pt x="171" y="671"/>
                    <a:pt x="172" y="681"/>
                    <a:pt x="172" y="685"/>
                  </a:cubicBezTo>
                  <a:cubicBezTo>
                    <a:pt x="172" y="688"/>
                    <a:pt x="173" y="696"/>
                    <a:pt x="173" y="699"/>
                  </a:cubicBezTo>
                  <a:cubicBezTo>
                    <a:pt x="174" y="702"/>
                    <a:pt x="176" y="713"/>
                    <a:pt x="177" y="717"/>
                  </a:cubicBezTo>
                  <a:cubicBezTo>
                    <a:pt x="178" y="720"/>
                    <a:pt x="179" y="725"/>
                    <a:pt x="180" y="727"/>
                  </a:cubicBezTo>
                  <a:cubicBezTo>
                    <a:pt x="180" y="730"/>
                    <a:pt x="182" y="733"/>
                    <a:pt x="183" y="736"/>
                  </a:cubicBezTo>
                  <a:cubicBezTo>
                    <a:pt x="184" y="739"/>
                    <a:pt x="186" y="743"/>
                    <a:pt x="186" y="746"/>
                  </a:cubicBezTo>
                  <a:cubicBezTo>
                    <a:pt x="187" y="748"/>
                    <a:pt x="188" y="748"/>
                    <a:pt x="190" y="749"/>
                  </a:cubicBezTo>
                  <a:cubicBezTo>
                    <a:pt x="192" y="751"/>
                    <a:pt x="195" y="752"/>
                    <a:pt x="196" y="753"/>
                  </a:cubicBezTo>
                  <a:cubicBezTo>
                    <a:pt x="197" y="753"/>
                    <a:pt x="197" y="754"/>
                    <a:pt x="196" y="754"/>
                  </a:cubicBezTo>
                  <a:cubicBezTo>
                    <a:pt x="195" y="754"/>
                    <a:pt x="194" y="755"/>
                    <a:pt x="193" y="755"/>
                  </a:cubicBezTo>
                  <a:cubicBezTo>
                    <a:pt x="193" y="756"/>
                    <a:pt x="189" y="758"/>
                    <a:pt x="189" y="759"/>
                  </a:cubicBezTo>
                  <a:cubicBezTo>
                    <a:pt x="188" y="759"/>
                    <a:pt x="187" y="761"/>
                    <a:pt x="187" y="762"/>
                  </a:cubicBezTo>
                  <a:cubicBezTo>
                    <a:pt x="186" y="763"/>
                    <a:pt x="183" y="768"/>
                    <a:pt x="182" y="769"/>
                  </a:cubicBezTo>
                  <a:cubicBezTo>
                    <a:pt x="182" y="770"/>
                    <a:pt x="181" y="772"/>
                    <a:pt x="180" y="773"/>
                  </a:cubicBezTo>
                  <a:cubicBezTo>
                    <a:pt x="179" y="774"/>
                    <a:pt x="179" y="776"/>
                    <a:pt x="179" y="778"/>
                  </a:cubicBezTo>
                  <a:cubicBezTo>
                    <a:pt x="179" y="780"/>
                    <a:pt x="180" y="782"/>
                    <a:pt x="180" y="783"/>
                  </a:cubicBezTo>
                  <a:cubicBezTo>
                    <a:pt x="181" y="784"/>
                    <a:pt x="182" y="786"/>
                    <a:pt x="183" y="787"/>
                  </a:cubicBezTo>
                  <a:cubicBezTo>
                    <a:pt x="183" y="788"/>
                    <a:pt x="185" y="789"/>
                    <a:pt x="186" y="790"/>
                  </a:cubicBezTo>
                  <a:cubicBezTo>
                    <a:pt x="187" y="791"/>
                    <a:pt x="188" y="793"/>
                    <a:pt x="189" y="794"/>
                  </a:cubicBezTo>
                  <a:cubicBezTo>
                    <a:pt x="189" y="794"/>
                    <a:pt x="191" y="797"/>
                    <a:pt x="192" y="798"/>
                  </a:cubicBezTo>
                  <a:cubicBezTo>
                    <a:pt x="193" y="798"/>
                    <a:pt x="194" y="799"/>
                    <a:pt x="194" y="800"/>
                  </a:cubicBezTo>
                  <a:cubicBezTo>
                    <a:pt x="194" y="800"/>
                    <a:pt x="195" y="802"/>
                    <a:pt x="196" y="803"/>
                  </a:cubicBezTo>
                  <a:cubicBezTo>
                    <a:pt x="197" y="804"/>
                    <a:pt x="199" y="805"/>
                    <a:pt x="200" y="805"/>
                  </a:cubicBezTo>
                  <a:cubicBezTo>
                    <a:pt x="200" y="806"/>
                    <a:pt x="200" y="807"/>
                    <a:pt x="200" y="808"/>
                  </a:cubicBezTo>
                  <a:cubicBezTo>
                    <a:pt x="200" y="809"/>
                    <a:pt x="199" y="810"/>
                    <a:pt x="198" y="813"/>
                  </a:cubicBezTo>
                  <a:cubicBezTo>
                    <a:pt x="197" y="815"/>
                    <a:pt x="198" y="819"/>
                    <a:pt x="198" y="820"/>
                  </a:cubicBezTo>
                  <a:cubicBezTo>
                    <a:pt x="199" y="821"/>
                    <a:pt x="199" y="822"/>
                    <a:pt x="198" y="822"/>
                  </a:cubicBezTo>
                  <a:cubicBezTo>
                    <a:pt x="198" y="822"/>
                    <a:pt x="198" y="823"/>
                    <a:pt x="198" y="823"/>
                  </a:cubicBezTo>
                  <a:cubicBezTo>
                    <a:pt x="198" y="824"/>
                    <a:pt x="197" y="824"/>
                    <a:pt x="197" y="825"/>
                  </a:cubicBezTo>
                  <a:cubicBezTo>
                    <a:pt x="196" y="825"/>
                    <a:pt x="196" y="827"/>
                    <a:pt x="196" y="830"/>
                  </a:cubicBezTo>
                  <a:cubicBezTo>
                    <a:pt x="196" y="832"/>
                    <a:pt x="196" y="833"/>
                    <a:pt x="196" y="834"/>
                  </a:cubicBezTo>
                  <a:cubicBezTo>
                    <a:pt x="196" y="835"/>
                    <a:pt x="197" y="836"/>
                    <a:pt x="198" y="836"/>
                  </a:cubicBezTo>
                  <a:cubicBezTo>
                    <a:pt x="199" y="837"/>
                    <a:pt x="201" y="837"/>
                    <a:pt x="202" y="837"/>
                  </a:cubicBezTo>
                  <a:cubicBezTo>
                    <a:pt x="204" y="837"/>
                    <a:pt x="207" y="837"/>
                    <a:pt x="210" y="837"/>
                  </a:cubicBezTo>
                  <a:cubicBezTo>
                    <a:pt x="213" y="837"/>
                    <a:pt x="225" y="837"/>
                    <a:pt x="228" y="837"/>
                  </a:cubicBezTo>
                  <a:cubicBezTo>
                    <a:pt x="231" y="836"/>
                    <a:pt x="238" y="836"/>
                    <a:pt x="242" y="835"/>
                  </a:cubicBezTo>
                  <a:cubicBezTo>
                    <a:pt x="245" y="835"/>
                    <a:pt x="248" y="834"/>
                    <a:pt x="249" y="833"/>
                  </a:cubicBezTo>
                  <a:cubicBezTo>
                    <a:pt x="250" y="832"/>
                    <a:pt x="250" y="831"/>
                    <a:pt x="250" y="830"/>
                  </a:cubicBezTo>
                  <a:cubicBezTo>
                    <a:pt x="250" y="828"/>
                    <a:pt x="250" y="825"/>
                    <a:pt x="250" y="823"/>
                  </a:cubicBezTo>
                  <a:cubicBezTo>
                    <a:pt x="250" y="821"/>
                    <a:pt x="249" y="819"/>
                    <a:pt x="249" y="819"/>
                  </a:cubicBezTo>
                  <a:cubicBezTo>
                    <a:pt x="248" y="818"/>
                    <a:pt x="248" y="818"/>
                    <a:pt x="249" y="815"/>
                  </a:cubicBezTo>
                  <a:cubicBezTo>
                    <a:pt x="249" y="813"/>
                    <a:pt x="248" y="809"/>
                    <a:pt x="248" y="808"/>
                  </a:cubicBezTo>
                  <a:cubicBezTo>
                    <a:pt x="248" y="807"/>
                    <a:pt x="248" y="807"/>
                    <a:pt x="248" y="806"/>
                  </a:cubicBezTo>
                  <a:cubicBezTo>
                    <a:pt x="247" y="805"/>
                    <a:pt x="247" y="804"/>
                    <a:pt x="246" y="803"/>
                  </a:cubicBezTo>
                  <a:cubicBezTo>
                    <a:pt x="246" y="802"/>
                    <a:pt x="247" y="802"/>
                    <a:pt x="247" y="802"/>
                  </a:cubicBezTo>
                  <a:cubicBezTo>
                    <a:pt x="247" y="802"/>
                    <a:pt x="248" y="801"/>
                    <a:pt x="248" y="800"/>
                  </a:cubicBezTo>
                  <a:cubicBezTo>
                    <a:pt x="249" y="799"/>
                    <a:pt x="250" y="795"/>
                    <a:pt x="251" y="793"/>
                  </a:cubicBezTo>
                  <a:cubicBezTo>
                    <a:pt x="252" y="791"/>
                    <a:pt x="252" y="789"/>
                    <a:pt x="252" y="789"/>
                  </a:cubicBezTo>
                  <a:cubicBezTo>
                    <a:pt x="252" y="788"/>
                    <a:pt x="252" y="788"/>
                    <a:pt x="252" y="788"/>
                  </a:cubicBezTo>
                  <a:cubicBezTo>
                    <a:pt x="252" y="788"/>
                    <a:pt x="253" y="787"/>
                    <a:pt x="253" y="786"/>
                  </a:cubicBezTo>
                  <a:cubicBezTo>
                    <a:pt x="254" y="784"/>
                    <a:pt x="257" y="779"/>
                    <a:pt x="257" y="778"/>
                  </a:cubicBezTo>
                  <a:cubicBezTo>
                    <a:pt x="258" y="777"/>
                    <a:pt x="259" y="776"/>
                    <a:pt x="259" y="776"/>
                  </a:cubicBezTo>
                  <a:cubicBezTo>
                    <a:pt x="260" y="775"/>
                    <a:pt x="260" y="775"/>
                    <a:pt x="260" y="774"/>
                  </a:cubicBezTo>
                  <a:cubicBezTo>
                    <a:pt x="260" y="772"/>
                    <a:pt x="258" y="770"/>
                    <a:pt x="258" y="770"/>
                  </a:cubicBezTo>
                  <a:close/>
                  <a:moveTo>
                    <a:pt x="121" y="135"/>
                  </a:moveTo>
                  <a:cubicBezTo>
                    <a:pt x="121" y="135"/>
                    <a:pt x="123" y="133"/>
                    <a:pt x="124" y="132"/>
                  </a:cubicBezTo>
                  <a:cubicBezTo>
                    <a:pt x="125" y="131"/>
                    <a:pt x="128" y="129"/>
                    <a:pt x="128" y="129"/>
                  </a:cubicBezTo>
                  <a:cubicBezTo>
                    <a:pt x="124" y="119"/>
                    <a:pt x="124" y="119"/>
                    <a:pt x="124" y="119"/>
                  </a:cubicBezTo>
                  <a:cubicBezTo>
                    <a:pt x="124" y="119"/>
                    <a:pt x="128" y="116"/>
                    <a:pt x="131" y="115"/>
                  </a:cubicBezTo>
                  <a:cubicBezTo>
                    <a:pt x="133" y="113"/>
                    <a:pt x="137" y="111"/>
                    <a:pt x="139" y="110"/>
                  </a:cubicBezTo>
                  <a:cubicBezTo>
                    <a:pt x="141" y="109"/>
                    <a:pt x="142" y="108"/>
                    <a:pt x="144" y="107"/>
                  </a:cubicBezTo>
                  <a:cubicBezTo>
                    <a:pt x="146" y="105"/>
                    <a:pt x="151" y="103"/>
                    <a:pt x="155" y="100"/>
                  </a:cubicBezTo>
                  <a:cubicBezTo>
                    <a:pt x="159" y="98"/>
                    <a:pt x="160" y="97"/>
                    <a:pt x="160" y="97"/>
                  </a:cubicBezTo>
                  <a:cubicBezTo>
                    <a:pt x="160" y="97"/>
                    <a:pt x="160" y="97"/>
                    <a:pt x="160" y="97"/>
                  </a:cubicBezTo>
                  <a:cubicBezTo>
                    <a:pt x="160" y="97"/>
                    <a:pt x="160" y="98"/>
                    <a:pt x="159" y="99"/>
                  </a:cubicBezTo>
                  <a:cubicBezTo>
                    <a:pt x="158" y="100"/>
                    <a:pt x="155" y="101"/>
                    <a:pt x="152" y="103"/>
                  </a:cubicBezTo>
                  <a:cubicBezTo>
                    <a:pt x="148" y="105"/>
                    <a:pt x="147" y="106"/>
                    <a:pt x="143" y="108"/>
                  </a:cubicBezTo>
                  <a:cubicBezTo>
                    <a:pt x="139" y="111"/>
                    <a:pt x="138" y="111"/>
                    <a:pt x="134" y="114"/>
                  </a:cubicBezTo>
                  <a:cubicBezTo>
                    <a:pt x="130" y="117"/>
                    <a:pt x="126" y="119"/>
                    <a:pt x="126" y="119"/>
                  </a:cubicBezTo>
                  <a:cubicBezTo>
                    <a:pt x="160" y="99"/>
                    <a:pt x="160" y="99"/>
                    <a:pt x="160" y="99"/>
                  </a:cubicBezTo>
                  <a:cubicBezTo>
                    <a:pt x="165" y="112"/>
                    <a:pt x="165" y="112"/>
                    <a:pt x="165" y="112"/>
                  </a:cubicBezTo>
                  <a:cubicBezTo>
                    <a:pt x="165" y="112"/>
                    <a:pt x="163" y="114"/>
                    <a:pt x="157" y="121"/>
                  </a:cubicBezTo>
                  <a:cubicBezTo>
                    <a:pt x="151" y="127"/>
                    <a:pt x="143" y="137"/>
                    <a:pt x="138" y="142"/>
                  </a:cubicBezTo>
                  <a:cubicBezTo>
                    <a:pt x="136" y="140"/>
                    <a:pt x="131" y="131"/>
                    <a:pt x="128" y="125"/>
                  </a:cubicBezTo>
                  <a:cubicBezTo>
                    <a:pt x="129" y="127"/>
                    <a:pt x="130" y="129"/>
                    <a:pt x="130" y="130"/>
                  </a:cubicBezTo>
                  <a:cubicBezTo>
                    <a:pt x="131" y="133"/>
                    <a:pt x="138" y="145"/>
                    <a:pt x="139" y="145"/>
                  </a:cubicBezTo>
                  <a:cubicBezTo>
                    <a:pt x="140" y="144"/>
                    <a:pt x="150" y="133"/>
                    <a:pt x="151" y="130"/>
                  </a:cubicBezTo>
                  <a:cubicBezTo>
                    <a:pt x="153" y="127"/>
                    <a:pt x="165" y="113"/>
                    <a:pt x="165" y="113"/>
                  </a:cubicBezTo>
                  <a:cubicBezTo>
                    <a:pt x="165" y="113"/>
                    <a:pt x="168" y="114"/>
                    <a:pt x="169" y="114"/>
                  </a:cubicBezTo>
                  <a:cubicBezTo>
                    <a:pt x="171" y="114"/>
                    <a:pt x="171" y="115"/>
                    <a:pt x="174" y="117"/>
                  </a:cubicBezTo>
                  <a:cubicBezTo>
                    <a:pt x="176" y="118"/>
                    <a:pt x="178" y="117"/>
                    <a:pt x="182" y="118"/>
                  </a:cubicBezTo>
                  <a:cubicBezTo>
                    <a:pt x="186" y="119"/>
                    <a:pt x="190" y="120"/>
                    <a:pt x="194" y="121"/>
                  </a:cubicBezTo>
                  <a:cubicBezTo>
                    <a:pt x="198" y="123"/>
                    <a:pt x="199" y="122"/>
                    <a:pt x="203" y="123"/>
                  </a:cubicBezTo>
                  <a:cubicBezTo>
                    <a:pt x="206" y="124"/>
                    <a:pt x="209" y="126"/>
                    <a:pt x="211" y="127"/>
                  </a:cubicBezTo>
                  <a:cubicBezTo>
                    <a:pt x="214" y="129"/>
                    <a:pt x="215" y="133"/>
                    <a:pt x="218" y="137"/>
                  </a:cubicBezTo>
                  <a:cubicBezTo>
                    <a:pt x="220" y="141"/>
                    <a:pt x="222" y="142"/>
                    <a:pt x="224" y="147"/>
                  </a:cubicBezTo>
                  <a:cubicBezTo>
                    <a:pt x="227" y="152"/>
                    <a:pt x="225" y="163"/>
                    <a:pt x="225" y="168"/>
                  </a:cubicBezTo>
                  <a:cubicBezTo>
                    <a:pt x="225" y="173"/>
                    <a:pt x="230" y="189"/>
                    <a:pt x="231" y="192"/>
                  </a:cubicBezTo>
                  <a:cubicBezTo>
                    <a:pt x="231" y="196"/>
                    <a:pt x="230" y="196"/>
                    <a:pt x="230" y="199"/>
                  </a:cubicBezTo>
                  <a:cubicBezTo>
                    <a:pt x="229" y="201"/>
                    <a:pt x="231" y="202"/>
                    <a:pt x="230" y="205"/>
                  </a:cubicBezTo>
                  <a:cubicBezTo>
                    <a:pt x="230" y="207"/>
                    <a:pt x="228" y="208"/>
                    <a:pt x="226" y="212"/>
                  </a:cubicBezTo>
                  <a:cubicBezTo>
                    <a:pt x="225" y="215"/>
                    <a:pt x="225" y="216"/>
                    <a:pt x="221" y="221"/>
                  </a:cubicBezTo>
                  <a:cubicBezTo>
                    <a:pt x="217" y="225"/>
                    <a:pt x="215" y="228"/>
                    <a:pt x="211" y="232"/>
                  </a:cubicBezTo>
                  <a:cubicBezTo>
                    <a:pt x="207" y="237"/>
                    <a:pt x="205" y="238"/>
                    <a:pt x="203" y="241"/>
                  </a:cubicBezTo>
                  <a:cubicBezTo>
                    <a:pt x="202" y="244"/>
                    <a:pt x="198" y="249"/>
                    <a:pt x="195" y="250"/>
                  </a:cubicBezTo>
                  <a:cubicBezTo>
                    <a:pt x="192" y="252"/>
                    <a:pt x="184" y="254"/>
                    <a:pt x="184" y="254"/>
                  </a:cubicBezTo>
                  <a:cubicBezTo>
                    <a:pt x="184" y="254"/>
                    <a:pt x="183" y="257"/>
                    <a:pt x="183" y="259"/>
                  </a:cubicBezTo>
                  <a:cubicBezTo>
                    <a:pt x="182" y="262"/>
                    <a:pt x="179" y="263"/>
                    <a:pt x="175" y="264"/>
                  </a:cubicBezTo>
                  <a:cubicBezTo>
                    <a:pt x="170" y="265"/>
                    <a:pt x="164" y="263"/>
                    <a:pt x="164" y="263"/>
                  </a:cubicBezTo>
                  <a:cubicBezTo>
                    <a:pt x="164" y="263"/>
                    <a:pt x="160" y="264"/>
                    <a:pt x="157" y="264"/>
                  </a:cubicBezTo>
                  <a:cubicBezTo>
                    <a:pt x="154" y="264"/>
                    <a:pt x="149" y="262"/>
                    <a:pt x="145" y="262"/>
                  </a:cubicBezTo>
                  <a:cubicBezTo>
                    <a:pt x="141" y="261"/>
                    <a:pt x="140" y="262"/>
                    <a:pt x="139" y="261"/>
                  </a:cubicBezTo>
                  <a:cubicBezTo>
                    <a:pt x="137" y="260"/>
                    <a:pt x="133" y="260"/>
                    <a:pt x="129" y="259"/>
                  </a:cubicBezTo>
                  <a:cubicBezTo>
                    <a:pt x="125" y="258"/>
                    <a:pt x="117" y="255"/>
                    <a:pt x="113" y="252"/>
                  </a:cubicBezTo>
                  <a:cubicBezTo>
                    <a:pt x="110" y="250"/>
                    <a:pt x="101" y="247"/>
                    <a:pt x="101" y="247"/>
                  </a:cubicBezTo>
                  <a:cubicBezTo>
                    <a:pt x="101" y="247"/>
                    <a:pt x="95" y="246"/>
                    <a:pt x="90" y="245"/>
                  </a:cubicBezTo>
                  <a:cubicBezTo>
                    <a:pt x="85" y="244"/>
                    <a:pt x="75" y="242"/>
                    <a:pt x="74" y="240"/>
                  </a:cubicBezTo>
                  <a:cubicBezTo>
                    <a:pt x="73" y="239"/>
                    <a:pt x="73" y="235"/>
                    <a:pt x="73" y="231"/>
                  </a:cubicBezTo>
                  <a:cubicBezTo>
                    <a:pt x="73" y="226"/>
                    <a:pt x="76" y="222"/>
                    <a:pt x="76" y="222"/>
                  </a:cubicBezTo>
                  <a:cubicBezTo>
                    <a:pt x="76" y="222"/>
                    <a:pt x="75" y="221"/>
                    <a:pt x="75" y="218"/>
                  </a:cubicBezTo>
                  <a:cubicBezTo>
                    <a:pt x="76" y="215"/>
                    <a:pt x="78" y="211"/>
                    <a:pt x="80" y="210"/>
                  </a:cubicBezTo>
                  <a:cubicBezTo>
                    <a:pt x="82" y="209"/>
                    <a:pt x="90" y="209"/>
                    <a:pt x="95" y="209"/>
                  </a:cubicBezTo>
                  <a:cubicBezTo>
                    <a:pt x="100" y="209"/>
                    <a:pt x="106" y="209"/>
                    <a:pt x="106" y="209"/>
                  </a:cubicBezTo>
                  <a:cubicBezTo>
                    <a:pt x="106" y="209"/>
                    <a:pt x="106" y="208"/>
                    <a:pt x="108" y="206"/>
                  </a:cubicBezTo>
                  <a:cubicBezTo>
                    <a:pt x="110" y="205"/>
                    <a:pt x="111" y="204"/>
                    <a:pt x="111" y="204"/>
                  </a:cubicBezTo>
                  <a:cubicBezTo>
                    <a:pt x="111" y="204"/>
                    <a:pt x="112" y="194"/>
                    <a:pt x="113" y="188"/>
                  </a:cubicBezTo>
                  <a:cubicBezTo>
                    <a:pt x="114" y="183"/>
                    <a:pt x="118" y="170"/>
                    <a:pt x="119" y="164"/>
                  </a:cubicBezTo>
                  <a:cubicBezTo>
                    <a:pt x="121" y="158"/>
                    <a:pt x="122" y="150"/>
                    <a:pt x="123" y="147"/>
                  </a:cubicBezTo>
                  <a:cubicBezTo>
                    <a:pt x="124" y="143"/>
                    <a:pt x="121" y="135"/>
                    <a:pt x="121" y="135"/>
                  </a:cubicBezTo>
                  <a:close/>
                  <a:moveTo>
                    <a:pt x="74" y="348"/>
                  </a:moveTo>
                  <a:cubicBezTo>
                    <a:pt x="70" y="348"/>
                    <a:pt x="63" y="345"/>
                    <a:pt x="63" y="345"/>
                  </a:cubicBezTo>
                  <a:cubicBezTo>
                    <a:pt x="63" y="345"/>
                    <a:pt x="63" y="343"/>
                    <a:pt x="62" y="342"/>
                  </a:cubicBezTo>
                  <a:cubicBezTo>
                    <a:pt x="61" y="342"/>
                    <a:pt x="54" y="339"/>
                    <a:pt x="53" y="334"/>
                  </a:cubicBezTo>
                  <a:cubicBezTo>
                    <a:pt x="53" y="328"/>
                    <a:pt x="53" y="319"/>
                    <a:pt x="54" y="303"/>
                  </a:cubicBezTo>
                  <a:cubicBezTo>
                    <a:pt x="55" y="287"/>
                    <a:pt x="56" y="282"/>
                    <a:pt x="56" y="282"/>
                  </a:cubicBezTo>
                  <a:cubicBezTo>
                    <a:pt x="68" y="282"/>
                    <a:pt x="68" y="282"/>
                    <a:pt x="68" y="282"/>
                  </a:cubicBezTo>
                  <a:cubicBezTo>
                    <a:pt x="68" y="281"/>
                    <a:pt x="68" y="281"/>
                    <a:pt x="68" y="281"/>
                  </a:cubicBezTo>
                  <a:cubicBezTo>
                    <a:pt x="56" y="281"/>
                    <a:pt x="56" y="281"/>
                    <a:pt x="56" y="281"/>
                  </a:cubicBezTo>
                  <a:cubicBezTo>
                    <a:pt x="56" y="281"/>
                    <a:pt x="54" y="280"/>
                    <a:pt x="51" y="280"/>
                  </a:cubicBezTo>
                  <a:cubicBezTo>
                    <a:pt x="48" y="280"/>
                    <a:pt x="46" y="281"/>
                    <a:pt x="39" y="278"/>
                  </a:cubicBezTo>
                  <a:cubicBezTo>
                    <a:pt x="31" y="276"/>
                    <a:pt x="28" y="276"/>
                    <a:pt x="23" y="275"/>
                  </a:cubicBezTo>
                  <a:cubicBezTo>
                    <a:pt x="18" y="275"/>
                    <a:pt x="5" y="275"/>
                    <a:pt x="3" y="267"/>
                  </a:cubicBezTo>
                  <a:cubicBezTo>
                    <a:pt x="1" y="259"/>
                    <a:pt x="0" y="249"/>
                    <a:pt x="3" y="237"/>
                  </a:cubicBezTo>
                  <a:cubicBezTo>
                    <a:pt x="6" y="226"/>
                    <a:pt x="7" y="220"/>
                    <a:pt x="11" y="212"/>
                  </a:cubicBezTo>
                  <a:cubicBezTo>
                    <a:pt x="15" y="204"/>
                    <a:pt x="16" y="197"/>
                    <a:pt x="21" y="188"/>
                  </a:cubicBezTo>
                  <a:cubicBezTo>
                    <a:pt x="23" y="185"/>
                    <a:pt x="22" y="181"/>
                    <a:pt x="23" y="178"/>
                  </a:cubicBezTo>
                  <a:cubicBezTo>
                    <a:pt x="24" y="174"/>
                    <a:pt x="26" y="172"/>
                    <a:pt x="29" y="170"/>
                  </a:cubicBezTo>
                  <a:cubicBezTo>
                    <a:pt x="31" y="168"/>
                    <a:pt x="31" y="166"/>
                    <a:pt x="32" y="163"/>
                  </a:cubicBezTo>
                  <a:cubicBezTo>
                    <a:pt x="33" y="159"/>
                    <a:pt x="34" y="155"/>
                    <a:pt x="35" y="154"/>
                  </a:cubicBezTo>
                  <a:cubicBezTo>
                    <a:pt x="35" y="152"/>
                    <a:pt x="38" y="151"/>
                    <a:pt x="39" y="148"/>
                  </a:cubicBezTo>
                  <a:cubicBezTo>
                    <a:pt x="40" y="146"/>
                    <a:pt x="40" y="145"/>
                    <a:pt x="42" y="144"/>
                  </a:cubicBezTo>
                  <a:cubicBezTo>
                    <a:pt x="43" y="143"/>
                    <a:pt x="43" y="141"/>
                    <a:pt x="44" y="141"/>
                  </a:cubicBezTo>
                  <a:cubicBezTo>
                    <a:pt x="45" y="140"/>
                    <a:pt x="46" y="141"/>
                    <a:pt x="47" y="140"/>
                  </a:cubicBezTo>
                  <a:cubicBezTo>
                    <a:pt x="48" y="139"/>
                    <a:pt x="51" y="137"/>
                    <a:pt x="53" y="136"/>
                  </a:cubicBezTo>
                  <a:cubicBezTo>
                    <a:pt x="55" y="135"/>
                    <a:pt x="57" y="135"/>
                    <a:pt x="60" y="135"/>
                  </a:cubicBezTo>
                  <a:cubicBezTo>
                    <a:pt x="64" y="135"/>
                    <a:pt x="69" y="131"/>
                    <a:pt x="74" y="131"/>
                  </a:cubicBezTo>
                  <a:cubicBezTo>
                    <a:pt x="79" y="131"/>
                    <a:pt x="83" y="133"/>
                    <a:pt x="87" y="132"/>
                  </a:cubicBezTo>
                  <a:cubicBezTo>
                    <a:pt x="90" y="130"/>
                    <a:pt x="92" y="128"/>
                    <a:pt x="95" y="126"/>
                  </a:cubicBezTo>
                  <a:cubicBezTo>
                    <a:pt x="99" y="123"/>
                    <a:pt x="103" y="120"/>
                    <a:pt x="106" y="119"/>
                  </a:cubicBezTo>
                  <a:cubicBezTo>
                    <a:pt x="106" y="117"/>
                    <a:pt x="107" y="116"/>
                    <a:pt x="107" y="114"/>
                  </a:cubicBezTo>
                  <a:cubicBezTo>
                    <a:pt x="107" y="113"/>
                    <a:pt x="106" y="110"/>
                    <a:pt x="107" y="108"/>
                  </a:cubicBezTo>
                  <a:cubicBezTo>
                    <a:pt x="107" y="108"/>
                    <a:pt x="110" y="112"/>
                    <a:pt x="112" y="115"/>
                  </a:cubicBezTo>
                  <a:cubicBezTo>
                    <a:pt x="114" y="117"/>
                    <a:pt x="119" y="120"/>
                    <a:pt x="119" y="120"/>
                  </a:cubicBezTo>
                  <a:cubicBezTo>
                    <a:pt x="119" y="120"/>
                    <a:pt x="115" y="121"/>
                    <a:pt x="112" y="125"/>
                  </a:cubicBezTo>
                  <a:cubicBezTo>
                    <a:pt x="110" y="129"/>
                    <a:pt x="110" y="131"/>
                    <a:pt x="110" y="131"/>
                  </a:cubicBezTo>
                  <a:cubicBezTo>
                    <a:pt x="110" y="131"/>
                    <a:pt x="106" y="135"/>
                    <a:pt x="104" y="138"/>
                  </a:cubicBezTo>
                  <a:cubicBezTo>
                    <a:pt x="102" y="141"/>
                    <a:pt x="101" y="142"/>
                    <a:pt x="101" y="142"/>
                  </a:cubicBezTo>
                  <a:cubicBezTo>
                    <a:pt x="101" y="142"/>
                    <a:pt x="101" y="132"/>
                    <a:pt x="103" y="127"/>
                  </a:cubicBezTo>
                  <a:cubicBezTo>
                    <a:pt x="104" y="123"/>
                    <a:pt x="104" y="120"/>
                    <a:pt x="104" y="120"/>
                  </a:cubicBezTo>
                  <a:cubicBezTo>
                    <a:pt x="104" y="120"/>
                    <a:pt x="104" y="120"/>
                    <a:pt x="104" y="120"/>
                  </a:cubicBezTo>
                  <a:cubicBezTo>
                    <a:pt x="104" y="120"/>
                    <a:pt x="102" y="127"/>
                    <a:pt x="101" y="131"/>
                  </a:cubicBezTo>
                  <a:cubicBezTo>
                    <a:pt x="101" y="135"/>
                    <a:pt x="101" y="142"/>
                    <a:pt x="101" y="142"/>
                  </a:cubicBezTo>
                  <a:cubicBezTo>
                    <a:pt x="101" y="142"/>
                    <a:pt x="100" y="145"/>
                    <a:pt x="99" y="146"/>
                  </a:cubicBezTo>
                  <a:cubicBezTo>
                    <a:pt x="98" y="147"/>
                    <a:pt x="94" y="158"/>
                    <a:pt x="92" y="161"/>
                  </a:cubicBezTo>
                  <a:cubicBezTo>
                    <a:pt x="90" y="164"/>
                    <a:pt x="83" y="181"/>
                    <a:pt x="81" y="190"/>
                  </a:cubicBezTo>
                  <a:cubicBezTo>
                    <a:pt x="78" y="199"/>
                    <a:pt x="76" y="211"/>
                    <a:pt x="76" y="211"/>
                  </a:cubicBezTo>
                  <a:cubicBezTo>
                    <a:pt x="76" y="211"/>
                    <a:pt x="65" y="212"/>
                    <a:pt x="61" y="212"/>
                  </a:cubicBezTo>
                  <a:cubicBezTo>
                    <a:pt x="57" y="212"/>
                    <a:pt x="54" y="213"/>
                    <a:pt x="54" y="213"/>
                  </a:cubicBezTo>
                  <a:cubicBezTo>
                    <a:pt x="54" y="213"/>
                    <a:pt x="49" y="214"/>
                    <a:pt x="48" y="215"/>
                  </a:cubicBezTo>
                  <a:cubicBezTo>
                    <a:pt x="47" y="215"/>
                    <a:pt x="46" y="216"/>
                    <a:pt x="45" y="216"/>
                  </a:cubicBezTo>
                  <a:cubicBezTo>
                    <a:pt x="45" y="217"/>
                    <a:pt x="44" y="218"/>
                    <a:pt x="44" y="219"/>
                  </a:cubicBezTo>
                  <a:cubicBezTo>
                    <a:pt x="43" y="220"/>
                    <a:pt x="43" y="220"/>
                    <a:pt x="43" y="220"/>
                  </a:cubicBezTo>
                  <a:cubicBezTo>
                    <a:pt x="43" y="220"/>
                    <a:pt x="42" y="222"/>
                    <a:pt x="42" y="223"/>
                  </a:cubicBezTo>
                  <a:cubicBezTo>
                    <a:pt x="42" y="223"/>
                    <a:pt x="46" y="226"/>
                    <a:pt x="47" y="227"/>
                  </a:cubicBezTo>
                  <a:cubicBezTo>
                    <a:pt x="48" y="227"/>
                    <a:pt x="54" y="225"/>
                    <a:pt x="58" y="227"/>
                  </a:cubicBezTo>
                  <a:cubicBezTo>
                    <a:pt x="62" y="230"/>
                    <a:pt x="72" y="234"/>
                    <a:pt x="72" y="234"/>
                  </a:cubicBezTo>
                  <a:cubicBezTo>
                    <a:pt x="72" y="234"/>
                    <a:pt x="72" y="236"/>
                    <a:pt x="72" y="238"/>
                  </a:cubicBezTo>
                  <a:cubicBezTo>
                    <a:pt x="73" y="239"/>
                    <a:pt x="73" y="242"/>
                    <a:pt x="74" y="242"/>
                  </a:cubicBezTo>
                  <a:cubicBezTo>
                    <a:pt x="76" y="243"/>
                    <a:pt x="101" y="247"/>
                    <a:pt x="101" y="247"/>
                  </a:cubicBezTo>
                  <a:cubicBezTo>
                    <a:pt x="111" y="252"/>
                    <a:pt x="111" y="252"/>
                    <a:pt x="111" y="252"/>
                  </a:cubicBezTo>
                  <a:cubicBezTo>
                    <a:pt x="111" y="252"/>
                    <a:pt x="109" y="257"/>
                    <a:pt x="108" y="258"/>
                  </a:cubicBezTo>
                  <a:cubicBezTo>
                    <a:pt x="108" y="260"/>
                    <a:pt x="106" y="261"/>
                    <a:pt x="106" y="261"/>
                  </a:cubicBezTo>
                  <a:cubicBezTo>
                    <a:pt x="106" y="261"/>
                    <a:pt x="107" y="263"/>
                    <a:pt x="107" y="265"/>
                  </a:cubicBezTo>
                  <a:cubicBezTo>
                    <a:pt x="107" y="266"/>
                    <a:pt x="108" y="273"/>
                    <a:pt x="108" y="273"/>
                  </a:cubicBezTo>
                  <a:cubicBezTo>
                    <a:pt x="116" y="273"/>
                    <a:pt x="116" y="273"/>
                    <a:pt x="116" y="273"/>
                  </a:cubicBezTo>
                  <a:cubicBezTo>
                    <a:pt x="116" y="273"/>
                    <a:pt x="114" y="275"/>
                    <a:pt x="114" y="276"/>
                  </a:cubicBezTo>
                  <a:cubicBezTo>
                    <a:pt x="113" y="277"/>
                    <a:pt x="112" y="280"/>
                    <a:pt x="110" y="280"/>
                  </a:cubicBezTo>
                  <a:cubicBezTo>
                    <a:pt x="107" y="280"/>
                    <a:pt x="96" y="278"/>
                    <a:pt x="90" y="278"/>
                  </a:cubicBezTo>
                  <a:cubicBezTo>
                    <a:pt x="84" y="278"/>
                    <a:pt x="69" y="281"/>
                    <a:pt x="69" y="281"/>
                  </a:cubicBezTo>
                  <a:cubicBezTo>
                    <a:pt x="68" y="281"/>
                    <a:pt x="68" y="281"/>
                    <a:pt x="68" y="281"/>
                  </a:cubicBezTo>
                  <a:cubicBezTo>
                    <a:pt x="68" y="281"/>
                    <a:pt x="67" y="288"/>
                    <a:pt x="67" y="294"/>
                  </a:cubicBezTo>
                  <a:cubicBezTo>
                    <a:pt x="67" y="300"/>
                    <a:pt x="66" y="306"/>
                    <a:pt x="66" y="309"/>
                  </a:cubicBezTo>
                  <a:cubicBezTo>
                    <a:pt x="66" y="311"/>
                    <a:pt x="65" y="322"/>
                    <a:pt x="66" y="326"/>
                  </a:cubicBezTo>
                  <a:cubicBezTo>
                    <a:pt x="67" y="328"/>
                    <a:pt x="84" y="348"/>
                    <a:pt x="85" y="349"/>
                  </a:cubicBezTo>
                  <a:cubicBezTo>
                    <a:pt x="86" y="350"/>
                    <a:pt x="79" y="348"/>
                    <a:pt x="74" y="348"/>
                  </a:cubicBezTo>
                  <a:close/>
                  <a:moveTo>
                    <a:pt x="194" y="330"/>
                  </a:moveTo>
                  <a:cubicBezTo>
                    <a:pt x="194" y="330"/>
                    <a:pt x="182" y="336"/>
                    <a:pt x="174" y="337"/>
                  </a:cubicBezTo>
                  <a:cubicBezTo>
                    <a:pt x="167" y="337"/>
                    <a:pt x="150" y="339"/>
                    <a:pt x="150" y="339"/>
                  </a:cubicBezTo>
                  <a:cubicBezTo>
                    <a:pt x="150" y="339"/>
                    <a:pt x="144" y="341"/>
                    <a:pt x="141" y="341"/>
                  </a:cubicBezTo>
                  <a:cubicBezTo>
                    <a:pt x="137" y="342"/>
                    <a:pt x="130" y="344"/>
                    <a:pt x="126" y="345"/>
                  </a:cubicBezTo>
                  <a:cubicBezTo>
                    <a:pt x="121" y="346"/>
                    <a:pt x="114" y="347"/>
                    <a:pt x="114" y="347"/>
                  </a:cubicBezTo>
                  <a:cubicBezTo>
                    <a:pt x="113" y="344"/>
                    <a:pt x="113" y="344"/>
                    <a:pt x="113" y="344"/>
                  </a:cubicBezTo>
                  <a:cubicBezTo>
                    <a:pt x="94" y="347"/>
                    <a:pt x="94" y="347"/>
                    <a:pt x="94" y="347"/>
                  </a:cubicBezTo>
                  <a:cubicBezTo>
                    <a:pt x="94" y="349"/>
                    <a:pt x="94" y="349"/>
                    <a:pt x="94" y="349"/>
                  </a:cubicBezTo>
                  <a:cubicBezTo>
                    <a:pt x="86" y="349"/>
                    <a:pt x="86" y="349"/>
                    <a:pt x="86" y="349"/>
                  </a:cubicBezTo>
                  <a:cubicBezTo>
                    <a:pt x="85" y="348"/>
                    <a:pt x="85" y="348"/>
                    <a:pt x="85" y="348"/>
                  </a:cubicBezTo>
                  <a:cubicBezTo>
                    <a:pt x="85" y="348"/>
                    <a:pt x="88" y="343"/>
                    <a:pt x="92" y="338"/>
                  </a:cubicBezTo>
                  <a:cubicBezTo>
                    <a:pt x="95" y="334"/>
                    <a:pt x="98" y="327"/>
                    <a:pt x="98" y="325"/>
                  </a:cubicBezTo>
                  <a:cubicBezTo>
                    <a:pt x="99" y="323"/>
                    <a:pt x="100" y="315"/>
                    <a:pt x="100" y="311"/>
                  </a:cubicBezTo>
                  <a:cubicBezTo>
                    <a:pt x="100" y="307"/>
                    <a:pt x="101" y="296"/>
                    <a:pt x="102" y="293"/>
                  </a:cubicBezTo>
                  <a:cubicBezTo>
                    <a:pt x="102" y="291"/>
                    <a:pt x="102" y="287"/>
                    <a:pt x="102" y="284"/>
                  </a:cubicBezTo>
                  <a:cubicBezTo>
                    <a:pt x="103" y="282"/>
                    <a:pt x="103" y="280"/>
                    <a:pt x="103" y="280"/>
                  </a:cubicBezTo>
                  <a:cubicBezTo>
                    <a:pt x="111" y="281"/>
                    <a:pt x="111" y="280"/>
                    <a:pt x="114" y="278"/>
                  </a:cubicBezTo>
                  <a:cubicBezTo>
                    <a:pt x="116" y="275"/>
                    <a:pt x="117" y="273"/>
                    <a:pt x="117" y="273"/>
                  </a:cubicBezTo>
                  <a:cubicBezTo>
                    <a:pt x="117" y="273"/>
                    <a:pt x="126" y="272"/>
                    <a:pt x="129" y="271"/>
                  </a:cubicBezTo>
                  <a:cubicBezTo>
                    <a:pt x="131" y="270"/>
                    <a:pt x="133" y="269"/>
                    <a:pt x="135" y="268"/>
                  </a:cubicBezTo>
                  <a:cubicBezTo>
                    <a:pt x="137" y="268"/>
                    <a:pt x="137" y="268"/>
                    <a:pt x="139" y="268"/>
                  </a:cubicBezTo>
                  <a:cubicBezTo>
                    <a:pt x="142" y="268"/>
                    <a:pt x="143" y="267"/>
                    <a:pt x="145" y="266"/>
                  </a:cubicBezTo>
                  <a:cubicBezTo>
                    <a:pt x="146" y="266"/>
                    <a:pt x="147" y="266"/>
                    <a:pt x="149" y="266"/>
                  </a:cubicBezTo>
                  <a:cubicBezTo>
                    <a:pt x="152" y="265"/>
                    <a:pt x="153" y="264"/>
                    <a:pt x="153" y="264"/>
                  </a:cubicBezTo>
                  <a:cubicBezTo>
                    <a:pt x="153" y="264"/>
                    <a:pt x="154" y="265"/>
                    <a:pt x="157" y="265"/>
                  </a:cubicBezTo>
                  <a:cubicBezTo>
                    <a:pt x="160" y="265"/>
                    <a:pt x="164" y="264"/>
                    <a:pt x="164" y="264"/>
                  </a:cubicBezTo>
                  <a:cubicBezTo>
                    <a:pt x="164" y="264"/>
                    <a:pt x="168" y="265"/>
                    <a:pt x="173" y="265"/>
                  </a:cubicBezTo>
                  <a:cubicBezTo>
                    <a:pt x="177" y="265"/>
                    <a:pt x="182" y="263"/>
                    <a:pt x="182" y="261"/>
                  </a:cubicBezTo>
                  <a:cubicBezTo>
                    <a:pt x="183" y="259"/>
                    <a:pt x="184" y="255"/>
                    <a:pt x="184" y="255"/>
                  </a:cubicBezTo>
                  <a:cubicBezTo>
                    <a:pt x="184" y="255"/>
                    <a:pt x="187" y="254"/>
                    <a:pt x="191" y="253"/>
                  </a:cubicBezTo>
                  <a:cubicBezTo>
                    <a:pt x="194" y="252"/>
                    <a:pt x="196" y="250"/>
                    <a:pt x="199" y="248"/>
                  </a:cubicBezTo>
                  <a:cubicBezTo>
                    <a:pt x="201" y="246"/>
                    <a:pt x="204" y="242"/>
                    <a:pt x="205" y="240"/>
                  </a:cubicBezTo>
                  <a:cubicBezTo>
                    <a:pt x="206" y="238"/>
                    <a:pt x="208" y="237"/>
                    <a:pt x="210" y="235"/>
                  </a:cubicBezTo>
                  <a:cubicBezTo>
                    <a:pt x="212" y="233"/>
                    <a:pt x="216" y="227"/>
                    <a:pt x="216" y="227"/>
                  </a:cubicBezTo>
                  <a:cubicBezTo>
                    <a:pt x="216" y="227"/>
                    <a:pt x="223" y="219"/>
                    <a:pt x="224" y="218"/>
                  </a:cubicBezTo>
                  <a:cubicBezTo>
                    <a:pt x="226" y="216"/>
                    <a:pt x="227" y="213"/>
                    <a:pt x="227" y="213"/>
                  </a:cubicBezTo>
                  <a:cubicBezTo>
                    <a:pt x="227" y="213"/>
                    <a:pt x="226" y="219"/>
                    <a:pt x="224" y="223"/>
                  </a:cubicBezTo>
                  <a:cubicBezTo>
                    <a:pt x="223" y="228"/>
                    <a:pt x="219" y="236"/>
                    <a:pt x="216" y="244"/>
                  </a:cubicBezTo>
                  <a:cubicBezTo>
                    <a:pt x="213" y="252"/>
                    <a:pt x="210" y="263"/>
                    <a:pt x="209" y="267"/>
                  </a:cubicBezTo>
                  <a:cubicBezTo>
                    <a:pt x="208" y="271"/>
                    <a:pt x="209" y="274"/>
                    <a:pt x="209" y="278"/>
                  </a:cubicBezTo>
                  <a:cubicBezTo>
                    <a:pt x="209" y="282"/>
                    <a:pt x="209" y="296"/>
                    <a:pt x="210" y="300"/>
                  </a:cubicBezTo>
                  <a:cubicBezTo>
                    <a:pt x="211" y="304"/>
                    <a:pt x="213" y="311"/>
                    <a:pt x="216" y="316"/>
                  </a:cubicBezTo>
                  <a:cubicBezTo>
                    <a:pt x="218" y="320"/>
                    <a:pt x="219" y="320"/>
                    <a:pt x="222" y="322"/>
                  </a:cubicBezTo>
                  <a:cubicBezTo>
                    <a:pt x="220" y="327"/>
                    <a:pt x="215" y="330"/>
                    <a:pt x="213" y="331"/>
                  </a:cubicBezTo>
                  <a:cubicBezTo>
                    <a:pt x="212" y="333"/>
                    <a:pt x="212" y="335"/>
                    <a:pt x="212" y="335"/>
                  </a:cubicBezTo>
                  <a:cubicBezTo>
                    <a:pt x="207" y="338"/>
                    <a:pt x="207" y="338"/>
                    <a:pt x="207" y="338"/>
                  </a:cubicBezTo>
                  <a:cubicBezTo>
                    <a:pt x="207" y="338"/>
                    <a:pt x="206" y="332"/>
                    <a:pt x="206" y="331"/>
                  </a:cubicBezTo>
                  <a:cubicBezTo>
                    <a:pt x="206" y="330"/>
                    <a:pt x="205" y="330"/>
                    <a:pt x="203" y="330"/>
                  </a:cubicBezTo>
                  <a:cubicBezTo>
                    <a:pt x="200" y="330"/>
                    <a:pt x="194" y="330"/>
                    <a:pt x="194" y="33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9"/>
          <p:cNvGrpSpPr/>
          <p:nvPr/>
        </p:nvGrpSpPr>
        <p:grpSpPr>
          <a:xfrm>
            <a:off x="3962050" y="940616"/>
            <a:ext cx="1714512" cy="1986343"/>
            <a:chOff x="3528233" y="2445986"/>
            <a:chExt cx="2307913" cy="2333274"/>
          </a:xfrm>
        </p:grpSpPr>
        <p:grpSp>
          <p:nvGrpSpPr>
            <p:cNvPr id="6" name="Group 10"/>
            <p:cNvGrpSpPr/>
            <p:nvPr/>
          </p:nvGrpSpPr>
          <p:grpSpPr>
            <a:xfrm flipH="1">
              <a:off x="3528233" y="2445986"/>
              <a:ext cx="2307913" cy="2333274"/>
              <a:chOff x="1435774" y="1789788"/>
              <a:chExt cx="3410045" cy="3447519"/>
            </a:xfrm>
            <a:effectLst/>
          </p:grpSpPr>
          <p:sp>
            <p:nvSpPr>
              <p:cNvPr id="13" name="Parallelogram 5"/>
              <p:cNvSpPr/>
              <p:nvPr/>
            </p:nvSpPr>
            <p:spPr>
              <a:xfrm rot="16200000" flipV="1">
                <a:off x="2443070" y="2834557"/>
                <a:ext cx="2757672" cy="2047827"/>
              </a:xfrm>
              <a:custGeom>
                <a:avLst/>
                <a:gdLst/>
                <a:ahLst/>
                <a:cxnLst/>
                <a:rect l="l" t="t" r="r" b="b"/>
                <a:pathLst>
                  <a:path w="2056374" h="1527048">
                    <a:moveTo>
                      <a:pt x="2056374" y="0"/>
                    </a:moveTo>
                    <a:lnTo>
                      <a:pt x="339951" y="0"/>
                    </a:lnTo>
                    <a:lnTo>
                      <a:pt x="0" y="1527048"/>
                    </a:lnTo>
                    <a:lnTo>
                      <a:pt x="1706076" y="1527048"/>
                    </a:lnTo>
                    <a:lnTo>
                      <a:pt x="1704529" y="1524011"/>
                    </a:lnTo>
                    <a:close/>
                  </a:path>
                </a:pathLst>
              </a:custGeom>
              <a:gradFill flip="none" rotWithShape="1">
                <a:gsLst>
                  <a:gs pos="0">
                    <a:schemeClr val="accent5">
                      <a:lumMod val="20000"/>
                      <a:lumOff val="80000"/>
                    </a:schemeClr>
                  </a:gs>
                  <a:gs pos="100000">
                    <a:schemeClr val="accent5">
                      <a:lumMod val="60000"/>
                      <a:lumOff val="40000"/>
                    </a:schemeClr>
                  </a:gs>
                </a:gsLst>
                <a:lin ang="13500000" scaled="1"/>
                <a:tileRect/>
              </a:gra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p>
            </p:txBody>
          </p:sp>
          <p:sp>
            <p:nvSpPr>
              <p:cNvPr id="14" name="Parallelogram 7"/>
              <p:cNvSpPr/>
              <p:nvPr/>
            </p:nvSpPr>
            <p:spPr>
              <a:xfrm rot="5400000" flipH="1" flipV="1">
                <a:off x="635317" y="3075146"/>
                <a:ext cx="2975454" cy="1348868"/>
              </a:xfrm>
              <a:custGeom>
                <a:avLst/>
                <a:gdLst/>
                <a:ahLst/>
                <a:cxnLst/>
                <a:rect l="l" t="t" r="r" b="b"/>
                <a:pathLst>
                  <a:path w="2218772" h="1005840">
                    <a:moveTo>
                      <a:pt x="2218772" y="0"/>
                    </a:moveTo>
                    <a:lnTo>
                      <a:pt x="1706271" y="1005840"/>
                    </a:lnTo>
                    <a:lnTo>
                      <a:pt x="0" y="1005840"/>
                    </a:lnTo>
                    <a:lnTo>
                      <a:pt x="521629" y="0"/>
                    </a:lnTo>
                    <a:close/>
                  </a:path>
                </a:pathLst>
              </a:custGeom>
              <a:gradFill flip="none" rotWithShape="1">
                <a:gsLst>
                  <a:gs pos="0">
                    <a:schemeClr val="accent5">
                      <a:lumMod val="20000"/>
                      <a:lumOff val="80000"/>
                    </a:schemeClr>
                  </a:gs>
                  <a:gs pos="100000">
                    <a:schemeClr val="accent5">
                      <a:lumMod val="60000"/>
                      <a:lumOff val="40000"/>
                    </a:schemeClr>
                  </a:gs>
                </a:gsLst>
                <a:lin ang="0" scaled="1"/>
                <a:tileRect/>
              </a:gra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p>
            </p:txBody>
          </p:sp>
          <p:sp>
            <p:nvSpPr>
              <p:cNvPr id="15" name="Parallelogram 9"/>
              <p:cNvSpPr/>
              <p:nvPr/>
            </p:nvSpPr>
            <p:spPr>
              <a:xfrm rot="16200000" flipV="1">
                <a:off x="2554883" y="670679"/>
                <a:ext cx="1161684" cy="3399902"/>
              </a:xfrm>
              <a:custGeom>
                <a:avLst/>
                <a:gdLst/>
                <a:ahLst/>
                <a:cxnLst/>
                <a:rect l="l" t="t" r="r" b="b"/>
                <a:pathLst>
                  <a:path w="866258" h="2535280">
                    <a:moveTo>
                      <a:pt x="866258" y="1008202"/>
                    </a:moveTo>
                    <a:lnTo>
                      <a:pt x="352554" y="0"/>
                    </a:lnTo>
                    <a:lnTo>
                      <a:pt x="0" y="1527078"/>
                    </a:lnTo>
                    <a:lnTo>
                      <a:pt x="513705" y="2535280"/>
                    </a:lnTo>
                    <a:close/>
                  </a:path>
                </a:pathLst>
              </a:custGeom>
              <a:gradFill flip="none" rotWithShape="1">
                <a:gsLst>
                  <a:gs pos="0">
                    <a:schemeClr val="accent5">
                      <a:lumMod val="20000"/>
                      <a:lumOff val="80000"/>
                    </a:schemeClr>
                  </a:gs>
                  <a:gs pos="100000">
                    <a:schemeClr val="accent5">
                      <a:lumMod val="60000"/>
                      <a:lumOff val="40000"/>
                    </a:schemeClr>
                  </a:gs>
                </a:gsLst>
                <a:lin ang="13500000" scaled="1"/>
                <a:tileRect/>
              </a:gra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p>
            </p:txBody>
          </p:sp>
        </p:grpSp>
        <p:sp>
          <p:nvSpPr>
            <p:cNvPr id="12" name="TextBox 11"/>
            <p:cNvSpPr txBox="1"/>
            <p:nvPr/>
          </p:nvSpPr>
          <p:spPr>
            <a:xfrm>
              <a:off x="3668807" y="2865562"/>
              <a:ext cx="1109546" cy="1843814"/>
            </a:xfrm>
            <a:prstGeom prst="rect">
              <a:avLst/>
            </a:prstGeom>
            <a:noFill/>
            <a:scene3d>
              <a:camera prst="isometricRightUp">
                <a:rot lat="452349" lon="1847430" rev="21360000"/>
              </a:camera>
              <a:lightRig rig="threePt" dir="t"/>
            </a:scene3d>
          </p:spPr>
          <p:txBody>
            <a:bodyPr wrap="none" rtlCol="0">
              <a:spAutoFit/>
            </a:bodyPr>
            <a:lstStyle/>
            <a:p>
              <a:pPr algn="ctr"/>
              <a:r>
                <a:rPr lang="en-US" sz="9600" b="1" dirty="0" smtClean="0">
                  <a:solidFill>
                    <a:schemeClr val="accent5">
                      <a:lumMod val="75000"/>
                    </a:schemeClr>
                  </a:solidFill>
                </a:rPr>
                <a:t>Y</a:t>
              </a:r>
              <a:endParaRPr lang="en-US" sz="9600" b="1" dirty="0">
                <a:solidFill>
                  <a:schemeClr val="accent5">
                    <a:lumMod val="75000"/>
                  </a:schemeClr>
                </a:solidFill>
              </a:endParaRPr>
            </a:p>
          </p:txBody>
        </p:sp>
      </p:grpSp>
      <p:grpSp>
        <p:nvGrpSpPr>
          <p:cNvPr id="7" name="Group 15"/>
          <p:cNvGrpSpPr/>
          <p:nvPr/>
        </p:nvGrpSpPr>
        <p:grpSpPr>
          <a:xfrm>
            <a:off x="2104662" y="1083492"/>
            <a:ext cx="1755956" cy="2143140"/>
            <a:chOff x="1888547" y="2390657"/>
            <a:chExt cx="2363701" cy="2517457"/>
          </a:xfrm>
        </p:grpSpPr>
        <p:grpSp>
          <p:nvGrpSpPr>
            <p:cNvPr id="10" name="Group 2"/>
            <p:cNvGrpSpPr/>
            <p:nvPr/>
          </p:nvGrpSpPr>
          <p:grpSpPr>
            <a:xfrm>
              <a:off x="1888547" y="2390657"/>
              <a:ext cx="2307913" cy="2333274"/>
              <a:chOff x="1435774" y="1789788"/>
              <a:chExt cx="3410045" cy="3447519"/>
            </a:xfrm>
            <a:effectLst/>
          </p:grpSpPr>
          <p:sp>
            <p:nvSpPr>
              <p:cNvPr id="19" name="Parallelogram 5"/>
              <p:cNvSpPr/>
              <p:nvPr/>
            </p:nvSpPr>
            <p:spPr>
              <a:xfrm rot="16200000" flipV="1">
                <a:off x="2443070" y="2834557"/>
                <a:ext cx="2757672" cy="2047827"/>
              </a:xfrm>
              <a:custGeom>
                <a:avLst/>
                <a:gdLst/>
                <a:ahLst/>
                <a:cxnLst/>
                <a:rect l="l" t="t" r="r" b="b"/>
                <a:pathLst>
                  <a:path w="2056374" h="1527048">
                    <a:moveTo>
                      <a:pt x="2056374" y="0"/>
                    </a:moveTo>
                    <a:lnTo>
                      <a:pt x="339951" y="0"/>
                    </a:lnTo>
                    <a:lnTo>
                      <a:pt x="0" y="1527048"/>
                    </a:lnTo>
                    <a:lnTo>
                      <a:pt x="1706076" y="1527048"/>
                    </a:lnTo>
                    <a:lnTo>
                      <a:pt x="1704529" y="1524011"/>
                    </a:lnTo>
                    <a:close/>
                  </a:path>
                </a:pathLst>
              </a:custGeom>
              <a:gradFill flip="none" rotWithShape="1">
                <a:gsLst>
                  <a:gs pos="0">
                    <a:schemeClr val="accent6">
                      <a:lumMod val="20000"/>
                      <a:lumOff val="80000"/>
                    </a:schemeClr>
                  </a:gs>
                  <a:gs pos="100000">
                    <a:schemeClr val="accent6">
                      <a:lumMod val="60000"/>
                      <a:lumOff val="40000"/>
                    </a:schemeClr>
                  </a:gs>
                </a:gsLst>
                <a:lin ang="13500000" scaled="1"/>
                <a:tileRect/>
              </a:gradFill>
              <a:ln w="127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p>
            </p:txBody>
          </p:sp>
          <p:sp>
            <p:nvSpPr>
              <p:cNvPr id="20" name="Parallelogram 7"/>
              <p:cNvSpPr/>
              <p:nvPr/>
            </p:nvSpPr>
            <p:spPr>
              <a:xfrm rot="5400000" flipH="1" flipV="1">
                <a:off x="635317" y="3075146"/>
                <a:ext cx="2975454" cy="1348868"/>
              </a:xfrm>
              <a:custGeom>
                <a:avLst/>
                <a:gdLst/>
                <a:ahLst/>
                <a:cxnLst/>
                <a:rect l="l" t="t" r="r" b="b"/>
                <a:pathLst>
                  <a:path w="2218772" h="1005840">
                    <a:moveTo>
                      <a:pt x="2218772" y="0"/>
                    </a:moveTo>
                    <a:lnTo>
                      <a:pt x="1706271" y="1005840"/>
                    </a:lnTo>
                    <a:lnTo>
                      <a:pt x="0" y="1005840"/>
                    </a:lnTo>
                    <a:lnTo>
                      <a:pt x="521629" y="0"/>
                    </a:lnTo>
                    <a:close/>
                  </a:path>
                </a:pathLst>
              </a:custGeom>
              <a:gradFill flip="none" rotWithShape="1">
                <a:gsLst>
                  <a:gs pos="0">
                    <a:schemeClr val="accent6">
                      <a:lumMod val="20000"/>
                      <a:lumOff val="80000"/>
                    </a:schemeClr>
                  </a:gs>
                  <a:gs pos="100000">
                    <a:schemeClr val="accent6">
                      <a:lumMod val="60000"/>
                      <a:lumOff val="40000"/>
                    </a:schemeClr>
                  </a:gs>
                </a:gsLst>
                <a:lin ang="0" scaled="1"/>
                <a:tileRect/>
              </a:gradFill>
              <a:ln w="127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p>
            </p:txBody>
          </p:sp>
          <p:sp>
            <p:nvSpPr>
              <p:cNvPr id="21" name="Parallelogram 9"/>
              <p:cNvSpPr/>
              <p:nvPr/>
            </p:nvSpPr>
            <p:spPr>
              <a:xfrm rot="16200000" flipV="1">
                <a:off x="2554883" y="670679"/>
                <a:ext cx="1161684" cy="3399902"/>
              </a:xfrm>
              <a:custGeom>
                <a:avLst/>
                <a:gdLst/>
                <a:ahLst/>
                <a:cxnLst/>
                <a:rect l="l" t="t" r="r" b="b"/>
                <a:pathLst>
                  <a:path w="866258" h="2535280">
                    <a:moveTo>
                      <a:pt x="866258" y="1008202"/>
                    </a:moveTo>
                    <a:lnTo>
                      <a:pt x="352554" y="0"/>
                    </a:lnTo>
                    <a:lnTo>
                      <a:pt x="0" y="1527078"/>
                    </a:lnTo>
                    <a:lnTo>
                      <a:pt x="513705" y="2535280"/>
                    </a:lnTo>
                    <a:close/>
                  </a:path>
                </a:pathLst>
              </a:custGeom>
              <a:gradFill flip="none" rotWithShape="1">
                <a:gsLst>
                  <a:gs pos="0">
                    <a:schemeClr val="accent6">
                      <a:lumMod val="20000"/>
                      <a:lumOff val="80000"/>
                    </a:schemeClr>
                  </a:gs>
                  <a:gs pos="100000">
                    <a:schemeClr val="accent6">
                      <a:lumMod val="60000"/>
                      <a:lumOff val="40000"/>
                    </a:schemeClr>
                  </a:gs>
                </a:gsLst>
                <a:lin ang="13500000" scaled="1"/>
                <a:tileRect/>
              </a:gra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p>
            </p:txBody>
          </p:sp>
        </p:grpSp>
        <p:sp>
          <p:nvSpPr>
            <p:cNvPr id="18" name="TextBox 17"/>
            <p:cNvSpPr txBox="1"/>
            <p:nvPr/>
          </p:nvSpPr>
          <p:spPr>
            <a:xfrm>
              <a:off x="2946341" y="2720844"/>
              <a:ext cx="1305907" cy="2187270"/>
            </a:xfrm>
            <a:prstGeom prst="rect">
              <a:avLst/>
            </a:prstGeom>
            <a:noFill/>
            <a:scene3d>
              <a:camera prst="isometricRightUp">
                <a:rot lat="894627" lon="19494455" rev="21519905"/>
              </a:camera>
              <a:lightRig rig="threePt" dir="t"/>
            </a:scene3d>
          </p:spPr>
          <p:txBody>
            <a:bodyPr wrap="none" rtlCol="0">
              <a:spAutoFit/>
            </a:bodyPr>
            <a:lstStyle/>
            <a:p>
              <a:pPr algn="ctr"/>
              <a:r>
                <a:rPr lang="en-US" sz="11500" b="1" dirty="0" smtClean="0">
                  <a:solidFill>
                    <a:schemeClr val="accent6">
                      <a:lumMod val="75000"/>
                    </a:schemeClr>
                  </a:solidFill>
                </a:rPr>
                <a:t>P</a:t>
              </a:r>
              <a:endParaRPr lang="en-US" sz="11500" b="1" dirty="0">
                <a:solidFill>
                  <a:schemeClr val="accent6">
                    <a:lumMod val="75000"/>
                  </a:schemeClr>
                </a:solidFill>
              </a:endParaRPr>
            </a:p>
          </p:txBody>
        </p:sp>
      </p:grpSp>
      <p:grpSp>
        <p:nvGrpSpPr>
          <p:cNvPr id="11" name="Group 21"/>
          <p:cNvGrpSpPr/>
          <p:nvPr/>
        </p:nvGrpSpPr>
        <p:grpSpPr>
          <a:xfrm>
            <a:off x="5533686" y="1369244"/>
            <a:ext cx="1828789" cy="2147800"/>
            <a:chOff x="1888547" y="2390657"/>
            <a:chExt cx="2461740" cy="2522931"/>
          </a:xfrm>
        </p:grpSpPr>
        <p:grpSp>
          <p:nvGrpSpPr>
            <p:cNvPr id="16" name="Group 35"/>
            <p:cNvGrpSpPr/>
            <p:nvPr/>
          </p:nvGrpSpPr>
          <p:grpSpPr>
            <a:xfrm>
              <a:off x="1888547" y="2390657"/>
              <a:ext cx="2307913" cy="2333274"/>
              <a:chOff x="1435774" y="1789788"/>
              <a:chExt cx="3410045" cy="3447519"/>
            </a:xfrm>
            <a:effectLst/>
          </p:grpSpPr>
          <p:sp>
            <p:nvSpPr>
              <p:cNvPr id="25" name="Parallelogram 5"/>
              <p:cNvSpPr/>
              <p:nvPr/>
            </p:nvSpPr>
            <p:spPr>
              <a:xfrm rot="16200000" flipV="1">
                <a:off x="2443070" y="2834557"/>
                <a:ext cx="2757672" cy="2047827"/>
              </a:xfrm>
              <a:custGeom>
                <a:avLst/>
                <a:gdLst/>
                <a:ahLst/>
                <a:cxnLst/>
                <a:rect l="l" t="t" r="r" b="b"/>
                <a:pathLst>
                  <a:path w="2056374" h="1527048">
                    <a:moveTo>
                      <a:pt x="2056374" y="0"/>
                    </a:moveTo>
                    <a:lnTo>
                      <a:pt x="339951" y="0"/>
                    </a:lnTo>
                    <a:lnTo>
                      <a:pt x="0" y="1527048"/>
                    </a:lnTo>
                    <a:lnTo>
                      <a:pt x="1706076" y="1527048"/>
                    </a:lnTo>
                    <a:lnTo>
                      <a:pt x="1704529" y="1524011"/>
                    </a:lnTo>
                    <a:close/>
                  </a:path>
                </a:pathLst>
              </a:custGeom>
              <a:gradFill flip="none" rotWithShape="1">
                <a:gsLst>
                  <a:gs pos="0">
                    <a:schemeClr val="accent3">
                      <a:lumMod val="20000"/>
                      <a:lumOff val="80000"/>
                    </a:schemeClr>
                  </a:gs>
                  <a:gs pos="100000">
                    <a:schemeClr val="accent3">
                      <a:lumMod val="60000"/>
                      <a:lumOff val="40000"/>
                    </a:schemeClr>
                  </a:gs>
                </a:gsLst>
                <a:lin ang="13500000" scaled="1"/>
                <a:tileRect/>
              </a:gra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p>
            </p:txBody>
          </p:sp>
          <p:sp>
            <p:nvSpPr>
              <p:cNvPr id="26" name="Parallelogram 7"/>
              <p:cNvSpPr/>
              <p:nvPr/>
            </p:nvSpPr>
            <p:spPr>
              <a:xfrm rot="5400000" flipH="1" flipV="1">
                <a:off x="635317" y="3075146"/>
                <a:ext cx="2975454" cy="1348868"/>
              </a:xfrm>
              <a:custGeom>
                <a:avLst/>
                <a:gdLst/>
                <a:ahLst/>
                <a:cxnLst/>
                <a:rect l="l" t="t" r="r" b="b"/>
                <a:pathLst>
                  <a:path w="2218772" h="1005840">
                    <a:moveTo>
                      <a:pt x="2218772" y="0"/>
                    </a:moveTo>
                    <a:lnTo>
                      <a:pt x="1706271" y="1005840"/>
                    </a:lnTo>
                    <a:lnTo>
                      <a:pt x="0" y="1005840"/>
                    </a:lnTo>
                    <a:lnTo>
                      <a:pt x="521629" y="0"/>
                    </a:lnTo>
                    <a:close/>
                  </a:path>
                </a:pathLst>
              </a:custGeom>
              <a:gradFill flip="none" rotWithShape="1">
                <a:gsLst>
                  <a:gs pos="0">
                    <a:schemeClr val="accent3">
                      <a:lumMod val="20000"/>
                      <a:lumOff val="80000"/>
                    </a:schemeClr>
                  </a:gs>
                  <a:gs pos="100000">
                    <a:schemeClr val="accent3">
                      <a:lumMod val="60000"/>
                      <a:lumOff val="40000"/>
                    </a:schemeClr>
                  </a:gs>
                </a:gsLst>
                <a:lin ang="0" scaled="1"/>
                <a:tileRect/>
              </a:gra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p>
            </p:txBody>
          </p:sp>
          <p:sp>
            <p:nvSpPr>
              <p:cNvPr id="27" name="Parallelogram 9"/>
              <p:cNvSpPr/>
              <p:nvPr/>
            </p:nvSpPr>
            <p:spPr>
              <a:xfrm rot="16200000" flipV="1">
                <a:off x="2554883" y="670679"/>
                <a:ext cx="1161684" cy="3399902"/>
              </a:xfrm>
              <a:custGeom>
                <a:avLst/>
                <a:gdLst/>
                <a:ahLst/>
                <a:cxnLst/>
                <a:rect l="l" t="t" r="r" b="b"/>
                <a:pathLst>
                  <a:path w="866258" h="2535280">
                    <a:moveTo>
                      <a:pt x="866258" y="1008202"/>
                    </a:moveTo>
                    <a:lnTo>
                      <a:pt x="352554" y="0"/>
                    </a:lnTo>
                    <a:lnTo>
                      <a:pt x="0" y="1527078"/>
                    </a:lnTo>
                    <a:lnTo>
                      <a:pt x="513705" y="2535280"/>
                    </a:lnTo>
                    <a:close/>
                  </a:path>
                </a:pathLst>
              </a:custGeom>
              <a:gradFill flip="none" rotWithShape="1">
                <a:gsLst>
                  <a:gs pos="0">
                    <a:schemeClr val="accent3">
                      <a:lumMod val="20000"/>
                      <a:lumOff val="80000"/>
                    </a:schemeClr>
                  </a:gs>
                  <a:gs pos="100000">
                    <a:schemeClr val="accent3">
                      <a:lumMod val="60000"/>
                      <a:lumOff val="40000"/>
                    </a:schemeClr>
                  </a:gs>
                </a:gsLst>
                <a:lin ang="13500000" scaled="1"/>
                <a:tileRect/>
              </a:gra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p>
            </p:txBody>
          </p:sp>
        </p:grpSp>
        <p:sp>
          <p:nvSpPr>
            <p:cNvPr id="24" name="TextBox 23"/>
            <p:cNvSpPr txBox="1"/>
            <p:nvPr/>
          </p:nvSpPr>
          <p:spPr>
            <a:xfrm>
              <a:off x="2850178" y="2726318"/>
              <a:ext cx="1500109" cy="2187270"/>
            </a:xfrm>
            <a:prstGeom prst="rect">
              <a:avLst/>
            </a:prstGeom>
            <a:noFill/>
            <a:scene3d>
              <a:camera prst="isometricRightUp">
                <a:rot lat="894627" lon="19494455" rev="21519905"/>
              </a:camera>
              <a:lightRig rig="threePt" dir="t"/>
            </a:scene3d>
          </p:spPr>
          <p:txBody>
            <a:bodyPr wrap="none" rtlCol="0">
              <a:spAutoFit/>
            </a:bodyPr>
            <a:lstStyle/>
            <a:p>
              <a:pPr algn="ctr"/>
              <a:r>
                <a:rPr lang="en-US" sz="11500" b="1" dirty="0" smtClean="0">
                  <a:solidFill>
                    <a:schemeClr val="accent3">
                      <a:lumMod val="75000"/>
                    </a:schemeClr>
                  </a:solidFill>
                </a:rPr>
                <a:t>D</a:t>
              </a:r>
              <a:endParaRPr lang="en-US" sz="11500" b="1" dirty="0">
                <a:solidFill>
                  <a:schemeClr val="accent3">
                    <a:lumMod val="75000"/>
                  </a:schemeClr>
                </a:solidFill>
              </a:endParaRPr>
            </a:p>
          </p:txBody>
        </p:sp>
      </p:grpSp>
      <p:sp>
        <p:nvSpPr>
          <p:cNvPr id="28" name="Rectangular Callout 27"/>
          <p:cNvSpPr/>
          <p:nvPr/>
        </p:nvSpPr>
        <p:spPr>
          <a:xfrm>
            <a:off x="2533289" y="4083887"/>
            <a:ext cx="5410200" cy="1062030"/>
          </a:xfrm>
          <a:prstGeom prst="wedgeRectCallout">
            <a:avLst>
              <a:gd name="adj1" fmla="val -55904"/>
              <a:gd name="adj2" fmla="val -43034"/>
            </a:avLst>
          </a:prstGeom>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US"/>
          </a:p>
        </p:txBody>
      </p:sp>
      <p:sp>
        <p:nvSpPr>
          <p:cNvPr id="29" name="TextBox 8"/>
          <p:cNvSpPr txBox="1">
            <a:spLocks noChangeArrowheads="1"/>
          </p:cNvSpPr>
          <p:nvPr/>
        </p:nvSpPr>
        <p:spPr bwMode="auto">
          <a:xfrm>
            <a:off x="2676165" y="4155326"/>
            <a:ext cx="5105400" cy="954107"/>
          </a:xfrm>
          <a:prstGeom prst="rect">
            <a:avLst/>
          </a:prstGeom>
          <a:noFill/>
          <a:ln w="9525">
            <a:noFill/>
            <a:miter lim="800000"/>
            <a:headEnd/>
            <a:tailEnd/>
          </a:ln>
        </p:spPr>
        <p:txBody>
          <a:bodyPr>
            <a:spAutoFit/>
          </a:bodyPr>
          <a:lstStyle/>
          <a:p>
            <a:pPr lvl="0"/>
            <a:r>
              <a:rPr lang="ms-MY" dirty="0" smtClean="0"/>
              <a:t>Pegawai Yang Dinilai (PYD) merupakan Pegawai Perkhidmatan Pendidikan yang telah dilantik oleh </a:t>
            </a:r>
            <a:r>
              <a:rPr lang="ms-MY" sz="2000" b="1" dirty="0" smtClean="0"/>
              <a:t>Suruhanjaya Perkhidmatan Pelajaran (SPP)</a:t>
            </a:r>
            <a:r>
              <a:rPr lang="ms-MY" dirty="0" smtClean="0"/>
              <a:t>.</a:t>
            </a:r>
            <a:endParaRPr lang="en-US" dirty="0"/>
          </a:p>
        </p:txBody>
      </p:sp>
      <p:pic>
        <p:nvPicPr>
          <p:cNvPr id="30" name="Picture 9" descr="17-20_search_png24.png"/>
          <p:cNvPicPr>
            <a:picLocks noChangeAspect="1"/>
          </p:cNvPicPr>
          <p:nvPr/>
        </p:nvPicPr>
        <p:blipFill>
          <a:blip r:embed="rId3" cstate="print"/>
          <a:srcRect/>
          <a:stretch>
            <a:fillRect/>
          </a:stretch>
        </p:blipFill>
        <p:spPr bwMode="auto">
          <a:xfrm rot="10800000" flipH="1" flipV="1">
            <a:off x="7131541" y="4881675"/>
            <a:ext cx="1259632" cy="1259632"/>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3" presetClass="entr" presetSubtype="0"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100"/>
                                        <p:tgtEl>
                                          <p:spTgt spid="2"/>
                                        </p:tgtEl>
                                      </p:cBhvr>
                                    </p:animEffect>
                                    <p:anim calcmode="lin" valueType="num">
                                      <p:cBhvr>
                                        <p:cTn id="22" dur="400" fill="hold"/>
                                        <p:tgtEl>
                                          <p:spTgt spid="2"/>
                                        </p:tgtEl>
                                        <p:attrNameLst>
                                          <p:attrName>ppt_x</p:attrName>
                                        </p:attrNameLst>
                                      </p:cBhvr>
                                      <p:tavLst>
                                        <p:tav tm="0">
                                          <p:val>
                                            <p:strVal val="#ppt_x"/>
                                          </p:val>
                                        </p:tav>
                                        <p:tav tm="100000">
                                          <p:val>
                                            <p:strVal val="#ppt_x"/>
                                          </p:val>
                                        </p:tav>
                                      </p:tavLst>
                                    </p:anim>
                                    <p:anim calcmode="lin" valueType="num">
                                      <p:cBhvr>
                                        <p:cTn id="23" dur="400" fill="hold"/>
                                        <p:tgtEl>
                                          <p:spTgt spid="2"/>
                                        </p:tgtEl>
                                        <p:attrNameLst>
                                          <p:attrName>ppt_y</p:attrName>
                                        </p:attrNameLst>
                                      </p:cBhvr>
                                      <p:tavLst>
                                        <p:tav tm="0">
                                          <p:val>
                                            <p:strVal val="#ppt_y+0.31"/>
                                          </p:val>
                                        </p:tav>
                                        <p:tav tm="100000">
                                          <p:val>
                                            <p:strVal val="#ppt_y+0.31"/>
                                          </p:val>
                                        </p:tav>
                                      </p:tavLst>
                                    </p:anim>
                                    <p:anim calcmode="lin" valueType="num">
                                      <p:cBhvr>
                                        <p:cTn id="24" dur="600" decel="50000" fill="hold">
                                          <p:stCondLst>
                                            <p:cond delay="400"/>
                                          </p:stCondLst>
                                        </p:cTn>
                                        <p:tgtEl>
                                          <p:spTgt spid="2"/>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25" dur="600" decel="50000" fill="hold">
                                          <p:stCondLst>
                                            <p:cond delay="400"/>
                                          </p:stCondLst>
                                        </p:cTn>
                                        <p:tgtEl>
                                          <p:spTgt spid="2"/>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par>
                                <p:cTn id="26" presetID="43"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100"/>
                                        <p:tgtEl>
                                          <p:spTgt spid="29"/>
                                        </p:tgtEl>
                                      </p:cBhvr>
                                    </p:animEffect>
                                    <p:anim calcmode="lin" valueType="num">
                                      <p:cBhvr>
                                        <p:cTn id="29" dur="400" fill="hold"/>
                                        <p:tgtEl>
                                          <p:spTgt spid="29"/>
                                        </p:tgtEl>
                                        <p:attrNameLst>
                                          <p:attrName>ppt_x</p:attrName>
                                        </p:attrNameLst>
                                      </p:cBhvr>
                                      <p:tavLst>
                                        <p:tav tm="0">
                                          <p:val>
                                            <p:strVal val="#ppt_x"/>
                                          </p:val>
                                        </p:tav>
                                        <p:tav tm="100000">
                                          <p:val>
                                            <p:strVal val="#ppt_x"/>
                                          </p:val>
                                        </p:tav>
                                      </p:tavLst>
                                    </p:anim>
                                    <p:anim calcmode="lin" valueType="num">
                                      <p:cBhvr>
                                        <p:cTn id="30" dur="400" fill="hold"/>
                                        <p:tgtEl>
                                          <p:spTgt spid="29"/>
                                        </p:tgtEl>
                                        <p:attrNameLst>
                                          <p:attrName>ppt_y</p:attrName>
                                        </p:attrNameLst>
                                      </p:cBhvr>
                                      <p:tavLst>
                                        <p:tav tm="0">
                                          <p:val>
                                            <p:strVal val="#ppt_y+0.31"/>
                                          </p:val>
                                        </p:tav>
                                        <p:tav tm="100000">
                                          <p:val>
                                            <p:strVal val="#ppt_y+0.31"/>
                                          </p:val>
                                        </p:tav>
                                      </p:tavLst>
                                    </p:anim>
                                    <p:anim calcmode="lin" valueType="num">
                                      <p:cBhvr>
                                        <p:cTn id="31" dur="600" decel="50000" fill="hold">
                                          <p:stCondLst>
                                            <p:cond delay="400"/>
                                          </p:stCondLst>
                                        </p:cTn>
                                        <p:tgtEl>
                                          <p:spTgt spid="29"/>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32" dur="600" decel="50000" fill="hold">
                                          <p:stCondLst>
                                            <p:cond delay="400"/>
                                          </p:stCondLst>
                                        </p:cTn>
                                        <p:tgtEl>
                                          <p:spTgt spid="29"/>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par>
                                <p:cTn id="33" presetID="43" presetClass="entr" presetSubtype="0" fill="hold" grpId="0" nodeType="with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100"/>
                                        <p:tgtEl>
                                          <p:spTgt spid="28"/>
                                        </p:tgtEl>
                                      </p:cBhvr>
                                    </p:animEffect>
                                    <p:anim calcmode="lin" valueType="num">
                                      <p:cBhvr>
                                        <p:cTn id="36" dur="400" fill="hold"/>
                                        <p:tgtEl>
                                          <p:spTgt spid="28"/>
                                        </p:tgtEl>
                                        <p:attrNameLst>
                                          <p:attrName>ppt_x</p:attrName>
                                        </p:attrNameLst>
                                      </p:cBhvr>
                                      <p:tavLst>
                                        <p:tav tm="0">
                                          <p:val>
                                            <p:strVal val="#ppt_x"/>
                                          </p:val>
                                        </p:tav>
                                        <p:tav tm="100000">
                                          <p:val>
                                            <p:strVal val="#ppt_x"/>
                                          </p:val>
                                        </p:tav>
                                      </p:tavLst>
                                    </p:anim>
                                    <p:anim calcmode="lin" valueType="num">
                                      <p:cBhvr>
                                        <p:cTn id="37" dur="400" fill="hold"/>
                                        <p:tgtEl>
                                          <p:spTgt spid="28"/>
                                        </p:tgtEl>
                                        <p:attrNameLst>
                                          <p:attrName>ppt_y</p:attrName>
                                        </p:attrNameLst>
                                      </p:cBhvr>
                                      <p:tavLst>
                                        <p:tav tm="0">
                                          <p:val>
                                            <p:strVal val="#ppt_y+0.31"/>
                                          </p:val>
                                        </p:tav>
                                        <p:tav tm="100000">
                                          <p:val>
                                            <p:strVal val="#ppt_y+0.31"/>
                                          </p:val>
                                        </p:tav>
                                      </p:tavLst>
                                    </p:anim>
                                    <p:anim calcmode="lin" valueType="num">
                                      <p:cBhvr>
                                        <p:cTn id="38" dur="600" decel="50000" fill="hold">
                                          <p:stCondLst>
                                            <p:cond delay="400"/>
                                          </p:stCondLst>
                                        </p:cTn>
                                        <p:tgtEl>
                                          <p:spTgt spid="28"/>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39" dur="600" decel="50000" fill="hold">
                                          <p:stCondLst>
                                            <p:cond delay="400"/>
                                          </p:stCondLst>
                                        </p:cTn>
                                        <p:tgtEl>
                                          <p:spTgt spid="28"/>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par>
                                <p:cTn id="40" presetID="43" presetClass="entr" presetSubtype="0" fill="hold"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100"/>
                                        <p:tgtEl>
                                          <p:spTgt spid="30"/>
                                        </p:tgtEl>
                                      </p:cBhvr>
                                    </p:animEffect>
                                    <p:anim calcmode="lin" valueType="num">
                                      <p:cBhvr>
                                        <p:cTn id="43" dur="400" fill="hold"/>
                                        <p:tgtEl>
                                          <p:spTgt spid="30"/>
                                        </p:tgtEl>
                                        <p:attrNameLst>
                                          <p:attrName>ppt_x</p:attrName>
                                        </p:attrNameLst>
                                      </p:cBhvr>
                                      <p:tavLst>
                                        <p:tav tm="0">
                                          <p:val>
                                            <p:strVal val="#ppt_x"/>
                                          </p:val>
                                        </p:tav>
                                        <p:tav tm="100000">
                                          <p:val>
                                            <p:strVal val="#ppt_x"/>
                                          </p:val>
                                        </p:tav>
                                      </p:tavLst>
                                    </p:anim>
                                    <p:anim calcmode="lin" valueType="num">
                                      <p:cBhvr>
                                        <p:cTn id="44" dur="400" fill="hold"/>
                                        <p:tgtEl>
                                          <p:spTgt spid="30"/>
                                        </p:tgtEl>
                                        <p:attrNameLst>
                                          <p:attrName>ppt_y</p:attrName>
                                        </p:attrNameLst>
                                      </p:cBhvr>
                                      <p:tavLst>
                                        <p:tav tm="0">
                                          <p:val>
                                            <p:strVal val="#ppt_y+0.31"/>
                                          </p:val>
                                        </p:tav>
                                        <p:tav tm="100000">
                                          <p:val>
                                            <p:strVal val="#ppt_y+0.31"/>
                                          </p:val>
                                        </p:tav>
                                      </p:tavLst>
                                    </p:anim>
                                    <p:anim calcmode="lin" valueType="num">
                                      <p:cBhvr>
                                        <p:cTn id="45" dur="600" decel="50000" fill="hold">
                                          <p:stCondLst>
                                            <p:cond delay="400"/>
                                          </p:stCondLst>
                                        </p:cTn>
                                        <p:tgtEl>
                                          <p:spTgt spid="30"/>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46" dur="600" decel="50000" fill="hold">
                                          <p:stCondLst>
                                            <p:cond delay="400"/>
                                          </p:stCondLst>
                                        </p:cTn>
                                        <p:tgtEl>
                                          <p:spTgt spid="30"/>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44</a:t>
            </a:fld>
            <a:endParaRPr lang="en-US"/>
          </a:p>
        </p:txBody>
      </p:sp>
      <p:grpSp>
        <p:nvGrpSpPr>
          <p:cNvPr id="2" name="Group 18"/>
          <p:cNvGrpSpPr/>
          <p:nvPr/>
        </p:nvGrpSpPr>
        <p:grpSpPr>
          <a:xfrm>
            <a:off x="571500" y="1828800"/>
            <a:ext cx="8153400" cy="1257300"/>
            <a:chOff x="571500" y="1828800"/>
            <a:chExt cx="8153400" cy="1257300"/>
          </a:xfrm>
        </p:grpSpPr>
        <p:grpSp>
          <p:nvGrpSpPr>
            <p:cNvPr id="3" name="Group 5"/>
            <p:cNvGrpSpPr/>
            <p:nvPr/>
          </p:nvGrpSpPr>
          <p:grpSpPr>
            <a:xfrm>
              <a:off x="2095500" y="1828800"/>
              <a:ext cx="6629400" cy="1257300"/>
              <a:chOff x="2514600" y="1485900"/>
              <a:chExt cx="5716216" cy="1257300"/>
            </a:xfrm>
          </p:grpSpPr>
          <p:sp>
            <p:nvSpPr>
              <p:cNvPr id="7" name="Rounded Rectangle 6"/>
              <p:cNvSpPr/>
              <p:nvPr/>
            </p:nvSpPr>
            <p:spPr>
              <a:xfrm>
                <a:off x="2514600" y="1485900"/>
                <a:ext cx="5716216" cy="1257300"/>
              </a:xfrm>
              <a:prstGeom prst="roundRect">
                <a:avLst>
                  <a:gd name="adj" fmla="val 3267"/>
                </a:avLst>
              </a:prstGeom>
              <a:gradFill>
                <a:gsLst>
                  <a:gs pos="100000">
                    <a:schemeClr val="bg1">
                      <a:lumMod val="85000"/>
                    </a:schemeClr>
                  </a:gs>
                  <a:gs pos="71000">
                    <a:srgbClr val="F6F6F6"/>
                  </a:gs>
                  <a:gs pos="44000">
                    <a:srgbClr val="FBFBFB"/>
                  </a:gs>
                  <a:gs pos="0">
                    <a:schemeClr val="bg1"/>
                  </a:gs>
                </a:gsLst>
                <a:lin ang="5400000" scaled="0"/>
              </a:gradFill>
              <a:ln w="12700">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Segoe UI" pitchFamily="34" charset="0"/>
                  <a:ea typeface="Segoe UI" pitchFamily="34" charset="0"/>
                  <a:cs typeface="Segoe UI" pitchFamily="34" charset="0"/>
                </a:endParaRPr>
              </a:p>
            </p:txBody>
          </p:sp>
          <p:sp>
            <p:nvSpPr>
              <p:cNvPr id="8" name="TextBox 7"/>
              <p:cNvSpPr txBox="1"/>
              <p:nvPr/>
            </p:nvSpPr>
            <p:spPr>
              <a:xfrm>
                <a:off x="2591232" y="1528879"/>
                <a:ext cx="5573881" cy="800219"/>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lvl="0">
                  <a:lnSpc>
                    <a:spcPct val="115000"/>
                  </a:lnSpc>
                </a:pPr>
                <a:r>
                  <a:rPr lang="en-US" dirty="0" err="1" smtClean="0">
                    <a:solidFill>
                      <a:schemeClr val="tx1"/>
                    </a:solidFill>
                    <a:latin typeface="Segoe UI" pitchFamily="34" charset="0"/>
                    <a:ea typeface="Segoe UI" pitchFamily="34" charset="0"/>
                    <a:cs typeface="Segoe UI" pitchFamily="34" charset="0"/>
                  </a:rPr>
                  <a:t>Sedang</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berkhidmat</a:t>
                </a:r>
                <a:r>
                  <a:rPr lang="en-US"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dalam</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erkhidmatan</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awam</a:t>
                </a:r>
                <a:r>
                  <a:rPr lang="en-US" b="0" dirty="0" smtClean="0">
                    <a:solidFill>
                      <a:schemeClr val="tx1"/>
                    </a:solidFill>
                    <a:latin typeface="Segoe UI" pitchFamily="34" charset="0"/>
                    <a:ea typeface="Segoe UI" pitchFamily="34" charset="0"/>
                    <a:cs typeface="Segoe UI" pitchFamily="34" charset="0"/>
                  </a:rPr>
                  <a:t> yang </a:t>
                </a:r>
                <a:r>
                  <a:rPr lang="en-US" b="0" dirty="0" err="1" smtClean="0">
                    <a:solidFill>
                      <a:schemeClr val="tx1"/>
                    </a:solidFill>
                    <a:latin typeface="Segoe UI" pitchFamily="34" charset="0"/>
                    <a:ea typeface="Segoe UI" pitchFamily="34" charset="0"/>
                    <a:cs typeface="Segoe UI" pitchFamily="34" charset="0"/>
                  </a:rPr>
                  <a:t>dilantik</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oleh</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Suruhanjaya</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erkhidmatan</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elajaran</a:t>
                </a:r>
                <a:r>
                  <a:rPr lang="en-US" b="0" dirty="0" smtClean="0">
                    <a:solidFill>
                      <a:schemeClr val="tx1"/>
                    </a:solidFill>
                    <a:latin typeface="Segoe UI" pitchFamily="34" charset="0"/>
                    <a:ea typeface="Segoe UI" pitchFamily="34" charset="0"/>
                    <a:cs typeface="Segoe UI" pitchFamily="34" charset="0"/>
                  </a:rPr>
                  <a:t>. </a:t>
                </a:r>
                <a:endParaRPr lang="ms-MY" b="0" dirty="0">
                  <a:solidFill>
                    <a:schemeClr val="tx1"/>
                  </a:solidFill>
                  <a:latin typeface="Segoe UI" pitchFamily="34" charset="0"/>
                  <a:ea typeface="Segoe UI" pitchFamily="34" charset="0"/>
                  <a:cs typeface="Segoe UI" pitchFamily="34" charset="0"/>
                </a:endParaRPr>
              </a:p>
            </p:txBody>
          </p:sp>
        </p:grpSp>
        <p:sp>
          <p:nvSpPr>
            <p:cNvPr id="9" name="Freeform 8"/>
            <p:cNvSpPr>
              <a:spLocks noChangeAspect="1"/>
            </p:cNvSpPr>
            <p:nvPr/>
          </p:nvSpPr>
          <p:spPr bwMode="auto">
            <a:xfrm>
              <a:off x="571500" y="1955663"/>
              <a:ext cx="1228480" cy="1003573"/>
            </a:xfrm>
            <a:custGeom>
              <a:avLst/>
              <a:gdLst>
                <a:gd name="T0" fmla="*/ 12 w 656"/>
                <a:gd name="T1" fmla="*/ 336 h 508"/>
                <a:gd name="T2" fmla="*/ 204 w 656"/>
                <a:gd name="T3" fmla="*/ 508 h 508"/>
                <a:gd name="T4" fmla="*/ 656 w 656"/>
                <a:gd name="T5" fmla="*/ 124 h 508"/>
                <a:gd name="T6" fmla="*/ 564 w 656"/>
                <a:gd name="T7" fmla="*/ 0 h 508"/>
                <a:gd name="T8" fmla="*/ 204 w 656"/>
                <a:gd name="T9" fmla="*/ 332 h 508"/>
                <a:gd name="T10" fmla="*/ 112 w 656"/>
                <a:gd name="T11" fmla="*/ 192 h 508"/>
                <a:gd name="T12" fmla="*/ 12 w 656"/>
                <a:gd name="T13" fmla="*/ 336 h 508"/>
                <a:gd name="connsiteX0" fmla="*/ 14 w 9831"/>
                <a:gd name="connsiteY0" fmla="*/ 6614 h 10000"/>
                <a:gd name="connsiteX1" fmla="*/ 2941 w 9831"/>
                <a:gd name="connsiteY1" fmla="*/ 10000 h 10000"/>
                <a:gd name="connsiteX2" fmla="*/ 9831 w 9831"/>
                <a:gd name="connsiteY2" fmla="*/ 2441 h 10000"/>
                <a:gd name="connsiteX3" fmla="*/ 8429 w 9831"/>
                <a:gd name="connsiteY3" fmla="*/ 0 h 10000"/>
                <a:gd name="connsiteX4" fmla="*/ 2941 w 9831"/>
                <a:gd name="connsiteY4" fmla="*/ 6535 h 10000"/>
                <a:gd name="connsiteX5" fmla="*/ 1538 w 9831"/>
                <a:gd name="connsiteY5" fmla="*/ 3780 h 10000"/>
                <a:gd name="connsiteX6" fmla="*/ 14 w 9831"/>
                <a:gd name="connsiteY6" fmla="*/ 6614 h 10000"/>
                <a:gd name="connsiteX0" fmla="*/ 0 w 9986"/>
                <a:gd name="connsiteY0" fmla="*/ 6614 h 10000"/>
                <a:gd name="connsiteX1" fmla="*/ 2978 w 9986"/>
                <a:gd name="connsiteY1" fmla="*/ 10000 h 10000"/>
                <a:gd name="connsiteX2" fmla="*/ 9986 w 9986"/>
                <a:gd name="connsiteY2" fmla="*/ 2441 h 10000"/>
                <a:gd name="connsiteX3" fmla="*/ 8560 w 9986"/>
                <a:gd name="connsiteY3" fmla="*/ 0 h 10000"/>
                <a:gd name="connsiteX4" fmla="*/ 2978 w 9986"/>
                <a:gd name="connsiteY4" fmla="*/ 6535 h 10000"/>
                <a:gd name="connsiteX5" fmla="*/ 1550 w 9986"/>
                <a:gd name="connsiteY5" fmla="*/ 3780 h 10000"/>
                <a:gd name="connsiteX6" fmla="*/ 0 w 9986"/>
                <a:gd name="connsiteY6" fmla="*/ 6614 h 10000"/>
                <a:gd name="connsiteX0" fmla="*/ 0 w 10000"/>
                <a:gd name="connsiteY0" fmla="*/ 6614 h 10000"/>
                <a:gd name="connsiteX1" fmla="*/ 2982 w 10000"/>
                <a:gd name="connsiteY1" fmla="*/ 10000 h 10000"/>
                <a:gd name="connsiteX2" fmla="*/ 10000 w 10000"/>
                <a:gd name="connsiteY2" fmla="*/ 2441 h 10000"/>
                <a:gd name="connsiteX3" fmla="*/ 8572 w 10000"/>
                <a:gd name="connsiteY3" fmla="*/ 0 h 10000"/>
                <a:gd name="connsiteX4" fmla="*/ 2982 w 10000"/>
                <a:gd name="connsiteY4" fmla="*/ 6535 h 10000"/>
                <a:gd name="connsiteX5" fmla="*/ 1552 w 10000"/>
                <a:gd name="connsiteY5" fmla="*/ 3780 h 10000"/>
                <a:gd name="connsiteX6" fmla="*/ 0 w 10000"/>
                <a:gd name="connsiteY6" fmla="*/ 6614 h 10000"/>
                <a:gd name="connsiteX0" fmla="*/ 0 w 10000"/>
                <a:gd name="connsiteY0" fmla="*/ 6688 h 10074"/>
                <a:gd name="connsiteX1" fmla="*/ 2982 w 10000"/>
                <a:gd name="connsiteY1" fmla="*/ 10074 h 10074"/>
                <a:gd name="connsiteX2" fmla="*/ 10000 w 10000"/>
                <a:gd name="connsiteY2" fmla="*/ 2515 h 10074"/>
                <a:gd name="connsiteX3" fmla="*/ 8572 w 10000"/>
                <a:gd name="connsiteY3" fmla="*/ 74 h 10074"/>
                <a:gd name="connsiteX4" fmla="*/ 3161 w 10000"/>
                <a:gd name="connsiteY4" fmla="*/ 6020 h 10074"/>
                <a:gd name="connsiteX5" fmla="*/ 1552 w 10000"/>
                <a:gd name="connsiteY5" fmla="*/ 3854 h 10074"/>
                <a:gd name="connsiteX6" fmla="*/ 0 w 10000"/>
                <a:gd name="connsiteY6" fmla="*/ 6688 h 10074"/>
                <a:gd name="connsiteX0" fmla="*/ 0 w 10000"/>
                <a:gd name="connsiteY0" fmla="*/ 6715 h 10101"/>
                <a:gd name="connsiteX1" fmla="*/ 2982 w 10000"/>
                <a:gd name="connsiteY1" fmla="*/ 10101 h 10101"/>
                <a:gd name="connsiteX2" fmla="*/ 10000 w 10000"/>
                <a:gd name="connsiteY2" fmla="*/ 2542 h 10101"/>
                <a:gd name="connsiteX3" fmla="*/ 8572 w 10000"/>
                <a:gd name="connsiteY3" fmla="*/ 101 h 10101"/>
                <a:gd name="connsiteX4" fmla="*/ 3161 w 10000"/>
                <a:gd name="connsiteY4" fmla="*/ 6047 h 10101"/>
                <a:gd name="connsiteX5" fmla="*/ 1552 w 10000"/>
                <a:gd name="connsiteY5" fmla="*/ 3881 h 10101"/>
                <a:gd name="connsiteX6" fmla="*/ 0 w 10000"/>
                <a:gd name="connsiteY6" fmla="*/ 6715 h 10101"/>
                <a:gd name="connsiteX0" fmla="*/ 0 w 10000"/>
                <a:gd name="connsiteY0" fmla="*/ 6715 h 10101"/>
                <a:gd name="connsiteX1" fmla="*/ 2982 w 10000"/>
                <a:gd name="connsiteY1" fmla="*/ 10101 h 10101"/>
                <a:gd name="connsiteX2" fmla="*/ 10000 w 10000"/>
                <a:gd name="connsiteY2" fmla="*/ 2542 h 10101"/>
                <a:gd name="connsiteX3" fmla="*/ 8572 w 10000"/>
                <a:gd name="connsiteY3" fmla="*/ 101 h 10101"/>
                <a:gd name="connsiteX4" fmla="*/ 3161 w 10000"/>
                <a:gd name="connsiteY4" fmla="*/ 6047 h 10101"/>
                <a:gd name="connsiteX5" fmla="*/ 1552 w 10000"/>
                <a:gd name="connsiteY5" fmla="*/ 3881 h 10101"/>
                <a:gd name="connsiteX6" fmla="*/ 0 w 10000"/>
                <a:gd name="connsiteY6" fmla="*/ 6715 h 10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101">
                  <a:moveTo>
                    <a:pt x="0" y="6715"/>
                  </a:moveTo>
                  <a:cubicBezTo>
                    <a:pt x="0" y="6715"/>
                    <a:pt x="2080" y="8440"/>
                    <a:pt x="2982" y="10101"/>
                  </a:cubicBezTo>
                  <a:cubicBezTo>
                    <a:pt x="2982" y="10101"/>
                    <a:pt x="6273" y="4117"/>
                    <a:pt x="10000" y="2542"/>
                  </a:cubicBezTo>
                  <a:cubicBezTo>
                    <a:pt x="10000" y="2542"/>
                    <a:pt x="9176" y="842"/>
                    <a:pt x="8572" y="101"/>
                  </a:cubicBezTo>
                  <a:cubicBezTo>
                    <a:pt x="7763" y="-892"/>
                    <a:pt x="3905" y="5732"/>
                    <a:pt x="3161" y="6047"/>
                  </a:cubicBezTo>
                  <a:cubicBezTo>
                    <a:pt x="3161" y="6047"/>
                    <a:pt x="2360" y="4589"/>
                    <a:pt x="1552" y="3881"/>
                  </a:cubicBezTo>
                  <a:cubicBezTo>
                    <a:pt x="1552" y="3881"/>
                    <a:pt x="778" y="4762"/>
                    <a:pt x="0" y="6715"/>
                  </a:cubicBezTo>
                  <a:close/>
                </a:path>
              </a:pathLst>
            </a:custGeom>
            <a:gradFill>
              <a:gsLst>
                <a:gs pos="100000">
                  <a:srgbClr val="0070C0">
                    <a:lumMod val="80000"/>
                  </a:srgbClr>
                </a:gs>
                <a:gs pos="0">
                  <a:srgbClr val="00B0F0"/>
                </a:gs>
              </a:gsLst>
              <a:lin ang="5400000" scaled="0"/>
            </a:gradFill>
            <a:ln w="12700">
              <a:solidFill>
                <a:srgbClr val="00206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6" name="Group 19"/>
          <p:cNvGrpSpPr/>
          <p:nvPr/>
        </p:nvGrpSpPr>
        <p:grpSpPr>
          <a:xfrm>
            <a:off x="571500" y="3358244"/>
            <a:ext cx="8153400" cy="1257300"/>
            <a:chOff x="571500" y="3358244"/>
            <a:chExt cx="8153400" cy="1257300"/>
          </a:xfrm>
        </p:grpSpPr>
        <p:sp>
          <p:nvSpPr>
            <p:cNvPr id="10" name="Freeform 9"/>
            <p:cNvSpPr>
              <a:spLocks noChangeAspect="1"/>
            </p:cNvSpPr>
            <p:nvPr/>
          </p:nvSpPr>
          <p:spPr bwMode="auto">
            <a:xfrm>
              <a:off x="571500" y="3408907"/>
              <a:ext cx="1228480" cy="1003573"/>
            </a:xfrm>
            <a:custGeom>
              <a:avLst/>
              <a:gdLst>
                <a:gd name="T0" fmla="*/ 12 w 656"/>
                <a:gd name="T1" fmla="*/ 336 h 508"/>
                <a:gd name="T2" fmla="*/ 204 w 656"/>
                <a:gd name="T3" fmla="*/ 508 h 508"/>
                <a:gd name="T4" fmla="*/ 656 w 656"/>
                <a:gd name="T5" fmla="*/ 124 h 508"/>
                <a:gd name="T6" fmla="*/ 564 w 656"/>
                <a:gd name="T7" fmla="*/ 0 h 508"/>
                <a:gd name="T8" fmla="*/ 204 w 656"/>
                <a:gd name="T9" fmla="*/ 332 h 508"/>
                <a:gd name="T10" fmla="*/ 112 w 656"/>
                <a:gd name="T11" fmla="*/ 192 h 508"/>
                <a:gd name="T12" fmla="*/ 12 w 656"/>
                <a:gd name="T13" fmla="*/ 336 h 508"/>
                <a:gd name="connsiteX0" fmla="*/ 14 w 9831"/>
                <a:gd name="connsiteY0" fmla="*/ 6614 h 10000"/>
                <a:gd name="connsiteX1" fmla="*/ 2941 w 9831"/>
                <a:gd name="connsiteY1" fmla="*/ 10000 h 10000"/>
                <a:gd name="connsiteX2" fmla="*/ 9831 w 9831"/>
                <a:gd name="connsiteY2" fmla="*/ 2441 h 10000"/>
                <a:gd name="connsiteX3" fmla="*/ 8429 w 9831"/>
                <a:gd name="connsiteY3" fmla="*/ 0 h 10000"/>
                <a:gd name="connsiteX4" fmla="*/ 2941 w 9831"/>
                <a:gd name="connsiteY4" fmla="*/ 6535 h 10000"/>
                <a:gd name="connsiteX5" fmla="*/ 1538 w 9831"/>
                <a:gd name="connsiteY5" fmla="*/ 3780 h 10000"/>
                <a:gd name="connsiteX6" fmla="*/ 14 w 9831"/>
                <a:gd name="connsiteY6" fmla="*/ 6614 h 10000"/>
                <a:gd name="connsiteX0" fmla="*/ 0 w 9986"/>
                <a:gd name="connsiteY0" fmla="*/ 6614 h 10000"/>
                <a:gd name="connsiteX1" fmla="*/ 2978 w 9986"/>
                <a:gd name="connsiteY1" fmla="*/ 10000 h 10000"/>
                <a:gd name="connsiteX2" fmla="*/ 9986 w 9986"/>
                <a:gd name="connsiteY2" fmla="*/ 2441 h 10000"/>
                <a:gd name="connsiteX3" fmla="*/ 8560 w 9986"/>
                <a:gd name="connsiteY3" fmla="*/ 0 h 10000"/>
                <a:gd name="connsiteX4" fmla="*/ 2978 w 9986"/>
                <a:gd name="connsiteY4" fmla="*/ 6535 h 10000"/>
                <a:gd name="connsiteX5" fmla="*/ 1550 w 9986"/>
                <a:gd name="connsiteY5" fmla="*/ 3780 h 10000"/>
                <a:gd name="connsiteX6" fmla="*/ 0 w 9986"/>
                <a:gd name="connsiteY6" fmla="*/ 6614 h 10000"/>
                <a:gd name="connsiteX0" fmla="*/ 0 w 10000"/>
                <a:gd name="connsiteY0" fmla="*/ 6614 h 10000"/>
                <a:gd name="connsiteX1" fmla="*/ 2982 w 10000"/>
                <a:gd name="connsiteY1" fmla="*/ 10000 h 10000"/>
                <a:gd name="connsiteX2" fmla="*/ 10000 w 10000"/>
                <a:gd name="connsiteY2" fmla="*/ 2441 h 10000"/>
                <a:gd name="connsiteX3" fmla="*/ 8572 w 10000"/>
                <a:gd name="connsiteY3" fmla="*/ 0 h 10000"/>
                <a:gd name="connsiteX4" fmla="*/ 2982 w 10000"/>
                <a:gd name="connsiteY4" fmla="*/ 6535 h 10000"/>
                <a:gd name="connsiteX5" fmla="*/ 1552 w 10000"/>
                <a:gd name="connsiteY5" fmla="*/ 3780 h 10000"/>
                <a:gd name="connsiteX6" fmla="*/ 0 w 10000"/>
                <a:gd name="connsiteY6" fmla="*/ 6614 h 10000"/>
                <a:gd name="connsiteX0" fmla="*/ 0 w 10000"/>
                <a:gd name="connsiteY0" fmla="*/ 6688 h 10074"/>
                <a:gd name="connsiteX1" fmla="*/ 2982 w 10000"/>
                <a:gd name="connsiteY1" fmla="*/ 10074 h 10074"/>
                <a:gd name="connsiteX2" fmla="*/ 10000 w 10000"/>
                <a:gd name="connsiteY2" fmla="*/ 2515 h 10074"/>
                <a:gd name="connsiteX3" fmla="*/ 8572 w 10000"/>
                <a:gd name="connsiteY3" fmla="*/ 74 h 10074"/>
                <a:gd name="connsiteX4" fmla="*/ 3161 w 10000"/>
                <a:gd name="connsiteY4" fmla="*/ 6020 h 10074"/>
                <a:gd name="connsiteX5" fmla="*/ 1552 w 10000"/>
                <a:gd name="connsiteY5" fmla="*/ 3854 h 10074"/>
                <a:gd name="connsiteX6" fmla="*/ 0 w 10000"/>
                <a:gd name="connsiteY6" fmla="*/ 6688 h 10074"/>
                <a:gd name="connsiteX0" fmla="*/ 0 w 10000"/>
                <a:gd name="connsiteY0" fmla="*/ 6715 h 10101"/>
                <a:gd name="connsiteX1" fmla="*/ 2982 w 10000"/>
                <a:gd name="connsiteY1" fmla="*/ 10101 h 10101"/>
                <a:gd name="connsiteX2" fmla="*/ 10000 w 10000"/>
                <a:gd name="connsiteY2" fmla="*/ 2542 h 10101"/>
                <a:gd name="connsiteX3" fmla="*/ 8572 w 10000"/>
                <a:gd name="connsiteY3" fmla="*/ 101 h 10101"/>
                <a:gd name="connsiteX4" fmla="*/ 3161 w 10000"/>
                <a:gd name="connsiteY4" fmla="*/ 6047 h 10101"/>
                <a:gd name="connsiteX5" fmla="*/ 1552 w 10000"/>
                <a:gd name="connsiteY5" fmla="*/ 3881 h 10101"/>
                <a:gd name="connsiteX6" fmla="*/ 0 w 10000"/>
                <a:gd name="connsiteY6" fmla="*/ 6715 h 10101"/>
                <a:gd name="connsiteX0" fmla="*/ 0 w 10000"/>
                <a:gd name="connsiteY0" fmla="*/ 6715 h 10101"/>
                <a:gd name="connsiteX1" fmla="*/ 2982 w 10000"/>
                <a:gd name="connsiteY1" fmla="*/ 10101 h 10101"/>
                <a:gd name="connsiteX2" fmla="*/ 10000 w 10000"/>
                <a:gd name="connsiteY2" fmla="*/ 2542 h 10101"/>
                <a:gd name="connsiteX3" fmla="*/ 8572 w 10000"/>
                <a:gd name="connsiteY3" fmla="*/ 101 h 10101"/>
                <a:gd name="connsiteX4" fmla="*/ 3161 w 10000"/>
                <a:gd name="connsiteY4" fmla="*/ 6047 h 10101"/>
                <a:gd name="connsiteX5" fmla="*/ 1552 w 10000"/>
                <a:gd name="connsiteY5" fmla="*/ 3881 h 10101"/>
                <a:gd name="connsiteX6" fmla="*/ 0 w 10000"/>
                <a:gd name="connsiteY6" fmla="*/ 6715 h 10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101">
                  <a:moveTo>
                    <a:pt x="0" y="6715"/>
                  </a:moveTo>
                  <a:cubicBezTo>
                    <a:pt x="0" y="6715"/>
                    <a:pt x="2080" y="8440"/>
                    <a:pt x="2982" y="10101"/>
                  </a:cubicBezTo>
                  <a:cubicBezTo>
                    <a:pt x="2982" y="10101"/>
                    <a:pt x="6273" y="4117"/>
                    <a:pt x="10000" y="2542"/>
                  </a:cubicBezTo>
                  <a:cubicBezTo>
                    <a:pt x="10000" y="2542"/>
                    <a:pt x="9176" y="842"/>
                    <a:pt x="8572" y="101"/>
                  </a:cubicBezTo>
                  <a:cubicBezTo>
                    <a:pt x="7763" y="-892"/>
                    <a:pt x="3905" y="5732"/>
                    <a:pt x="3161" y="6047"/>
                  </a:cubicBezTo>
                  <a:cubicBezTo>
                    <a:pt x="3161" y="6047"/>
                    <a:pt x="2360" y="4589"/>
                    <a:pt x="1552" y="3881"/>
                  </a:cubicBezTo>
                  <a:cubicBezTo>
                    <a:pt x="1552" y="3881"/>
                    <a:pt x="778" y="4762"/>
                    <a:pt x="0" y="6715"/>
                  </a:cubicBezTo>
                  <a:close/>
                </a:path>
              </a:pathLst>
            </a:custGeom>
            <a:gradFill>
              <a:gsLst>
                <a:gs pos="100000">
                  <a:srgbClr val="0070C0">
                    <a:lumMod val="80000"/>
                  </a:srgbClr>
                </a:gs>
                <a:gs pos="0">
                  <a:srgbClr val="00B0F0"/>
                </a:gs>
              </a:gsLst>
              <a:lin ang="5400000" scaled="0"/>
            </a:gradFill>
            <a:ln w="12700">
              <a:solidFill>
                <a:srgbClr val="00206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nvGrpSpPr>
            <p:cNvPr id="11" name="Group 10"/>
            <p:cNvGrpSpPr/>
            <p:nvPr/>
          </p:nvGrpSpPr>
          <p:grpSpPr>
            <a:xfrm>
              <a:off x="2095500" y="3358244"/>
              <a:ext cx="6629400" cy="1257300"/>
              <a:chOff x="2514600" y="1485900"/>
              <a:chExt cx="5716216" cy="1257300"/>
            </a:xfrm>
          </p:grpSpPr>
          <p:sp>
            <p:nvSpPr>
              <p:cNvPr id="12" name="Rounded Rectangle 11"/>
              <p:cNvSpPr/>
              <p:nvPr/>
            </p:nvSpPr>
            <p:spPr>
              <a:xfrm>
                <a:off x="2514600" y="1485900"/>
                <a:ext cx="5716216" cy="1257300"/>
              </a:xfrm>
              <a:prstGeom prst="roundRect">
                <a:avLst>
                  <a:gd name="adj" fmla="val 3267"/>
                </a:avLst>
              </a:prstGeom>
              <a:gradFill>
                <a:gsLst>
                  <a:gs pos="100000">
                    <a:schemeClr val="bg1">
                      <a:lumMod val="85000"/>
                    </a:schemeClr>
                  </a:gs>
                  <a:gs pos="71000">
                    <a:srgbClr val="F6F6F6"/>
                  </a:gs>
                  <a:gs pos="44000">
                    <a:srgbClr val="FBFBFB"/>
                  </a:gs>
                  <a:gs pos="0">
                    <a:schemeClr val="bg1"/>
                  </a:gs>
                </a:gsLst>
                <a:lin ang="5400000" scaled="0"/>
              </a:gradFill>
              <a:ln w="12700">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Segoe UI" pitchFamily="34" charset="0"/>
                  <a:ea typeface="Segoe UI" pitchFamily="34" charset="0"/>
                  <a:cs typeface="Segoe UI" pitchFamily="34" charset="0"/>
                </a:endParaRPr>
              </a:p>
            </p:txBody>
          </p:sp>
          <p:sp>
            <p:nvSpPr>
              <p:cNvPr id="13" name="TextBox 12"/>
              <p:cNvSpPr txBox="1"/>
              <p:nvPr/>
            </p:nvSpPr>
            <p:spPr>
              <a:xfrm>
                <a:off x="2558380" y="1572500"/>
                <a:ext cx="5606732" cy="1107996"/>
              </a:xfrm>
              <a:prstGeom prst="rect">
                <a:avLst/>
              </a:prstGeom>
              <a:noFill/>
            </p:spPr>
            <p:txBody>
              <a:bodyPr wrap="square" rtlCol="0" anchor="ctr">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lvl="0">
                  <a:lnSpc>
                    <a:spcPct val="115000"/>
                  </a:lnSpc>
                </a:pPr>
                <a:r>
                  <a:rPr lang="en-US" b="0" dirty="0" smtClean="0">
                    <a:solidFill>
                      <a:schemeClr val="tx1"/>
                    </a:solidFill>
                    <a:latin typeface="Segoe UI" pitchFamily="34" charset="0"/>
                    <a:ea typeface="Segoe UI" pitchFamily="34" charset="0"/>
                    <a:cs typeface="Segoe UI" pitchFamily="34" charset="0"/>
                  </a:rPr>
                  <a:t>PYD yang </a:t>
                </a:r>
                <a:r>
                  <a:rPr lang="en-US" b="0" dirty="0" err="1" smtClean="0">
                    <a:solidFill>
                      <a:schemeClr val="tx1"/>
                    </a:solidFill>
                    <a:latin typeface="Segoe UI" pitchFamily="34" charset="0"/>
                    <a:ea typeface="Segoe UI" pitchFamily="34" charset="0"/>
                    <a:cs typeface="Segoe UI" pitchFamily="34" charset="0"/>
                  </a:rPr>
                  <a:t>bekerja</a:t>
                </a:r>
                <a:r>
                  <a:rPr lang="en-US" b="0"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lebih</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daripada</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enam</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bulan</a:t>
                </a:r>
                <a:r>
                  <a:rPr lang="en-US" dirty="0" smtClean="0">
                    <a:solidFill>
                      <a:schemeClr val="tx1"/>
                    </a:solidFill>
                    <a:latin typeface="Segoe UI" pitchFamily="34" charset="0"/>
                    <a:ea typeface="Segoe UI" pitchFamily="34" charset="0"/>
                    <a:cs typeface="Segoe UI" pitchFamily="34" charset="0"/>
                  </a:rPr>
                  <a:t> (180 </a:t>
                </a:r>
                <a:r>
                  <a:rPr lang="en-US" dirty="0" err="1" smtClean="0">
                    <a:solidFill>
                      <a:schemeClr val="tx1"/>
                    </a:solidFill>
                    <a:latin typeface="Segoe UI" pitchFamily="34" charset="0"/>
                    <a:ea typeface="Segoe UI" pitchFamily="34" charset="0"/>
                    <a:cs typeface="Segoe UI" pitchFamily="34" charset="0"/>
                  </a:rPr>
                  <a:t>hari</a:t>
                </a:r>
                <a:r>
                  <a:rPr lang="en-US"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layak</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untuk</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dinilai</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dalam</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tahun</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semasa</a:t>
                </a:r>
                <a:r>
                  <a:rPr lang="en-US" b="0" dirty="0" smtClean="0">
                    <a:solidFill>
                      <a:schemeClr val="tx1"/>
                    </a:solidFill>
                    <a:latin typeface="Segoe UI" pitchFamily="34" charset="0"/>
                    <a:ea typeface="Segoe UI" pitchFamily="34" charset="0"/>
                    <a:cs typeface="Segoe UI" pitchFamily="34" charset="0"/>
                  </a:rPr>
                  <a:t>. </a:t>
                </a:r>
                <a:endParaRPr lang="ms-MY" b="0" dirty="0" smtClean="0">
                  <a:solidFill>
                    <a:schemeClr val="tx1"/>
                  </a:solidFill>
                  <a:latin typeface="Segoe UI" pitchFamily="34" charset="0"/>
                  <a:ea typeface="Segoe UI" pitchFamily="34" charset="0"/>
                  <a:cs typeface="Segoe UI" pitchFamily="34" charset="0"/>
                </a:endParaRPr>
              </a:p>
              <a:p>
                <a:endParaRPr lang="en-US" b="0" dirty="0">
                  <a:solidFill>
                    <a:schemeClr val="tx1"/>
                  </a:solidFill>
                  <a:latin typeface="Segoe UI" pitchFamily="34" charset="0"/>
                  <a:ea typeface="Segoe UI" pitchFamily="34" charset="0"/>
                  <a:cs typeface="Segoe UI" pitchFamily="34" charset="0"/>
                </a:endParaRPr>
              </a:p>
            </p:txBody>
          </p:sp>
        </p:grpSp>
      </p:grpSp>
      <p:grpSp>
        <p:nvGrpSpPr>
          <p:cNvPr id="15" name="Group 20"/>
          <p:cNvGrpSpPr/>
          <p:nvPr/>
        </p:nvGrpSpPr>
        <p:grpSpPr>
          <a:xfrm>
            <a:off x="571500" y="4862629"/>
            <a:ext cx="8153400" cy="1271471"/>
            <a:chOff x="571500" y="4862629"/>
            <a:chExt cx="8153400" cy="1271471"/>
          </a:xfrm>
        </p:grpSpPr>
        <p:sp>
          <p:nvSpPr>
            <p:cNvPr id="14" name="Freeform 13"/>
            <p:cNvSpPr>
              <a:spLocks noChangeAspect="1"/>
            </p:cNvSpPr>
            <p:nvPr/>
          </p:nvSpPr>
          <p:spPr bwMode="auto">
            <a:xfrm>
              <a:off x="571500" y="4927463"/>
              <a:ext cx="1228480" cy="1003573"/>
            </a:xfrm>
            <a:custGeom>
              <a:avLst/>
              <a:gdLst>
                <a:gd name="T0" fmla="*/ 12 w 656"/>
                <a:gd name="T1" fmla="*/ 336 h 508"/>
                <a:gd name="T2" fmla="*/ 204 w 656"/>
                <a:gd name="T3" fmla="*/ 508 h 508"/>
                <a:gd name="T4" fmla="*/ 656 w 656"/>
                <a:gd name="T5" fmla="*/ 124 h 508"/>
                <a:gd name="T6" fmla="*/ 564 w 656"/>
                <a:gd name="T7" fmla="*/ 0 h 508"/>
                <a:gd name="T8" fmla="*/ 204 w 656"/>
                <a:gd name="T9" fmla="*/ 332 h 508"/>
                <a:gd name="T10" fmla="*/ 112 w 656"/>
                <a:gd name="T11" fmla="*/ 192 h 508"/>
                <a:gd name="T12" fmla="*/ 12 w 656"/>
                <a:gd name="T13" fmla="*/ 336 h 508"/>
                <a:gd name="connsiteX0" fmla="*/ 14 w 9831"/>
                <a:gd name="connsiteY0" fmla="*/ 6614 h 10000"/>
                <a:gd name="connsiteX1" fmla="*/ 2941 w 9831"/>
                <a:gd name="connsiteY1" fmla="*/ 10000 h 10000"/>
                <a:gd name="connsiteX2" fmla="*/ 9831 w 9831"/>
                <a:gd name="connsiteY2" fmla="*/ 2441 h 10000"/>
                <a:gd name="connsiteX3" fmla="*/ 8429 w 9831"/>
                <a:gd name="connsiteY3" fmla="*/ 0 h 10000"/>
                <a:gd name="connsiteX4" fmla="*/ 2941 w 9831"/>
                <a:gd name="connsiteY4" fmla="*/ 6535 h 10000"/>
                <a:gd name="connsiteX5" fmla="*/ 1538 w 9831"/>
                <a:gd name="connsiteY5" fmla="*/ 3780 h 10000"/>
                <a:gd name="connsiteX6" fmla="*/ 14 w 9831"/>
                <a:gd name="connsiteY6" fmla="*/ 6614 h 10000"/>
                <a:gd name="connsiteX0" fmla="*/ 0 w 9986"/>
                <a:gd name="connsiteY0" fmla="*/ 6614 h 10000"/>
                <a:gd name="connsiteX1" fmla="*/ 2978 w 9986"/>
                <a:gd name="connsiteY1" fmla="*/ 10000 h 10000"/>
                <a:gd name="connsiteX2" fmla="*/ 9986 w 9986"/>
                <a:gd name="connsiteY2" fmla="*/ 2441 h 10000"/>
                <a:gd name="connsiteX3" fmla="*/ 8560 w 9986"/>
                <a:gd name="connsiteY3" fmla="*/ 0 h 10000"/>
                <a:gd name="connsiteX4" fmla="*/ 2978 w 9986"/>
                <a:gd name="connsiteY4" fmla="*/ 6535 h 10000"/>
                <a:gd name="connsiteX5" fmla="*/ 1550 w 9986"/>
                <a:gd name="connsiteY5" fmla="*/ 3780 h 10000"/>
                <a:gd name="connsiteX6" fmla="*/ 0 w 9986"/>
                <a:gd name="connsiteY6" fmla="*/ 6614 h 10000"/>
                <a:gd name="connsiteX0" fmla="*/ 0 w 10000"/>
                <a:gd name="connsiteY0" fmla="*/ 6614 h 10000"/>
                <a:gd name="connsiteX1" fmla="*/ 2982 w 10000"/>
                <a:gd name="connsiteY1" fmla="*/ 10000 h 10000"/>
                <a:gd name="connsiteX2" fmla="*/ 10000 w 10000"/>
                <a:gd name="connsiteY2" fmla="*/ 2441 h 10000"/>
                <a:gd name="connsiteX3" fmla="*/ 8572 w 10000"/>
                <a:gd name="connsiteY3" fmla="*/ 0 h 10000"/>
                <a:gd name="connsiteX4" fmla="*/ 2982 w 10000"/>
                <a:gd name="connsiteY4" fmla="*/ 6535 h 10000"/>
                <a:gd name="connsiteX5" fmla="*/ 1552 w 10000"/>
                <a:gd name="connsiteY5" fmla="*/ 3780 h 10000"/>
                <a:gd name="connsiteX6" fmla="*/ 0 w 10000"/>
                <a:gd name="connsiteY6" fmla="*/ 6614 h 10000"/>
                <a:gd name="connsiteX0" fmla="*/ 0 w 10000"/>
                <a:gd name="connsiteY0" fmla="*/ 6688 h 10074"/>
                <a:gd name="connsiteX1" fmla="*/ 2982 w 10000"/>
                <a:gd name="connsiteY1" fmla="*/ 10074 h 10074"/>
                <a:gd name="connsiteX2" fmla="*/ 10000 w 10000"/>
                <a:gd name="connsiteY2" fmla="*/ 2515 h 10074"/>
                <a:gd name="connsiteX3" fmla="*/ 8572 w 10000"/>
                <a:gd name="connsiteY3" fmla="*/ 74 h 10074"/>
                <a:gd name="connsiteX4" fmla="*/ 3161 w 10000"/>
                <a:gd name="connsiteY4" fmla="*/ 6020 h 10074"/>
                <a:gd name="connsiteX5" fmla="*/ 1552 w 10000"/>
                <a:gd name="connsiteY5" fmla="*/ 3854 h 10074"/>
                <a:gd name="connsiteX6" fmla="*/ 0 w 10000"/>
                <a:gd name="connsiteY6" fmla="*/ 6688 h 10074"/>
                <a:gd name="connsiteX0" fmla="*/ 0 w 10000"/>
                <a:gd name="connsiteY0" fmla="*/ 6715 h 10101"/>
                <a:gd name="connsiteX1" fmla="*/ 2982 w 10000"/>
                <a:gd name="connsiteY1" fmla="*/ 10101 h 10101"/>
                <a:gd name="connsiteX2" fmla="*/ 10000 w 10000"/>
                <a:gd name="connsiteY2" fmla="*/ 2542 h 10101"/>
                <a:gd name="connsiteX3" fmla="*/ 8572 w 10000"/>
                <a:gd name="connsiteY3" fmla="*/ 101 h 10101"/>
                <a:gd name="connsiteX4" fmla="*/ 3161 w 10000"/>
                <a:gd name="connsiteY4" fmla="*/ 6047 h 10101"/>
                <a:gd name="connsiteX5" fmla="*/ 1552 w 10000"/>
                <a:gd name="connsiteY5" fmla="*/ 3881 h 10101"/>
                <a:gd name="connsiteX6" fmla="*/ 0 w 10000"/>
                <a:gd name="connsiteY6" fmla="*/ 6715 h 10101"/>
                <a:gd name="connsiteX0" fmla="*/ 0 w 10000"/>
                <a:gd name="connsiteY0" fmla="*/ 6715 h 10101"/>
                <a:gd name="connsiteX1" fmla="*/ 2982 w 10000"/>
                <a:gd name="connsiteY1" fmla="*/ 10101 h 10101"/>
                <a:gd name="connsiteX2" fmla="*/ 10000 w 10000"/>
                <a:gd name="connsiteY2" fmla="*/ 2542 h 10101"/>
                <a:gd name="connsiteX3" fmla="*/ 8572 w 10000"/>
                <a:gd name="connsiteY3" fmla="*/ 101 h 10101"/>
                <a:gd name="connsiteX4" fmla="*/ 3161 w 10000"/>
                <a:gd name="connsiteY4" fmla="*/ 6047 h 10101"/>
                <a:gd name="connsiteX5" fmla="*/ 1552 w 10000"/>
                <a:gd name="connsiteY5" fmla="*/ 3881 h 10101"/>
                <a:gd name="connsiteX6" fmla="*/ 0 w 10000"/>
                <a:gd name="connsiteY6" fmla="*/ 6715 h 10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101">
                  <a:moveTo>
                    <a:pt x="0" y="6715"/>
                  </a:moveTo>
                  <a:cubicBezTo>
                    <a:pt x="0" y="6715"/>
                    <a:pt x="2080" y="8440"/>
                    <a:pt x="2982" y="10101"/>
                  </a:cubicBezTo>
                  <a:cubicBezTo>
                    <a:pt x="2982" y="10101"/>
                    <a:pt x="6273" y="4117"/>
                    <a:pt x="10000" y="2542"/>
                  </a:cubicBezTo>
                  <a:cubicBezTo>
                    <a:pt x="10000" y="2542"/>
                    <a:pt x="9176" y="842"/>
                    <a:pt x="8572" y="101"/>
                  </a:cubicBezTo>
                  <a:cubicBezTo>
                    <a:pt x="7763" y="-892"/>
                    <a:pt x="3905" y="5732"/>
                    <a:pt x="3161" y="6047"/>
                  </a:cubicBezTo>
                  <a:cubicBezTo>
                    <a:pt x="3161" y="6047"/>
                    <a:pt x="2360" y="4589"/>
                    <a:pt x="1552" y="3881"/>
                  </a:cubicBezTo>
                  <a:cubicBezTo>
                    <a:pt x="1552" y="3881"/>
                    <a:pt x="778" y="4762"/>
                    <a:pt x="0" y="6715"/>
                  </a:cubicBezTo>
                  <a:close/>
                </a:path>
              </a:pathLst>
            </a:custGeom>
            <a:gradFill>
              <a:gsLst>
                <a:gs pos="100000">
                  <a:srgbClr val="0070C0">
                    <a:lumMod val="80000"/>
                  </a:srgbClr>
                </a:gs>
                <a:gs pos="0">
                  <a:srgbClr val="00B0F0"/>
                </a:gs>
              </a:gsLst>
              <a:lin ang="5400000" scaled="0"/>
            </a:gradFill>
            <a:ln w="12700">
              <a:solidFill>
                <a:srgbClr val="00206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nvGrpSpPr>
            <p:cNvPr id="19" name="Group 14"/>
            <p:cNvGrpSpPr/>
            <p:nvPr/>
          </p:nvGrpSpPr>
          <p:grpSpPr>
            <a:xfrm>
              <a:off x="2095500" y="4862629"/>
              <a:ext cx="6629400" cy="1271471"/>
              <a:chOff x="2514600" y="1471729"/>
              <a:chExt cx="5716216" cy="1271471"/>
            </a:xfrm>
          </p:grpSpPr>
          <p:sp>
            <p:nvSpPr>
              <p:cNvPr id="16" name="Rounded Rectangle 15"/>
              <p:cNvSpPr/>
              <p:nvPr/>
            </p:nvSpPr>
            <p:spPr>
              <a:xfrm>
                <a:off x="2514600" y="1485900"/>
                <a:ext cx="5716216" cy="1257300"/>
              </a:xfrm>
              <a:prstGeom prst="roundRect">
                <a:avLst>
                  <a:gd name="adj" fmla="val 3267"/>
                </a:avLst>
              </a:prstGeom>
              <a:gradFill>
                <a:gsLst>
                  <a:gs pos="100000">
                    <a:schemeClr val="bg1">
                      <a:lumMod val="85000"/>
                    </a:schemeClr>
                  </a:gs>
                  <a:gs pos="71000">
                    <a:srgbClr val="F6F6F6"/>
                  </a:gs>
                  <a:gs pos="44000">
                    <a:srgbClr val="FBFBFB"/>
                  </a:gs>
                  <a:gs pos="0">
                    <a:schemeClr val="bg1"/>
                  </a:gs>
                </a:gsLst>
                <a:lin ang="5400000" scaled="0"/>
              </a:gradFill>
              <a:ln w="12700">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Segoe UI" pitchFamily="34" charset="0"/>
                  <a:ea typeface="Segoe UI" pitchFamily="34" charset="0"/>
                  <a:cs typeface="Segoe UI" pitchFamily="34" charset="0"/>
                </a:endParaRPr>
              </a:p>
            </p:txBody>
          </p:sp>
          <p:sp>
            <p:nvSpPr>
              <p:cNvPr id="17" name="TextBox 16"/>
              <p:cNvSpPr txBox="1"/>
              <p:nvPr/>
            </p:nvSpPr>
            <p:spPr>
              <a:xfrm>
                <a:off x="2574806" y="1471729"/>
                <a:ext cx="5590306" cy="1154162"/>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lvl="0">
                  <a:lnSpc>
                    <a:spcPct val="115000"/>
                  </a:lnSpc>
                </a:pPr>
                <a:r>
                  <a:rPr lang="en-US" b="0" dirty="0" smtClean="0">
                    <a:solidFill>
                      <a:schemeClr val="tx1"/>
                    </a:solidFill>
                    <a:latin typeface="Segoe UI" pitchFamily="34" charset="0"/>
                    <a:ea typeface="Segoe UI" pitchFamily="34" charset="0"/>
                    <a:cs typeface="Segoe UI" pitchFamily="34" charset="0"/>
                  </a:rPr>
                  <a:t>PYD yang </a:t>
                </a:r>
                <a:r>
                  <a:rPr lang="en-US" b="0" dirty="0" err="1" smtClean="0">
                    <a:solidFill>
                      <a:schemeClr val="tx1"/>
                    </a:solidFill>
                    <a:latin typeface="Segoe UI" pitchFamily="34" charset="0"/>
                    <a:ea typeface="Segoe UI" pitchFamily="34" charset="0"/>
                    <a:cs typeface="Segoe UI" pitchFamily="34" charset="0"/>
                  </a:rPr>
                  <a:t>dalam</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roses</a:t>
                </a:r>
                <a:r>
                  <a:rPr lang="en-US" b="0"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tindakan</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tatatertib</a:t>
                </a:r>
                <a:r>
                  <a:rPr lang="en-US"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erlu</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melalui</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enilaian</a:t>
                </a:r>
                <a:r>
                  <a:rPr lang="en-US" b="0"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sehingga</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hukuman</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dijatuhkan</a:t>
                </a:r>
                <a:r>
                  <a:rPr lang="en-US"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oleh</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Lembaga</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Tatatertib</a:t>
                </a:r>
                <a:r>
                  <a:rPr lang="en-US" b="0" dirty="0" smtClean="0">
                    <a:solidFill>
                      <a:schemeClr val="tx1"/>
                    </a:solidFill>
                    <a:latin typeface="Segoe UI" pitchFamily="34" charset="0"/>
                    <a:ea typeface="Segoe UI" pitchFamily="34" charset="0"/>
                    <a:cs typeface="Segoe UI" pitchFamily="34" charset="0"/>
                  </a:rPr>
                  <a:t> yang </a:t>
                </a:r>
                <a:r>
                  <a:rPr lang="en-US" b="0" dirty="0" err="1" smtClean="0">
                    <a:solidFill>
                      <a:schemeClr val="tx1"/>
                    </a:solidFill>
                    <a:latin typeface="Segoe UI" pitchFamily="34" charset="0"/>
                    <a:ea typeface="Segoe UI" pitchFamily="34" charset="0"/>
                    <a:cs typeface="Segoe UI" pitchFamily="34" charset="0"/>
                  </a:rPr>
                  <a:t>bersidang</a:t>
                </a:r>
                <a:endParaRPr lang="en-US" b="0" dirty="0">
                  <a:solidFill>
                    <a:schemeClr val="tx1"/>
                  </a:solidFill>
                  <a:latin typeface="Segoe UI" pitchFamily="34" charset="0"/>
                  <a:ea typeface="Segoe UI" pitchFamily="34" charset="0"/>
                  <a:cs typeface="Segoe UI" pitchFamily="34" charset="0"/>
                </a:endParaRPr>
              </a:p>
            </p:txBody>
          </p:sp>
        </p:grpSp>
      </p:grpSp>
      <p:sp>
        <p:nvSpPr>
          <p:cNvPr id="18" name="Rectangle 17"/>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PYD YANG LAYAK DINILAI</a:t>
            </a:r>
            <a:endParaRPr lang="en-US" sz="28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55"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500" fill="hold"/>
                                        <p:tgtEl>
                                          <p:spTgt spid="6"/>
                                        </p:tgtEl>
                                        <p:attrNameLst>
                                          <p:attrName>ppt_w</p:attrName>
                                        </p:attrNameLst>
                                      </p:cBhvr>
                                      <p:tavLst>
                                        <p:tav tm="0">
                                          <p:val>
                                            <p:strVal val="#ppt_w*0.70"/>
                                          </p:val>
                                        </p:tav>
                                        <p:tav tm="100000">
                                          <p:val>
                                            <p:strVal val="#ppt_w"/>
                                          </p:val>
                                        </p:tav>
                                      </p:tavLst>
                                    </p:anim>
                                    <p:anim calcmode="lin" valueType="num">
                                      <p:cBhvr>
                                        <p:cTn id="13" dur="500" fill="hold"/>
                                        <p:tgtEl>
                                          <p:spTgt spid="6"/>
                                        </p:tgtEl>
                                        <p:attrNameLst>
                                          <p:attrName>ppt_h</p:attrName>
                                        </p:attrNameLst>
                                      </p:cBhvr>
                                      <p:tavLst>
                                        <p:tav tm="0">
                                          <p:val>
                                            <p:strVal val="#ppt_h"/>
                                          </p:val>
                                        </p:tav>
                                        <p:tav tm="100000">
                                          <p:val>
                                            <p:strVal val="#ppt_h"/>
                                          </p:val>
                                        </p:tav>
                                      </p:tavLst>
                                    </p:anim>
                                    <p:animEffect transition="in" filter="fade">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4" presetClass="entr" presetSubtype="16"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box(in)">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45</a:t>
            </a:fld>
            <a:endParaRPr lang="en-US"/>
          </a:p>
        </p:txBody>
      </p:sp>
      <p:grpSp>
        <p:nvGrpSpPr>
          <p:cNvPr id="2" name="Group 17"/>
          <p:cNvGrpSpPr/>
          <p:nvPr/>
        </p:nvGrpSpPr>
        <p:grpSpPr>
          <a:xfrm>
            <a:off x="664004" y="1600200"/>
            <a:ext cx="8041846" cy="1511410"/>
            <a:chOff x="664004" y="1600200"/>
            <a:chExt cx="8041846" cy="1511410"/>
          </a:xfrm>
        </p:grpSpPr>
        <p:grpSp>
          <p:nvGrpSpPr>
            <p:cNvPr id="3" name="Group 5"/>
            <p:cNvGrpSpPr/>
            <p:nvPr/>
          </p:nvGrpSpPr>
          <p:grpSpPr>
            <a:xfrm>
              <a:off x="2076450" y="1600200"/>
              <a:ext cx="6629400" cy="1511410"/>
              <a:chOff x="2514600" y="1485900"/>
              <a:chExt cx="5716216" cy="1257300"/>
            </a:xfrm>
          </p:grpSpPr>
          <p:sp>
            <p:nvSpPr>
              <p:cNvPr id="7" name="Rounded Rectangle 6"/>
              <p:cNvSpPr/>
              <p:nvPr/>
            </p:nvSpPr>
            <p:spPr>
              <a:xfrm>
                <a:off x="2514600" y="1485900"/>
                <a:ext cx="5716216" cy="1257300"/>
              </a:xfrm>
              <a:prstGeom prst="roundRect">
                <a:avLst>
                  <a:gd name="adj" fmla="val 3267"/>
                </a:avLst>
              </a:prstGeom>
              <a:gradFill>
                <a:gsLst>
                  <a:gs pos="100000">
                    <a:schemeClr val="bg1">
                      <a:lumMod val="85000"/>
                    </a:schemeClr>
                  </a:gs>
                  <a:gs pos="71000">
                    <a:srgbClr val="F6F6F6"/>
                  </a:gs>
                  <a:gs pos="44000">
                    <a:srgbClr val="FBFBFB"/>
                  </a:gs>
                  <a:gs pos="0">
                    <a:schemeClr val="bg1"/>
                  </a:gs>
                </a:gsLst>
                <a:lin ang="5400000" scaled="0"/>
              </a:gradFill>
              <a:ln w="12700">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Segoe UI" pitchFamily="34" charset="0"/>
                  <a:ea typeface="Segoe UI" pitchFamily="34" charset="0"/>
                  <a:cs typeface="Segoe UI" pitchFamily="34" charset="0"/>
                </a:endParaRPr>
              </a:p>
            </p:txBody>
          </p:sp>
          <p:sp>
            <p:nvSpPr>
              <p:cNvPr id="8" name="TextBox 7"/>
              <p:cNvSpPr txBox="1"/>
              <p:nvPr/>
            </p:nvSpPr>
            <p:spPr>
              <a:xfrm>
                <a:off x="2514600" y="1485900"/>
                <a:ext cx="5699790" cy="1254551"/>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lvl="0">
                  <a:lnSpc>
                    <a:spcPct val="115000"/>
                  </a:lnSpc>
                </a:pPr>
                <a:r>
                  <a:rPr lang="en-US" b="0" dirty="0" smtClean="0">
                    <a:solidFill>
                      <a:schemeClr val="tx1"/>
                    </a:solidFill>
                    <a:latin typeface="Segoe UI" pitchFamily="34" charset="0"/>
                    <a:ea typeface="Segoe UI" pitchFamily="34" charset="0"/>
                    <a:cs typeface="Segoe UI" pitchFamily="34" charset="0"/>
                  </a:rPr>
                  <a:t>PYD </a:t>
                </a:r>
                <a:r>
                  <a:rPr lang="en-US" dirty="0" smtClean="0">
                    <a:solidFill>
                      <a:schemeClr val="tx1"/>
                    </a:solidFill>
                    <a:latin typeface="Segoe UI" pitchFamily="34" charset="0"/>
                    <a:ea typeface="Segoe UI" pitchFamily="34" charset="0"/>
                    <a:cs typeface="Segoe UI" pitchFamily="34" charset="0"/>
                  </a:rPr>
                  <a:t>yang </a:t>
                </a:r>
                <a:r>
                  <a:rPr lang="en-US" dirty="0" err="1" smtClean="0">
                    <a:solidFill>
                      <a:schemeClr val="tx1"/>
                    </a:solidFill>
                    <a:latin typeface="Segoe UI" pitchFamily="34" charset="0"/>
                    <a:ea typeface="Segoe UI" pitchFamily="34" charset="0"/>
                    <a:cs typeface="Segoe UI" pitchFamily="34" charset="0"/>
                  </a:rPr>
                  <a:t>bercuti</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tanpa</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gaji</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melebihi</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enam</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bulan</a:t>
                </a:r>
                <a:r>
                  <a:rPr lang="en-US" dirty="0" smtClean="0">
                    <a:solidFill>
                      <a:schemeClr val="tx1"/>
                    </a:solidFill>
                    <a:latin typeface="Segoe UI" pitchFamily="34" charset="0"/>
                    <a:ea typeface="Segoe UI" pitchFamily="34" charset="0"/>
                    <a:cs typeface="Segoe UI" pitchFamily="34" charset="0"/>
                  </a:rPr>
                  <a:t> (180 </a:t>
                </a:r>
                <a:r>
                  <a:rPr lang="en-US" dirty="0" err="1" smtClean="0">
                    <a:solidFill>
                      <a:schemeClr val="tx1"/>
                    </a:solidFill>
                    <a:latin typeface="Segoe UI" pitchFamily="34" charset="0"/>
                    <a:ea typeface="Segoe UI" pitchFamily="34" charset="0"/>
                    <a:cs typeface="Segoe UI" pitchFamily="34" charset="0"/>
                  </a:rPr>
                  <a:t>hari</a:t>
                </a:r>
                <a:r>
                  <a:rPr lang="en-US"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tidak</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akan</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dinilai</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dalam</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tahun</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semasa</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enilaian</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adalah</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berdasarkan</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restasi</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encapaian</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sebelum</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mula</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bercuti</a:t>
                </a:r>
                <a:r>
                  <a:rPr lang="en-US" b="0" dirty="0" smtClean="0">
                    <a:solidFill>
                      <a:schemeClr val="tx1"/>
                    </a:solidFill>
                    <a:latin typeface="Segoe UI" pitchFamily="34" charset="0"/>
                    <a:ea typeface="Segoe UI" pitchFamily="34" charset="0"/>
                    <a:cs typeface="Segoe UI" pitchFamily="34" charset="0"/>
                  </a:rPr>
                  <a:t>. </a:t>
                </a:r>
                <a:endParaRPr lang="ms-MY" b="0" dirty="0">
                  <a:solidFill>
                    <a:schemeClr val="tx1"/>
                  </a:solidFill>
                  <a:latin typeface="Segoe UI" pitchFamily="34" charset="0"/>
                  <a:ea typeface="Segoe UI" pitchFamily="34" charset="0"/>
                  <a:cs typeface="Segoe UI" pitchFamily="34" charset="0"/>
                </a:endParaRPr>
              </a:p>
            </p:txBody>
          </p:sp>
        </p:grpSp>
        <p:sp>
          <p:nvSpPr>
            <p:cNvPr id="12" name="Freeform 11"/>
            <p:cNvSpPr>
              <a:spLocks noChangeAspect="1"/>
            </p:cNvSpPr>
            <p:nvPr/>
          </p:nvSpPr>
          <p:spPr bwMode="auto">
            <a:xfrm rot="5400000">
              <a:off x="664004" y="1915748"/>
              <a:ext cx="1043471" cy="1043472"/>
            </a:xfrm>
            <a:custGeom>
              <a:avLst/>
              <a:gdLst/>
              <a:ahLst/>
              <a:cxnLst/>
              <a:rect l="l" t="t" r="r" b="b"/>
              <a:pathLst>
                <a:path w="1043471" h="1043472">
                  <a:moveTo>
                    <a:pt x="0" y="806813"/>
                  </a:moveTo>
                  <a:cubicBezTo>
                    <a:pt x="3652" y="739713"/>
                    <a:pt x="27756" y="730229"/>
                    <a:pt x="203268" y="620706"/>
                  </a:cubicBezTo>
                  <a:cubicBezTo>
                    <a:pt x="223380" y="613840"/>
                    <a:pt x="262011" y="576623"/>
                    <a:pt x="310964" y="523670"/>
                  </a:cubicBezTo>
                  <a:cubicBezTo>
                    <a:pt x="149160" y="377267"/>
                    <a:pt x="-893" y="226639"/>
                    <a:pt x="49910" y="175408"/>
                  </a:cubicBezTo>
                  <a:cubicBezTo>
                    <a:pt x="123529" y="101226"/>
                    <a:pt x="292472" y="25"/>
                    <a:pt x="292513" y="0"/>
                  </a:cubicBezTo>
                  <a:cubicBezTo>
                    <a:pt x="335537" y="125931"/>
                    <a:pt x="404965" y="234646"/>
                    <a:pt x="486059" y="328711"/>
                  </a:cubicBezTo>
                  <a:cubicBezTo>
                    <a:pt x="642329" y="153596"/>
                    <a:pt x="812873" y="-24775"/>
                    <a:pt x="868064" y="29954"/>
                  </a:cubicBezTo>
                  <a:cubicBezTo>
                    <a:pt x="942244" y="103571"/>
                    <a:pt x="1043443" y="272510"/>
                    <a:pt x="1043471" y="272557"/>
                  </a:cubicBezTo>
                  <a:cubicBezTo>
                    <a:pt x="894648" y="323402"/>
                    <a:pt x="769867" y="411124"/>
                    <a:pt x="664738" y="511051"/>
                  </a:cubicBezTo>
                  <a:cubicBezTo>
                    <a:pt x="831554" y="661535"/>
                    <a:pt x="996206" y="769767"/>
                    <a:pt x="1043471" y="862116"/>
                  </a:cubicBezTo>
                  <a:cubicBezTo>
                    <a:pt x="925706" y="938069"/>
                    <a:pt x="826801" y="1043438"/>
                    <a:pt x="826770" y="1043472"/>
                  </a:cubicBezTo>
                  <a:cubicBezTo>
                    <a:pt x="759669" y="1039819"/>
                    <a:pt x="750185" y="1015715"/>
                    <a:pt x="640662" y="840203"/>
                  </a:cubicBezTo>
                  <a:cubicBezTo>
                    <a:pt x="631807" y="814264"/>
                    <a:pt x="572465" y="757521"/>
                    <a:pt x="494108" y="687438"/>
                  </a:cubicBezTo>
                  <a:cubicBezTo>
                    <a:pt x="363411" y="839089"/>
                    <a:pt x="265751" y="980320"/>
                    <a:pt x="181355" y="1023514"/>
                  </a:cubicBezTo>
                  <a:cubicBezTo>
                    <a:pt x="105402" y="905748"/>
                    <a:pt x="31" y="806842"/>
                    <a:pt x="0" y="806813"/>
                  </a:cubicBezTo>
                  <a:close/>
                </a:path>
              </a:pathLst>
            </a:custGeom>
            <a:gradFill>
              <a:gsLst>
                <a:gs pos="0">
                  <a:srgbClr val="C00000"/>
                </a:gs>
                <a:gs pos="39000">
                  <a:srgbClr val="C00000"/>
                </a:gs>
                <a:gs pos="92000">
                  <a:srgbClr val="FF0000"/>
                </a:gs>
              </a:gsLst>
              <a:lin ang="5400000" scaled="0"/>
            </a:gradFill>
            <a:ln w="12700">
              <a:solidFill>
                <a:srgbClr val="6C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6" name="Group 18"/>
          <p:cNvGrpSpPr/>
          <p:nvPr/>
        </p:nvGrpSpPr>
        <p:grpSpPr>
          <a:xfrm>
            <a:off x="644954" y="3434444"/>
            <a:ext cx="8060896" cy="1257300"/>
            <a:chOff x="644954" y="3434444"/>
            <a:chExt cx="8060896" cy="1257300"/>
          </a:xfrm>
        </p:grpSpPr>
        <p:grpSp>
          <p:nvGrpSpPr>
            <p:cNvPr id="9" name="Group 8"/>
            <p:cNvGrpSpPr/>
            <p:nvPr/>
          </p:nvGrpSpPr>
          <p:grpSpPr>
            <a:xfrm>
              <a:off x="2076450" y="3434444"/>
              <a:ext cx="6629400" cy="1257300"/>
              <a:chOff x="2514600" y="1485900"/>
              <a:chExt cx="5716216" cy="1257300"/>
            </a:xfrm>
          </p:grpSpPr>
          <p:sp>
            <p:nvSpPr>
              <p:cNvPr id="10" name="Rounded Rectangle 9"/>
              <p:cNvSpPr/>
              <p:nvPr/>
            </p:nvSpPr>
            <p:spPr>
              <a:xfrm>
                <a:off x="2514600" y="1485900"/>
                <a:ext cx="5716216" cy="1257300"/>
              </a:xfrm>
              <a:prstGeom prst="roundRect">
                <a:avLst>
                  <a:gd name="adj" fmla="val 3267"/>
                </a:avLst>
              </a:prstGeom>
              <a:gradFill>
                <a:gsLst>
                  <a:gs pos="100000">
                    <a:schemeClr val="bg1">
                      <a:lumMod val="85000"/>
                    </a:schemeClr>
                  </a:gs>
                  <a:gs pos="71000">
                    <a:srgbClr val="F6F6F6"/>
                  </a:gs>
                  <a:gs pos="44000">
                    <a:srgbClr val="FBFBFB"/>
                  </a:gs>
                  <a:gs pos="0">
                    <a:schemeClr val="bg1"/>
                  </a:gs>
                </a:gsLst>
                <a:lin ang="5400000" scaled="0"/>
              </a:gradFill>
              <a:ln w="12700">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Segoe UI" pitchFamily="34" charset="0"/>
                  <a:ea typeface="Segoe UI" pitchFamily="34" charset="0"/>
                  <a:cs typeface="Segoe UI" pitchFamily="34" charset="0"/>
                </a:endParaRPr>
              </a:p>
            </p:txBody>
          </p:sp>
          <p:sp>
            <p:nvSpPr>
              <p:cNvPr id="11" name="TextBox 10"/>
              <p:cNvSpPr txBox="1"/>
              <p:nvPr/>
            </p:nvSpPr>
            <p:spPr>
              <a:xfrm>
                <a:off x="2574806" y="1662229"/>
                <a:ext cx="5639584" cy="800219"/>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lvl="0">
                  <a:lnSpc>
                    <a:spcPct val="115000"/>
                  </a:lnSpc>
                </a:pPr>
                <a:r>
                  <a:rPr lang="en-US" b="0" dirty="0" smtClean="0">
                    <a:solidFill>
                      <a:schemeClr val="tx1"/>
                    </a:solidFill>
                    <a:latin typeface="Segoe UI" pitchFamily="34" charset="0"/>
                    <a:ea typeface="Segoe UI" pitchFamily="34" charset="0"/>
                    <a:cs typeface="Segoe UI" pitchFamily="34" charset="0"/>
                  </a:rPr>
                  <a:t>PYD yang </a:t>
                </a:r>
                <a:r>
                  <a:rPr lang="en-US" dirty="0" err="1" smtClean="0">
                    <a:solidFill>
                      <a:schemeClr val="tx1"/>
                    </a:solidFill>
                    <a:latin typeface="Segoe UI" pitchFamily="34" charset="0"/>
                    <a:ea typeface="Segoe UI" pitchFamily="34" charset="0"/>
                    <a:cs typeface="Segoe UI" pitchFamily="34" charset="0"/>
                  </a:rPr>
                  <a:t>cuti</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sakit</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berpanjangan</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melebihi</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enam</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bulan</a:t>
                </a:r>
                <a:r>
                  <a:rPr lang="en-US" dirty="0" smtClean="0">
                    <a:solidFill>
                      <a:schemeClr val="tx1"/>
                    </a:solidFill>
                    <a:latin typeface="Segoe UI" pitchFamily="34" charset="0"/>
                    <a:ea typeface="Segoe UI" pitchFamily="34" charset="0"/>
                    <a:cs typeface="Segoe UI" pitchFamily="34" charset="0"/>
                  </a:rPr>
                  <a:t> (180 </a:t>
                </a:r>
                <a:r>
                  <a:rPr lang="en-US" dirty="0" err="1" smtClean="0">
                    <a:solidFill>
                      <a:schemeClr val="tx1"/>
                    </a:solidFill>
                    <a:latin typeface="Segoe UI" pitchFamily="34" charset="0"/>
                    <a:ea typeface="Segoe UI" pitchFamily="34" charset="0"/>
                    <a:cs typeface="Segoe UI" pitchFamily="34" charset="0"/>
                  </a:rPr>
                  <a:t>hari</a:t>
                </a:r>
                <a:r>
                  <a:rPr lang="en-US"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tidak</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erlu</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dinilai</a:t>
                </a:r>
                <a:r>
                  <a:rPr lang="en-US" b="0" dirty="0" smtClean="0">
                    <a:solidFill>
                      <a:schemeClr val="tx1"/>
                    </a:solidFill>
                    <a:latin typeface="Segoe UI" pitchFamily="34" charset="0"/>
                    <a:ea typeface="Segoe UI" pitchFamily="34" charset="0"/>
                    <a:cs typeface="Segoe UI" pitchFamily="34" charset="0"/>
                  </a:rPr>
                  <a:t>.</a:t>
                </a:r>
                <a:endParaRPr lang="ms-MY" b="0" dirty="0">
                  <a:solidFill>
                    <a:schemeClr val="tx1"/>
                  </a:solidFill>
                  <a:latin typeface="Segoe UI" pitchFamily="34" charset="0"/>
                  <a:ea typeface="Segoe UI" pitchFamily="34" charset="0"/>
                  <a:cs typeface="Segoe UI" pitchFamily="34" charset="0"/>
                </a:endParaRPr>
              </a:p>
            </p:txBody>
          </p:sp>
        </p:grpSp>
        <p:sp>
          <p:nvSpPr>
            <p:cNvPr id="13" name="Freeform 12"/>
            <p:cNvSpPr>
              <a:spLocks noChangeAspect="1"/>
            </p:cNvSpPr>
            <p:nvPr/>
          </p:nvSpPr>
          <p:spPr bwMode="auto">
            <a:xfrm rot="5400000">
              <a:off x="644954" y="3541358"/>
              <a:ext cx="1043471" cy="1043472"/>
            </a:xfrm>
            <a:custGeom>
              <a:avLst/>
              <a:gdLst/>
              <a:ahLst/>
              <a:cxnLst/>
              <a:rect l="l" t="t" r="r" b="b"/>
              <a:pathLst>
                <a:path w="1043471" h="1043472">
                  <a:moveTo>
                    <a:pt x="0" y="806813"/>
                  </a:moveTo>
                  <a:cubicBezTo>
                    <a:pt x="3652" y="739713"/>
                    <a:pt x="27756" y="730229"/>
                    <a:pt x="203268" y="620706"/>
                  </a:cubicBezTo>
                  <a:cubicBezTo>
                    <a:pt x="223380" y="613840"/>
                    <a:pt x="262011" y="576623"/>
                    <a:pt x="310964" y="523670"/>
                  </a:cubicBezTo>
                  <a:cubicBezTo>
                    <a:pt x="149160" y="377267"/>
                    <a:pt x="-893" y="226639"/>
                    <a:pt x="49910" y="175408"/>
                  </a:cubicBezTo>
                  <a:cubicBezTo>
                    <a:pt x="123529" y="101226"/>
                    <a:pt x="292472" y="25"/>
                    <a:pt x="292513" y="0"/>
                  </a:cubicBezTo>
                  <a:cubicBezTo>
                    <a:pt x="335537" y="125931"/>
                    <a:pt x="404965" y="234646"/>
                    <a:pt x="486059" y="328711"/>
                  </a:cubicBezTo>
                  <a:cubicBezTo>
                    <a:pt x="642329" y="153596"/>
                    <a:pt x="812873" y="-24775"/>
                    <a:pt x="868064" y="29954"/>
                  </a:cubicBezTo>
                  <a:cubicBezTo>
                    <a:pt x="942244" y="103571"/>
                    <a:pt x="1043443" y="272510"/>
                    <a:pt x="1043471" y="272557"/>
                  </a:cubicBezTo>
                  <a:cubicBezTo>
                    <a:pt x="894648" y="323402"/>
                    <a:pt x="769867" y="411124"/>
                    <a:pt x="664738" y="511051"/>
                  </a:cubicBezTo>
                  <a:cubicBezTo>
                    <a:pt x="831554" y="661535"/>
                    <a:pt x="996206" y="769767"/>
                    <a:pt x="1043471" y="862116"/>
                  </a:cubicBezTo>
                  <a:cubicBezTo>
                    <a:pt x="925706" y="938069"/>
                    <a:pt x="826801" y="1043438"/>
                    <a:pt x="826770" y="1043472"/>
                  </a:cubicBezTo>
                  <a:cubicBezTo>
                    <a:pt x="759669" y="1039819"/>
                    <a:pt x="750185" y="1015715"/>
                    <a:pt x="640662" y="840203"/>
                  </a:cubicBezTo>
                  <a:cubicBezTo>
                    <a:pt x="631807" y="814264"/>
                    <a:pt x="572465" y="757521"/>
                    <a:pt x="494108" y="687438"/>
                  </a:cubicBezTo>
                  <a:cubicBezTo>
                    <a:pt x="363411" y="839089"/>
                    <a:pt x="265751" y="980320"/>
                    <a:pt x="181355" y="1023514"/>
                  </a:cubicBezTo>
                  <a:cubicBezTo>
                    <a:pt x="105402" y="905748"/>
                    <a:pt x="31" y="806842"/>
                    <a:pt x="0" y="806813"/>
                  </a:cubicBezTo>
                  <a:close/>
                </a:path>
              </a:pathLst>
            </a:custGeom>
            <a:gradFill>
              <a:gsLst>
                <a:gs pos="0">
                  <a:srgbClr val="C00000"/>
                </a:gs>
                <a:gs pos="39000">
                  <a:srgbClr val="C00000"/>
                </a:gs>
                <a:gs pos="92000">
                  <a:srgbClr val="FF0000"/>
                </a:gs>
              </a:gsLst>
              <a:lin ang="5400000" scaled="0"/>
            </a:gradFill>
            <a:ln w="12700">
              <a:solidFill>
                <a:srgbClr val="6C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14" name="Group 19"/>
          <p:cNvGrpSpPr/>
          <p:nvPr/>
        </p:nvGrpSpPr>
        <p:grpSpPr>
          <a:xfrm>
            <a:off x="644954" y="4920344"/>
            <a:ext cx="8060896" cy="1527412"/>
            <a:chOff x="644954" y="4920344"/>
            <a:chExt cx="8060896" cy="1527412"/>
          </a:xfrm>
        </p:grpSpPr>
        <p:grpSp>
          <p:nvGrpSpPr>
            <p:cNvPr id="18" name="Group 13"/>
            <p:cNvGrpSpPr/>
            <p:nvPr/>
          </p:nvGrpSpPr>
          <p:grpSpPr>
            <a:xfrm>
              <a:off x="2076450" y="4920344"/>
              <a:ext cx="6629400" cy="1527412"/>
              <a:chOff x="2514600" y="1485900"/>
              <a:chExt cx="5716216" cy="1527412"/>
            </a:xfrm>
          </p:grpSpPr>
          <p:sp>
            <p:nvSpPr>
              <p:cNvPr id="15" name="Rounded Rectangle 14"/>
              <p:cNvSpPr/>
              <p:nvPr/>
            </p:nvSpPr>
            <p:spPr>
              <a:xfrm>
                <a:off x="2514600" y="1485900"/>
                <a:ext cx="5716216" cy="1257300"/>
              </a:xfrm>
              <a:prstGeom prst="roundRect">
                <a:avLst>
                  <a:gd name="adj" fmla="val 3267"/>
                </a:avLst>
              </a:prstGeom>
              <a:gradFill>
                <a:gsLst>
                  <a:gs pos="100000">
                    <a:schemeClr val="bg1">
                      <a:lumMod val="85000"/>
                    </a:schemeClr>
                  </a:gs>
                  <a:gs pos="71000">
                    <a:srgbClr val="F6F6F6"/>
                  </a:gs>
                  <a:gs pos="44000">
                    <a:srgbClr val="FBFBFB"/>
                  </a:gs>
                  <a:gs pos="0">
                    <a:schemeClr val="bg1"/>
                  </a:gs>
                </a:gsLst>
                <a:lin ang="5400000" scaled="0"/>
              </a:gradFill>
              <a:ln w="12700">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Segoe UI" pitchFamily="34" charset="0"/>
                  <a:ea typeface="Segoe UI" pitchFamily="34" charset="0"/>
                  <a:cs typeface="Segoe UI" pitchFamily="34" charset="0"/>
                </a:endParaRPr>
              </a:p>
            </p:txBody>
          </p:sp>
          <p:sp>
            <p:nvSpPr>
              <p:cNvPr id="16" name="TextBox 15"/>
              <p:cNvSpPr txBox="1"/>
              <p:nvPr/>
            </p:nvSpPr>
            <p:spPr>
              <a:xfrm>
                <a:off x="2574806" y="1551373"/>
                <a:ext cx="5639584" cy="1461939"/>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lvl="0">
                  <a:lnSpc>
                    <a:spcPct val="115000"/>
                  </a:lnSpc>
                </a:pPr>
                <a:r>
                  <a:rPr lang="en-US" b="0" dirty="0" smtClean="0">
                    <a:solidFill>
                      <a:schemeClr val="tx1"/>
                    </a:solidFill>
                    <a:latin typeface="Segoe UI" pitchFamily="34" charset="0"/>
                    <a:ea typeface="Segoe UI" pitchFamily="34" charset="0"/>
                    <a:cs typeface="Segoe UI" pitchFamily="34" charset="0"/>
                  </a:rPr>
                  <a:t>PYD yang </a:t>
                </a:r>
                <a:r>
                  <a:rPr lang="en-US" dirty="0" err="1" smtClean="0">
                    <a:solidFill>
                      <a:schemeClr val="tx1"/>
                    </a:solidFill>
                    <a:latin typeface="Segoe UI" pitchFamily="34" charset="0"/>
                    <a:ea typeface="Segoe UI" pitchFamily="34" charset="0"/>
                    <a:cs typeface="Segoe UI" pitchFamily="34" charset="0"/>
                  </a:rPr>
                  <a:t>diluluskan</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cuti</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belajar</a:t>
                </a:r>
                <a:r>
                  <a:rPr lang="en-US" dirty="0" smtClean="0">
                    <a:solidFill>
                      <a:schemeClr val="tx1"/>
                    </a:solidFill>
                    <a:latin typeface="Segoe UI" pitchFamily="34" charset="0"/>
                    <a:ea typeface="Segoe UI" pitchFamily="34" charset="0"/>
                    <a:cs typeface="Segoe UI" pitchFamily="34" charset="0"/>
                  </a:rPr>
                  <a:t> </a:t>
                </a:r>
                <a:r>
                  <a:rPr lang="en-US" dirty="0" err="1" smtClean="0">
                    <a:solidFill>
                      <a:schemeClr val="tx1"/>
                    </a:solidFill>
                    <a:latin typeface="Segoe UI" pitchFamily="34" charset="0"/>
                    <a:ea typeface="Segoe UI" pitchFamily="34" charset="0"/>
                    <a:cs typeface="Segoe UI" pitchFamily="34" charset="0"/>
                  </a:rPr>
                  <a:t>sepenuh</a:t>
                </a:r>
                <a:r>
                  <a:rPr lang="en-US" dirty="0" smtClean="0">
                    <a:solidFill>
                      <a:schemeClr val="tx1"/>
                    </a:solidFill>
                    <a:latin typeface="Segoe UI" pitchFamily="34" charset="0"/>
                    <a:ea typeface="Segoe UI" pitchFamily="34" charset="0"/>
                    <a:cs typeface="Segoe UI" pitchFamily="34" charset="0"/>
                  </a:rPr>
                  <a:t>  </a:t>
                </a:r>
              </a:p>
              <a:p>
                <a:pPr lvl="0">
                  <a:lnSpc>
                    <a:spcPct val="115000"/>
                  </a:lnSpc>
                </a:pPr>
                <a:r>
                  <a:rPr lang="en-US" b="0" dirty="0" err="1" smtClean="0">
                    <a:solidFill>
                      <a:schemeClr val="tx1"/>
                    </a:solidFill>
                    <a:latin typeface="Segoe UI" pitchFamily="34" charset="0"/>
                    <a:ea typeface="Segoe UI" pitchFamily="34" charset="0"/>
                    <a:cs typeface="Segoe UI" pitchFamily="34" charset="0"/>
                  </a:rPr>
                  <a:t>masa</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tidak</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erlu</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dinilai</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oleh</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pihak</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sekolah</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tetapi</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dinilai</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oleh</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institusi</a:t>
                </a:r>
                <a:r>
                  <a:rPr lang="en-US" b="0" dirty="0" smtClean="0">
                    <a:solidFill>
                      <a:schemeClr val="tx1"/>
                    </a:solidFill>
                    <a:latin typeface="Segoe UI" pitchFamily="34" charset="0"/>
                    <a:ea typeface="Segoe UI" pitchFamily="34" charset="0"/>
                    <a:cs typeface="Segoe UI" pitchFamily="34" charset="0"/>
                  </a:rPr>
                  <a:t> </a:t>
                </a:r>
                <a:r>
                  <a:rPr lang="en-US" b="0" dirty="0" err="1" smtClean="0">
                    <a:solidFill>
                      <a:schemeClr val="tx1"/>
                    </a:solidFill>
                    <a:latin typeface="Segoe UI" pitchFamily="34" charset="0"/>
                    <a:ea typeface="Segoe UI" pitchFamily="34" charset="0"/>
                    <a:cs typeface="Segoe UI" pitchFamily="34" charset="0"/>
                  </a:rPr>
                  <a:t>berkenaan</a:t>
                </a:r>
                <a:r>
                  <a:rPr lang="en-US" b="0" dirty="0" smtClean="0">
                    <a:solidFill>
                      <a:schemeClr val="tx1"/>
                    </a:solidFill>
                    <a:latin typeface="Segoe UI" pitchFamily="34" charset="0"/>
                    <a:ea typeface="Segoe UI" pitchFamily="34" charset="0"/>
                    <a:cs typeface="Segoe UI" pitchFamily="34" charset="0"/>
                  </a:rPr>
                  <a:t>.</a:t>
                </a:r>
                <a:endParaRPr lang="ms-MY" b="0" dirty="0" smtClean="0">
                  <a:solidFill>
                    <a:schemeClr val="tx1"/>
                  </a:solidFill>
                  <a:latin typeface="Segoe UI" pitchFamily="34" charset="0"/>
                  <a:ea typeface="Segoe UI" pitchFamily="34" charset="0"/>
                  <a:cs typeface="Segoe UI" pitchFamily="34" charset="0"/>
                </a:endParaRPr>
              </a:p>
              <a:p>
                <a:r>
                  <a:rPr lang="en-US" b="0" dirty="0" smtClean="0">
                    <a:solidFill>
                      <a:schemeClr val="tx1"/>
                    </a:solidFill>
                    <a:latin typeface="Segoe UI" pitchFamily="34" charset="0"/>
                    <a:ea typeface="Segoe UI" pitchFamily="34" charset="0"/>
                    <a:cs typeface="Segoe UI" pitchFamily="34" charset="0"/>
                  </a:rPr>
                  <a:t>.</a:t>
                </a:r>
                <a:endParaRPr lang="en-US" b="0" dirty="0">
                  <a:solidFill>
                    <a:schemeClr val="tx1"/>
                  </a:solidFill>
                  <a:latin typeface="Segoe UI" pitchFamily="34" charset="0"/>
                  <a:ea typeface="Segoe UI" pitchFamily="34" charset="0"/>
                  <a:cs typeface="Segoe UI" pitchFamily="34" charset="0"/>
                </a:endParaRPr>
              </a:p>
            </p:txBody>
          </p:sp>
        </p:grpSp>
        <p:sp>
          <p:nvSpPr>
            <p:cNvPr id="17" name="Freeform 16"/>
            <p:cNvSpPr>
              <a:spLocks noChangeAspect="1"/>
            </p:cNvSpPr>
            <p:nvPr/>
          </p:nvSpPr>
          <p:spPr bwMode="auto">
            <a:xfrm rot="5400000">
              <a:off x="644954" y="5027258"/>
              <a:ext cx="1043471" cy="1043472"/>
            </a:xfrm>
            <a:custGeom>
              <a:avLst/>
              <a:gdLst/>
              <a:ahLst/>
              <a:cxnLst/>
              <a:rect l="l" t="t" r="r" b="b"/>
              <a:pathLst>
                <a:path w="1043471" h="1043472">
                  <a:moveTo>
                    <a:pt x="0" y="806813"/>
                  </a:moveTo>
                  <a:cubicBezTo>
                    <a:pt x="3652" y="739713"/>
                    <a:pt x="27756" y="730229"/>
                    <a:pt x="203268" y="620706"/>
                  </a:cubicBezTo>
                  <a:cubicBezTo>
                    <a:pt x="223380" y="613840"/>
                    <a:pt x="262011" y="576623"/>
                    <a:pt x="310964" y="523670"/>
                  </a:cubicBezTo>
                  <a:cubicBezTo>
                    <a:pt x="149160" y="377267"/>
                    <a:pt x="-893" y="226639"/>
                    <a:pt x="49910" y="175408"/>
                  </a:cubicBezTo>
                  <a:cubicBezTo>
                    <a:pt x="123529" y="101226"/>
                    <a:pt x="292472" y="25"/>
                    <a:pt x="292513" y="0"/>
                  </a:cubicBezTo>
                  <a:cubicBezTo>
                    <a:pt x="335537" y="125931"/>
                    <a:pt x="404965" y="234646"/>
                    <a:pt x="486059" y="328711"/>
                  </a:cubicBezTo>
                  <a:cubicBezTo>
                    <a:pt x="642329" y="153596"/>
                    <a:pt x="812873" y="-24775"/>
                    <a:pt x="868064" y="29954"/>
                  </a:cubicBezTo>
                  <a:cubicBezTo>
                    <a:pt x="942244" y="103571"/>
                    <a:pt x="1043443" y="272510"/>
                    <a:pt x="1043471" y="272557"/>
                  </a:cubicBezTo>
                  <a:cubicBezTo>
                    <a:pt x="894648" y="323402"/>
                    <a:pt x="769867" y="411124"/>
                    <a:pt x="664738" y="511051"/>
                  </a:cubicBezTo>
                  <a:cubicBezTo>
                    <a:pt x="831554" y="661535"/>
                    <a:pt x="996206" y="769767"/>
                    <a:pt x="1043471" y="862116"/>
                  </a:cubicBezTo>
                  <a:cubicBezTo>
                    <a:pt x="925706" y="938069"/>
                    <a:pt x="826801" y="1043438"/>
                    <a:pt x="826770" y="1043472"/>
                  </a:cubicBezTo>
                  <a:cubicBezTo>
                    <a:pt x="759669" y="1039819"/>
                    <a:pt x="750185" y="1015715"/>
                    <a:pt x="640662" y="840203"/>
                  </a:cubicBezTo>
                  <a:cubicBezTo>
                    <a:pt x="631807" y="814264"/>
                    <a:pt x="572465" y="757521"/>
                    <a:pt x="494108" y="687438"/>
                  </a:cubicBezTo>
                  <a:cubicBezTo>
                    <a:pt x="363411" y="839089"/>
                    <a:pt x="265751" y="980320"/>
                    <a:pt x="181355" y="1023514"/>
                  </a:cubicBezTo>
                  <a:cubicBezTo>
                    <a:pt x="105402" y="905748"/>
                    <a:pt x="31" y="806842"/>
                    <a:pt x="0" y="806813"/>
                  </a:cubicBezTo>
                  <a:close/>
                </a:path>
              </a:pathLst>
            </a:custGeom>
            <a:gradFill>
              <a:gsLst>
                <a:gs pos="0">
                  <a:srgbClr val="C00000"/>
                </a:gs>
                <a:gs pos="39000">
                  <a:srgbClr val="C00000"/>
                </a:gs>
                <a:gs pos="92000">
                  <a:srgbClr val="FF0000"/>
                </a:gs>
              </a:gsLst>
              <a:lin ang="5400000" scaled="0"/>
            </a:gradFill>
            <a:ln w="12700">
              <a:solidFill>
                <a:srgbClr val="6C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sp>
        <p:nvSpPr>
          <p:cNvPr id="30" name="Rectangle 29"/>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PYD YANG TIDAK LAYAK DINILAI</a:t>
            </a:r>
            <a:endParaRPr lang="en-US" sz="28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strVal val="#ppt_w*0.70"/>
                                          </p:val>
                                        </p:tav>
                                        <p:tav tm="100000">
                                          <p:val>
                                            <p:strVal val="#ppt_w"/>
                                          </p:val>
                                        </p:tav>
                                      </p:tavLst>
                                    </p:anim>
                                    <p:anim calcmode="lin" valueType="num">
                                      <p:cBhvr>
                                        <p:cTn id="8" dur="500" fill="hold"/>
                                        <p:tgtEl>
                                          <p:spTgt spid="2"/>
                                        </p:tgtEl>
                                        <p:attrNameLst>
                                          <p:attrName>ppt_h</p:attrName>
                                        </p:attrNameLst>
                                      </p:cBhvr>
                                      <p:tavLst>
                                        <p:tav tm="0">
                                          <p:val>
                                            <p:strVal val="#ppt_h"/>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8"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additive="base">
                                        <p:cTn id="14" dur="500" fill="hold"/>
                                        <p:tgtEl>
                                          <p:spTgt spid="6"/>
                                        </p:tgtEl>
                                        <p:attrNameLst>
                                          <p:attrName>ppt_x</p:attrName>
                                        </p:attrNameLst>
                                      </p:cBhvr>
                                      <p:tavLst>
                                        <p:tav tm="0">
                                          <p:val>
                                            <p:strVal val="0-#ppt_w/2"/>
                                          </p:val>
                                        </p:tav>
                                        <p:tav tm="100000">
                                          <p:val>
                                            <p:strVal val="#ppt_x"/>
                                          </p:val>
                                        </p:tav>
                                      </p:tavLst>
                                    </p:anim>
                                    <p:anim calcmode="lin" valueType="num">
                                      <p:cBhvr additive="base">
                                        <p:cTn id="15"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1" presetClass="entr" presetSubtype="4" fill="hold"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heel(4)">
                                      <p:cBhvr>
                                        <p:cTn id="2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46</a:t>
            </a:fld>
            <a:endParaRPr lang="en-US"/>
          </a:p>
        </p:txBody>
      </p:sp>
      <p:sp>
        <p:nvSpPr>
          <p:cNvPr id="6" name="Rectangle 5"/>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CARTA ALIR PROSES PBPPP BAGI PYD</a:t>
            </a:r>
            <a:endParaRPr lang="en-US" sz="2800" b="1" dirty="0">
              <a:solidFill>
                <a:schemeClr val="bg1"/>
              </a:solidFill>
              <a:latin typeface="Segoe UI" pitchFamily="34" charset="0"/>
              <a:ea typeface="Segoe UI" pitchFamily="34" charset="0"/>
              <a:cs typeface="Segoe UI" pitchFamily="34" charset="0"/>
            </a:endParaRPr>
          </a:p>
        </p:txBody>
      </p:sp>
      <p:grpSp>
        <p:nvGrpSpPr>
          <p:cNvPr id="2" name="Group 7"/>
          <p:cNvGrpSpPr/>
          <p:nvPr/>
        </p:nvGrpSpPr>
        <p:grpSpPr>
          <a:xfrm>
            <a:off x="1131873" y="2275178"/>
            <a:ext cx="7810649" cy="1687802"/>
            <a:chOff x="1131873" y="2149738"/>
            <a:chExt cx="7810649" cy="1687802"/>
          </a:xfrm>
        </p:grpSpPr>
        <p:grpSp>
          <p:nvGrpSpPr>
            <p:cNvPr id="3" name="Group 20"/>
            <p:cNvGrpSpPr/>
            <p:nvPr/>
          </p:nvGrpSpPr>
          <p:grpSpPr>
            <a:xfrm>
              <a:off x="5388510" y="2149738"/>
              <a:ext cx="3554012" cy="1535935"/>
              <a:chOff x="5388510" y="1992938"/>
              <a:chExt cx="3554012" cy="1535935"/>
            </a:xfrm>
          </p:grpSpPr>
          <p:sp>
            <p:nvSpPr>
              <p:cNvPr id="16" name="Rectangle 15"/>
              <p:cNvSpPr/>
              <p:nvPr/>
            </p:nvSpPr>
            <p:spPr>
              <a:xfrm>
                <a:off x="5456737" y="1992938"/>
                <a:ext cx="3485785" cy="1477328"/>
              </a:xfrm>
              <a:prstGeom prst="rect">
                <a:avLst/>
              </a:prstGeom>
            </p:spPr>
            <p:txBody>
              <a:bodyPr wrap="square">
                <a:spAutoFit/>
              </a:bodyPr>
              <a:lstStyle/>
              <a:p>
                <a:pPr lvl="0"/>
                <a:endParaRPr lang="ms-MY" dirty="0" smtClean="0"/>
              </a:p>
              <a:p>
                <a:pPr marL="171450" lvl="0" indent="-171450">
                  <a:buFont typeface="Arial" pitchFamily="34" charset="0"/>
                  <a:buChar char="•"/>
                </a:pPr>
                <a:r>
                  <a:rPr lang="en-US" dirty="0" err="1" smtClean="0"/>
                  <a:t>Membuat</a:t>
                </a:r>
                <a:r>
                  <a:rPr lang="en-US" dirty="0" smtClean="0"/>
                  <a:t> </a:t>
                </a:r>
                <a:r>
                  <a:rPr lang="en-US" dirty="0" err="1" smtClean="0"/>
                  <a:t>perbincangan</a:t>
                </a:r>
                <a:r>
                  <a:rPr lang="en-US" dirty="0" smtClean="0"/>
                  <a:t> </a:t>
                </a:r>
                <a:r>
                  <a:rPr lang="en-US" dirty="0" err="1" smtClean="0"/>
                  <a:t>dengan</a:t>
                </a:r>
                <a:r>
                  <a:rPr lang="en-US" dirty="0" smtClean="0"/>
                  <a:t> PP </a:t>
                </a:r>
                <a:r>
                  <a:rPr lang="en-US" dirty="0" err="1" smtClean="0"/>
                  <a:t>berhubung</a:t>
                </a:r>
                <a:r>
                  <a:rPr lang="en-US" dirty="0" smtClean="0"/>
                  <a:t> </a:t>
                </a:r>
                <a:r>
                  <a:rPr lang="en-US" dirty="0" err="1" smtClean="0"/>
                  <a:t>peningkatan</a:t>
                </a:r>
                <a:r>
                  <a:rPr lang="en-US" dirty="0" smtClean="0"/>
                  <a:t> </a:t>
                </a:r>
                <a:r>
                  <a:rPr lang="en-US" dirty="0" err="1" smtClean="0"/>
                  <a:t>berdasarkan</a:t>
                </a:r>
                <a:r>
                  <a:rPr lang="en-US" dirty="0" smtClean="0"/>
                  <a:t> </a:t>
                </a:r>
                <a:r>
                  <a:rPr lang="en-US" dirty="0" err="1" smtClean="0"/>
                  <a:t>skor</a:t>
                </a:r>
                <a:r>
                  <a:rPr lang="en-US" dirty="0" smtClean="0"/>
                  <a:t> </a:t>
                </a:r>
                <a:r>
                  <a:rPr lang="en-US" dirty="0" err="1" smtClean="0"/>
                  <a:t>dan</a:t>
                </a:r>
                <a:r>
                  <a:rPr lang="en-US" dirty="0" smtClean="0"/>
                  <a:t> </a:t>
                </a:r>
                <a:r>
                  <a:rPr lang="en-US" dirty="0" err="1" smtClean="0"/>
                  <a:t>keberhasilan</a:t>
                </a:r>
                <a:endParaRPr lang="ms-MY" dirty="0" smtClean="0"/>
              </a:p>
            </p:txBody>
          </p:sp>
          <p:sp>
            <p:nvSpPr>
              <p:cNvPr id="17" name="Left Brace 16"/>
              <p:cNvSpPr/>
              <p:nvPr/>
            </p:nvSpPr>
            <p:spPr>
              <a:xfrm>
                <a:off x="5388510" y="2126287"/>
                <a:ext cx="152895" cy="1402586"/>
              </a:xfrm>
              <a:prstGeom prst="leftBrace">
                <a:avLst/>
              </a:prstGeom>
              <a:ln>
                <a:solidFill>
                  <a:srgbClr val="71111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 name="Group 15"/>
            <p:cNvGrpSpPr/>
            <p:nvPr/>
          </p:nvGrpSpPr>
          <p:grpSpPr>
            <a:xfrm>
              <a:off x="1131873" y="2366284"/>
              <a:ext cx="4169664" cy="1471256"/>
              <a:chOff x="1131873" y="2240844"/>
              <a:chExt cx="4169664" cy="1471256"/>
            </a:xfrm>
          </p:grpSpPr>
          <p:sp>
            <p:nvSpPr>
              <p:cNvPr id="11" name="Notched Right Arrow 10"/>
              <p:cNvSpPr/>
              <p:nvPr/>
            </p:nvSpPr>
            <p:spPr>
              <a:xfrm rot="16200000">
                <a:off x="3834655" y="2837911"/>
                <a:ext cx="1471256" cy="277122"/>
              </a:xfrm>
              <a:prstGeom prst="notchedRightArrow">
                <a:avLst>
                  <a:gd name="adj1" fmla="val 100000"/>
                  <a:gd name="adj2" fmla="val 74138"/>
                </a:avLst>
              </a:prstGeom>
              <a:solidFill>
                <a:srgbClr val="E0384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endParaRPr lang="en-US" sz="2000" b="1"/>
              </a:p>
            </p:txBody>
          </p:sp>
          <p:grpSp>
            <p:nvGrpSpPr>
              <p:cNvPr id="9" name="Group 82"/>
              <p:cNvGrpSpPr/>
              <p:nvPr/>
            </p:nvGrpSpPr>
            <p:grpSpPr>
              <a:xfrm flipH="1">
                <a:off x="1131873" y="2557310"/>
                <a:ext cx="4169664" cy="640080"/>
                <a:chOff x="0" y="5065566"/>
                <a:chExt cx="4166758" cy="976745"/>
              </a:xfrm>
            </p:grpSpPr>
            <p:sp>
              <p:nvSpPr>
                <p:cNvPr id="14" name="Freeform 13"/>
                <p:cNvSpPr/>
                <p:nvPr/>
              </p:nvSpPr>
              <p:spPr>
                <a:xfrm>
                  <a:off x="0" y="5065566"/>
                  <a:ext cx="4166758" cy="800099"/>
                </a:xfrm>
                <a:custGeom>
                  <a:avLst/>
                  <a:gdLst>
                    <a:gd name="connsiteX0" fmla="*/ 455897 w 4166758"/>
                    <a:gd name="connsiteY0" fmla="*/ 0 h 800099"/>
                    <a:gd name="connsiteX1" fmla="*/ 3855031 w 4166758"/>
                    <a:gd name="connsiteY1" fmla="*/ 0 h 800099"/>
                    <a:gd name="connsiteX2" fmla="*/ 4166758 w 4166758"/>
                    <a:gd name="connsiteY2" fmla="*/ 311727 h 800099"/>
                    <a:gd name="connsiteX3" fmla="*/ 3855031 w 4166758"/>
                    <a:gd name="connsiteY3" fmla="*/ 623454 h 800099"/>
                    <a:gd name="connsiteX4" fmla="*/ 1517075 w 4166758"/>
                    <a:gd name="connsiteY4" fmla="*/ 623454 h 800099"/>
                    <a:gd name="connsiteX5" fmla="*/ 1517075 w 4166758"/>
                    <a:gd name="connsiteY5" fmla="*/ 623449 h 800099"/>
                    <a:gd name="connsiteX6" fmla="*/ 592284 w 4166758"/>
                    <a:gd name="connsiteY6" fmla="*/ 623449 h 800099"/>
                    <a:gd name="connsiteX7" fmla="*/ 592284 w 4166758"/>
                    <a:gd name="connsiteY7" fmla="*/ 623454 h 800099"/>
                    <a:gd name="connsiteX8" fmla="*/ 176649 w 4166758"/>
                    <a:gd name="connsiteY8" fmla="*/ 623454 h 800099"/>
                    <a:gd name="connsiteX9" fmla="*/ 13885 w 4166758"/>
                    <a:gd name="connsiteY9" fmla="*/ 731342 h 800099"/>
                    <a:gd name="connsiteX10" fmla="*/ 3 w 4166758"/>
                    <a:gd name="connsiteY10" fmla="*/ 800099 h 800099"/>
                    <a:gd name="connsiteX11" fmla="*/ 3 w 4166758"/>
                    <a:gd name="connsiteY11" fmla="*/ 800099 h 800099"/>
                    <a:gd name="connsiteX12" fmla="*/ 3 w 4166758"/>
                    <a:gd name="connsiteY12" fmla="*/ 446808 h 800099"/>
                    <a:gd name="connsiteX13" fmla="*/ 4 w 4166758"/>
                    <a:gd name="connsiteY13" fmla="*/ 446808 h 800099"/>
                    <a:gd name="connsiteX14" fmla="*/ 4 w 4166758"/>
                    <a:gd name="connsiteY14" fmla="*/ 176666 h 800099"/>
                    <a:gd name="connsiteX15" fmla="*/ 0 w 4166758"/>
                    <a:gd name="connsiteY15" fmla="*/ 176647 h 800099"/>
                    <a:gd name="connsiteX16" fmla="*/ 13882 w 4166758"/>
                    <a:gd name="connsiteY16" fmla="*/ 107889 h 800099"/>
                    <a:gd name="connsiteX17" fmla="*/ 176646 w 4166758"/>
                    <a:gd name="connsiteY17" fmla="*/ 1 h 800099"/>
                    <a:gd name="connsiteX18" fmla="*/ 455897 w 4166758"/>
                    <a:gd name="connsiteY18" fmla="*/ 1 h 80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66758" h="800099">
                      <a:moveTo>
                        <a:pt x="455897" y="0"/>
                      </a:moveTo>
                      <a:lnTo>
                        <a:pt x="3855031" y="0"/>
                      </a:lnTo>
                      <a:lnTo>
                        <a:pt x="4166758" y="311727"/>
                      </a:lnTo>
                      <a:lnTo>
                        <a:pt x="3855031" y="623454"/>
                      </a:lnTo>
                      <a:lnTo>
                        <a:pt x="1517075" y="623454"/>
                      </a:lnTo>
                      <a:lnTo>
                        <a:pt x="1517075" y="623449"/>
                      </a:lnTo>
                      <a:lnTo>
                        <a:pt x="592284" y="623449"/>
                      </a:lnTo>
                      <a:lnTo>
                        <a:pt x="592284" y="623454"/>
                      </a:lnTo>
                      <a:lnTo>
                        <a:pt x="176649" y="623454"/>
                      </a:lnTo>
                      <a:cubicBezTo>
                        <a:pt x="103480" y="623454"/>
                        <a:pt x="40701" y="667941"/>
                        <a:pt x="13885" y="731342"/>
                      </a:cubicBezTo>
                      <a:lnTo>
                        <a:pt x="3" y="800099"/>
                      </a:lnTo>
                      <a:lnTo>
                        <a:pt x="3" y="800099"/>
                      </a:lnTo>
                      <a:lnTo>
                        <a:pt x="3" y="446808"/>
                      </a:lnTo>
                      <a:lnTo>
                        <a:pt x="4" y="446808"/>
                      </a:lnTo>
                      <a:lnTo>
                        <a:pt x="4" y="176666"/>
                      </a:lnTo>
                      <a:lnTo>
                        <a:pt x="0" y="176647"/>
                      </a:lnTo>
                      <a:lnTo>
                        <a:pt x="13882" y="107889"/>
                      </a:lnTo>
                      <a:cubicBezTo>
                        <a:pt x="40698" y="44488"/>
                        <a:pt x="103477" y="1"/>
                        <a:pt x="176646" y="1"/>
                      </a:cubicBezTo>
                      <a:lnTo>
                        <a:pt x="455897" y="1"/>
                      </a:lnTo>
                      <a:close/>
                    </a:path>
                  </a:pathLst>
                </a:custGeom>
                <a:solidFill>
                  <a:srgbClr val="BE1D2C"/>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rIns="457200" rtlCol="0" anchor="t"/>
                <a:lstStyle/>
                <a:p>
                  <a:pPr algn="r"/>
                  <a:endParaRPr lang="en-US" sz="2000" b="1" dirty="0">
                    <a:effectLst>
                      <a:outerShdw blurRad="38100" dist="38100" dir="2700000" algn="tl">
                        <a:srgbClr val="000000">
                          <a:alpha val="43137"/>
                        </a:srgbClr>
                      </a:outerShdw>
                    </a:effectLst>
                  </a:endParaRPr>
                </a:p>
              </p:txBody>
            </p:sp>
            <p:sp>
              <p:nvSpPr>
                <p:cNvPr id="15" name="Freeform 14"/>
                <p:cNvSpPr/>
                <p:nvPr/>
              </p:nvSpPr>
              <p:spPr>
                <a:xfrm>
                  <a:off x="0" y="5689019"/>
                  <a:ext cx="592282" cy="353292"/>
                </a:xfrm>
                <a:custGeom>
                  <a:avLst/>
                  <a:gdLst>
                    <a:gd name="connsiteX0" fmla="*/ 0 w 592282"/>
                    <a:gd name="connsiteY0" fmla="*/ 176645 h 353292"/>
                    <a:gd name="connsiteX1" fmla="*/ 0 w 592282"/>
                    <a:gd name="connsiteY1" fmla="*/ 176646 h 353292"/>
                    <a:gd name="connsiteX2" fmla="*/ 0 w 592282"/>
                    <a:gd name="connsiteY2" fmla="*/ 176646 h 353292"/>
                    <a:gd name="connsiteX3" fmla="*/ 176646 w 592282"/>
                    <a:gd name="connsiteY3" fmla="*/ 0 h 353292"/>
                    <a:gd name="connsiteX4" fmla="*/ 592282 w 592282"/>
                    <a:gd name="connsiteY4" fmla="*/ 0 h 353292"/>
                    <a:gd name="connsiteX5" fmla="*/ 592282 w 592282"/>
                    <a:gd name="connsiteY5" fmla="*/ 353292 h 353292"/>
                    <a:gd name="connsiteX6" fmla="*/ 176646 w 592282"/>
                    <a:gd name="connsiteY6" fmla="*/ 353291 h 353292"/>
                    <a:gd name="connsiteX7" fmla="*/ 13882 w 592282"/>
                    <a:gd name="connsiteY7" fmla="*/ 245404 h 353292"/>
                    <a:gd name="connsiteX8" fmla="*/ 0 w 592282"/>
                    <a:gd name="connsiteY8" fmla="*/ 176646 h 353292"/>
                    <a:gd name="connsiteX9" fmla="*/ 13882 w 592282"/>
                    <a:gd name="connsiteY9" fmla="*/ 107888 h 353292"/>
                    <a:gd name="connsiteX10" fmla="*/ 176646 w 592282"/>
                    <a:gd name="connsiteY10" fmla="*/ 0 h 35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282" h="353292">
                      <a:moveTo>
                        <a:pt x="0" y="176645"/>
                      </a:moveTo>
                      <a:lnTo>
                        <a:pt x="0" y="176646"/>
                      </a:lnTo>
                      <a:lnTo>
                        <a:pt x="0" y="176646"/>
                      </a:lnTo>
                      <a:close/>
                      <a:moveTo>
                        <a:pt x="176646" y="0"/>
                      </a:moveTo>
                      <a:lnTo>
                        <a:pt x="592282" y="0"/>
                      </a:lnTo>
                      <a:lnTo>
                        <a:pt x="592282" y="353292"/>
                      </a:lnTo>
                      <a:lnTo>
                        <a:pt x="176646" y="353291"/>
                      </a:lnTo>
                      <a:cubicBezTo>
                        <a:pt x="103477" y="353291"/>
                        <a:pt x="40698" y="308805"/>
                        <a:pt x="13882" y="245404"/>
                      </a:cubicBezTo>
                      <a:lnTo>
                        <a:pt x="0" y="176646"/>
                      </a:lnTo>
                      <a:lnTo>
                        <a:pt x="13882" y="107888"/>
                      </a:lnTo>
                      <a:cubicBezTo>
                        <a:pt x="40698" y="44487"/>
                        <a:pt x="103477" y="0"/>
                        <a:pt x="176646" y="0"/>
                      </a:cubicBezTo>
                      <a:close/>
                    </a:path>
                  </a:pathLst>
                </a:custGeom>
                <a:solidFill>
                  <a:srgbClr val="7111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p:cNvSpPr txBox="1"/>
              <p:nvPr/>
            </p:nvSpPr>
            <p:spPr>
              <a:xfrm>
                <a:off x="1357678" y="2565795"/>
                <a:ext cx="1889556" cy="400110"/>
              </a:xfrm>
              <a:prstGeom prst="rect">
                <a:avLst/>
              </a:prstGeom>
              <a:noFill/>
            </p:spPr>
            <p:txBody>
              <a:bodyPr wrap="none" rtlCol="0">
                <a:spAutoFit/>
              </a:bodyPr>
              <a:lstStyle/>
              <a:p>
                <a:r>
                  <a:rPr lang="en-US" sz="2000" b="1" dirty="0" err="1" smtClean="0">
                    <a:solidFill>
                      <a:schemeClr val="bg1"/>
                    </a:solidFill>
                  </a:rPr>
                  <a:t>Penilaian</a:t>
                </a:r>
                <a:r>
                  <a:rPr lang="en-US" sz="2000" b="1" dirty="0" smtClean="0">
                    <a:solidFill>
                      <a:schemeClr val="bg1"/>
                    </a:solidFill>
                  </a:rPr>
                  <a:t> </a:t>
                </a:r>
                <a:r>
                  <a:rPr lang="en-US" sz="2000" b="1" dirty="0" err="1" smtClean="0">
                    <a:solidFill>
                      <a:schemeClr val="bg1"/>
                    </a:solidFill>
                  </a:rPr>
                  <a:t>Kedua</a:t>
                </a:r>
                <a:endParaRPr lang="en-US" sz="2000" b="1" dirty="0">
                  <a:solidFill>
                    <a:schemeClr val="bg1"/>
                  </a:solidFill>
                </a:endParaRPr>
              </a:p>
            </p:txBody>
          </p:sp>
        </p:grpSp>
      </p:grpSp>
      <p:grpSp>
        <p:nvGrpSpPr>
          <p:cNvPr id="10" name="Group 17"/>
          <p:cNvGrpSpPr/>
          <p:nvPr/>
        </p:nvGrpSpPr>
        <p:grpSpPr>
          <a:xfrm>
            <a:off x="1131873" y="5020986"/>
            <a:ext cx="8164527" cy="1886565"/>
            <a:chOff x="1131873" y="5005306"/>
            <a:chExt cx="8164527" cy="1886565"/>
          </a:xfrm>
        </p:grpSpPr>
        <p:grpSp>
          <p:nvGrpSpPr>
            <p:cNvPr id="12" name="Group 7"/>
            <p:cNvGrpSpPr/>
            <p:nvPr/>
          </p:nvGrpSpPr>
          <p:grpSpPr>
            <a:xfrm>
              <a:off x="5286268" y="5082795"/>
              <a:ext cx="4010132" cy="1809076"/>
              <a:chOff x="5286268" y="5035755"/>
              <a:chExt cx="4010132" cy="1809076"/>
            </a:xfrm>
          </p:grpSpPr>
          <p:sp>
            <p:nvSpPr>
              <p:cNvPr id="26" name="Rectangle 25"/>
              <p:cNvSpPr/>
              <p:nvPr/>
            </p:nvSpPr>
            <p:spPr>
              <a:xfrm>
                <a:off x="5413122" y="5090505"/>
                <a:ext cx="3883278" cy="1754326"/>
              </a:xfrm>
              <a:prstGeom prst="rect">
                <a:avLst/>
              </a:prstGeom>
            </p:spPr>
            <p:txBody>
              <a:bodyPr wrap="square">
                <a:spAutoFit/>
              </a:bodyPr>
              <a:lstStyle/>
              <a:p>
                <a:pPr marL="171450" indent="-171450">
                  <a:buFont typeface="Arial" pitchFamily="34" charset="0"/>
                  <a:buChar char="•"/>
                </a:pPr>
                <a:r>
                  <a:rPr lang="ms-MY" dirty="0" smtClean="0"/>
                  <a:t>Menghadiri taklimat</a:t>
                </a:r>
              </a:p>
              <a:p>
                <a:pPr marL="171450" indent="-171450">
                  <a:buFont typeface="Arial" pitchFamily="34" charset="0"/>
                  <a:buChar char="•"/>
                </a:pPr>
                <a:r>
                  <a:rPr lang="ms-MY" dirty="0" smtClean="0"/>
                  <a:t>Menghadiri perbincangan bersama-sama PP1 dan PP2 (Keberhasilan)</a:t>
                </a:r>
              </a:p>
              <a:p>
                <a:pPr marL="171450" indent="-171450">
                  <a:buFont typeface="Arial" pitchFamily="34" charset="0"/>
                  <a:buChar char="•"/>
                </a:pPr>
                <a:r>
                  <a:rPr lang="ms-MY" dirty="0" smtClean="0"/>
                  <a:t>Bersedia dinilai pada bila-bila masa </a:t>
                </a:r>
                <a:endParaRPr lang="en-US" dirty="0" smtClean="0">
                  <a:latin typeface="Calibri" pitchFamily="-105" charset="0"/>
                </a:endParaRPr>
              </a:p>
              <a:p>
                <a:endParaRPr lang="en-PH" dirty="0" smtClean="0"/>
              </a:p>
              <a:p>
                <a:endParaRPr lang="en-PH" dirty="0" smtClean="0"/>
              </a:p>
            </p:txBody>
          </p:sp>
          <p:sp>
            <p:nvSpPr>
              <p:cNvPr id="27" name="Left Brace 26"/>
              <p:cNvSpPr/>
              <p:nvPr/>
            </p:nvSpPr>
            <p:spPr>
              <a:xfrm>
                <a:off x="5286268" y="5035755"/>
                <a:ext cx="152895" cy="1402586"/>
              </a:xfrm>
              <a:prstGeom prst="leftBrace">
                <a:avLst/>
              </a:prstGeom>
              <a:ln>
                <a:solidFill>
                  <a:srgbClr val="37374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8" name="Group 5"/>
            <p:cNvGrpSpPr/>
            <p:nvPr/>
          </p:nvGrpSpPr>
          <p:grpSpPr>
            <a:xfrm>
              <a:off x="1131873" y="5005306"/>
              <a:ext cx="4169664" cy="1471256"/>
              <a:chOff x="1131873" y="4958266"/>
              <a:chExt cx="4169664" cy="1471256"/>
            </a:xfrm>
          </p:grpSpPr>
          <p:sp>
            <p:nvSpPr>
              <p:cNvPr id="21" name="Notched Right Arrow 20"/>
              <p:cNvSpPr/>
              <p:nvPr/>
            </p:nvSpPr>
            <p:spPr>
              <a:xfrm rot="16200000">
                <a:off x="3834656" y="5555333"/>
                <a:ext cx="1471256" cy="277122"/>
              </a:xfrm>
              <a:prstGeom prst="notchedRightArrow">
                <a:avLst>
                  <a:gd name="adj1" fmla="val 100000"/>
                  <a:gd name="adj2" fmla="val 74138"/>
                </a:avLst>
              </a:prstGeom>
              <a:solidFill>
                <a:srgbClr val="7A7A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t" anchorCtr="0" forceAA="0" compatLnSpc="1">
                <a:prstTxWarp prst="textNoShape">
                  <a:avLst/>
                </a:prstTxWarp>
                <a:noAutofit/>
              </a:bodyPr>
              <a:lstStyle/>
              <a:p>
                <a:endParaRPr lang="en-US" sz="2000" b="1"/>
              </a:p>
            </p:txBody>
          </p:sp>
          <p:grpSp>
            <p:nvGrpSpPr>
              <p:cNvPr id="19" name="Group 74"/>
              <p:cNvGrpSpPr/>
              <p:nvPr/>
            </p:nvGrpSpPr>
            <p:grpSpPr>
              <a:xfrm flipH="1">
                <a:off x="1131873" y="5460707"/>
                <a:ext cx="4169664" cy="640080"/>
                <a:chOff x="0" y="5065566"/>
                <a:chExt cx="4166758" cy="976745"/>
              </a:xfrm>
            </p:grpSpPr>
            <p:sp>
              <p:nvSpPr>
                <p:cNvPr id="24" name="Freeform 23"/>
                <p:cNvSpPr/>
                <p:nvPr/>
              </p:nvSpPr>
              <p:spPr>
                <a:xfrm>
                  <a:off x="0" y="5065566"/>
                  <a:ext cx="4166758" cy="976745"/>
                </a:xfrm>
                <a:custGeom>
                  <a:avLst/>
                  <a:gdLst>
                    <a:gd name="connsiteX0" fmla="*/ 455897 w 4166758"/>
                    <a:gd name="connsiteY0" fmla="*/ 0 h 800099"/>
                    <a:gd name="connsiteX1" fmla="*/ 3855031 w 4166758"/>
                    <a:gd name="connsiteY1" fmla="*/ 0 h 800099"/>
                    <a:gd name="connsiteX2" fmla="*/ 4166758 w 4166758"/>
                    <a:gd name="connsiteY2" fmla="*/ 311727 h 800099"/>
                    <a:gd name="connsiteX3" fmla="*/ 3855031 w 4166758"/>
                    <a:gd name="connsiteY3" fmla="*/ 623454 h 800099"/>
                    <a:gd name="connsiteX4" fmla="*/ 1517075 w 4166758"/>
                    <a:gd name="connsiteY4" fmla="*/ 623454 h 800099"/>
                    <a:gd name="connsiteX5" fmla="*/ 1517075 w 4166758"/>
                    <a:gd name="connsiteY5" fmla="*/ 623449 h 800099"/>
                    <a:gd name="connsiteX6" fmla="*/ 592284 w 4166758"/>
                    <a:gd name="connsiteY6" fmla="*/ 623449 h 800099"/>
                    <a:gd name="connsiteX7" fmla="*/ 592284 w 4166758"/>
                    <a:gd name="connsiteY7" fmla="*/ 623454 h 800099"/>
                    <a:gd name="connsiteX8" fmla="*/ 176649 w 4166758"/>
                    <a:gd name="connsiteY8" fmla="*/ 623454 h 800099"/>
                    <a:gd name="connsiteX9" fmla="*/ 13885 w 4166758"/>
                    <a:gd name="connsiteY9" fmla="*/ 731342 h 800099"/>
                    <a:gd name="connsiteX10" fmla="*/ 3 w 4166758"/>
                    <a:gd name="connsiteY10" fmla="*/ 800099 h 800099"/>
                    <a:gd name="connsiteX11" fmla="*/ 3 w 4166758"/>
                    <a:gd name="connsiteY11" fmla="*/ 800099 h 800099"/>
                    <a:gd name="connsiteX12" fmla="*/ 3 w 4166758"/>
                    <a:gd name="connsiteY12" fmla="*/ 446808 h 800099"/>
                    <a:gd name="connsiteX13" fmla="*/ 4 w 4166758"/>
                    <a:gd name="connsiteY13" fmla="*/ 446808 h 800099"/>
                    <a:gd name="connsiteX14" fmla="*/ 4 w 4166758"/>
                    <a:gd name="connsiteY14" fmla="*/ 176666 h 800099"/>
                    <a:gd name="connsiteX15" fmla="*/ 0 w 4166758"/>
                    <a:gd name="connsiteY15" fmla="*/ 176647 h 800099"/>
                    <a:gd name="connsiteX16" fmla="*/ 13882 w 4166758"/>
                    <a:gd name="connsiteY16" fmla="*/ 107889 h 800099"/>
                    <a:gd name="connsiteX17" fmla="*/ 176646 w 4166758"/>
                    <a:gd name="connsiteY17" fmla="*/ 1 h 800099"/>
                    <a:gd name="connsiteX18" fmla="*/ 455897 w 4166758"/>
                    <a:gd name="connsiteY18" fmla="*/ 1 h 80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66758" h="800099">
                      <a:moveTo>
                        <a:pt x="455897" y="0"/>
                      </a:moveTo>
                      <a:lnTo>
                        <a:pt x="3855031" y="0"/>
                      </a:lnTo>
                      <a:lnTo>
                        <a:pt x="4166758" y="311727"/>
                      </a:lnTo>
                      <a:lnTo>
                        <a:pt x="3855031" y="623454"/>
                      </a:lnTo>
                      <a:lnTo>
                        <a:pt x="1517075" y="623454"/>
                      </a:lnTo>
                      <a:lnTo>
                        <a:pt x="1517075" y="623449"/>
                      </a:lnTo>
                      <a:lnTo>
                        <a:pt x="592284" y="623449"/>
                      </a:lnTo>
                      <a:lnTo>
                        <a:pt x="592284" y="623454"/>
                      </a:lnTo>
                      <a:lnTo>
                        <a:pt x="176649" y="623454"/>
                      </a:lnTo>
                      <a:cubicBezTo>
                        <a:pt x="103480" y="623454"/>
                        <a:pt x="40701" y="667941"/>
                        <a:pt x="13885" y="731342"/>
                      </a:cubicBezTo>
                      <a:lnTo>
                        <a:pt x="3" y="800099"/>
                      </a:lnTo>
                      <a:lnTo>
                        <a:pt x="3" y="800099"/>
                      </a:lnTo>
                      <a:lnTo>
                        <a:pt x="3" y="446808"/>
                      </a:lnTo>
                      <a:lnTo>
                        <a:pt x="4" y="446808"/>
                      </a:lnTo>
                      <a:lnTo>
                        <a:pt x="4" y="176666"/>
                      </a:lnTo>
                      <a:lnTo>
                        <a:pt x="0" y="176647"/>
                      </a:lnTo>
                      <a:lnTo>
                        <a:pt x="13882" y="107889"/>
                      </a:lnTo>
                      <a:cubicBezTo>
                        <a:pt x="40698" y="44488"/>
                        <a:pt x="103477" y="1"/>
                        <a:pt x="176646" y="1"/>
                      </a:cubicBezTo>
                      <a:lnTo>
                        <a:pt x="455897" y="1"/>
                      </a:lnTo>
                      <a:close/>
                    </a:path>
                  </a:pathLst>
                </a:custGeom>
                <a:solidFill>
                  <a:srgbClr val="5A5A7B"/>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457200" rtlCol="0" anchor="t"/>
                <a:lstStyle/>
                <a:p>
                  <a:pPr algn="r"/>
                  <a:endParaRPr lang="en-US" sz="2000" b="1" dirty="0">
                    <a:effectLst>
                      <a:outerShdw blurRad="38100" dist="38100" dir="2700000" algn="tl">
                        <a:srgbClr val="000000">
                          <a:alpha val="43137"/>
                        </a:srgbClr>
                      </a:outerShdw>
                    </a:effectLst>
                  </a:endParaRPr>
                </a:p>
              </p:txBody>
            </p:sp>
            <p:sp>
              <p:nvSpPr>
                <p:cNvPr id="25" name="Freeform 24"/>
                <p:cNvSpPr/>
                <p:nvPr/>
              </p:nvSpPr>
              <p:spPr>
                <a:xfrm>
                  <a:off x="0" y="5689019"/>
                  <a:ext cx="592282" cy="353292"/>
                </a:xfrm>
                <a:custGeom>
                  <a:avLst/>
                  <a:gdLst>
                    <a:gd name="connsiteX0" fmla="*/ 0 w 592282"/>
                    <a:gd name="connsiteY0" fmla="*/ 176645 h 353292"/>
                    <a:gd name="connsiteX1" fmla="*/ 0 w 592282"/>
                    <a:gd name="connsiteY1" fmla="*/ 176646 h 353292"/>
                    <a:gd name="connsiteX2" fmla="*/ 0 w 592282"/>
                    <a:gd name="connsiteY2" fmla="*/ 176646 h 353292"/>
                    <a:gd name="connsiteX3" fmla="*/ 176646 w 592282"/>
                    <a:gd name="connsiteY3" fmla="*/ 0 h 353292"/>
                    <a:gd name="connsiteX4" fmla="*/ 592282 w 592282"/>
                    <a:gd name="connsiteY4" fmla="*/ 0 h 353292"/>
                    <a:gd name="connsiteX5" fmla="*/ 592282 w 592282"/>
                    <a:gd name="connsiteY5" fmla="*/ 353292 h 353292"/>
                    <a:gd name="connsiteX6" fmla="*/ 176646 w 592282"/>
                    <a:gd name="connsiteY6" fmla="*/ 353291 h 353292"/>
                    <a:gd name="connsiteX7" fmla="*/ 13882 w 592282"/>
                    <a:gd name="connsiteY7" fmla="*/ 245404 h 353292"/>
                    <a:gd name="connsiteX8" fmla="*/ 0 w 592282"/>
                    <a:gd name="connsiteY8" fmla="*/ 176646 h 353292"/>
                    <a:gd name="connsiteX9" fmla="*/ 13882 w 592282"/>
                    <a:gd name="connsiteY9" fmla="*/ 107888 h 353292"/>
                    <a:gd name="connsiteX10" fmla="*/ 176646 w 592282"/>
                    <a:gd name="connsiteY10" fmla="*/ 0 h 35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282" h="353292">
                      <a:moveTo>
                        <a:pt x="0" y="176645"/>
                      </a:moveTo>
                      <a:lnTo>
                        <a:pt x="0" y="176646"/>
                      </a:lnTo>
                      <a:lnTo>
                        <a:pt x="0" y="176646"/>
                      </a:lnTo>
                      <a:close/>
                      <a:moveTo>
                        <a:pt x="176646" y="0"/>
                      </a:moveTo>
                      <a:lnTo>
                        <a:pt x="592282" y="0"/>
                      </a:lnTo>
                      <a:lnTo>
                        <a:pt x="592282" y="353292"/>
                      </a:lnTo>
                      <a:lnTo>
                        <a:pt x="176646" y="353291"/>
                      </a:lnTo>
                      <a:cubicBezTo>
                        <a:pt x="103477" y="353291"/>
                        <a:pt x="40698" y="308805"/>
                        <a:pt x="13882" y="245404"/>
                      </a:cubicBezTo>
                      <a:lnTo>
                        <a:pt x="0" y="176646"/>
                      </a:lnTo>
                      <a:lnTo>
                        <a:pt x="13882" y="107888"/>
                      </a:lnTo>
                      <a:cubicBezTo>
                        <a:pt x="40698" y="44487"/>
                        <a:pt x="103477" y="0"/>
                        <a:pt x="176646" y="0"/>
                      </a:cubicBezTo>
                      <a:close/>
                    </a:path>
                  </a:pathLst>
                </a:custGeom>
                <a:solidFill>
                  <a:srgbClr val="3737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22"/>
              <p:cNvSpPr txBox="1"/>
              <p:nvPr/>
            </p:nvSpPr>
            <p:spPr>
              <a:xfrm>
                <a:off x="1388674" y="5488707"/>
                <a:ext cx="1517531" cy="400110"/>
              </a:xfrm>
              <a:prstGeom prst="rect">
                <a:avLst/>
              </a:prstGeom>
              <a:noFill/>
            </p:spPr>
            <p:txBody>
              <a:bodyPr wrap="none" rtlCol="0">
                <a:spAutoFit/>
              </a:bodyPr>
              <a:lstStyle/>
              <a:p>
                <a:r>
                  <a:rPr lang="en-US" sz="2000" b="1" dirty="0" err="1" smtClean="0">
                    <a:solidFill>
                      <a:schemeClr val="bg1"/>
                    </a:solidFill>
                  </a:rPr>
                  <a:t>Prapenilaian</a:t>
                </a:r>
                <a:endParaRPr lang="en-US" sz="2000" b="1" dirty="0">
                  <a:solidFill>
                    <a:schemeClr val="bg1"/>
                  </a:solidFill>
                </a:endParaRPr>
              </a:p>
            </p:txBody>
          </p:sp>
        </p:grpSp>
      </p:grpSp>
      <p:grpSp>
        <p:nvGrpSpPr>
          <p:cNvPr id="20" name="Group 27"/>
          <p:cNvGrpSpPr/>
          <p:nvPr/>
        </p:nvGrpSpPr>
        <p:grpSpPr>
          <a:xfrm>
            <a:off x="323850" y="3606120"/>
            <a:ext cx="7684773" cy="2308324"/>
            <a:chOff x="323850" y="3527720"/>
            <a:chExt cx="7684773" cy="2308324"/>
          </a:xfrm>
        </p:grpSpPr>
        <p:grpSp>
          <p:nvGrpSpPr>
            <p:cNvPr id="22" name="Group 28"/>
            <p:cNvGrpSpPr/>
            <p:nvPr/>
          </p:nvGrpSpPr>
          <p:grpSpPr>
            <a:xfrm>
              <a:off x="323850" y="3527720"/>
              <a:ext cx="3430864" cy="2308324"/>
              <a:chOff x="323850" y="3527720"/>
              <a:chExt cx="3430864" cy="2308324"/>
            </a:xfrm>
          </p:grpSpPr>
          <p:sp>
            <p:nvSpPr>
              <p:cNvPr id="36" name="Rectangle 35"/>
              <p:cNvSpPr/>
              <p:nvPr/>
            </p:nvSpPr>
            <p:spPr>
              <a:xfrm>
                <a:off x="323850" y="3527720"/>
                <a:ext cx="3430864" cy="2308324"/>
              </a:xfrm>
              <a:prstGeom prst="rect">
                <a:avLst/>
              </a:prstGeom>
            </p:spPr>
            <p:txBody>
              <a:bodyPr wrap="square">
                <a:spAutoFit/>
              </a:bodyPr>
              <a:lstStyle/>
              <a:p>
                <a:pPr marL="285750" lvl="0" indent="-285750">
                  <a:buFont typeface="Arial" pitchFamily="34" charset="0"/>
                  <a:buChar char="•"/>
                </a:pPr>
                <a:r>
                  <a:rPr lang="ms-MY" dirty="0" smtClean="0"/>
                  <a:t>Menerima dan menyimpan borang markah bagi penilaian pertama </a:t>
                </a:r>
                <a:endParaRPr lang="ms-MY" dirty="0"/>
              </a:p>
              <a:p>
                <a:pPr marL="285750" lvl="0" indent="-285750">
                  <a:buFont typeface="Arial" pitchFamily="34" charset="0"/>
                  <a:buChar char="•"/>
                </a:pPr>
                <a:r>
                  <a:rPr lang="ms-MY" dirty="0" smtClean="0"/>
                  <a:t>Membuat </a:t>
                </a:r>
                <a:r>
                  <a:rPr lang="ms-MY" dirty="0"/>
                  <a:t>Semakan Semula Sasaran bagi Keberhasilan bersama PP1 dan PP2</a:t>
                </a:r>
              </a:p>
              <a:p>
                <a:pPr lvl="0"/>
                <a:endParaRPr lang="ms-MY" dirty="0" smtClean="0"/>
              </a:p>
              <a:p>
                <a:pPr lvl="0"/>
                <a:endParaRPr lang="ms-MY" dirty="0" smtClean="0"/>
              </a:p>
            </p:txBody>
          </p:sp>
          <p:sp>
            <p:nvSpPr>
              <p:cNvPr id="37" name="Left Brace 36"/>
              <p:cNvSpPr/>
              <p:nvPr/>
            </p:nvSpPr>
            <p:spPr>
              <a:xfrm rot="10800000">
                <a:off x="3594563" y="3745716"/>
                <a:ext cx="152895" cy="1402586"/>
              </a:xfrm>
              <a:prstGeom prst="leftBrace">
                <a:avLst/>
              </a:prstGeom>
              <a:ln>
                <a:solidFill>
                  <a:srgbClr val="146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8" name="Group 10"/>
            <p:cNvGrpSpPr/>
            <p:nvPr/>
          </p:nvGrpSpPr>
          <p:grpSpPr>
            <a:xfrm>
              <a:off x="3841865" y="3686067"/>
              <a:ext cx="4166758" cy="1471256"/>
              <a:chOff x="3841865" y="3576307"/>
              <a:chExt cx="4166758" cy="1471256"/>
            </a:xfrm>
          </p:grpSpPr>
          <p:sp>
            <p:nvSpPr>
              <p:cNvPr id="31" name="Notched Right Arrow 16"/>
              <p:cNvSpPr/>
              <p:nvPr/>
            </p:nvSpPr>
            <p:spPr>
              <a:xfrm rot="16200000">
                <a:off x="3834657" y="4173374"/>
                <a:ext cx="1471256" cy="277122"/>
              </a:xfrm>
              <a:prstGeom prst="notchedRightArrow">
                <a:avLst>
                  <a:gd name="adj1" fmla="val 100000"/>
                  <a:gd name="adj2" fmla="val 74138"/>
                </a:avLst>
              </a:prstGeom>
              <a:solidFill>
                <a:srgbClr val="65C3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74320" bIns="45720" numCol="1" spcCol="0" rtlCol="0" fromWordArt="0" anchor="t" anchorCtr="0" forceAA="0" compatLnSpc="1">
                <a:prstTxWarp prst="textNoShape">
                  <a:avLst/>
                </a:prstTxWarp>
                <a:noAutofit/>
              </a:bodyPr>
              <a:lstStyle/>
              <a:p>
                <a:pPr algn="r"/>
                <a:endParaRPr lang="en-US" sz="2000" b="1"/>
              </a:p>
            </p:txBody>
          </p:sp>
          <p:grpSp>
            <p:nvGrpSpPr>
              <p:cNvPr id="29" name="Group 78"/>
              <p:cNvGrpSpPr/>
              <p:nvPr/>
            </p:nvGrpSpPr>
            <p:grpSpPr>
              <a:xfrm>
                <a:off x="3841865" y="4065429"/>
                <a:ext cx="4166758" cy="640080"/>
                <a:chOff x="0" y="5065566"/>
                <a:chExt cx="4166758" cy="976745"/>
              </a:xfrm>
            </p:grpSpPr>
            <p:sp>
              <p:nvSpPr>
                <p:cNvPr id="34" name="Freeform 33"/>
                <p:cNvSpPr/>
                <p:nvPr/>
              </p:nvSpPr>
              <p:spPr>
                <a:xfrm>
                  <a:off x="0" y="5689019"/>
                  <a:ext cx="592282" cy="353292"/>
                </a:xfrm>
                <a:custGeom>
                  <a:avLst/>
                  <a:gdLst>
                    <a:gd name="connsiteX0" fmla="*/ 0 w 592282"/>
                    <a:gd name="connsiteY0" fmla="*/ 176645 h 353292"/>
                    <a:gd name="connsiteX1" fmla="*/ 0 w 592282"/>
                    <a:gd name="connsiteY1" fmla="*/ 176646 h 353292"/>
                    <a:gd name="connsiteX2" fmla="*/ 0 w 592282"/>
                    <a:gd name="connsiteY2" fmla="*/ 176646 h 353292"/>
                    <a:gd name="connsiteX3" fmla="*/ 176646 w 592282"/>
                    <a:gd name="connsiteY3" fmla="*/ 0 h 353292"/>
                    <a:gd name="connsiteX4" fmla="*/ 592282 w 592282"/>
                    <a:gd name="connsiteY4" fmla="*/ 0 h 353292"/>
                    <a:gd name="connsiteX5" fmla="*/ 592282 w 592282"/>
                    <a:gd name="connsiteY5" fmla="*/ 353292 h 353292"/>
                    <a:gd name="connsiteX6" fmla="*/ 176646 w 592282"/>
                    <a:gd name="connsiteY6" fmla="*/ 353291 h 353292"/>
                    <a:gd name="connsiteX7" fmla="*/ 13882 w 592282"/>
                    <a:gd name="connsiteY7" fmla="*/ 245404 h 353292"/>
                    <a:gd name="connsiteX8" fmla="*/ 0 w 592282"/>
                    <a:gd name="connsiteY8" fmla="*/ 176646 h 353292"/>
                    <a:gd name="connsiteX9" fmla="*/ 13882 w 592282"/>
                    <a:gd name="connsiteY9" fmla="*/ 107888 h 353292"/>
                    <a:gd name="connsiteX10" fmla="*/ 176646 w 592282"/>
                    <a:gd name="connsiteY10" fmla="*/ 0 h 35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282" h="353292">
                      <a:moveTo>
                        <a:pt x="0" y="176645"/>
                      </a:moveTo>
                      <a:lnTo>
                        <a:pt x="0" y="176646"/>
                      </a:lnTo>
                      <a:lnTo>
                        <a:pt x="0" y="176646"/>
                      </a:lnTo>
                      <a:close/>
                      <a:moveTo>
                        <a:pt x="176646" y="0"/>
                      </a:moveTo>
                      <a:lnTo>
                        <a:pt x="592282" y="0"/>
                      </a:lnTo>
                      <a:lnTo>
                        <a:pt x="592282" y="353292"/>
                      </a:lnTo>
                      <a:lnTo>
                        <a:pt x="176646" y="353291"/>
                      </a:lnTo>
                      <a:cubicBezTo>
                        <a:pt x="103477" y="353291"/>
                        <a:pt x="40698" y="308805"/>
                        <a:pt x="13882" y="245404"/>
                      </a:cubicBezTo>
                      <a:lnTo>
                        <a:pt x="0" y="176646"/>
                      </a:lnTo>
                      <a:lnTo>
                        <a:pt x="13882" y="107888"/>
                      </a:lnTo>
                      <a:cubicBezTo>
                        <a:pt x="40698" y="44487"/>
                        <a:pt x="103477" y="0"/>
                        <a:pt x="176646" y="0"/>
                      </a:cubicBezTo>
                      <a:close/>
                    </a:path>
                  </a:pathLst>
                </a:custGeom>
                <a:solidFill>
                  <a:srgbClr val="146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0" y="5065566"/>
                  <a:ext cx="4166758" cy="800099"/>
                </a:xfrm>
                <a:custGeom>
                  <a:avLst/>
                  <a:gdLst>
                    <a:gd name="connsiteX0" fmla="*/ 455897 w 4166758"/>
                    <a:gd name="connsiteY0" fmla="*/ 0 h 800099"/>
                    <a:gd name="connsiteX1" fmla="*/ 3855031 w 4166758"/>
                    <a:gd name="connsiteY1" fmla="*/ 0 h 800099"/>
                    <a:gd name="connsiteX2" fmla="*/ 4166758 w 4166758"/>
                    <a:gd name="connsiteY2" fmla="*/ 311727 h 800099"/>
                    <a:gd name="connsiteX3" fmla="*/ 3855031 w 4166758"/>
                    <a:gd name="connsiteY3" fmla="*/ 623454 h 800099"/>
                    <a:gd name="connsiteX4" fmla="*/ 1517075 w 4166758"/>
                    <a:gd name="connsiteY4" fmla="*/ 623454 h 800099"/>
                    <a:gd name="connsiteX5" fmla="*/ 1517075 w 4166758"/>
                    <a:gd name="connsiteY5" fmla="*/ 623449 h 800099"/>
                    <a:gd name="connsiteX6" fmla="*/ 592284 w 4166758"/>
                    <a:gd name="connsiteY6" fmla="*/ 623449 h 800099"/>
                    <a:gd name="connsiteX7" fmla="*/ 592284 w 4166758"/>
                    <a:gd name="connsiteY7" fmla="*/ 623454 h 800099"/>
                    <a:gd name="connsiteX8" fmla="*/ 176649 w 4166758"/>
                    <a:gd name="connsiteY8" fmla="*/ 623454 h 800099"/>
                    <a:gd name="connsiteX9" fmla="*/ 13885 w 4166758"/>
                    <a:gd name="connsiteY9" fmla="*/ 731342 h 800099"/>
                    <a:gd name="connsiteX10" fmla="*/ 3 w 4166758"/>
                    <a:gd name="connsiteY10" fmla="*/ 800099 h 800099"/>
                    <a:gd name="connsiteX11" fmla="*/ 3 w 4166758"/>
                    <a:gd name="connsiteY11" fmla="*/ 800099 h 800099"/>
                    <a:gd name="connsiteX12" fmla="*/ 3 w 4166758"/>
                    <a:gd name="connsiteY12" fmla="*/ 446808 h 800099"/>
                    <a:gd name="connsiteX13" fmla="*/ 4 w 4166758"/>
                    <a:gd name="connsiteY13" fmla="*/ 446808 h 800099"/>
                    <a:gd name="connsiteX14" fmla="*/ 4 w 4166758"/>
                    <a:gd name="connsiteY14" fmla="*/ 176666 h 800099"/>
                    <a:gd name="connsiteX15" fmla="*/ 0 w 4166758"/>
                    <a:gd name="connsiteY15" fmla="*/ 176647 h 800099"/>
                    <a:gd name="connsiteX16" fmla="*/ 13882 w 4166758"/>
                    <a:gd name="connsiteY16" fmla="*/ 107889 h 800099"/>
                    <a:gd name="connsiteX17" fmla="*/ 176646 w 4166758"/>
                    <a:gd name="connsiteY17" fmla="*/ 1 h 800099"/>
                    <a:gd name="connsiteX18" fmla="*/ 455897 w 4166758"/>
                    <a:gd name="connsiteY18" fmla="*/ 1 h 80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66758" h="800099">
                      <a:moveTo>
                        <a:pt x="455897" y="0"/>
                      </a:moveTo>
                      <a:lnTo>
                        <a:pt x="3855031" y="0"/>
                      </a:lnTo>
                      <a:lnTo>
                        <a:pt x="4166758" y="311727"/>
                      </a:lnTo>
                      <a:lnTo>
                        <a:pt x="3855031" y="623454"/>
                      </a:lnTo>
                      <a:lnTo>
                        <a:pt x="1517075" y="623454"/>
                      </a:lnTo>
                      <a:lnTo>
                        <a:pt x="1517075" y="623449"/>
                      </a:lnTo>
                      <a:lnTo>
                        <a:pt x="592284" y="623449"/>
                      </a:lnTo>
                      <a:lnTo>
                        <a:pt x="592284" y="623454"/>
                      </a:lnTo>
                      <a:lnTo>
                        <a:pt x="176649" y="623454"/>
                      </a:lnTo>
                      <a:cubicBezTo>
                        <a:pt x="103480" y="623454"/>
                        <a:pt x="40701" y="667941"/>
                        <a:pt x="13885" y="731342"/>
                      </a:cubicBezTo>
                      <a:lnTo>
                        <a:pt x="3" y="800099"/>
                      </a:lnTo>
                      <a:lnTo>
                        <a:pt x="3" y="800099"/>
                      </a:lnTo>
                      <a:lnTo>
                        <a:pt x="3" y="446808"/>
                      </a:lnTo>
                      <a:lnTo>
                        <a:pt x="4" y="446808"/>
                      </a:lnTo>
                      <a:lnTo>
                        <a:pt x="4" y="176666"/>
                      </a:lnTo>
                      <a:lnTo>
                        <a:pt x="0" y="176647"/>
                      </a:lnTo>
                      <a:lnTo>
                        <a:pt x="13882" y="107889"/>
                      </a:lnTo>
                      <a:cubicBezTo>
                        <a:pt x="40698" y="44488"/>
                        <a:pt x="103477" y="1"/>
                        <a:pt x="176646" y="1"/>
                      </a:cubicBezTo>
                      <a:lnTo>
                        <a:pt x="455897" y="1"/>
                      </a:lnTo>
                      <a:close/>
                    </a:path>
                  </a:pathLst>
                </a:custGeom>
                <a:solidFill>
                  <a:srgbClr val="27A9E0"/>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274320" rtlCol="0" anchor="t"/>
                <a:lstStyle/>
                <a:p>
                  <a:endParaRPr lang="en-US" sz="2000" b="1" dirty="0">
                    <a:effectLst>
                      <a:outerShdw blurRad="38100" dist="38100" dir="2700000" algn="tl">
                        <a:srgbClr val="000000">
                          <a:alpha val="43137"/>
                        </a:srgbClr>
                      </a:outerShdw>
                    </a:effectLst>
                  </a:endParaRPr>
                </a:p>
              </p:txBody>
            </p:sp>
          </p:grpSp>
          <p:sp>
            <p:nvSpPr>
              <p:cNvPr id="33" name="TextBox 32"/>
              <p:cNvSpPr txBox="1"/>
              <p:nvPr/>
            </p:nvSpPr>
            <p:spPr>
              <a:xfrm>
                <a:off x="5663383" y="4031437"/>
                <a:ext cx="2121606" cy="400110"/>
              </a:xfrm>
              <a:prstGeom prst="rect">
                <a:avLst/>
              </a:prstGeom>
              <a:noFill/>
            </p:spPr>
            <p:txBody>
              <a:bodyPr wrap="none" rtlCol="0">
                <a:spAutoFit/>
              </a:bodyPr>
              <a:lstStyle/>
              <a:p>
                <a:r>
                  <a:rPr lang="en-US" sz="2000" b="1" dirty="0" err="1" smtClean="0"/>
                  <a:t>Penilaian</a:t>
                </a:r>
                <a:r>
                  <a:rPr lang="en-US" sz="2000" b="1" dirty="0" smtClean="0"/>
                  <a:t> </a:t>
                </a:r>
                <a:r>
                  <a:rPr lang="en-US" sz="2000" b="1" dirty="0" err="1" smtClean="0"/>
                  <a:t>Pertama</a:t>
                </a:r>
                <a:endParaRPr lang="en-US" sz="2000" b="1" dirty="0"/>
              </a:p>
            </p:txBody>
          </p:sp>
        </p:grpSp>
      </p:grpSp>
      <p:grpSp>
        <p:nvGrpSpPr>
          <p:cNvPr id="30" name="Group 46"/>
          <p:cNvGrpSpPr/>
          <p:nvPr/>
        </p:nvGrpSpPr>
        <p:grpSpPr>
          <a:xfrm>
            <a:off x="231530" y="1235842"/>
            <a:ext cx="7778290" cy="1471256"/>
            <a:chOff x="303719" y="730519"/>
            <a:chExt cx="7778290" cy="1471256"/>
          </a:xfrm>
        </p:grpSpPr>
        <p:sp>
          <p:nvSpPr>
            <p:cNvPr id="7" name="Freeform 6"/>
            <p:cNvSpPr/>
            <p:nvPr/>
          </p:nvSpPr>
          <p:spPr>
            <a:xfrm>
              <a:off x="3915251" y="1640098"/>
              <a:ext cx="592282" cy="216374"/>
            </a:xfrm>
            <a:custGeom>
              <a:avLst/>
              <a:gdLst>
                <a:gd name="connsiteX0" fmla="*/ 0 w 592282"/>
                <a:gd name="connsiteY0" fmla="*/ 176645 h 353292"/>
                <a:gd name="connsiteX1" fmla="*/ 0 w 592282"/>
                <a:gd name="connsiteY1" fmla="*/ 176646 h 353292"/>
                <a:gd name="connsiteX2" fmla="*/ 0 w 592282"/>
                <a:gd name="connsiteY2" fmla="*/ 176646 h 353292"/>
                <a:gd name="connsiteX3" fmla="*/ 176646 w 592282"/>
                <a:gd name="connsiteY3" fmla="*/ 0 h 353292"/>
                <a:gd name="connsiteX4" fmla="*/ 592282 w 592282"/>
                <a:gd name="connsiteY4" fmla="*/ 0 h 353292"/>
                <a:gd name="connsiteX5" fmla="*/ 592282 w 592282"/>
                <a:gd name="connsiteY5" fmla="*/ 353292 h 353292"/>
                <a:gd name="connsiteX6" fmla="*/ 176646 w 592282"/>
                <a:gd name="connsiteY6" fmla="*/ 353291 h 353292"/>
                <a:gd name="connsiteX7" fmla="*/ 13882 w 592282"/>
                <a:gd name="connsiteY7" fmla="*/ 245404 h 353292"/>
                <a:gd name="connsiteX8" fmla="*/ 0 w 592282"/>
                <a:gd name="connsiteY8" fmla="*/ 176646 h 353292"/>
                <a:gd name="connsiteX9" fmla="*/ 13882 w 592282"/>
                <a:gd name="connsiteY9" fmla="*/ 107888 h 353292"/>
                <a:gd name="connsiteX10" fmla="*/ 176646 w 592282"/>
                <a:gd name="connsiteY10" fmla="*/ 0 h 35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282" h="353292">
                  <a:moveTo>
                    <a:pt x="0" y="176645"/>
                  </a:moveTo>
                  <a:lnTo>
                    <a:pt x="0" y="176646"/>
                  </a:lnTo>
                  <a:lnTo>
                    <a:pt x="0" y="176646"/>
                  </a:lnTo>
                  <a:close/>
                  <a:moveTo>
                    <a:pt x="176646" y="0"/>
                  </a:moveTo>
                  <a:lnTo>
                    <a:pt x="592282" y="0"/>
                  </a:lnTo>
                  <a:lnTo>
                    <a:pt x="592282" y="353292"/>
                  </a:lnTo>
                  <a:lnTo>
                    <a:pt x="176646" y="353291"/>
                  </a:lnTo>
                  <a:cubicBezTo>
                    <a:pt x="103477" y="353291"/>
                    <a:pt x="40698" y="308805"/>
                    <a:pt x="13882" y="245404"/>
                  </a:cubicBezTo>
                  <a:lnTo>
                    <a:pt x="0" y="176646"/>
                  </a:lnTo>
                  <a:lnTo>
                    <a:pt x="13882" y="107888"/>
                  </a:lnTo>
                  <a:cubicBezTo>
                    <a:pt x="40698" y="44487"/>
                    <a:pt x="103477" y="0"/>
                    <a:pt x="176646" y="0"/>
                  </a:cubicBezTo>
                  <a:close/>
                </a:path>
              </a:pathLst>
            </a:custGeom>
            <a:solidFill>
              <a:srgbClr val="0167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43"/>
            <p:cNvGrpSpPr/>
            <p:nvPr/>
          </p:nvGrpSpPr>
          <p:grpSpPr>
            <a:xfrm>
              <a:off x="303719" y="730519"/>
              <a:ext cx="7778290" cy="1471256"/>
              <a:chOff x="230333" y="1219162"/>
              <a:chExt cx="7778290" cy="1471256"/>
            </a:xfrm>
          </p:grpSpPr>
          <p:grpSp>
            <p:nvGrpSpPr>
              <p:cNvPr id="38" name="Group 27"/>
              <p:cNvGrpSpPr/>
              <p:nvPr/>
            </p:nvGrpSpPr>
            <p:grpSpPr>
              <a:xfrm>
                <a:off x="3639919" y="1219162"/>
                <a:ext cx="4368704" cy="1471256"/>
                <a:chOff x="3639919" y="1046682"/>
                <a:chExt cx="4368704" cy="1471256"/>
              </a:xfrm>
            </p:grpSpPr>
            <p:sp>
              <p:nvSpPr>
                <p:cNvPr id="45" name="Left Brace 37"/>
                <p:cNvSpPr/>
                <p:nvPr/>
              </p:nvSpPr>
              <p:spPr>
                <a:xfrm rot="10800000">
                  <a:off x="3639919" y="1108914"/>
                  <a:ext cx="152895" cy="1402586"/>
                </a:xfrm>
                <a:prstGeom prst="leftBrace">
                  <a:avLst/>
                </a:prstGeom>
                <a:ln>
                  <a:solidFill>
                    <a:srgbClr val="0167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9" name="Group 1"/>
                <p:cNvGrpSpPr/>
                <p:nvPr/>
              </p:nvGrpSpPr>
              <p:grpSpPr>
                <a:xfrm>
                  <a:off x="3841865" y="1046682"/>
                  <a:ext cx="4166758" cy="1471256"/>
                  <a:chOff x="3841865" y="889882"/>
                  <a:chExt cx="4166758" cy="1471256"/>
                </a:xfrm>
              </p:grpSpPr>
              <p:sp>
                <p:nvSpPr>
                  <p:cNvPr id="41" name="Notched Right Arrow 40"/>
                  <p:cNvSpPr/>
                  <p:nvPr/>
                </p:nvSpPr>
                <p:spPr>
                  <a:xfrm rot="16200000">
                    <a:off x="3834656" y="1486950"/>
                    <a:ext cx="1471256" cy="277120"/>
                  </a:xfrm>
                  <a:prstGeom prst="notchedRightArrow">
                    <a:avLst>
                      <a:gd name="adj1" fmla="val 100000"/>
                      <a:gd name="adj2" fmla="val 74138"/>
                    </a:avLst>
                  </a:prstGeom>
                  <a:solidFill>
                    <a:srgbClr val="01D9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5760" bIns="45720" numCol="1" spcCol="0" rtlCol="0" fromWordArt="0" anchor="t" anchorCtr="0" forceAA="0" compatLnSpc="1">
                    <a:prstTxWarp prst="textNoShape">
                      <a:avLst/>
                    </a:prstTxWarp>
                    <a:noAutofit/>
                  </a:bodyPr>
                  <a:lstStyle/>
                  <a:p>
                    <a:pPr algn="r"/>
                    <a:endParaRPr lang="en-US" sz="2000" b="1"/>
                  </a:p>
                </p:txBody>
              </p:sp>
              <p:sp>
                <p:nvSpPr>
                  <p:cNvPr id="42" name="Freeform 41"/>
                  <p:cNvSpPr/>
                  <p:nvPr/>
                </p:nvSpPr>
                <p:spPr>
                  <a:xfrm>
                    <a:off x="3841865" y="1291631"/>
                    <a:ext cx="4166758" cy="640080"/>
                  </a:xfrm>
                  <a:custGeom>
                    <a:avLst/>
                    <a:gdLst>
                      <a:gd name="connsiteX0" fmla="*/ 455897 w 4166758"/>
                      <a:gd name="connsiteY0" fmla="*/ 0 h 800099"/>
                      <a:gd name="connsiteX1" fmla="*/ 3855031 w 4166758"/>
                      <a:gd name="connsiteY1" fmla="*/ 0 h 800099"/>
                      <a:gd name="connsiteX2" fmla="*/ 4166758 w 4166758"/>
                      <a:gd name="connsiteY2" fmla="*/ 311727 h 800099"/>
                      <a:gd name="connsiteX3" fmla="*/ 3855031 w 4166758"/>
                      <a:gd name="connsiteY3" fmla="*/ 623454 h 800099"/>
                      <a:gd name="connsiteX4" fmla="*/ 1517075 w 4166758"/>
                      <a:gd name="connsiteY4" fmla="*/ 623454 h 800099"/>
                      <a:gd name="connsiteX5" fmla="*/ 1517075 w 4166758"/>
                      <a:gd name="connsiteY5" fmla="*/ 623449 h 800099"/>
                      <a:gd name="connsiteX6" fmla="*/ 592284 w 4166758"/>
                      <a:gd name="connsiteY6" fmla="*/ 623449 h 800099"/>
                      <a:gd name="connsiteX7" fmla="*/ 592284 w 4166758"/>
                      <a:gd name="connsiteY7" fmla="*/ 623454 h 800099"/>
                      <a:gd name="connsiteX8" fmla="*/ 176649 w 4166758"/>
                      <a:gd name="connsiteY8" fmla="*/ 623454 h 800099"/>
                      <a:gd name="connsiteX9" fmla="*/ 13885 w 4166758"/>
                      <a:gd name="connsiteY9" fmla="*/ 731342 h 800099"/>
                      <a:gd name="connsiteX10" fmla="*/ 3 w 4166758"/>
                      <a:gd name="connsiteY10" fmla="*/ 800099 h 800099"/>
                      <a:gd name="connsiteX11" fmla="*/ 3 w 4166758"/>
                      <a:gd name="connsiteY11" fmla="*/ 800099 h 800099"/>
                      <a:gd name="connsiteX12" fmla="*/ 3 w 4166758"/>
                      <a:gd name="connsiteY12" fmla="*/ 446808 h 800099"/>
                      <a:gd name="connsiteX13" fmla="*/ 4 w 4166758"/>
                      <a:gd name="connsiteY13" fmla="*/ 446808 h 800099"/>
                      <a:gd name="connsiteX14" fmla="*/ 4 w 4166758"/>
                      <a:gd name="connsiteY14" fmla="*/ 176666 h 800099"/>
                      <a:gd name="connsiteX15" fmla="*/ 0 w 4166758"/>
                      <a:gd name="connsiteY15" fmla="*/ 176647 h 800099"/>
                      <a:gd name="connsiteX16" fmla="*/ 13882 w 4166758"/>
                      <a:gd name="connsiteY16" fmla="*/ 107889 h 800099"/>
                      <a:gd name="connsiteX17" fmla="*/ 176646 w 4166758"/>
                      <a:gd name="connsiteY17" fmla="*/ 1 h 800099"/>
                      <a:gd name="connsiteX18" fmla="*/ 455897 w 4166758"/>
                      <a:gd name="connsiteY18" fmla="*/ 1 h 80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66758" h="800099">
                        <a:moveTo>
                          <a:pt x="455897" y="0"/>
                        </a:moveTo>
                        <a:lnTo>
                          <a:pt x="3855031" y="0"/>
                        </a:lnTo>
                        <a:lnTo>
                          <a:pt x="4166758" y="311727"/>
                        </a:lnTo>
                        <a:lnTo>
                          <a:pt x="3855031" y="623454"/>
                        </a:lnTo>
                        <a:lnTo>
                          <a:pt x="1517075" y="623454"/>
                        </a:lnTo>
                        <a:lnTo>
                          <a:pt x="1517075" y="623449"/>
                        </a:lnTo>
                        <a:lnTo>
                          <a:pt x="592284" y="623449"/>
                        </a:lnTo>
                        <a:lnTo>
                          <a:pt x="592284" y="623454"/>
                        </a:lnTo>
                        <a:lnTo>
                          <a:pt x="176649" y="623454"/>
                        </a:lnTo>
                        <a:cubicBezTo>
                          <a:pt x="103480" y="623454"/>
                          <a:pt x="40701" y="667941"/>
                          <a:pt x="13885" y="731342"/>
                        </a:cubicBezTo>
                        <a:lnTo>
                          <a:pt x="3" y="800099"/>
                        </a:lnTo>
                        <a:lnTo>
                          <a:pt x="3" y="800099"/>
                        </a:lnTo>
                        <a:lnTo>
                          <a:pt x="3" y="446808"/>
                        </a:lnTo>
                        <a:lnTo>
                          <a:pt x="4" y="446808"/>
                        </a:lnTo>
                        <a:lnTo>
                          <a:pt x="4" y="176666"/>
                        </a:lnTo>
                        <a:lnTo>
                          <a:pt x="0" y="176647"/>
                        </a:lnTo>
                        <a:lnTo>
                          <a:pt x="13882" y="107889"/>
                        </a:lnTo>
                        <a:cubicBezTo>
                          <a:pt x="40698" y="44488"/>
                          <a:pt x="103477" y="1"/>
                          <a:pt x="176646" y="1"/>
                        </a:cubicBezTo>
                        <a:lnTo>
                          <a:pt x="455897" y="1"/>
                        </a:lnTo>
                        <a:close/>
                      </a:path>
                    </a:pathLst>
                  </a:custGeom>
                  <a:solidFill>
                    <a:srgbClr val="01A89B"/>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365760" rtlCol="0" anchor="t"/>
                  <a:lstStyle/>
                  <a:p>
                    <a:endParaRPr lang="en-US" sz="2000" b="1" dirty="0">
                      <a:effectLst>
                        <a:outerShdw blurRad="38100" dist="38100" dir="2700000" algn="tl">
                          <a:srgbClr val="000000">
                            <a:alpha val="43137"/>
                          </a:srgbClr>
                        </a:outerShdw>
                      </a:effectLst>
                    </a:endParaRPr>
                  </a:p>
                </p:txBody>
              </p:sp>
              <p:sp>
                <p:nvSpPr>
                  <p:cNvPr id="43" name="TextBox 42"/>
                  <p:cNvSpPr txBox="1"/>
                  <p:nvPr/>
                </p:nvSpPr>
                <p:spPr>
                  <a:xfrm>
                    <a:off x="5988841" y="1291631"/>
                    <a:ext cx="1761957" cy="400110"/>
                  </a:xfrm>
                  <a:prstGeom prst="rect">
                    <a:avLst/>
                  </a:prstGeom>
                  <a:noFill/>
                </p:spPr>
                <p:txBody>
                  <a:bodyPr wrap="none" rtlCol="0">
                    <a:spAutoFit/>
                  </a:bodyPr>
                  <a:lstStyle/>
                  <a:p>
                    <a:r>
                      <a:rPr lang="en-US" sz="2000" b="1" dirty="0" err="1" smtClean="0"/>
                      <a:t>Pascapenilaian</a:t>
                    </a:r>
                    <a:endParaRPr lang="en-US" sz="2000" b="1" dirty="0"/>
                  </a:p>
                </p:txBody>
              </p:sp>
            </p:grpSp>
          </p:grpSp>
          <p:sp>
            <p:nvSpPr>
              <p:cNvPr id="46" name="Rectangle 45"/>
              <p:cNvSpPr/>
              <p:nvPr/>
            </p:nvSpPr>
            <p:spPr>
              <a:xfrm>
                <a:off x="230333" y="1466147"/>
                <a:ext cx="3485785" cy="1200329"/>
              </a:xfrm>
              <a:prstGeom prst="rect">
                <a:avLst/>
              </a:prstGeom>
            </p:spPr>
            <p:txBody>
              <a:bodyPr wrap="square">
                <a:spAutoFit/>
              </a:bodyPr>
              <a:lstStyle/>
              <a:p>
                <a:pPr marL="285750" lvl="0" indent="-285750" algn="just">
                  <a:buFont typeface="Arial" pitchFamily="34" charset="0"/>
                  <a:buChar char="•"/>
                </a:pPr>
                <a:r>
                  <a:rPr lang="ms-MY" dirty="0" smtClean="0"/>
                  <a:t>Menerima dan menyimpan borang markah  bagi penilaian kedua yang telah lengkap diisi (Markah Akhir)</a:t>
                </a:r>
              </a:p>
            </p:txBody>
          </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ox(in)">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box(in)">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slide(fromBottom)">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nodeType="click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box(in)">
                                      <p:cBhvr>
                                        <p:cTn id="2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1"/>
          <p:cNvGrpSpPr/>
          <p:nvPr/>
        </p:nvGrpSpPr>
        <p:grpSpPr>
          <a:xfrm>
            <a:off x="665141" y="2657304"/>
            <a:ext cx="3049571" cy="2599447"/>
            <a:chOff x="665141" y="2428036"/>
            <a:chExt cx="3049571" cy="2396234"/>
          </a:xfrm>
        </p:grpSpPr>
        <p:sp>
          <p:nvSpPr>
            <p:cNvPr id="64" name="milestoneshape"/>
            <p:cNvSpPr txBox="1"/>
            <p:nvPr>
              <p:custDataLst>
                <p:tags r:id="rId3"/>
              </p:custDataLst>
            </p:nvPr>
          </p:nvSpPr>
          <p:spPr bwMode="auto">
            <a:xfrm>
              <a:off x="928662" y="3571876"/>
              <a:ext cx="2786050" cy="763669"/>
            </a:xfrm>
            <a:prstGeom prst="rect">
              <a:avLst/>
            </a:prstGeom>
            <a:noFill/>
          </p:spPr>
          <p:txBody>
            <a:bodyPr wrap="square" lIns="88900" tIns="44450" rIns="88900" bIns="44450">
              <a:spAutoFit/>
            </a:bodyPr>
            <a:lstStyle/>
            <a:p>
              <a:pPr algn="ctr">
                <a:defRPr/>
              </a:pPr>
              <a:r>
                <a:rPr lang="en-MY" sz="2400" b="1" dirty="0" err="1" smtClean="0"/>
                <a:t>Pengetua</a:t>
              </a:r>
              <a:r>
                <a:rPr lang="en-MY" sz="2400" b="1" dirty="0" smtClean="0"/>
                <a:t>/ Guru </a:t>
              </a:r>
              <a:r>
                <a:rPr lang="en-MY" sz="2400" b="1" dirty="0" err="1" smtClean="0"/>
                <a:t>Besar</a:t>
              </a:r>
              <a:endParaRPr lang="en-MY" sz="2400" b="1" dirty="0"/>
            </a:p>
          </p:txBody>
        </p:sp>
        <p:sp>
          <p:nvSpPr>
            <p:cNvPr id="65" name="Freeform 501"/>
            <p:cNvSpPr>
              <a:spLocks noEditPoints="1"/>
            </p:cNvSpPr>
            <p:nvPr/>
          </p:nvSpPr>
          <p:spPr bwMode="auto">
            <a:xfrm>
              <a:off x="665141" y="2930348"/>
              <a:ext cx="3049571" cy="1893922"/>
            </a:xfrm>
            <a:custGeom>
              <a:avLst/>
              <a:gdLst>
                <a:gd name="T0" fmla="*/ 450 w 500"/>
                <a:gd name="T1" fmla="*/ 71 h 305"/>
                <a:gd name="T2" fmla="*/ 422 w 500"/>
                <a:gd name="T3" fmla="*/ 60 h 305"/>
                <a:gd name="T4" fmla="*/ 366 w 500"/>
                <a:gd name="T5" fmla="*/ 54 h 305"/>
                <a:gd name="T6" fmla="*/ 299 w 500"/>
                <a:gd name="T7" fmla="*/ 46 h 305"/>
                <a:gd name="T8" fmla="*/ 265 w 500"/>
                <a:gd name="T9" fmla="*/ 53 h 305"/>
                <a:gd name="T10" fmla="*/ 264 w 500"/>
                <a:gd name="T11" fmla="*/ 53 h 305"/>
                <a:gd name="T12" fmla="*/ 265 w 500"/>
                <a:gd name="T13" fmla="*/ 51 h 305"/>
                <a:gd name="T14" fmla="*/ 265 w 500"/>
                <a:gd name="T15" fmla="*/ 51 h 305"/>
                <a:gd name="T16" fmla="*/ 264 w 500"/>
                <a:gd name="T17" fmla="*/ 51 h 305"/>
                <a:gd name="T18" fmla="*/ 265 w 500"/>
                <a:gd name="T19" fmla="*/ 58 h 305"/>
                <a:gd name="T20" fmla="*/ 263 w 500"/>
                <a:gd name="T21" fmla="*/ 51 h 305"/>
                <a:gd name="T22" fmla="*/ 262 w 500"/>
                <a:gd name="T23" fmla="*/ 53 h 305"/>
                <a:gd name="T24" fmla="*/ 262 w 500"/>
                <a:gd name="T25" fmla="*/ 56 h 305"/>
                <a:gd name="T26" fmla="*/ 262 w 500"/>
                <a:gd name="T27" fmla="*/ 58 h 305"/>
                <a:gd name="T28" fmla="*/ 339 w 500"/>
                <a:gd name="T29" fmla="*/ 54 h 305"/>
                <a:gd name="T30" fmla="*/ 264 w 500"/>
                <a:gd name="T31" fmla="*/ 56 h 305"/>
                <a:gd name="T32" fmla="*/ 263 w 500"/>
                <a:gd name="T33" fmla="*/ 56 h 305"/>
                <a:gd name="T34" fmla="*/ 260 w 500"/>
                <a:gd name="T35" fmla="*/ 52 h 305"/>
                <a:gd name="T36" fmla="*/ 263 w 500"/>
                <a:gd name="T37" fmla="*/ 52 h 305"/>
                <a:gd name="T38" fmla="*/ 494 w 500"/>
                <a:gd name="T39" fmla="*/ 169 h 305"/>
                <a:gd name="T40" fmla="*/ 465 w 500"/>
                <a:gd name="T41" fmla="*/ 217 h 305"/>
                <a:gd name="T42" fmla="*/ 167 w 500"/>
                <a:gd name="T43" fmla="*/ 304 h 305"/>
                <a:gd name="T44" fmla="*/ 2 w 500"/>
                <a:gd name="T45" fmla="*/ 232 h 305"/>
                <a:gd name="T46" fmla="*/ 61 w 500"/>
                <a:gd name="T47" fmla="*/ 102 h 305"/>
                <a:gd name="T48" fmla="*/ 180 w 500"/>
                <a:gd name="T49" fmla="*/ 28 h 305"/>
                <a:gd name="T50" fmla="*/ 304 w 500"/>
                <a:gd name="T51" fmla="*/ 1 h 305"/>
                <a:gd name="T52" fmla="*/ 398 w 500"/>
                <a:gd name="T53" fmla="*/ 6 h 305"/>
                <a:gd name="T54" fmla="*/ 416 w 500"/>
                <a:gd name="T55" fmla="*/ 12 h 305"/>
                <a:gd name="T56" fmla="*/ 424 w 500"/>
                <a:gd name="T57" fmla="*/ 14 h 305"/>
                <a:gd name="T58" fmla="*/ 431 w 500"/>
                <a:gd name="T59" fmla="*/ 19 h 305"/>
                <a:gd name="T60" fmla="*/ 431 w 500"/>
                <a:gd name="T61" fmla="*/ 26 h 305"/>
                <a:gd name="T62" fmla="*/ 423 w 500"/>
                <a:gd name="T63" fmla="*/ 32 h 305"/>
                <a:gd name="T64" fmla="*/ 416 w 500"/>
                <a:gd name="T65" fmla="*/ 31 h 305"/>
                <a:gd name="T66" fmla="*/ 411 w 500"/>
                <a:gd name="T67" fmla="*/ 27 h 305"/>
                <a:gd name="T68" fmla="*/ 383 w 500"/>
                <a:gd name="T69" fmla="*/ 20 h 305"/>
                <a:gd name="T70" fmla="*/ 196 w 500"/>
                <a:gd name="T71" fmla="*/ 38 h 305"/>
                <a:gd name="T72" fmla="*/ 59 w 500"/>
                <a:gd name="T73" fmla="*/ 125 h 305"/>
                <a:gd name="T74" fmla="*/ 51 w 500"/>
                <a:gd name="T75" fmla="*/ 267 h 305"/>
                <a:gd name="T76" fmla="*/ 251 w 500"/>
                <a:gd name="T77" fmla="*/ 289 h 305"/>
                <a:gd name="T78" fmla="*/ 456 w 500"/>
                <a:gd name="T79" fmla="*/ 207 h 305"/>
                <a:gd name="T80" fmla="*/ 487 w 500"/>
                <a:gd name="T81" fmla="*/ 146 h 305"/>
                <a:gd name="T82" fmla="*/ 462 w 500"/>
                <a:gd name="T83" fmla="*/ 91 h 305"/>
                <a:gd name="T84" fmla="*/ 402 w 500"/>
                <a:gd name="T85" fmla="*/ 64 h 305"/>
                <a:gd name="T86" fmla="*/ 367 w 500"/>
                <a:gd name="T87" fmla="*/ 55 h 305"/>
                <a:gd name="T88" fmla="*/ 262 w 500"/>
                <a:gd name="T89" fmla="*/ 58 h 305"/>
                <a:gd name="T90" fmla="*/ 330 w 500"/>
                <a:gd name="T91" fmla="*/ 51 h 305"/>
                <a:gd name="T92" fmla="*/ 418 w 500"/>
                <a:gd name="T93" fmla="*/ 66 h 305"/>
                <a:gd name="T94" fmla="*/ 338 w 500"/>
                <a:gd name="T95" fmla="*/ 47 h 305"/>
                <a:gd name="T96" fmla="*/ 375 w 500"/>
                <a:gd name="T97" fmla="*/ 51 h 305"/>
                <a:gd name="T98" fmla="*/ 369 w 500"/>
                <a:gd name="T99" fmla="*/ 49 h 305"/>
                <a:gd name="T100" fmla="*/ 320 w 500"/>
                <a:gd name="T101" fmla="*/ 45 h 305"/>
                <a:gd name="T102" fmla="*/ 321 w 500"/>
                <a:gd name="T103" fmla="*/ 44 h 305"/>
                <a:gd name="T104" fmla="*/ 307 w 500"/>
                <a:gd name="T105" fmla="*/ 44 h 305"/>
                <a:gd name="T106" fmla="*/ 360 w 500"/>
                <a:gd name="T107" fmla="*/ 45 h 305"/>
                <a:gd name="T108" fmla="*/ 424 w 500"/>
                <a:gd name="T109" fmla="*/ 61 h 305"/>
                <a:gd name="T110" fmla="*/ 480 w 500"/>
                <a:gd name="T111" fmla="*/ 91 h 305"/>
                <a:gd name="T112" fmla="*/ 500 w 500"/>
                <a:gd name="T113" fmla="*/ 148 h 305"/>
                <a:gd name="T114" fmla="*/ 366 w 500"/>
                <a:gd name="T115" fmla="*/ 47 h 305"/>
                <a:gd name="T116" fmla="*/ 391 w 500"/>
                <a:gd name="T117" fmla="*/ 6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0" h="305">
                  <a:moveTo>
                    <a:pt x="484" y="124"/>
                  </a:moveTo>
                  <a:cubicBezTo>
                    <a:pt x="485" y="125"/>
                    <a:pt x="485" y="127"/>
                    <a:pt x="485" y="128"/>
                  </a:cubicBezTo>
                  <a:lnTo>
                    <a:pt x="484" y="124"/>
                  </a:lnTo>
                  <a:close/>
                  <a:moveTo>
                    <a:pt x="450" y="71"/>
                  </a:moveTo>
                  <a:cubicBezTo>
                    <a:pt x="449" y="70"/>
                    <a:pt x="448" y="69"/>
                    <a:pt x="445" y="68"/>
                  </a:cubicBezTo>
                  <a:cubicBezTo>
                    <a:pt x="445" y="68"/>
                    <a:pt x="449" y="70"/>
                    <a:pt x="450" y="71"/>
                  </a:cubicBezTo>
                  <a:close/>
                  <a:moveTo>
                    <a:pt x="438" y="65"/>
                  </a:moveTo>
                  <a:cubicBezTo>
                    <a:pt x="440" y="66"/>
                    <a:pt x="443" y="67"/>
                    <a:pt x="443" y="67"/>
                  </a:cubicBezTo>
                  <a:cubicBezTo>
                    <a:pt x="442" y="67"/>
                    <a:pt x="438" y="65"/>
                    <a:pt x="438" y="65"/>
                  </a:cubicBezTo>
                  <a:close/>
                  <a:moveTo>
                    <a:pt x="422" y="60"/>
                  </a:moveTo>
                  <a:cubicBezTo>
                    <a:pt x="420" y="60"/>
                    <a:pt x="417" y="58"/>
                    <a:pt x="417" y="58"/>
                  </a:cubicBezTo>
                  <a:cubicBezTo>
                    <a:pt x="418" y="59"/>
                    <a:pt x="421" y="60"/>
                    <a:pt x="422" y="60"/>
                  </a:cubicBezTo>
                  <a:close/>
                  <a:moveTo>
                    <a:pt x="413" y="55"/>
                  </a:moveTo>
                  <a:cubicBezTo>
                    <a:pt x="410" y="54"/>
                    <a:pt x="405" y="52"/>
                    <a:pt x="404" y="52"/>
                  </a:cubicBezTo>
                  <a:cubicBezTo>
                    <a:pt x="408" y="53"/>
                    <a:pt x="411" y="54"/>
                    <a:pt x="413" y="55"/>
                  </a:cubicBezTo>
                  <a:close/>
                  <a:moveTo>
                    <a:pt x="366" y="54"/>
                  </a:moveTo>
                  <a:cubicBezTo>
                    <a:pt x="370" y="55"/>
                    <a:pt x="379" y="56"/>
                    <a:pt x="384" y="57"/>
                  </a:cubicBezTo>
                  <a:cubicBezTo>
                    <a:pt x="379" y="56"/>
                    <a:pt x="372" y="55"/>
                    <a:pt x="366" y="54"/>
                  </a:cubicBezTo>
                  <a:close/>
                  <a:moveTo>
                    <a:pt x="366" y="49"/>
                  </a:moveTo>
                  <a:cubicBezTo>
                    <a:pt x="361" y="48"/>
                    <a:pt x="361" y="48"/>
                    <a:pt x="361" y="48"/>
                  </a:cubicBezTo>
                  <a:cubicBezTo>
                    <a:pt x="359" y="48"/>
                    <a:pt x="347" y="47"/>
                    <a:pt x="348" y="47"/>
                  </a:cubicBezTo>
                  <a:cubicBezTo>
                    <a:pt x="356" y="47"/>
                    <a:pt x="366" y="49"/>
                    <a:pt x="372" y="50"/>
                  </a:cubicBezTo>
                  <a:cubicBezTo>
                    <a:pt x="370" y="50"/>
                    <a:pt x="368" y="50"/>
                    <a:pt x="366" y="49"/>
                  </a:cubicBezTo>
                  <a:close/>
                  <a:moveTo>
                    <a:pt x="299" y="46"/>
                  </a:moveTo>
                  <a:cubicBezTo>
                    <a:pt x="296" y="46"/>
                    <a:pt x="296" y="46"/>
                    <a:pt x="296" y="46"/>
                  </a:cubicBezTo>
                  <a:cubicBezTo>
                    <a:pt x="296" y="47"/>
                    <a:pt x="296" y="47"/>
                    <a:pt x="297" y="47"/>
                  </a:cubicBezTo>
                  <a:cubicBezTo>
                    <a:pt x="299" y="46"/>
                    <a:pt x="299" y="46"/>
                    <a:pt x="299" y="46"/>
                  </a:cubicBezTo>
                  <a:close/>
                  <a:moveTo>
                    <a:pt x="264" y="53"/>
                  </a:moveTo>
                  <a:cubicBezTo>
                    <a:pt x="264" y="53"/>
                    <a:pt x="264" y="53"/>
                    <a:pt x="264" y="53"/>
                  </a:cubicBezTo>
                  <a:cubicBezTo>
                    <a:pt x="264" y="53"/>
                    <a:pt x="265" y="53"/>
                    <a:pt x="265" y="53"/>
                  </a:cubicBezTo>
                  <a:cubicBezTo>
                    <a:pt x="265" y="53"/>
                    <a:pt x="265" y="53"/>
                    <a:pt x="265" y="53"/>
                  </a:cubicBezTo>
                  <a:cubicBezTo>
                    <a:pt x="269" y="52"/>
                    <a:pt x="269" y="52"/>
                    <a:pt x="269" y="52"/>
                  </a:cubicBezTo>
                  <a:lnTo>
                    <a:pt x="264" y="53"/>
                  </a:lnTo>
                  <a:close/>
                  <a:moveTo>
                    <a:pt x="264" y="53"/>
                  </a:moveTo>
                  <a:cubicBezTo>
                    <a:pt x="264" y="53"/>
                    <a:pt x="264" y="53"/>
                    <a:pt x="264" y="53"/>
                  </a:cubicBezTo>
                  <a:cubicBezTo>
                    <a:pt x="264" y="53"/>
                    <a:pt x="264" y="53"/>
                    <a:pt x="264" y="53"/>
                  </a:cubicBezTo>
                  <a:cubicBezTo>
                    <a:pt x="263" y="53"/>
                    <a:pt x="264" y="53"/>
                    <a:pt x="264" y="53"/>
                  </a:cubicBezTo>
                  <a:close/>
                  <a:moveTo>
                    <a:pt x="264" y="53"/>
                  </a:moveTo>
                  <a:cubicBezTo>
                    <a:pt x="264" y="53"/>
                    <a:pt x="264" y="53"/>
                    <a:pt x="264" y="53"/>
                  </a:cubicBezTo>
                  <a:cubicBezTo>
                    <a:pt x="264" y="53"/>
                    <a:pt x="264" y="53"/>
                    <a:pt x="264" y="53"/>
                  </a:cubicBezTo>
                  <a:cubicBezTo>
                    <a:pt x="264" y="53"/>
                    <a:pt x="264" y="53"/>
                    <a:pt x="264" y="53"/>
                  </a:cubicBezTo>
                  <a:close/>
                  <a:moveTo>
                    <a:pt x="265" y="51"/>
                  </a:moveTo>
                  <a:cubicBezTo>
                    <a:pt x="264" y="51"/>
                    <a:pt x="264" y="51"/>
                    <a:pt x="264" y="51"/>
                  </a:cubicBezTo>
                  <a:cubicBezTo>
                    <a:pt x="264" y="51"/>
                    <a:pt x="264" y="51"/>
                    <a:pt x="264" y="51"/>
                  </a:cubicBezTo>
                  <a:cubicBezTo>
                    <a:pt x="264" y="51"/>
                    <a:pt x="264" y="51"/>
                    <a:pt x="265" y="51"/>
                  </a:cubicBezTo>
                  <a:cubicBezTo>
                    <a:pt x="265" y="51"/>
                    <a:pt x="265" y="51"/>
                    <a:pt x="265" y="51"/>
                  </a:cubicBezTo>
                  <a:cubicBezTo>
                    <a:pt x="265" y="51"/>
                    <a:pt x="265" y="51"/>
                    <a:pt x="265" y="50"/>
                  </a:cubicBezTo>
                  <a:cubicBezTo>
                    <a:pt x="265" y="51"/>
                    <a:pt x="265" y="51"/>
                    <a:pt x="265" y="51"/>
                  </a:cubicBezTo>
                  <a:close/>
                  <a:moveTo>
                    <a:pt x="265" y="57"/>
                  </a:moveTo>
                  <a:cubicBezTo>
                    <a:pt x="265" y="57"/>
                    <a:pt x="265" y="57"/>
                    <a:pt x="265" y="57"/>
                  </a:cubicBezTo>
                  <a:cubicBezTo>
                    <a:pt x="265" y="57"/>
                    <a:pt x="265" y="57"/>
                    <a:pt x="265" y="57"/>
                  </a:cubicBezTo>
                  <a:close/>
                  <a:moveTo>
                    <a:pt x="264" y="51"/>
                  </a:moveTo>
                  <a:cubicBezTo>
                    <a:pt x="264" y="51"/>
                    <a:pt x="264" y="52"/>
                    <a:pt x="264" y="52"/>
                  </a:cubicBezTo>
                  <a:cubicBezTo>
                    <a:pt x="264" y="52"/>
                    <a:pt x="264" y="52"/>
                    <a:pt x="264" y="51"/>
                  </a:cubicBezTo>
                  <a:close/>
                  <a:moveTo>
                    <a:pt x="264" y="51"/>
                  </a:moveTo>
                  <a:cubicBezTo>
                    <a:pt x="264" y="51"/>
                    <a:pt x="264" y="51"/>
                    <a:pt x="264" y="51"/>
                  </a:cubicBezTo>
                  <a:cubicBezTo>
                    <a:pt x="264" y="51"/>
                    <a:pt x="264" y="51"/>
                    <a:pt x="264" y="51"/>
                  </a:cubicBezTo>
                  <a:close/>
                  <a:moveTo>
                    <a:pt x="265" y="58"/>
                  </a:moveTo>
                  <a:cubicBezTo>
                    <a:pt x="265" y="58"/>
                    <a:pt x="265" y="58"/>
                    <a:pt x="265" y="58"/>
                  </a:cubicBezTo>
                  <a:cubicBezTo>
                    <a:pt x="265" y="58"/>
                    <a:pt x="265" y="58"/>
                    <a:pt x="265" y="58"/>
                  </a:cubicBezTo>
                  <a:close/>
                  <a:moveTo>
                    <a:pt x="265" y="57"/>
                  </a:moveTo>
                  <a:cubicBezTo>
                    <a:pt x="264" y="57"/>
                    <a:pt x="264" y="57"/>
                    <a:pt x="264" y="57"/>
                  </a:cubicBezTo>
                  <a:cubicBezTo>
                    <a:pt x="264" y="57"/>
                    <a:pt x="265" y="57"/>
                    <a:pt x="265" y="57"/>
                  </a:cubicBezTo>
                  <a:close/>
                  <a:moveTo>
                    <a:pt x="263" y="51"/>
                  </a:moveTo>
                  <a:cubicBezTo>
                    <a:pt x="263" y="51"/>
                    <a:pt x="263" y="51"/>
                    <a:pt x="263" y="51"/>
                  </a:cubicBezTo>
                  <a:cubicBezTo>
                    <a:pt x="263" y="51"/>
                    <a:pt x="263" y="51"/>
                    <a:pt x="263" y="51"/>
                  </a:cubicBezTo>
                  <a:close/>
                  <a:moveTo>
                    <a:pt x="263" y="54"/>
                  </a:moveTo>
                  <a:cubicBezTo>
                    <a:pt x="263" y="54"/>
                    <a:pt x="263" y="53"/>
                    <a:pt x="263" y="53"/>
                  </a:cubicBezTo>
                  <a:cubicBezTo>
                    <a:pt x="263" y="53"/>
                    <a:pt x="263" y="53"/>
                    <a:pt x="263" y="54"/>
                  </a:cubicBezTo>
                  <a:close/>
                  <a:moveTo>
                    <a:pt x="262" y="53"/>
                  </a:moveTo>
                  <a:cubicBezTo>
                    <a:pt x="263" y="53"/>
                    <a:pt x="263" y="53"/>
                    <a:pt x="263" y="53"/>
                  </a:cubicBezTo>
                  <a:cubicBezTo>
                    <a:pt x="263" y="53"/>
                    <a:pt x="262" y="53"/>
                    <a:pt x="262" y="53"/>
                  </a:cubicBezTo>
                  <a:close/>
                  <a:moveTo>
                    <a:pt x="262" y="53"/>
                  </a:moveTo>
                  <a:cubicBezTo>
                    <a:pt x="262" y="52"/>
                    <a:pt x="262" y="53"/>
                    <a:pt x="262" y="53"/>
                  </a:cubicBezTo>
                  <a:cubicBezTo>
                    <a:pt x="262" y="53"/>
                    <a:pt x="262" y="52"/>
                    <a:pt x="262" y="52"/>
                  </a:cubicBezTo>
                  <a:cubicBezTo>
                    <a:pt x="262" y="53"/>
                    <a:pt x="262" y="53"/>
                    <a:pt x="262" y="53"/>
                  </a:cubicBezTo>
                  <a:close/>
                  <a:moveTo>
                    <a:pt x="262" y="56"/>
                  </a:moveTo>
                  <a:cubicBezTo>
                    <a:pt x="263" y="56"/>
                    <a:pt x="262" y="56"/>
                    <a:pt x="262" y="56"/>
                  </a:cubicBezTo>
                  <a:close/>
                  <a:moveTo>
                    <a:pt x="261" y="58"/>
                  </a:moveTo>
                  <a:cubicBezTo>
                    <a:pt x="262" y="58"/>
                    <a:pt x="262" y="58"/>
                    <a:pt x="262" y="58"/>
                  </a:cubicBezTo>
                  <a:cubicBezTo>
                    <a:pt x="262" y="58"/>
                    <a:pt x="261" y="58"/>
                    <a:pt x="261" y="58"/>
                  </a:cubicBezTo>
                  <a:close/>
                  <a:moveTo>
                    <a:pt x="262" y="58"/>
                  </a:moveTo>
                  <a:cubicBezTo>
                    <a:pt x="262" y="58"/>
                    <a:pt x="262" y="58"/>
                    <a:pt x="262" y="58"/>
                  </a:cubicBezTo>
                  <a:cubicBezTo>
                    <a:pt x="262" y="59"/>
                    <a:pt x="262" y="59"/>
                    <a:pt x="262" y="58"/>
                  </a:cubicBezTo>
                  <a:close/>
                  <a:moveTo>
                    <a:pt x="262" y="61"/>
                  </a:moveTo>
                  <a:cubicBezTo>
                    <a:pt x="262" y="61"/>
                    <a:pt x="262" y="61"/>
                    <a:pt x="262" y="61"/>
                  </a:cubicBezTo>
                  <a:cubicBezTo>
                    <a:pt x="262" y="61"/>
                    <a:pt x="262" y="61"/>
                    <a:pt x="262" y="61"/>
                  </a:cubicBezTo>
                  <a:close/>
                  <a:moveTo>
                    <a:pt x="261" y="61"/>
                  </a:moveTo>
                  <a:cubicBezTo>
                    <a:pt x="260" y="61"/>
                    <a:pt x="260" y="61"/>
                    <a:pt x="261" y="61"/>
                  </a:cubicBezTo>
                  <a:close/>
                  <a:moveTo>
                    <a:pt x="339" y="54"/>
                  </a:moveTo>
                  <a:cubicBezTo>
                    <a:pt x="334" y="54"/>
                    <a:pt x="330" y="54"/>
                    <a:pt x="326" y="54"/>
                  </a:cubicBezTo>
                  <a:cubicBezTo>
                    <a:pt x="329" y="54"/>
                    <a:pt x="333" y="54"/>
                    <a:pt x="336" y="54"/>
                  </a:cubicBezTo>
                  <a:cubicBezTo>
                    <a:pt x="336" y="54"/>
                    <a:pt x="338" y="54"/>
                    <a:pt x="339" y="54"/>
                  </a:cubicBezTo>
                  <a:close/>
                  <a:moveTo>
                    <a:pt x="263" y="56"/>
                  </a:moveTo>
                  <a:cubicBezTo>
                    <a:pt x="264" y="56"/>
                    <a:pt x="264" y="56"/>
                    <a:pt x="264" y="56"/>
                  </a:cubicBezTo>
                  <a:cubicBezTo>
                    <a:pt x="264" y="56"/>
                    <a:pt x="264" y="56"/>
                    <a:pt x="264" y="56"/>
                  </a:cubicBezTo>
                  <a:cubicBezTo>
                    <a:pt x="264" y="56"/>
                    <a:pt x="265" y="56"/>
                    <a:pt x="265" y="56"/>
                  </a:cubicBezTo>
                  <a:cubicBezTo>
                    <a:pt x="265" y="56"/>
                    <a:pt x="265" y="56"/>
                    <a:pt x="265" y="56"/>
                  </a:cubicBezTo>
                  <a:cubicBezTo>
                    <a:pt x="265" y="56"/>
                    <a:pt x="265" y="56"/>
                    <a:pt x="265" y="56"/>
                  </a:cubicBezTo>
                  <a:cubicBezTo>
                    <a:pt x="265" y="56"/>
                    <a:pt x="265" y="56"/>
                    <a:pt x="265" y="56"/>
                  </a:cubicBezTo>
                  <a:cubicBezTo>
                    <a:pt x="265" y="56"/>
                    <a:pt x="265" y="56"/>
                    <a:pt x="265" y="55"/>
                  </a:cubicBezTo>
                  <a:cubicBezTo>
                    <a:pt x="265" y="56"/>
                    <a:pt x="264" y="56"/>
                    <a:pt x="263" y="56"/>
                  </a:cubicBezTo>
                  <a:close/>
                  <a:moveTo>
                    <a:pt x="264" y="52"/>
                  </a:moveTo>
                  <a:cubicBezTo>
                    <a:pt x="264" y="52"/>
                    <a:pt x="264" y="52"/>
                    <a:pt x="264" y="52"/>
                  </a:cubicBezTo>
                  <a:cubicBezTo>
                    <a:pt x="264" y="52"/>
                    <a:pt x="263" y="52"/>
                    <a:pt x="263" y="52"/>
                  </a:cubicBezTo>
                  <a:cubicBezTo>
                    <a:pt x="263" y="52"/>
                    <a:pt x="264" y="52"/>
                    <a:pt x="264" y="52"/>
                  </a:cubicBezTo>
                  <a:close/>
                  <a:moveTo>
                    <a:pt x="261" y="53"/>
                  </a:moveTo>
                  <a:cubicBezTo>
                    <a:pt x="261" y="52"/>
                    <a:pt x="261" y="52"/>
                    <a:pt x="260" y="52"/>
                  </a:cubicBezTo>
                  <a:cubicBezTo>
                    <a:pt x="260" y="53"/>
                    <a:pt x="259" y="53"/>
                    <a:pt x="259" y="53"/>
                  </a:cubicBezTo>
                  <a:cubicBezTo>
                    <a:pt x="259" y="53"/>
                    <a:pt x="260" y="53"/>
                    <a:pt x="260" y="53"/>
                  </a:cubicBezTo>
                  <a:cubicBezTo>
                    <a:pt x="260" y="53"/>
                    <a:pt x="260" y="53"/>
                    <a:pt x="260" y="53"/>
                  </a:cubicBezTo>
                  <a:cubicBezTo>
                    <a:pt x="261" y="53"/>
                    <a:pt x="261" y="53"/>
                    <a:pt x="262" y="52"/>
                  </a:cubicBezTo>
                  <a:cubicBezTo>
                    <a:pt x="262" y="52"/>
                    <a:pt x="262" y="52"/>
                    <a:pt x="262" y="52"/>
                  </a:cubicBezTo>
                  <a:cubicBezTo>
                    <a:pt x="262" y="52"/>
                    <a:pt x="263" y="52"/>
                    <a:pt x="263" y="52"/>
                  </a:cubicBezTo>
                  <a:cubicBezTo>
                    <a:pt x="262" y="52"/>
                    <a:pt x="262" y="52"/>
                    <a:pt x="261" y="53"/>
                  </a:cubicBezTo>
                  <a:close/>
                  <a:moveTo>
                    <a:pt x="262" y="59"/>
                  </a:moveTo>
                  <a:cubicBezTo>
                    <a:pt x="262" y="59"/>
                    <a:pt x="262" y="59"/>
                    <a:pt x="262" y="59"/>
                  </a:cubicBezTo>
                  <a:cubicBezTo>
                    <a:pt x="262" y="59"/>
                    <a:pt x="262" y="59"/>
                    <a:pt x="262" y="59"/>
                  </a:cubicBezTo>
                  <a:close/>
                  <a:moveTo>
                    <a:pt x="500" y="148"/>
                  </a:moveTo>
                  <a:cubicBezTo>
                    <a:pt x="498" y="158"/>
                    <a:pt x="496" y="166"/>
                    <a:pt x="494" y="169"/>
                  </a:cubicBezTo>
                  <a:cubicBezTo>
                    <a:pt x="493" y="172"/>
                    <a:pt x="495" y="168"/>
                    <a:pt x="494" y="170"/>
                  </a:cubicBezTo>
                  <a:cubicBezTo>
                    <a:pt x="493" y="174"/>
                    <a:pt x="490" y="181"/>
                    <a:pt x="488" y="184"/>
                  </a:cubicBezTo>
                  <a:cubicBezTo>
                    <a:pt x="486" y="189"/>
                    <a:pt x="483" y="194"/>
                    <a:pt x="480" y="199"/>
                  </a:cubicBezTo>
                  <a:cubicBezTo>
                    <a:pt x="478" y="202"/>
                    <a:pt x="477" y="204"/>
                    <a:pt x="475" y="206"/>
                  </a:cubicBezTo>
                  <a:cubicBezTo>
                    <a:pt x="470" y="212"/>
                    <a:pt x="470" y="212"/>
                    <a:pt x="470" y="212"/>
                  </a:cubicBezTo>
                  <a:cubicBezTo>
                    <a:pt x="469" y="214"/>
                    <a:pt x="466" y="216"/>
                    <a:pt x="465" y="217"/>
                  </a:cubicBezTo>
                  <a:cubicBezTo>
                    <a:pt x="462" y="221"/>
                    <a:pt x="456" y="228"/>
                    <a:pt x="452" y="232"/>
                  </a:cubicBezTo>
                  <a:cubicBezTo>
                    <a:pt x="438" y="245"/>
                    <a:pt x="422" y="256"/>
                    <a:pt x="405" y="264"/>
                  </a:cubicBezTo>
                  <a:cubicBezTo>
                    <a:pt x="387" y="272"/>
                    <a:pt x="369" y="278"/>
                    <a:pt x="351" y="284"/>
                  </a:cubicBezTo>
                  <a:cubicBezTo>
                    <a:pt x="314" y="295"/>
                    <a:pt x="277" y="301"/>
                    <a:pt x="239" y="304"/>
                  </a:cubicBezTo>
                  <a:cubicBezTo>
                    <a:pt x="221" y="305"/>
                    <a:pt x="200" y="305"/>
                    <a:pt x="183" y="305"/>
                  </a:cubicBezTo>
                  <a:cubicBezTo>
                    <a:pt x="177" y="304"/>
                    <a:pt x="172" y="304"/>
                    <a:pt x="167" y="304"/>
                  </a:cubicBezTo>
                  <a:cubicBezTo>
                    <a:pt x="155" y="303"/>
                    <a:pt x="142" y="302"/>
                    <a:pt x="129" y="301"/>
                  </a:cubicBezTo>
                  <a:cubicBezTo>
                    <a:pt x="116" y="299"/>
                    <a:pt x="103" y="298"/>
                    <a:pt x="93" y="296"/>
                  </a:cubicBezTo>
                  <a:cubicBezTo>
                    <a:pt x="77" y="292"/>
                    <a:pt x="61" y="288"/>
                    <a:pt x="45" y="280"/>
                  </a:cubicBezTo>
                  <a:cubicBezTo>
                    <a:pt x="38" y="277"/>
                    <a:pt x="32" y="273"/>
                    <a:pt x="27" y="269"/>
                  </a:cubicBezTo>
                  <a:cubicBezTo>
                    <a:pt x="24" y="268"/>
                    <a:pt x="22" y="266"/>
                    <a:pt x="20" y="264"/>
                  </a:cubicBezTo>
                  <a:cubicBezTo>
                    <a:pt x="11" y="256"/>
                    <a:pt x="4" y="244"/>
                    <a:pt x="2" y="232"/>
                  </a:cubicBezTo>
                  <a:cubicBezTo>
                    <a:pt x="1" y="225"/>
                    <a:pt x="0" y="219"/>
                    <a:pt x="0" y="213"/>
                  </a:cubicBezTo>
                  <a:cubicBezTo>
                    <a:pt x="0" y="203"/>
                    <a:pt x="2" y="191"/>
                    <a:pt x="6" y="180"/>
                  </a:cubicBezTo>
                  <a:cubicBezTo>
                    <a:pt x="10" y="169"/>
                    <a:pt x="16" y="158"/>
                    <a:pt x="22" y="148"/>
                  </a:cubicBezTo>
                  <a:cubicBezTo>
                    <a:pt x="25" y="143"/>
                    <a:pt x="29" y="139"/>
                    <a:pt x="32" y="134"/>
                  </a:cubicBezTo>
                  <a:cubicBezTo>
                    <a:pt x="34" y="132"/>
                    <a:pt x="36" y="130"/>
                    <a:pt x="38" y="127"/>
                  </a:cubicBezTo>
                  <a:cubicBezTo>
                    <a:pt x="44" y="119"/>
                    <a:pt x="54" y="109"/>
                    <a:pt x="61" y="102"/>
                  </a:cubicBezTo>
                  <a:cubicBezTo>
                    <a:pt x="65" y="98"/>
                    <a:pt x="69" y="95"/>
                    <a:pt x="74" y="91"/>
                  </a:cubicBezTo>
                  <a:cubicBezTo>
                    <a:pt x="83" y="83"/>
                    <a:pt x="92" y="76"/>
                    <a:pt x="100" y="70"/>
                  </a:cubicBezTo>
                  <a:cubicBezTo>
                    <a:pt x="111" y="62"/>
                    <a:pt x="128" y="52"/>
                    <a:pt x="143" y="45"/>
                  </a:cubicBezTo>
                  <a:cubicBezTo>
                    <a:pt x="144" y="44"/>
                    <a:pt x="144" y="44"/>
                    <a:pt x="144" y="44"/>
                  </a:cubicBezTo>
                  <a:cubicBezTo>
                    <a:pt x="155" y="39"/>
                    <a:pt x="166" y="33"/>
                    <a:pt x="177" y="29"/>
                  </a:cubicBezTo>
                  <a:cubicBezTo>
                    <a:pt x="179" y="29"/>
                    <a:pt x="179" y="29"/>
                    <a:pt x="180" y="28"/>
                  </a:cubicBezTo>
                  <a:cubicBezTo>
                    <a:pt x="194" y="23"/>
                    <a:pt x="194" y="23"/>
                    <a:pt x="194" y="23"/>
                  </a:cubicBezTo>
                  <a:cubicBezTo>
                    <a:pt x="215" y="16"/>
                    <a:pt x="231" y="12"/>
                    <a:pt x="249" y="9"/>
                  </a:cubicBezTo>
                  <a:cubicBezTo>
                    <a:pt x="259" y="6"/>
                    <a:pt x="271" y="5"/>
                    <a:pt x="281" y="3"/>
                  </a:cubicBezTo>
                  <a:cubicBezTo>
                    <a:pt x="284" y="3"/>
                    <a:pt x="287" y="2"/>
                    <a:pt x="290" y="2"/>
                  </a:cubicBezTo>
                  <a:cubicBezTo>
                    <a:pt x="293" y="2"/>
                    <a:pt x="295" y="2"/>
                    <a:pt x="297" y="1"/>
                  </a:cubicBezTo>
                  <a:cubicBezTo>
                    <a:pt x="304" y="1"/>
                    <a:pt x="304" y="1"/>
                    <a:pt x="304" y="1"/>
                  </a:cubicBezTo>
                  <a:cubicBezTo>
                    <a:pt x="307" y="1"/>
                    <a:pt x="311" y="0"/>
                    <a:pt x="314" y="0"/>
                  </a:cubicBezTo>
                  <a:cubicBezTo>
                    <a:pt x="318" y="0"/>
                    <a:pt x="321" y="0"/>
                    <a:pt x="324" y="0"/>
                  </a:cubicBezTo>
                  <a:cubicBezTo>
                    <a:pt x="327" y="0"/>
                    <a:pt x="331" y="0"/>
                    <a:pt x="334" y="0"/>
                  </a:cubicBezTo>
                  <a:cubicBezTo>
                    <a:pt x="343" y="0"/>
                    <a:pt x="351" y="0"/>
                    <a:pt x="361" y="1"/>
                  </a:cubicBezTo>
                  <a:cubicBezTo>
                    <a:pt x="368" y="2"/>
                    <a:pt x="376" y="2"/>
                    <a:pt x="384" y="4"/>
                  </a:cubicBezTo>
                  <a:cubicBezTo>
                    <a:pt x="389" y="4"/>
                    <a:pt x="394" y="5"/>
                    <a:pt x="398" y="6"/>
                  </a:cubicBezTo>
                  <a:cubicBezTo>
                    <a:pt x="400" y="7"/>
                    <a:pt x="403" y="8"/>
                    <a:pt x="405" y="8"/>
                  </a:cubicBezTo>
                  <a:cubicBezTo>
                    <a:pt x="408" y="9"/>
                    <a:pt x="410" y="10"/>
                    <a:pt x="413" y="11"/>
                  </a:cubicBezTo>
                  <a:cubicBezTo>
                    <a:pt x="415" y="11"/>
                    <a:pt x="415" y="11"/>
                    <a:pt x="415" y="11"/>
                  </a:cubicBezTo>
                  <a:cubicBezTo>
                    <a:pt x="415" y="11"/>
                    <a:pt x="415" y="11"/>
                    <a:pt x="415" y="11"/>
                  </a:cubicBezTo>
                  <a:cubicBezTo>
                    <a:pt x="415" y="11"/>
                    <a:pt x="415" y="11"/>
                    <a:pt x="415" y="11"/>
                  </a:cubicBezTo>
                  <a:cubicBezTo>
                    <a:pt x="416" y="11"/>
                    <a:pt x="416" y="11"/>
                    <a:pt x="416" y="12"/>
                  </a:cubicBezTo>
                  <a:cubicBezTo>
                    <a:pt x="417" y="12"/>
                    <a:pt x="419" y="13"/>
                    <a:pt x="420" y="12"/>
                  </a:cubicBezTo>
                  <a:cubicBezTo>
                    <a:pt x="420" y="12"/>
                    <a:pt x="420" y="12"/>
                    <a:pt x="420" y="12"/>
                  </a:cubicBezTo>
                  <a:cubicBezTo>
                    <a:pt x="421" y="12"/>
                    <a:pt x="421" y="12"/>
                    <a:pt x="421" y="12"/>
                  </a:cubicBezTo>
                  <a:cubicBezTo>
                    <a:pt x="421" y="13"/>
                    <a:pt x="422" y="13"/>
                    <a:pt x="423" y="13"/>
                  </a:cubicBezTo>
                  <a:cubicBezTo>
                    <a:pt x="423" y="13"/>
                    <a:pt x="423" y="13"/>
                    <a:pt x="423" y="13"/>
                  </a:cubicBezTo>
                  <a:cubicBezTo>
                    <a:pt x="424" y="13"/>
                    <a:pt x="424" y="14"/>
                    <a:pt x="424" y="14"/>
                  </a:cubicBezTo>
                  <a:cubicBezTo>
                    <a:pt x="425" y="14"/>
                    <a:pt x="425" y="14"/>
                    <a:pt x="425" y="14"/>
                  </a:cubicBezTo>
                  <a:cubicBezTo>
                    <a:pt x="426" y="14"/>
                    <a:pt x="426" y="14"/>
                    <a:pt x="426" y="15"/>
                  </a:cubicBezTo>
                  <a:cubicBezTo>
                    <a:pt x="426" y="15"/>
                    <a:pt x="426" y="15"/>
                    <a:pt x="426" y="15"/>
                  </a:cubicBezTo>
                  <a:cubicBezTo>
                    <a:pt x="426" y="15"/>
                    <a:pt x="427" y="16"/>
                    <a:pt x="428" y="16"/>
                  </a:cubicBezTo>
                  <a:cubicBezTo>
                    <a:pt x="428" y="17"/>
                    <a:pt x="429" y="17"/>
                    <a:pt x="429" y="17"/>
                  </a:cubicBezTo>
                  <a:cubicBezTo>
                    <a:pt x="430" y="17"/>
                    <a:pt x="430" y="19"/>
                    <a:pt x="431" y="19"/>
                  </a:cubicBezTo>
                  <a:cubicBezTo>
                    <a:pt x="430" y="20"/>
                    <a:pt x="431" y="20"/>
                    <a:pt x="431" y="20"/>
                  </a:cubicBezTo>
                  <a:cubicBezTo>
                    <a:pt x="431" y="20"/>
                    <a:pt x="431" y="21"/>
                    <a:pt x="431" y="21"/>
                  </a:cubicBezTo>
                  <a:cubicBezTo>
                    <a:pt x="431" y="21"/>
                    <a:pt x="431" y="22"/>
                    <a:pt x="431" y="22"/>
                  </a:cubicBezTo>
                  <a:cubicBezTo>
                    <a:pt x="431" y="22"/>
                    <a:pt x="431" y="23"/>
                    <a:pt x="431" y="23"/>
                  </a:cubicBezTo>
                  <a:cubicBezTo>
                    <a:pt x="431" y="23"/>
                    <a:pt x="432" y="24"/>
                    <a:pt x="432" y="24"/>
                  </a:cubicBezTo>
                  <a:cubicBezTo>
                    <a:pt x="432" y="25"/>
                    <a:pt x="431" y="25"/>
                    <a:pt x="431" y="26"/>
                  </a:cubicBezTo>
                  <a:cubicBezTo>
                    <a:pt x="431" y="27"/>
                    <a:pt x="430" y="28"/>
                    <a:pt x="430" y="29"/>
                  </a:cubicBezTo>
                  <a:cubicBezTo>
                    <a:pt x="430" y="29"/>
                    <a:pt x="430" y="29"/>
                    <a:pt x="430" y="29"/>
                  </a:cubicBezTo>
                  <a:cubicBezTo>
                    <a:pt x="429" y="29"/>
                    <a:pt x="429" y="30"/>
                    <a:pt x="428" y="30"/>
                  </a:cubicBezTo>
                  <a:cubicBezTo>
                    <a:pt x="428" y="30"/>
                    <a:pt x="428" y="30"/>
                    <a:pt x="428" y="31"/>
                  </a:cubicBezTo>
                  <a:cubicBezTo>
                    <a:pt x="427" y="31"/>
                    <a:pt x="427" y="31"/>
                    <a:pt x="427" y="31"/>
                  </a:cubicBezTo>
                  <a:cubicBezTo>
                    <a:pt x="426" y="31"/>
                    <a:pt x="424" y="32"/>
                    <a:pt x="423" y="32"/>
                  </a:cubicBezTo>
                  <a:cubicBezTo>
                    <a:pt x="423" y="32"/>
                    <a:pt x="423" y="32"/>
                    <a:pt x="423" y="32"/>
                  </a:cubicBezTo>
                  <a:cubicBezTo>
                    <a:pt x="422" y="32"/>
                    <a:pt x="422" y="32"/>
                    <a:pt x="421" y="32"/>
                  </a:cubicBezTo>
                  <a:cubicBezTo>
                    <a:pt x="421" y="33"/>
                    <a:pt x="420" y="32"/>
                    <a:pt x="420" y="32"/>
                  </a:cubicBezTo>
                  <a:cubicBezTo>
                    <a:pt x="420" y="32"/>
                    <a:pt x="419" y="32"/>
                    <a:pt x="419" y="32"/>
                  </a:cubicBezTo>
                  <a:cubicBezTo>
                    <a:pt x="419" y="32"/>
                    <a:pt x="418" y="32"/>
                    <a:pt x="418" y="32"/>
                  </a:cubicBezTo>
                  <a:cubicBezTo>
                    <a:pt x="417" y="32"/>
                    <a:pt x="417" y="31"/>
                    <a:pt x="416" y="31"/>
                  </a:cubicBezTo>
                  <a:cubicBezTo>
                    <a:pt x="416" y="31"/>
                    <a:pt x="416" y="31"/>
                    <a:pt x="416" y="31"/>
                  </a:cubicBezTo>
                  <a:cubicBezTo>
                    <a:pt x="415" y="31"/>
                    <a:pt x="415" y="30"/>
                    <a:pt x="415" y="30"/>
                  </a:cubicBezTo>
                  <a:cubicBezTo>
                    <a:pt x="415" y="30"/>
                    <a:pt x="415" y="30"/>
                    <a:pt x="414" y="30"/>
                  </a:cubicBezTo>
                  <a:cubicBezTo>
                    <a:pt x="414" y="29"/>
                    <a:pt x="415" y="29"/>
                    <a:pt x="414" y="29"/>
                  </a:cubicBezTo>
                  <a:cubicBezTo>
                    <a:pt x="414" y="28"/>
                    <a:pt x="413" y="30"/>
                    <a:pt x="413" y="29"/>
                  </a:cubicBezTo>
                  <a:cubicBezTo>
                    <a:pt x="413" y="28"/>
                    <a:pt x="412" y="28"/>
                    <a:pt x="411" y="27"/>
                  </a:cubicBezTo>
                  <a:cubicBezTo>
                    <a:pt x="410" y="27"/>
                    <a:pt x="410" y="27"/>
                    <a:pt x="410" y="27"/>
                  </a:cubicBezTo>
                  <a:cubicBezTo>
                    <a:pt x="410" y="27"/>
                    <a:pt x="410" y="27"/>
                    <a:pt x="410" y="27"/>
                  </a:cubicBezTo>
                  <a:cubicBezTo>
                    <a:pt x="410" y="27"/>
                    <a:pt x="410" y="27"/>
                    <a:pt x="410" y="27"/>
                  </a:cubicBezTo>
                  <a:cubicBezTo>
                    <a:pt x="408" y="26"/>
                    <a:pt x="408" y="26"/>
                    <a:pt x="408" y="26"/>
                  </a:cubicBezTo>
                  <a:cubicBezTo>
                    <a:pt x="407" y="26"/>
                    <a:pt x="407" y="26"/>
                    <a:pt x="407" y="26"/>
                  </a:cubicBezTo>
                  <a:cubicBezTo>
                    <a:pt x="399" y="23"/>
                    <a:pt x="390" y="21"/>
                    <a:pt x="383" y="20"/>
                  </a:cubicBezTo>
                  <a:cubicBezTo>
                    <a:pt x="376" y="19"/>
                    <a:pt x="370" y="18"/>
                    <a:pt x="363" y="17"/>
                  </a:cubicBezTo>
                  <a:cubicBezTo>
                    <a:pt x="342" y="15"/>
                    <a:pt x="321" y="16"/>
                    <a:pt x="300" y="17"/>
                  </a:cubicBezTo>
                  <a:cubicBezTo>
                    <a:pt x="288" y="18"/>
                    <a:pt x="273" y="20"/>
                    <a:pt x="262" y="22"/>
                  </a:cubicBezTo>
                  <a:cubicBezTo>
                    <a:pt x="249" y="24"/>
                    <a:pt x="236" y="27"/>
                    <a:pt x="224" y="30"/>
                  </a:cubicBezTo>
                  <a:cubicBezTo>
                    <a:pt x="217" y="32"/>
                    <a:pt x="210" y="34"/>
                    <a:pt x="203" y="36"/>
                  </a:cubicBezTo>
                  <a:cubicBezTo>
                    <a:pt x="196" y="38"/>
                    <a:pt x="196" y="38"/>
                    <a:pt x="196" y="38"/>
                  </a:cubicBezTo>
                  <a:cubicBezTo>
                    <a:pt x="190" y="41"/>
                    <a:pt x="183" y="43"/>
                    <a:pt x="176" y="46"/>
                  </a:cubicBezTo>
                  <a:cubicBezTo>
                    <a:pt x="170" y="49"/>
                    <a:pt x="164" y="51"/>
                    <a:pt x="157" y="54"/>
                  </a:cubicBezTo>
                  <a:cubicBezTo>
                    <a:pt x="148" y="58"/>
                    <a:pt x="138" y="64"/>
                    <a:pt x="127" y="70"/>
                  </a:cubicBezTo>
                  <a:cubicBezTo>
                    <a:pt x="117" y="77"/>
                    <a:pt x="106" y="84"/>
                    <a:pt x="96" y="92"/>
                  </a:cubicBezTo>
                  <a:cubicBezTo>
                    <a:pt x="93" y="94"/>
                    <a:pt x="93" y="94"/>
                    <a:pt x="93" y="94"/>
                  </a:cubicBezTo>
                  <a:cubicBezTo>
                    <a:pt x="80" y="104"/>
                    <a:pt x="69" y="115"/>
                    <a:pt x="59" y="125"/>
                  </a:cubicBezTo>
                  <a:cubicBezTo>
                    <a:pt x="47" y="138"/>
                    <a:pt x="34" y="155"/>
                    <a:pt x="26" y="171"/>
                  </a:cubicBezTo>
                  <a:cubicBezTo>
                    <a:pt x="19" y="186"/>
                    <a:pt x="14" y="201"/>
                    <a:pt x="14" y="217"/>
                  </a:cubicBezTo>
                  <a:cubicBezTo>
                    <a:pt x="15" y="222"/>
                    <a:pt x="15" y="229"/>
                    <a:pt x="17" y="234"/>
                  </a:cubicBezTo>
                  <a:cubicBezTo>
                    <a:pt x="19" y="239"/>
                    <a:pt x="22" y="244"/>
                    <a:pt x="26" y="249"/>
                  </a:cubicBezTo>
                  <a:cubicBezTo>
                    <a:pt x="28" y="252"/>
                    <a:pt x="31" y="255"/>
                    <a:pt x="35" y="258"/>
                  </a:cubicBezTo>
                  <a:cubicBezTo>
                    <a:pt x="40" y="261"/>
                    <a:pt x="45" y="264"/>
                    <a:pt x="51" y="267"/>
                  </a:cubicBezTo>
                  <a:cubicBezTo>
                    <a:pt x="61" y="272"/>
                    <a:pt x="72" y="276"/>
                    <a:pt x="84" y="279"/>
                  </a:cubicBezTo>
                  <a:cubicBezTo>
                    <a:pt x="95" y="282"/>
                    <a:pt x="106" y="284"/>
                    <a:pt x="117" y="285"/>
                  </a:cubicBezTo>
                  <a:cubicBezTo>
                    <a:pt x="121" y="286"/>
                    <a:pt x="125" y="286"/>
                    <a:pt x="129" y="287"/>
                  </a:cubicBezTo>
                  <a:cubicBezTo>
                    <a:pt x="131" y="287"/>
                    <a:pt x="134" y="287"/>
                    <a:pt x="137" y="287"/>
                  </a:cubicBezTo>
                  <a:cubicBezTo>
                    <a:pt x="150" y="289"/>
                    <a:pt x="168" y="290"/>
                    <a:pt x="184" y="291"/>
                  </a:cubicBezTo>
                  <a:cubicBezTo>
                    <a:pt x="206" y="291"/>
                    <a:pt x="227" y="291"/>
                    <a:pt x="251" y="289"/>
                  </a:cubicBezTo>
                  <a:cubicBezTo>
                    <a:pt x="268" y="287"/>
                    <a:pt x="287" y="285"/>
                    <a:pt x="306" y="281"/>
                  </a:cubicBezTo>
                  <a:cubicBezTo>
                    <a:pt x="331" y="276"/>
                    <a:pt x="357" y="268"/>
                    <a:pt x="381" y="259"/>
                  </a:cubicBezTo>
                  <a:cubicBezTo>
                    <a:pt x="395" y="254"/>
                    <a:pt x="407" y="248"/>
                    <a:pt x="419" y="241"/>
                  </a:cubicBezTo>
                  <a:cubicBezTo>
                    <a:pt x="430" y="233"/>
                    <a:pt x="440" y="224"/>
                    <a:pt x="449" y="215"/>
                  </a:cubicBezTo>
                  <a:cubicBezTo>
                    <a:pt x="450" y="214"/>
                    <a:pt x="451" y="213"/>
                    <a:pt x="453" y="211"/>
                  </a:cubicBezTo>
                  <a:cubicBezTo>
                    <a:pt x="455" y="209"/>
                    <a:pt x="454" y="210"/>
                    <a:pt x="456" y="207"/>
                  </a:cubicBezTo>
                  <a:cubicBezTo>
                    <a:pt x="458" y="205"/>
                    <a:pt x="457" y="207"/>
                    <a:pt x="458" y="205"/>
                  </a:cubicBezTo>
                  <a:cubicBezTo>
                    <a:pt x="464" y="198"/>
                    <a:pt x="464" y="198"/>
                    <a:pt x="464" y="198"/>
                  </a:cubicBezTo>
                  <a:cubicBezTo>
                    <a:pt x="465" y="197"/>
                    <a:pt x="466" y="196"/>
                    <a:pt x="467" y="195"/>
                  </a:cubicBezTo>
                  <a:cubicBezTo>
                    <a:pt x="467" y="194"/>
                    <a:pt x="468" y="193"/>
                    <a:pt x="469" y="192"/>
                  </a:cubicBezTo>
                  <a:cubicBezTo>
                    <a:pt x="472" y="187"/>
                    <a:pt x="475" y="182"/>
                    <a:pt x="477" y="177"/>
                  </a:cubicBezTo>
                  <a:cubicBezTo>
                    <a:pt x="482" y="167"/>
                    <a:pt x="486" y="156"/>
                    <a:pt x="487" y="146"/>
                  </a:cubicBezTo>
                  <a:cubicBezTo>
                    <a:pt x="487" y="143"/>
                    <a:pt x="487" y="146"/>
                    <a:pt x="488" y="144"/>
                  </a:cubicBezTo>
                  <a:cubicBezTo>
                    <a:pt x="488" y="142"/>
                    <a:pt x="488" y="141"/>
                    <a:pt x="487" y="139"/>
                  </a:cubicBezTo>
                  <a:cubicBezTo>
                    <a:pt x="487" y="137"/>
                    <a:pt x="487" y="136"/>
                    <a:pt x="487" y="134"/>
                  </a:cubicBezTo>
                  <a:cubicBezTo>
                    <a:pt x="487" y="130"/>
                    <a:pt x="486" y="126"/>
                    <a:pt x="485" y="123"/>
                  </a:cubicBezTo>
                  <a:cubicBezTo>
                    <a:pt x="483" y="115"/>
                    <a:pt x="480" y="108"/>
                    <a:pt x="475" y="103"/>
                  </a:cubicBezTo>
                  <a:cubicBezTo>
                    <a:pt x="472" y="98"/>
                    <a:pt x="467" y="94"/>
                    <a:pt x="462" y="91"/>
                  </a:cubicBezTo>
                  <a:cubicBezTo>
                    <a:pt x="460" y="90"/>
                    <a:pt x="461" y="90"/>
                    <a:pt x="460" y="90"/>
                  </a:cubicBezTo>
                  <a:cubicBezTo>
                    <a:pt x="458" y="89"/>
                    <a:pt x="459" y="89"/>
                    <a:pt x="458" y="88"/>
                  </a:cubicBezTo>
                  <a:cubicBezTo>
                    <a:pt x="456" y="87"/>
                    <a:pt x="456" y="87"/>
                    <a:pt x="456" y="87"/>
                  </a:cubicBezTo>
                  <a:cubicBezTo>
                    <a:pt x="453" y="86"/>
                    <a:pt x="453" y="86"/>
                    <a:pt x="453" y="86"/>
                  </a:cubicBezTo>
                  <a:cubicBezTo>
                    <a:pt x="439" y="78"/>
                    <a:pt x="424" y="72"/>
                    <a:pt x="409" y="67"/>
                  </a:cubicBezTo>
                  <a:cubicBezTo>
                    <a:pt x="406" y="66"/>
                    <a:pt x="406" y="66"/>
                    <a:pt x="402" y="64"/>
                  </a:cubicBezTo>
                  <a:cubicBezTo>
                    <a:pt x="398" y="63"/>
                    <a:pt x="399" y="63"/>
                    <a:pt x="396" y="63"/>
                  </a:cubicBezTo>
                  <a:cubicBezTo>
                    <a:pt x="395" y="63"/>
                    <a:pt x="392" y="61"/>
                    <a:pt x="391" y="61"/>
                  </a:cubicBezTo>
                  <a:cubicBezTo>
                    <a:pt x="390" y="61"/>
                    <a:pt x="391" y="61"/>
                    <a:pt x="391" y="61"/>
                  </a:cubicBezTo>
                  <a:cubicBezTo>
                    <a:pt x="388" y="60"/>
                    <a:pt x="378" y="58"/>
                    <a:pt x="373" y="57"/>
                  </a:cubicBezTo>
                  <a:cubicBezTo>
                    <a:pt x="366" y="56"/>
                    <a:pt x="358" y="54"/>
                    <a:pt x="350" y="53"/>
                  </a:cubicBezTo>
                  <a:cubicBezTo>
                    <a:pt x="358" y="54"/>
                    <a:pt x="365" y="55"/>
                    <a:pt x="367" y="55"/>
                  </a:cubicBezTo>
                  <a:cubicBezTo>
                    <a:pt x="359" y="53"/>
                    <a:pt x="344" y="52"/>
                    <a:pt x="336" y="51"/>
                  </a:cubicBezTo>
                  <a:cubicBezTo>
                    <a:pt x="318" y="50"/>
                    <a:pt x="294" y="52"/>
                    <a:pt x="273" y="56"/>
                  </a:cubicBezTo>
                  <a:cubicBezTo>
                    <a:pt x="272" y="56"/>
                    <a:pt x="271" y="56"/>
                    <a:pt x="271" y="56"/>
                  </a:cubicBezTo>
                  <a:cubicBezTo>
                    <a:pt x="265" y="57"/>
                    <a:pt x="265" y="57"/>
                    <a:pt x="265" y="57"/>
                  </a:cubicBezTo>
                  <a:cubicBezTo>
                    <a:pt x="264" y="58"/>
                    <a:pt x="264" y="58"/>
                    <a:pt x="264" y="58"/>
                  </a:cubicBezTo>
                  <a:cubicBezTo>
                    <a:pt x="264" y="58"/>
                    <a:pt x="263" y="58"/>
                    <a:pt x="262" y="58"/>
                  </a:cubicBezTo>
                  <a:cubicBezTo>
                    <a:pt x="264" y="58"/>
                    <a:pt x="264" y="58"/>
                    <a:pt x="264" y="58"/>
                  </a:cubicBezTo>
                  <a:cubicBezTo>
                    <a:pt x="265" y="57"/>
                    <a:pt x="265" y="57"/>
                    <a:pt x="265" y="57"/>
                  </a:cubicBezTo>
                  <a:cubicBezTo>
                    <a:pt x="266" y="57"/>
                    <a:pt x="266" y="57"/>
                    <a:pt x="266" y="57"/>
                  </a:cubicBezTo>
                  <a:cubicBezTo>
                    <a:pt x="266" y="57"/>
                    <a:pt x="266" y="57"/>
                    <a:pt x="266" y="57"/>
                  </a:cubicBezTo>
                  <a:cubicBezTo>
                    <a:pt x="267" y="57"/>
                    <a:pt x="267" y="57"/>
                    <a:pt x="267" y="57"/>
                  </a:cubicBezTo>
                  <a:cubicBezTo>
                    <a:pt x="288" y="53"/>
                    <a:pt x="309" y="50"/>
                    <a:pt x="330" y="51"/>
                  </a:cubicBezTo>
                  <a:cubicBezTo>
                    <a:pt x="335" y="51"/>
                    <a:pt x="343" y="51"/>
                    <a:pt x="352" y="52"/>
                  </a:cubicBezTo>
                  <a:cubicBezTo>
                    <a:pt x="362" y="53"/>
                    <a:pt x="371" y="55"/>
                    <a:pt x="378" y="57"/>
                  </a:cubicBezTo>
                  <a:cubicBezTo>
                    <a:pt x="387" y="58"/>
                    <a:pt x="391" y="59"/>
                    <a:pt x="387" y="58"/>
                  </a:cubicBezTo>
                  <a:cubicBezTo>
                    <a:pt x="376" y="55"/>
                    <a:pt x="367" y="53"/>
                    <a:pt x="356" y="52"/>
                  </a:cubicBezTo>
                  <a:cubicBezTo>
                    <a:pt x="354" y="51"/>
                    <a:pt x="352" y="51"/>
                    <a:pt x="355" y="51"/>
                  </a:cubicBezTo>
                  <a:cubicBezTo>
                    <a:pt x="377" y="53"/>
                    <a:pt x="401" y="60"/>
                    <a:pt x="418" y="66"/>
                  </a:cubicBezTo>
                  <a:cubicBezTo>
                    <a:pt x="428" y="70"/>
                    <a:pt x="428" y="70"/>
                    <a:pt x="428" y="70"/>
                  </a:cubicBezTo>
                  <a:cubicBezTo>
                    <a:pt x="430" y="70"/>
                    <a:pt x="431" y="71"/>
                    <a:pt x="432" y="71"/>
                  </a:cubicBezTo>
                  <a:cubicBezTo>
                    <a:pt x="432" y="71"/>
                    <a:pt x="430" y="70"/>
                    <a:pt x="430" y="70"/>
                  </a:cubicBezTo>
                  <a:cubicBezTo>
                    <a:pt x="411" y="62"/>
                    <a:pt x="395" y="56"/>
                    <a:pt x="374" y="52"/>
                  </a:cubicBezTo>
                  <a:cubicBezTo>
                    <a:pt x="371" y="51"/>
                    <a:pt x="368" y="51"/>
                    <a:pt x="365" y="50"/>
                  </a:cubicBezTo>
                  <a:cubicBezTo>
                    <a:pt x="358" y="49"/>
                    <a:pt x="347" y="48"/>
                    <a:pt x="338" y="47"/>
                  </a:cubicBezTo>
                  <a:cubicBezTo>
                    <a:pt x="336" y="47"/>
                    <a:pt x="337" y="47"/>
                    <a:pt x="336" y="47"/>
                  </a:cubicBezTo>
                  <a:cubicBezTo>
                    <a:pt x="315" y="46"/>
                    <a:pt x="296" y="48"/>
                    <a:pt x="277" y="51"/>
                  </a:cubicBezTo>
                  <a:cubicBezTo>
                    <a:pt x="293" y="48"/>
                    <a:pt x="310" y="47"/>
                    <a:pt x="325" y="47"/>
                  </a:cubicBezTo>
                  <a:cubicBezTo>
                    <a:pt x="327" y="47"/>
                    <a:pt x="328" y="46"/>
                    <a:pt x="330" y="46"/>
                  </a:cubicBezTo>
                  <a:cubicBezTo>
                    <a:pt x="343" y="47"/>
                    <a:pt x="363" y="49"/>
                    <a:pt x="379" y="52"/>
                  </a:cubicBezTo>
                  <a:cubicBezTo>
                    <a:pt x="381" y="52"/>
                    <a:pt x="382" y="52"/>
                    <a:pt x="375" y="51"/>
                  </a:cubicBezTo>
                  <a:cubicBezTo>
                    <a:pt x="377" y="51"/>
                    <a:pt x="378" y="51"/>
                    <a:pt x="381" y="52"/>
                  </a:cubicBezTo>
                  <a:cubicBezTo>
                    <a:pt x="381" y="52"/>
                    <a:pt x="380" y="52"/>
                    <a:pt x="379" y="52"/>
                  </a:cubicBezTo>
                  <a:cubicBezTo>
                    <a:pt x="388" y="53"/>
                    <a:pt x="389" y="54"/>
                    <a:pt x="398" y="56"/>
                  </a:cubicBezTo>
                  <a:cubicBezTo>
                    <a:pt x="399" y="56"/>
                    <a:pt x="400" y="56"/>
                    <a:pt x="399" y="56"/>
                  </a:cubicBezTo>
                  <a:cubicBezTo>
                    <a:pt x="392" y="54"/>
                    <a:pt x="385" y="52"/>
                    <a:pt x="379" y="51"/>
                  </a:cubicBezTo>
                  <a:cubicBezTo>
                    <a:pt x="375" y="50"/>
                    <a:pt x="372" y="50"/>
                    <a:pt x="369" y="49"/>
                  </a:cubicBezTo>
                  <a:cubicBezTo>
                    <a:pt x="367" y="49"/>
                    <a:pt x="367" y="49"/>
                    <a:pt x="365" y="48"/>
                  </a:cubicBezTo>
                  <a:cubicBezTo>
                    <a:pt x="363" y="48"/>
                    <a:pt x="360" y="48"/>
                    <a:pt x="358" y="48"/>
                  </a:cubicBezTo>
                  <a:cubicBezTo>
                    <a:pt x="353" y="47"/>
                    <a:pt x="353" y="47"/>
                    <a:pt x="353" y="47"/>
                  </a:cubicBezTo>
                  <a:cubicBezTo>
                    <a:pt x="345" y="46"/>
                    <a:pt x="336" y="46"/>
                    <a:pt x="327" y="45"/>
                  </a:cubicBezTo>
                  <a:cubicBezTo>
                    <a:pt x="321" y="45"/>
                    <a:pt x="314" y="45"/>
                    <a:pt x="307" y="46"/>
                  </a:cubicBezTo>
                  <a:cubicBezTo>
                    <a:pt x="310" y="45"/>
                    <a:pt x="315" y="45"/>
                    <a:pt x="320" y="45"/>
                  </a:cubicBezTo>
                  <a:cubicBezTo>
                    <a:pt x="337" y="45"/>
                    <a:pt x="357" y="46"/>
                    <a:pt x="371" y="49"/>
                  </a:cubicBezTo>
                  <a:cubicBezTo>
                    <a:pt x="372" y="49"/>
                    <a:pt x="369" y="48"/>
                    <a:pt x="368" y="48"/>
                  </a:cubicBezTo>
                  <a:cubicBezTo>
                    <a:pt x="363" y="47"/>
                    <a:pt x="360" y="47"/>
                    <a:pt x="356" y="46"/>
                  </a:cubicBezTo>
                  <a:cubicBezTo>
                    <a:pt x="354" y="46"/>
                    <a:pt x="357" y="46"/>
                    <a:pt x="355" y="46"/>
                  </a:cubicBezTo>
                  <a:cubicBezTo>
                    <a:pt x="345" y="45"/>
                    <a:pt x="335" y="45"/>
                    <a:pt x="323" y="45"/>
                  </a:cubicBezTo>
                  <a:cubicBezTo>
                    <a:pt x="322" y="44"/>
                    <a:pt x="319" y="44"/>
                    <a:pt x="321" y="44"/>
                  </a:cubicBezTo>
                  <a:cubicBezTo>
                    <a:pt x="319" y="44"/>
                    <a:pt x="319" y="44"/>
                    <a:pt x="317" y="44"/>
                  </a:cubicBezTo>
                  <a:cubicBezTo>
                    <a:pt x="314" y="44"/>
                    <a:pt x="318" y="44"/>
                    <a:pt x="317" y="44"/>
                  </a:cubicBezTo>
                  <a:cubicBezTo>
                    <a:pt x="314" y="44"/>
                    <a:pt x="310" y="45"/>
                    <a:pt x="308" y="45"/>
                  </a:cubicBezTo>
                  <a:cubicBezTo>
                    <a:pt x="294" y="46"/>
                    <a:pt x="282" y="47"/>
                    <a:pt x="266" y="50"/>
                  </a:cubicBezTo>
                  <a:cubicBezTo>
                    <a:pt x="276" y="48"/>
                    <a:pt x="290" y="46"/>
                    <a:pt x="305" y="45"/>
                  </a:cubicBezTo>
                  <a:cubicBezTo>
                    <a:pt x="308" y="44"/>
                    <a:pt x="304" y="45"/>
                    <a:pt x="307" y="44"/>
                  </a:cubicBezTo>
                  <a:cubicBezTo>
                    <a:pt x="311" y="44"/>
                    <a:pt x="314" y="44"/>
                    <a:pt x="318" y="44"/>
                  </a:cubicBezTo>
                  <a:cubicBezTo>
                    <a:pt x="328" y="44"/>
                    <a:pt x="328" y="44"/>
                    <a:pt x="328" y="44"/>
                  </a:cubicBezTo>
                  <a:cubicBezTo>
                    <a:pt x="333" y="44"/>
                    <a:pt x="338" y="44"/>
                    <a:pt x="343" y="44"/>
                  </a:cubicBezTo>
                  <a:cubicBezTo>
                    <a:pt x="348" y="45"/>
                    <a:pt x="351" y="45"/>
                    <a:pt x="356" y="45"/>
                  </a:cubicBezTo>
                  <a:cubicBezTo>
                    <a:pt x="358" y="46"/>
                    <a:pt x="358" y="45"/>
                    <a:pt x="361" y="46"/>
                  </a:cubicBezTo>
                  <a:cubicBezTo>
                    <a:pt x="362" y="46"/>
                    <a:pt x="357" y="45"/>
                    <a:pt x="360" y="45"/>
                  </a:cubicBezTo>
                  <a:cubicBezTo>
                    <a:pt x="363" y="46"/>
                    <a:pt x="360" y="45"/>
                    <a:pt x="362" y="46"/>
                  </a:cubicBezTo>
                  <a:cubicBezTo>
                    <a:pt x="365" y="46"/>
                    <a:pt x="366" y="46"/>
                    <a:pt x="368" y="46"/>
                  </a:cubicBezTo>
                  <a:cubicBezTo>
                    <a:pt x="375" y="48"/>
                    <a:pt x="382" y="49"/>
                    <a:pt x="389" y="51"/>
                  </a:cubicBezTo>
                  <a:cubicBezTo>
                    <a:pt x="391" y="51"/>
                    <a:pt x="386" y="50"/>
                    <a:pt x="388" y="50"/>
                  </a:cubicBezTo>
                  <a:cubicBezTo>
                    <a:pt x="391" y="51"/>
                    <a:pt x="401" y="54"/>
                    <a:pt x="403" y="54"/>
                  </a:cubicBezTo>
                  <a:cubicBezTo>
                    <a:pt x="411" y="57"/>
                    <a:pt x="415" y="58"/>
                    <a:pt x="424" y="61"/>
                  </a:cubicBezTo>
                  <a:cubicBezTo>
                    <a:pt x="427" y="63"/>
                    <a:pt x="424" y="61"/>
                    <a:pt x="426" y="62"/>
                  </a:cubicBezTo>
                  <a:cubicBezTo>
                    <a:pt x="431" y="64"/>
                    <a:pt x="434" y="65"/>
                    <a:pt x="440" y="68"/>
                  </a:cubicBezTo>
                  <a:cubicBezTo>
                    <a:pt x="444" y="69"/>
                    <a:pt x="450" y="72"/>
                    <a:pt x="455" y="75"/>
                  </a:cubicBezTo>
                  <a:cubicBezTo>
                    <a:pt x="455" y="74"/>
                    <a:pt x="452" y="73"/>
                    <a:pt x="449" y="71"/>
                  </a:cubicBezTo>
                  <a:cubicBezTo>
                    <a:pt x="451" y="72"/>
                    <a:pt x="456" y="75"/>
                    <a:pt x="458" y="76"/>
                  </a:cubicBezTo>
                  <a:cubicBezTo>
                    <a:pt x="466" y="80"/>
                    <a:pt x="473" y="84"/>
                    <a:pt x="480" y="91"/>
                  </a:cubicBezTo>
                  <a:cubicBezTo>
                    <a:pt x="486" y="97"/>
                    <a:pt x="492" y="105"/>
                    <a:pt x="495" y="116"/>
                  </a:cubicBezTo>
                  <a:cubicBezTo>
                    <a:pt x="496" y="119"/>
                    <a:pt x="497" y="120"/>
                    <a:pt x="498" y="123"/>
                  </a:cubicBezTo>
                  <a:cubicBezTo>
                    <a:pt x="498" y="124"/>
                    <a:pt x="498" y="124"/>
                    <a:pt x="498" y="123"/>
                  </a:cubicBezTo>
                  <a:cubicBezTo>
                    <a:pt x="498" y="126"/>
                    <a:pt x="499" y="130"/>
                    <a:pt x="499" y="134"/>
                  </a:cubicBezTo>
                  <a:cubicBezTo>
                    <a:pt x="500" y="136"/>
                    <a:pt x="500" y="139"/>
                    <a:pt x="500" y="141"/>
                  </a:cubicBezTo>
                  <a:cubicBezTo>
                    <a:pt x="500" y="143"/>
                    <a:pt x="500" y="146"/>
                    <a:pt x="500" y="148"/>
                  </a:cubicBezTo>
                  <a:close/>
                  <a:moveTo>
                    <a:pt x="385" y="50"/>
                  </a:moveTo>
                  <a:cubicBezTo>
                    <a:pt x="380" y="49"/>
                    <a:pt x="378" y="49"/>
                    <a:pt x="371" y="47"/>
                  </a:cubicBezTo>
                  <a:cubicBezTo>
                    <a:pt x="369" y="47"/>
                    <a:pt x="367" y="47"/>
                    <a:pt x="364" y="46"/>
                  </a:cubicBezTo>
                  <a:cubicBezTo>
                    <a:pt x="363" y="47"/>
                    <a:pt x="354" y="45"/>
                    <a:pt x="354" y="46"/>
                  </a:cubicBezTo>
                  <a:cubicBezTo>
                    <a:pt x="359" y="46"/>
                    <a:pt x="362" y="47"/>
                    <a:pt x="365" y="47"/>
                  </a:cubicBezTo>
                  <a:cubicBezTo>
                    <a:pt x="367" y="47"/>
                    <a:pt x="364" y="47"/>
                    <a:pt x="366" y="47"/>
                  </a:cubicBezTo>
                  <a:cubicBezTo>
                    <a:pt x="370" y="48"/>
                    <a:pt x="380" y="49"/>
                    <a:pt x="386" y="51"/>
                  </a:cubicBezTo>
                  <a:cubicBezTo>
                    <a:pt x="386" y="51"/>
                    <a:pt x="384" y="50"/>
                    <a:pt x="385" y="50"/>
                  </a:cubicBezTo>
                  <a:close/>
                  <a:moveTo>
                    <a:pt x="387" y="51"/>
                  </a:moveTo>
                  <a:cubicBezTo>
                    <a:pt x="387" y="51"/>
                    <a:pt x="388" y="51"/>
                    <a:pt x="388" y="51"/>
                  </a:cubicBezTo>
                  <a:cubicBezTo>
                    <a:pt x="392" y="52"/>
                    <a:pt x="389" y="51"/>
                    <a:pt x="387" y="51"/>
                  </a:cubicBezTo>
                  <a:close/>
                  <a:moveTo>
                    <a:pt x="391" y="61"/>
                  </a:moveTo>
                  <a:cubicBezTo>
                    <a:pt x="391" y="61"/>
                    <a:pt x="391" y="61"/>
                    <a:pt x="391" y="61"/>
                  </a:cubicBezTo>
                  <a:cubicBezTo>
                    <a:pt x="391" y="61"/>
                    <a:pt x="391" y="61"/>
                    <a:pt x="391" y="61"/>
                  </a:cubicBezTo>
                  <a:close/>
                </a:path>
              </a:pathLst>
            </a:custGeom>
            <a:solidFill>
              <a:srgbClr val="92D050"/>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noChangeAspect="1" noEditPoints="1"/>
            </p:cNvSpPr>
            <p:nvPr/>
          </p:nvSpPr>
          <p:spPr bwMode="auto">
            <a:xfrm>
              <a:off x="665141" y="2428036"/>
              <a:ext cx="714380" cy="2064605"/>
            </a:xfrm>
            <a:custGeom>
              <a:avLst/>
              <a:gdLst>
                <a:gd name="T0" fmla="*/ 302 w 351"/>
                <a:gd name="T1" fmla="*/ 169 h 845"/>
                <a:gd name="T2" fmla="*/ 282 w 351"/>
                <a:gd name="T3" fmla="*/ 133 h 845"/>
                <a:gd name="T4" fmla="*/ 201 w 351"/>
                <a:gd name="T5" fmla="*/ 109 h 845"/>
                <a:gd name="T6" fmla="*/ 199 w 351"/>
                <a:gd name="T7" fmla="*/ 66 h 845"/>
                <a:gd name="T8" fmla="*/ 198 w 351"/>
                <a:gd name="T9" fmla="*/ 38 h 845"/>
                <a:gd name="T10" fmla="*/ 127 w 351"/>
                <a:gd name="T11" fmla="*/ 33 h 845"/>
                <a:gd name="T12" fmla="*/ 128 w 351"/>
                <a:gd name="T13" fmla="*/ 78 h 845"/>
                <a:gd name="T14" fmla="*/ 118 w 351"/>
                <a:gd name="T15" fmla="*/ 115 h 845"/>
                <a:gd name="T16" fmla="*/ 72 w 351"/>
                <a:gd name="T17" fmla="*/ 127 h 845"/>
                <a:gd name="T18" fmla="*/ 39 w 351"/>
                <a:gd name="T19" fmla="*/ 165 h 845"/>
                <a:gd name="T20" fmla="*/ 23 w 351"/>
                <a:gd name="T21" fmla="*/ 209 h 845"/>
                <a:gd name="T22" fmla="*/ 5 w 351"/>
                <a:gd name="T23" fmla="*/ 277 h 845"/>
                <a:gd name="T24" fmla="*/ 37 w 351"/>
                <a:gd name="T25" fmla="*/ 344 h 845"/>
                <a:gd name="T26" fmla="*/ 47 w 351"/>
                <a:gd name="T27" fmla="*/ 358 h 845"/>
                <a:gd name="T28" fmla="*/ 56 w 351"/>
                <a:gd name="T29" fmla="*/ 392 h 845"/>
                <a:gd name="T30" fmla="*/ 69 w 351"/>
                <a:gd name="T31" fmla="*/ 476 h 845"/>
                <a:gd name="T32" fmla="*/ 91 w 351"/>
                <a:gd name="T33" fmla="*/ 545 h 845"/>
                <a:gd name="T34" fmla="*/ 105 w 351"/>
                <a:gd name="T35" fmla="*/ 678 h 845"/>
                <a:gd name="T36" fmla="*/ 110 w 351"/>
                <a:gd name="T37" fmla="*/ 753 h 845"/>
                <a:gd name="T38" fmla="*/ 115 w 351"/>
                <a:gd name="T39" fmla="*/ 778 h 845"/>
                <a:gd name="T40" fmla="*/ 107 w 351"/>
                <a:gd name="T41" fmla="*/ 795 h 845"/>
                <a:gd name="T42" fmla="*/ 84 w 351"/>
                <a:gd name="T43" fmla="*/ 817 h 845"/>
                <a:gd name="T44" fmla="*/ 152 w 351"/>
                <a:gd name="T45" fmla="*/ 807 h 845"/>
                <a:gd name="T46" fmla="*/ 176 w 351"/>
                <a:gd name="T47" fmla="*/ 776 h 845"/>
                <a:gd name="T48" fmla="*/ 187 w 351"/>
                <a:gd name="T49" fmla="*/ 798 h 845"/>
                <a:gd name="T50" fmla="*/ 173 w 351"/>
                <a:gd name="T51" fmla="*/ 823 h 845"/>
                <a:gd name="T52" fmla="*/ 166 w 351"/>
                <a:gd name="T53" fmla="*/ 843 h 845"/>
                <a:gd name="T54" fmla="*/ 234 w 351"/>
                <a:gd name="T55" fmla="*/ 828 h 845"/>
                <a:gd name="T56" fmla="*/ 239 w 351"/>
                <a:gd name="T57" fmla="*/ 800 h 845"/>
                <a:gd name="T58" fmla="*/ 251 w 351"/>
                <a:gd name="T59" fmla="*/ 745 h 845"/>
                <a:gd name="T60" fmla="*/ 252 w 351"/>
                <a:gd name="T61" fmla="*/ 513 h 845"/>
                <a:gd name="T62" fmla="*/ 289 w 351"/>
                <a:gd name="T63" fmla="*/ 474 h 845"/>
                <a:gd name="T64" fmla="*/ 298 w 351"/>
                <a:gd name="T65" fmla="*/ 419 h 845"/>
                <a:gd name="T66" fmla="*/ 291 w 351"/>
                <a:gd name="T67" fmla="*/ 344 h 845"/>
                <a:gd name="T68" fmla="*/ 339 w 351"/>
                <a:gd name="T69" fmla="*/ 275 h 845"/>
                <a:gd name="T70" fmla="*/ 61 w 351"/>
                <a:gd name="T71" fmla="*/ 255 h 845"/>
                <a:gd name="T72" fmla="*/ 55 w 351"/>
                <a:gd name="T73" fmla="*/ 268 h 845"/>
                <a:gd name="T74" fmla="*/ 85 w 351"/>
                <a:gd name="T75" fmla="*/ 328 h 845"/>
                <a:gd name="T76" fmla="*/ 111 w 351"/>
                <a:gd name="T77" fmla="*/ 350 h 845"/>
                <a:gd name="T78" fmla="*/ 126 w 351"/>
                <a:gd name="T79" fmla="*/ 112 h 845"/>
                <a:gd name="T80" fmla="*/ 147 w 351"/>
                <a:gd name="T81" fmla="*/ 131 h 845"/>
                <a:gd name="T82" fmla="*/ 129 w 351"/>
                <a:gd name="T83" fmla="*/ 147 h 845"/>
                <a:gd name="T84" fmla="*/ 142 w 351"/>
                <a:gd name="T85" fmla="*/ 140 h 845"/>
                <a:gd name="T86" fmla="*/ 141 w 351"/>
                <a:gd name="T87" fmla="*/ 361 h 845"/>
                <a:gd name="T88" fmla="*/ 179 w 351"/>
                <a:gd name="T89" fmla="*/ 721 h 845"/>
                <a:gd name="T90" fmla="*/ 169 w 351"/>
                <a:gd name="T91" fmla="*/ 651 h 845"/>
                <a:gd name="T92" fmla="*/ 171 w 351"/>
                <a:gd name="T93" fmla="*/ 566 h 845"/>
                <a:gd name="T94" fmla="*/ 188 w 351"/>
                <a:gd name="T95" fmla="*/ 626 h 845"/>
                <a:gd name="T96" fmla="*/ 223 w 351"/>
                <a:gd name="T97" fmla="*/ 320 h 845"/>
                <a:gd name="T98" fmla="*/ 143 w 351"/>
                <a:gd name="T99" fmla="*/ 360 h 845"/>
                <a:gd name="T100" fmla="*/ 176 w 351"/>
                <a:gd name="T101" fmla="*/ 157 h 845"/>
                <a:gd name="T102" fmla="*/ 154 w 351"/>
                <a:gd name="T103" fmla="*/ 132 h 845"/>
                <a:gd name="T104" fmla="*/ 187 w 351"/>
                <a:gd name="T105" fmla="*/ 239 h 845"/>
                <a:gd name="T106" fmla="*/ 258 w 351"/>
                <a:gd name="T107" fmla="*/ 345 h 845"/>
                <a:gd name="T108" fmla="*/ 250 w 351"/>
                <a:gd name="T109" fmla="*/ 332 h 845"/>
                <a:gd name="T110" fmla="*/ 275 w 351"/>
                <a:gd name="T111" fmla="*/ 269 h 845"/>
                <a:gd name="T112" fmla="*/ 285 w 351"/>
                <a:gd name="T113" fmla="*/ 25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1" h="845">
                  <a:moveTo>
                    <a:pt x="345" y="232"/>
                  </a:moveTo>
                  <a:cubicBezTo>
                    <a:pt x="340" y="219"/>
                    <a:pt x="330" y="208"/>
                    <a:pt x="328" y="204"/>
                  </a:cubicBezTo>
                  <a:cubicBezTo>
                    <a:pt x="325" y="200"/>
                    <a:pt x="320" y="194"/>
                    <a:pt x="319" y="191"/>
                  </a:cubicBezTo>
                  <a:cubicBezTo>
                    <a:pt x="318" y="188"/>
                    <a:pt x="316" y="189"/>
                    <a:pt x="315" y="189"/>
                  </a:cubicBezTo>
                  <a:cubicBezTo>
                    <a:pt x="315" y="189"/>
                    <a:pt x="314" y="188"/>
                    <a:pt x="313" y="186"/>
                  </a:cubicBezTo>
                  <a:cubicBezTo>
                    <a:pt x="310" y="183"/>
                    <a:pt x="308" y="179"/>
                    <a:pt x="307" y="177"/>
                  </a:cubicBezTo>
                  <a:cubicBezTo>
                    <a:pt x="305" y="176"/>
                    <a:pt x="305" y="175"/>
                    <a:pt x="304" y="174"/>
                  </a:cubicBezTo>
                  <a:cubicBezTo>
                    <a:pt x="302" y="172"/>
                    <a:pt x="302" y="171"/>
                    <a:pt x="302" y="169"/>
                  </a:cubicBezTo>
                  <a:cubicBezTo>
                    <a:pt x="301" y="167"/>
                    <a:pt x="300" y="166"/>
                    <a:pt x="299" y="164"/>
                  </a:cubicBezTo>
                  <a:cubicBezTo>
                    <a:pt x="297" y="162"/>
                    <a:pt x="294" y="161"/>
                    <a:pt x="293" y="161"/>
                  </a:cubicBezTo>
                  <a:cubicBezTo>
                    <a:pt x="292" y="161"/>
                    <a:pt x="291" y="160"/>
                    <a:pt x="291" y="159"/>
                  </a:cubicBezTo>
                  <a:cubicBezTo>
                    <a:pt x="290" y="158"/>
                    <a:pt x="289" y="156"/>
                    <a:pt x="289" y="155"/>
                  </a:cubicBezTo>
                  <a:cubicBezTo>
                    <a:pt x="288" y="155"/>
                    <a:pt x="288" y="154"/>
                    <a:pt x="288" y="152"/>
                  </a:cubicBezTo>
                  <a:cubicBezTo>
                    <a:pt x="288" y="150"/>
                    <a:pt x="287" y="148"/>
                    <a:pt x="287" y="146"/>
                  </a:cubicBezTo>
                  <a:cubicBezTo>
                    <a:pt x="286" y="145"/>
                    <a:pt x="286" y="144"/>
                    <a:pt x="285" y="142"/>
                  </a:cubicBezTo>
                  <a:cubicBezTo>
                    <a:pt x="285" y="139"/>
                    <a:pt x="283" y="135"/>
                    <a:pt x="282" y="133"/>
                  </a:cubicBezTo>
                  <a:cubicBezTo>
                    <a:pt x="279" y="125"/>
                    <a:pt x="276" y="125"/>
                    <a:pt x="275" y="125"/>
                  </a:cubicBezTo>
                  <a:cubicBezTo>
                    <a:pt x="274" y="125"/>
                    <a:pt x="274" y="124"/>
                    <a:pt x="274" y="124"/>
                  </a:cubicBezTo>
                  <a:cubicBezTo>
                    <a:pt x="274" y="124"/>
                    <a:pt x="270" y="122"/>
                    <a:pt x="269" y="122"/>
                  </a:cubicBezTo>
                  <a:cubicBezTo>
                    <a:pt x="266" y="122"/>
                    <a:pt x="263" y="121"/>
                    <a:pt x="261" y="120"/>
                  </a:cubicBezTo>
                  <a:cubicBezTo>
                    <a:pt x="258" y="119"/>
                    <a:pt x="249" y="118"/>
                    <a:pt x="247" y="118"/>
                  </a:cubicBezTo>
                  <a:cubicBezTo>
                    <a:pt x="242" y="117"/>
                    <a:pt x="231" y="115"/>
                    <a:pt x="227" y="114"/>
                  </a:cubicBezTo>
                  <a:cubicBezTo>
                    <a:pt x="223" y="114"/>
                    <a:pt x="211" y="111"/>
                    <a:pt x="208" y="110"/>
                  </a:cubicBezTo>
                  <a:cubicBezTo>
                    <a:pt x="204" y="110"/>
                    <a:pt x="203" y="109"/>
                    <a:pt x="201" y="109"/>
                  </a:cubicBezTo>
                  <a:cubicBezTo>
                    <a:pt x="200" y="109"/>
                    <a:pt x="198" y="109"/>
                    <a:pt x="197" y="108"/>
                  </a:cubicBezTo>
                  <a:cubicBezTo>
                    <a:pt x="195" y="106"/>
                    <a:pt x="190" y="104"/>
                    <a:pt x="189" y="103"/>
                  </a:cubicBezTo>
                  <a:cubicBezTo>
                    <a:pt x="187" y="102"/>
                    <a:pt x="188" y="101"/>
                    <a:pt x="188" y="99"/>
                  </a:cubicBezTo>
                  <a:cubicBezTo>
                    <a:pt x="189" y="96"/>
                    <a:pt x="191" y="85"/>
                    <a:pt x="191" y="84"/>
                  </a:cubicBezTo>
                  <a:cubicBezTo>
                    <a:pt x="191" y="84"/>
                    <a:pt x="191" y="84"/>
                    <a:pt x="192" y="84"/>
                  </a:cubicBezTo>
                  <a:cubicBezTo>
                    <a:pt x="192" y="84"/>
                    <a:pt x="193" y="84"/>
                    <a:pt x="194" y="83"/>
                  </a:cubicBezTo>
                  <a:cubicBezTo>
                    <a:pt x="195" y="83"/>
                    <a:pt x="196" y="81"/>
                    <a:pt x="196" y="80"/>
                  </a:cubicBezTo>
                  <a:cubicBezTo>
                    <a:pt x="198" y="77"/>
                    <a:pt x="199" y="67"/>
                    <a:pt x="199" y="66"/>
                  </a:cubicBezTo>
                  <a:cubicBezTo>
                    <a:pt x="199" y="66"/>
                    <a:pt x="198" y="62"/>
                    <a:pt x="198" y="60"/>
                  </a:cubicBezTo>
                  <a:cubicBezTo>
                    <a:pt x="198" y="59"/>
                    <a:pt x="199" y="58"/>
                    <a:pt x="199" y="57"/>
                  </a:cubicBezTo>
                  <a:cubicBezTo>
                    <a:pt x="200" y="56"/>
                    <a:pt x="198" y="55"/>
                    <a:pt x="197" y="55"/>
                  </a:cubicBezTo>
                  <a:cubicBezTo>
                    <a:pt x="197" y="55"/>
                    <a:pt x="197" y="54"/>
                    <a:pt x="197" y="54"/>
                  </a:cubicBezTo>
                  <a:cubicBezTo>
                    <a:pt x="197" y="53"/>
                    <a:pt x="197" y="51"/>
                    <a:pt x="197" y="49"/>
                  </a:cubicBezTo>
                  <a:cubicBezTo>
                    <a:pt x="197" y="48"/>
                    <a:pt x="198" y="46"/>
                    <a:pt x="197" y="44"/>
                  </a:cubicBezTo>
                  <a:cubicBezTo>
                    <a:pt x="197" y="43"/>
                    <a:pt x="197" y="42"/>
                    <a:pt x="197" y="42"/>
                  </a:cubicBezTo>
                  <a:cubicBezTo>
                    <a:pt x="198" y="42"/>
                    <a:pt x="198" y="40"/>
                    <a:pt x="198" y="38"/>
                  </a:cubicBezTo>
                  <a:cubicBezTo>
                    <a:pt x="198" y="29"/>
                    <a:pt x="196" y="26"/>
                    <a:pt x="194" y="21"/>
                  </a:cubicBezTo>
                  <a:cubicBezTo>
                    <a:pt x="192" y="15"/>
                    <a:pt x="184" y="12"/>
                    <a:pt x="183" y="11"/>
                  </a:cubicBezTo>
                  <a:cubicBezTo>
                    <a:pt x="181" y="11"/>
                    <a:pt x="180" y="7"/>
                    <a:pt x="176" y="6"/>
                  </a:cubicBezTo>
                  <a:cubicBezTo>
                    <a:pt x="177" y="6"/>
                    <a:pt x="164" y="0"/>
                    <a:pt x="147" y="6"/>
                  </a:cubicBezTo>
                  <a:cubicBezTo>
                    <a:pt x="145" y="6"/>
                    <a:pt x="143" y="8"/>
                    <a:pt x="141" y="8"/>
                  </a:cubicBezTo>
                  <a:cubicBezTo>
                    <a:pt x="136" y="9"/>
                    <a:pt x="135" y="11"/>
                    <a:pt x="133" y="14"/>
                  </a:cubicBezTo>
                  <a:cubicBezTo>
                    <a:pt x="132" y="15"/>
                    <a:pt x="131" y="18"/>
                    <a:pt x="129" y="20"/>
                  </a:cubicBezTo>
                  <a:cubicBezTo>
                    <a:pt x="126" y="23"/>
                    <a:pt x="127" y="30"/>
                    <a:pt x="127" y="33"/>
                  </a:cubicBezTo>
                  <a:cubicBezTo>
                    <a:pt x="126" y="40"/>
                    <a:pt x="125" y="50"/>
                    <a:pt x="125" y="49"/>
                  </a:cubicBezTo>
                  <a:cubicBezTo>
                    <a:pt x="125" y="50"/>
                    <a:pt x="124" y="49"/>
                    <a:pt x="123" y="49"/>
                  </a:cubicBezTo>
                  <a:cubicBezTo>
                    <a:pt x="123" y="48"/>
                    <a:pt x="122" y="48"/>
                    <a:pt x="121" y="47"/>
                  </a:cubicBezTo>
                  <a:cubicBezTo>
                    <a:pt x="118" y="47"/>
                    <a:pt x="117" y="53"/>
                    <a:pt x="118" y="58"/>
                  </a:cubicBezTo>
                  <a:cubicBezTo>
                    <a:pt x="118" y="58"/>
                    <a:pt x="118" y="66"/>
                    <a:pt x="120" y="72"/>
                  </a:cubicBezTo>
                  <a:cubicBezTo>
                    <a:pt x="121" y="74"/>
                    <a:pt x="122" y="75"/>
                    <a:pt x="122" y="76"/>
                  </a:cubicBezTo>
                  <a:cubicBezTo>
                    <a:pt x="123" y="77"/>
                    <a:pt x="125" y="78"/>
                    <a:pt x="126" y="78"/>
                  </a:cubicBezTo>
                  <a:cubicBezTo>
                    <a:pt x="126" y="78"/>
                    <a:pt x="128" y="78"/>
                    <a:pt x="128" y="78"/>
                  </a:cubicBezTo>
                  <a:cubicBezTo>
                    <a:pt x="128" y="78"/>
                    <a:pt x="128" y="80"/>
                    <a:pt x="129" y="82"/>
                  </a:cubicBezTo>
                  <a:cubicBezTo>
                    <a:pt x="129" y="83"/>
                    <a:pt x="129" y="87"/>
                    <a:pt x="129" y="90"/>
                  </a:cubicBezTo>
                  <a:cubicBezTo>
                    <a:pt x="129" y="93"/>
                    <a:pt x="130" y="98"/>
                    <a:pt x="130" y="100"/>
                  </a:cubicBezTo>
                  <a:cubicBezTo>
                    <a:pt x="130" y="101"/>
                    <a:pt x="129" y="101"/>
                    <a:pt x="129" y="102"/>
                  </a:cubicBezTo>
                  <a:cubicBezTo>
                    <a:pt x="129" y="102"/>
                    <a:pt x="127" y="103"/>
                    <a:pt x="126" y="105"/>
                  </a:cubicBezTo>
                  <a:cubicBezTo>
                    <a:pt x="125" y="107"/>
                    <a:pt x="125" y="110"/>
                    <a:pt x="125" y="110"/>
                  </a:cubicBezTo>
                  <a:cubicBezTo>
                    <a:pt x="125" y="111"/>
                    <a:pt x="124" y="111"/>
                    <a:pt x="123" y="112"/>
                  </a:cubicBezTo>
                  <a:cubicBezTo>
                    <a:pt x="122" y="113"/>
                    <a:pt x="119" y="115"/>
                    <a:pt x="118" y="115"/>
                  </a:cubicBezTo>
                  <a:cubicBezTo>
                    <a:pt x="117" y="116"/>
                    <a:pt x="116" y="116"/>
                    <a:pt x="115" y="116"/>
                  </a:cubicBezTo>
                  <a:cubicBezTo>
                    <a:pt x="114" y="117"/>
                    <a:pt x="110" y="118"/>
                    <a:pt x="107" y="118"/>
                  </a:cubicBezTo>
                  <a:cubicBezTo>
                    <a:pt x="105" y="119"/>
                    <a:pt x="102" y="120"/>
                    <a:pt x="100" y="120"/>
                  </a:cubicBezTo>
                  <a:cubicBezTo>
                    <a:pt x="98" y="121"/>
                    <a:pt x="96" y="121"/>
                    <a:pt x="94" y="122"/>
                  </a:cubicBezTo>
                  <a:cubicBezTo>
                    <a:pt x="92" y="122"/>
                    <a:pt x="90" y="123"/>
                    <a:pt x="87" y="123"/>
                  </a:cubicBezTo>
                  <a:cubicBezTo>
                    <a:pt x="85" y="124"/>
                    <a:pt x="84" y="124"/>
                    <a:pt x="80" y="125"/>
                  </a:cubicBezTo>
                  <a:cubicBezTo>
                    <a:pt x="77" y="126"/>
                    <a:pt x="75" y="126"/>
                    <a:pt x="74" y="127"/>
                  </a:cubicBezTo>
                  <a:cubicBezTo>
                    <a:pt x="74" y="127"/>
                    <a:pt x="73" y="127"/>
                    <a:pt x="72" y="127"/>
                  </a:cubicBezTo>
                  <a:cubicBezTo>
                    <a:pt x="70" y="127"/>
                    <a:pt x="68" y="128"/>
                    <a:pt x="65" y="129"/>
                  </a:cubicBezTo>
                  <a:cubicBezTo>
                    <a:pt x="62" y="130"/>
                    <a:pt x="56" y="133"/>
                    <a:pt x="55" y="134"/>
                  </a:cubicBezTo>
                  <a:cubicBezTo>
                    <a:pt x="54" y="134"/>
                    <a:pt x="54" y="135"/>
                    <a:pt x="53" y="135"/>
                  </a:cubicBezTo>
                  <a:cubicBezTo>
                    <a:pt x="52" y="135"/>
                    <a:pt x="52" y="136"/>
                    <a:pt x="50" y="137"/>
                  </a:cubicBezTo>
                  <a:cubicBezTo>
                    <a:pt x="49" y="138"/>
                    <a:pt x="47" y="144"/>
                    <a:pt x="46" y="146"/>
                  </a:cubicBezTo>
                  <a:cubicBezTo>
                    <a:pt x="45" y="148"/>
                    <a:pt x="44" y="151"/>
                    <a:pt x="43" y="153"/>
                  </a:cubicBezTo>
                  <a:cubicBezTo>
                    <a:pt x="43" y="154"/>
                    <a:pt x="43" y="156"/>
                    <a:pt x="42" y="157"/>
                  </a:cubicBezTo>
                  <a:cubicBezTo>
                    <a:pt x="42" y="158"/>
                    <a:pt x="40" y="162"/>
                    <a:pt x="39" y="165"/>
                  </a:cubicBezTo>
                  <a:cubicBezTo>
                    <a:pt x="39" y="167"/>
                    <a:pt x="39" y="171"/>
                    <a:pt x="39" y="171"/>
                  </a:cubicBezTo>
                  <a:cubicBezTo>
                    <a:pt x="39" y="172"/>
                    <a:pt x="39" y="172"/>
                    <a:pt x="38" y="173"/>
                  </a:cubicBezTo>
                  <a:cubicBezTo>
                    <a:pt x="37" y="174"/>
                    <a:pt x="35" y="178"/>
                    <a:pt x="35" y="180"/>
                  </a:cubicBezTo>
                  <a:cubicBezTo>
                    <a:pt x="34" y="181"/>
                    <a:pt x="35" y="186"/>
                    <a:pt x="35" y="186"/>
                  </a:cubicBezTo>
                  <a:cubicBezTo>
                    <a:pt x="35" y="187"/>
                    <a:pt x="32" y="191"/>
                    <a:pt x="31" y="193"/>
                  </a:cubicBezTo>
                  <a:cubicBezTo>
                    <a:pt x="29" y="194"/>
                    <a:pt x="29" y="198"/>
                    <a:pt x="28" y="198"/>
                  </a:cubicBezTo>
                  <a:cubicBezTo>
                    <a:pt x="28" y="198"/>
                    <a:pt x="28" y="199"/>
                    <a:pt x="27" y="201"/>
                  </a:cubicBezTo>
                  <a:cubicBezTo>
                    <a:pt x="25" y="203"/>
                    <a:pt x="23" y="208"/>
                    <a:pt x="23" y="209"/>
                  </a:cubicBezTo>
                  <a:cubicBezTo>
                    <a:pt x="23" y="210"/>
                    <a:pt x="22" y="210"/>
                    <a:pt x="20" y="213"/>
                  </a:cubicBezTo>
                  <a:cubicBezTo>
                    <a:pt x="18" y="217"/>
                    <a:pt x="15" y="224"/>
                    <a:pt x="15" y="226"/>
                  </a:cubicBezTo>
                  <a:cubicBezTo>
                    <a:pt x="14" y="228"/>
                    <a:pt x="13" y="229"/>
                    <a:pt x="11" y="230"/>
                  </a:cubicBezTo>
                  <a:cubicBezTo>
                    <a:pt x="9" y="232"/>
                    <a:pt x="7" y="233"/>
                    <a:pt x="5" y="236"/>
                  </a:cubicBezTo>
                  <a:cubicBezTo>
                    <a:pt x="4" y="238"/>
                    <a:pt x="4" y="245"/>
                    <a:pt x="4" y="247"/>
                  </a:cubicBezTo>
                  <a:cubicBezTo>
                    <a:pt x="3" y="250"/>
                    <a:pt x="2" y="254"/>
                    <a:pt x="1" y="257"/>
                  </a:cubicBezTo>
                  <a:cubicBezTo>
                    <a:pt x="0" y="260"/>
                    <a:pt x="2" y="261"/>
                    <a:pt x="3" y="265"/>
                  </a:cubicBezTo>
                  <a:cubicBezTo>
                    <a:pt x="3" y="268"/>
                    <a:pt x="5" y="274"/>
                    <a:pt x="5" y="277"/>
                  </a:cubicBezTo>
                  <a:cubicBezTo>
                    <a:pt x="6" y="280"/>
                    <a:pt x="6" y="282"/>
                    <a:pt x="6" y="284"/>
                  </a:cubicBezTo>
                  <a:cubicBezTo>
                    <a:pt x="6" y="286"/>
                    <a:pt x="8" y="290"/>
                    <a:pt x="8" y="291"/>
                  </a:cubicBezTo>
                  <a:cubicBezTo>
                    <a:pt x="10" y="297"/>
                    <a:pt x="17" y="309"/>
                    <a:pt x="20" y="313"/>
                  </a:cubicBezTo>
                  <a:cubicBezTo>
                    <a:pt x="22" y="317"/>
                    <a:pt x="32" y="335"/>
                    <a:pt x="33" y="336"/>
                  </a:cubicBezTo>
                  <a:cubicBezTo>
                    <a:pt x="33" y="336"/>
                    <a:pt x="32" y="336"/>
                    <a:pt x="32" y="337"/>
                  </a:cubicBezTo>
                  <a:cubicBezTo>
                    <a:pt x="32" y="337"/>
                    <a:pt x="33" y="339"/>
                    <a:pt x="34" y="340"/>
                  </a:cubicBezTo>
                  <a:cubicBezTo>
                    <a:pt x="35" y="341"/>
                    <a:pt x="35" y="341"/>
                    <a:pt x="35" y="341"/>
                  </a:cubicBezTo>
                  <a:cubicBezTo>
                    <a:pt x="36" y="342"/>
                    <a:pt x="36" y="343"/>
                    <a:pt x="37" y="344"/>
                  </a:cubicBezTo>
                  <a:cubicBezTo>
                    <a:pt x="38" y="345"/>
                    <a:pt x="38" y="346"/>
                    <a:pt x="38" y="346"/>
                  </a:cubicBezTo>
                  <a:cubicBezTo>
                    <a:pt x="39" y="347"/>
                    <a:pt x="40" y="349"/>
                    <a:pt x="41" y="350"/>
                  </a:cubicBezTo>
                  <a:cubicBezTo>
                    <a:pt x="41" y="350"/>
                    <a:pt x="41" y="351"/>
                    <a:pt x="42" y="351"/>
                  </a:cubicBezTo>
                  <a:cubicBezTo>
                    <a:pt x="42" y="352"/>
                    <a:pt x="42" y="353"/>
                    <a:pt x="43" y="353"/>
                  </a:cubicBezTo>
                  <a:cubicBezTo>
                    <a:pt x="43" y="353"/>
                    <a:pt x="43" y="354"/>
                    <a:pt x="43" y="354"/>
                  </a:cubicBezTo>
                  <a:cubicBezTo>
                    <a:pt x="44" y="355"/>
                    <a:pt x="44" y="356"/>
                    <a:pt x="45" y="356"/>
                  </a:cubicBezTo>
                  <a:cubicBezTo>
                    <a:pt x="45" y="356"/>
                    <a:pt x="45" y="356"/>
                    <a:pt x="46" y="356"/>
                  </a:cubicBezTo>
                  <a:cubicBezTo>
                    <a:pt x="46" y="356"/>
                    <a:pt x="46" y="356"/>
                    <a:pt x="47" y="358"/>
                  </a:cubicBezTo>
                  <a:cubicBezTo>
                    <a:pt x="48" y="360"/>
                    <a:pt x="49" y="360"/>
                    <a:pt x="49" y="362"/>
                  </a:cubicBezTo>
                  <a:cubicBezTo>
                    <a:pt x="50" y="363"/>
                    <a:pt x="52" y="367"/>
                    <a:pt x="52" y="369"/>
                  </a:cubicBezTo>
                  <a:cubicBezTo>
                    <a:pt x="53" y="370"/>
                    <a:pt x="53" y="371"/>
                    <a:pt x="53" y="371"/>
                  </a:cubicBezTo>
                  <a:cubicBezTo>
                    <a:pt x="54" y="371"/>
                    <a:pt x="53" y="369"/>
                    <a:pt x="53" y="367"/>
                  </a:cubicBezTo>
                  <a:cubicBezTo>
                    <a:pt x="53" y="365"/>
                    <a:pt x="54" y="368"/>
                    <a:pt x="55" y="369"/>
                  </a:cubicBezTo>
                  <a:cubicBezTo>
                    <a:pt x="56" y="370"/>
                    <a:pt x="56" y="370"/>
                    <a:pt x="57" y="370"/>
                  </a:cubicBezTo>
                  <a:cubicBezTo>
                    <a:pt x="57" y="370"/>
                    <a:pt x="57" y="371"/>
                    <a:pt x="57" y="374"/>
                  </a:cubicBezTo>
                  <a:cubicBezTo>
                    <a:pt x="57" y="378"/>
                    <a:pt x="56" y="385"/>
                    <a:pt x="56" y="392"/>
                  </a:cubicBezTo>
                  <a:cubicBezTo>
                    <a:pt x="56" y="399"/>
                    <a:pt x="55" y="418"/>
                    <a:pt x="55" y="421"/>
                  </a:cubicBezTo>
                  <a:cubicBezTo>
                    <a:pt x="55" y="424"/>
                    <a:pt x="55" y="427"/>
                    <a:pt x="55" y="433"/>
                  </a:cubicBezTo>
                  <a:cubicBezTo>
                    <a:pt x="55" y="439"/>
                    <a:pt x="54" y="461"/>
                    <a:pt x="54" y="464"/>
                  </a:cubicBezTo>
                  <a:cubicBezTo>
                    <a:pt x="54" y="466"/>
                    <a:pt x="54" y="466"/>
                    <a:pt x="55" y="467"/>
                  </a:cubicBezTo>
                  <a:cubicBezTo>
                    <a:pt x="56" y="468"/>
                    <a:pt x="57" y="469"/>
                    <a:pt x="57" y="469"/>
                  </a:cubicBezTo>
                  <a:cubicBezTo>
                    <a:pt x="58" y="469"/>
                    <a:pt x="59" y="470"/>
                    <a:pt x="60" y="471"/>
                  </a:cubicBezTo>
                  <a:cubicBezTo>
                    <a:pt x="62" y="472"/>
                    <a:pt x="64" y="474"/>
                    <a:pt x="65" y="474"/>
                  </a:cubicBezTo>
                  <a:cubicBezTo>
                    <a:pt x="65" y="475"/>
                    <a:pt x="68" y="475"/>
                    <a:pt x="69" y="476"/>
                  </a:cubicBezTo>
                  <a:cubicBezTo>
                    <a:pt x="71" y="476"/>
                    <a:pt x="74" y="477"/>
                    <a:pt x="76" y="478"/>
                  </a:cubicBezTo>
                  <a:cubicBezTo>
                    <a:pt x="77" y="478"/>
                    <a:pt x="80" y="479"/>
                    <a:pt x="81" y="479"/>
                  </a:cubicBezTo>
                  <a:cubicBezTo>
                    <a:pt x="82" y="479"/>
                    <a:pt x="82" y="479"/>
                    <a:pt x="82" y="479"/>
                  </a:cubicBezTo>
                  <a:cubicBezTo>
                    <a:pt x="82" y="480"/>
                    <a:pt x="82" y="483"/>
                    <a:pt x="82" y="485"/>
                  </a:cubicBezTo>
                  <a:cubicBezTo>
                    <a:pt x="83" y="488"/>
                    <a:pt x="84" y="495"/>
                    <a:pt x="84" y="498"/>
                  </a:cubicBezTo>
                  <a:cubicBezTo>
                    <a:pt x="85" y="502"/>
                    <a:pt x="86" y="513"/>
                    <a:pt x="87" y="514"/>
                  </a:cubicBezTo>
                  <a:cubicBezTo>
                    <a:pt x="87" y="516"/>
                    <a:pt x="87" y="517"/>
                    <a:pt x="88" y="520"/>
                  </a:cubicBezTo>
                  <a:cubicBezTo>
                    <a:pt x="88" y="524"/>
                    <a:pt x="90" y="539"/>
                    <a:pt x="91" y="545"/>
                  </a:cubicBezTo>
                  <a:cubicBezTo>
                    <a:pt x="92" y="552"/>
                    <a:pt x="95" y="566"/>
                    <a:pt x="96" y="573"/>
                  </a:cubicBezTo>
                  <a:cubicBezTo>
                    <a:pt x="97" y="578"/>
                    <a:pt x="98" y="580"/>
                    <a:pt x="98" y="582"/>
                  </a:cubicBezTo>
                  <a:cubicBezTo>
                    <a:pt x="98" y="584"/>
                    <a:pt x="99" y="595"/>
                    <a:pt x="99" y="599"/>
                  </a:cubicBezTo>
                  <a:cubicBezTo>
                    <a:pt x="99" y="603"/>
                    <a:pt x="100" y="614"/>
                    <a:pt x="100" y="616"/>
                  </a:cubicBezTo>
                  <a:cubicBezTo>
                    <a:pt x="100" y="618"/>
                    <a:pt x="100" y="621"/>
                    <a:pt x="100" y="624"/>
                  </a:cubicBezTo>
                  <a:cubicBezTo>
                    <a:pt x="101" y="627"/>
                    <a:pt x="103" y="650"/>
                    <a:pt x="103" y="655"/>
                  </a:cubicBezTo>
                  <a:cubicBezTo>
                    <a:pt x="104" y="658"/>
                    <a:pt x="104" y="660"/>
                    <a:pt x="104" y="662"/>
                  </a:cubicBezTo>
                  <a:cubicBezTo>
                    <a:pt x="104" y="663"/>
                    <a:pt x="105" y="674"/>
                    <a:pt x="105" y="678"/>
                  </a:cubicBezTo>
                  <a:cubicBezTo>
                    <a:pt x="106" y="683"/>
                    <a:pt x="108" y="689"/>
                    <a:pt x="108" y="692"/>
                  </a:cubicBezTo>
                  <a:cubicBezTo>
                    <a:pt x="108" y="695"/>
                    <a:pt x="109" y="705"/>
                    <a:pt x="109" y="709"/>
                  </a:cubicBezTo>
                  <a:cubicBezTo>
                    <a:pt x="110" y="714"/>
                    <a:pt x="110" y="719"/>
                    <a:pt x="110" y="721"/>
                  </a:cubicBezTo>
                  <a:cubicBezTo>
                    <a:pt x="110" y="722"/>
                    <a:pt x="111" y="726"/>
                    <a:pt x="112" y="730"/>
                  </a:cubicBezTo>
                  <a:cubicBezTo>
                    <a:pt x="113" y="734"/>
                    <a:pt x="114" y="746"/>
                    <a:pt x="114" y="747"/>
                  </a:cubicBezTo>
                  <a:cubicBezTo>
                    <a:pt x="114" y="749"/>
                    <a:pt x="114" y="748"/>
                    <a:pt x="112" y="748"/>
                  </a:cubicBezTo>
                  <a:cubicBezTo>
                    <a:pt x="111" y="748"/>
                    <a:pt x="110" y="749"/>
                    <a:pt x="109" y="750"/>
                  </a:cubicBezTo>
                  <a:cubicBezTo>
                    <a:pt x="109" y="751"/>
                    <a:pt x="109" y="752"/>
                    <a:pt x="110" y="753"/>
                  </a:cubicBezTo>
                  <a:cubicBezTo>
                    <a:pt x="110" y="756"/>
                    <a:pt x="114" y="757"/>
                    <a:pt x="115" y="757"/>
                  </a:cubicBezTo>
                  <a:cubicBezTo>
                    <a:pt x="117" y="757"/>
                    <a:pt x="117" y="757"/>
                    <a:pt x="117" y="758"/>
                  </a:cubicBezTo>
                  <a:cubicBezTo>
                    <a:pt x="118" y="758"/>
                    <a:pt x="118" y="762"/>
                    <a:pt x="118" y="762"/>
                  </a:cubicBezTo>
                  <a:cubicBezTo>
                    <a:pt x="118" y="763"/>
                    <a:pt x="118" y="763"/>
                    <a:pt x="117" y="763"/>
                  </a:cubicBezTo>
                  <a:cubicBezTo>
                    <a:pt x="117" y="763"/>
                    <a:pt x="116" y="764"/>
                    <a:pt x="116" y="766"/>
                  </a:cubicBezTo>
                  <a:cubicBezTo>
                    <a:pt x="116" y="767"/>
                    <a:pt x="115" y="773"/>
                    <a:pt x="114" y="775"/>
                  </a:cubicBezTo>
                  <a:cubicBezTo>
                    <a:pt x="114" y="777"/>
                    <a:pt x="114" y="777"/>
                    <a:pt x="114" y="778"/>
                  </a:cubicBezTo>
                  <a:cubicBezTo>
                    <a:pt x="114" y="778"/>
                    <a:pt x="114" y="778"/>
                    <a:pt x="115" y="778"/>
                  </a:cubicBezTo>
                  <a:cubicBezTo>
                    <a:pt x="115" y="779"/>
                    <a:pt x="114" y="779"/>
                    <a:pt x="113" y="780"/>
                  </a:cubicBezTo>
                  <a:cubicBezTo>
                    <a:pt x="113" y="780"/>
                    <a:pt x="112" y="781"/>
                    <a:pt x="112" y="782"/>
                  </a:cubicBezTo>
                  <a:cubicBezTo>
                    <a:pt x="111" y="783"/>
                    <a:pt x="112" y="784"/>
                    <a:pt x="112" y="785"/>
                  </a:cubicBezTo>
                  <a:cubicBezTo>
                    <a:pt x="112" y="785"/>
                    <a:pt x="112" y="786"/>
                    <a:pt x="111" y="787"/>
                  </a:cubicBezTo>
                  <a:cubicBezTo>
                    <a:pt x="110" y="789"/>
                    <a:pt x="109" y="791"/>
                    <a:pt x="109" y="791"/>
                  </a:cubicBezTo>
                  <a:cubicBezTo>
                    <a:pt x="109" y="792"/>
                    <a:pt x="109" y="793"/>
                    <a:pt x="108" y="793"/>
                  </a:cubicBezTo>
                  <a:cubicBezTo>
                    <a:pt x="108" y="794"/>
                    <a:pt x="107" y="794"/>
                    <a:pt x="107" y="794"/>
                  </a:cubicBezTo>
                  <a:cubicBezTo>
                    <a:pt x="107" y="794"/>
                    <a:pt x="107" y="794"/>
                    <a:pt x="107" y="795"/>
                  </a:cubicBezTo>
                  <a:cubicBezTo>
                    <a:pt x="106" y="795"/>
                    <a:pt x="107" y="796"/>
                    <a:pt x="106" y="797"/>
                  </a:cubicBezTo>
                  <a:cubicBezTo>
                    <a:pt x="105" y="798"/>
                    <a:pt x="102" y="799"/>
                    <a:pt x="99" y="800"/>
                  </a:cubicBezTo>
                  <a:cubicBezTo>
                    <a:pt x="97" y="801"/>
                    <a:pt x="96" y="803"/>
                    <a:pt x="94" y="804"/>
                  </a:cubicBezTo>
                  <a:cubicBezTo>
                    <a:pt x="93" y="805"/>
                    <a:pt x="91" y="805"/>
                    <a:pt x="90" y="806"/>
                  </a:cubicBezTo>
                  <a:cubicBezTo>
                    <a:pt x="89" y="806"/>
                    <a:pt x="88" y="807"/>
                    <a:pt x="88" y="808"/>
                  </a:cubicBezTo>
                  <a:cubicBezTo>
                    <a:pt x="88" y="808"/>
                    <a:pt x="88" y="808"/>
                    <a:pt x="87" y="810"/>
                  </a:cubicBezTo>
                  <a:cubicBezTo>
                    <a:pt x="85" y="811"/>
                    <a:pt x="85" y="814"/>
                    <a:pt x="85" y="815"/>
                  </a:cubicBezTo>
                  <a:cubicBezTo>
                    <a:pt x="85" y="817"/>
                    <a:pt x="86" y="817"/>
                    <a:pt x="84" y="817"/>
                  </a:cubicBezTo>
                  <a:cubicBezTo>
                    <a:pt x="84" y="817"/>
                    <a:pt x="82" y="818"/>
                    <a:pt x="82" y="818"/>
                  </a:cubicBezTo>
                  <a:cubicBezTo>
                    <a:pt x="82" y="818"/>
                    <a:pt x="81" y="822"/>
                    <a:pt x="82" y="823"/>
                  </a:cubicBezTo>
                  <a:cubicBezTo>
                    <a:pt x="82" y="824"/>
                    <a:pt x="84" y="825"/>
                    <a:pt x="88" y="825"/>
                  </a:cubicBezTo>
                  <a:cubicBezTo>
                    <a:pt x="92" y="826"/>
                    <a:pt x="109" y="826"/>
                    <a:pt x="113" y="826"/>
                  </a:cubicBezTo>
                  <a:cubicBezTo>
                    <a:pt x="122" y="826"/>
                    <a:pt x="133" y="823"/>
                    <a:pt x="134" y="822"/>
                  </a:cubicBezTo>
                  <a:cubicBezTo>
                    <a:pt x="143" y="820"/>
                    <a:pt x="143" y="815"/>
                    <a:pt x="145" y="813"/>
                  </a:cubicBezTo>
                  <a:cubicBezTo>
                    <a:pt x="146" y="810"/>
                    <a:pt x="149" y="808"/>
                    <a:pt x="150" y="807"/>
                  </a:cubicBezTo>
                  <a:cubicBezTo>
                    <a:pt x="150" y="807"/>
                    <a:pt x="151" y="807"/>
                    <a:pt x="152" y="807"/>
                  </a:cubicBezTo>
                  <a:cubicBezTo>
                    <a:pt x="154" y="808"/>
                    <a:pt x="157" y="808"/>
                    <a:pt x="158" y="808"/>
                  </a:cubicBezTo>
                  <a:cubicBezTo>
                    <a:pt x="161" y="808"/>
                    <a:pt x="169" y="805"/>
                    <a:pt x="171" y="803"/>
                  </a:cubicBezTo>
                  <a:cubicBezTo>
                    <a:pt x="179" y="800"/>
                    <a:pt x="180" y="798"/>
                    <a:pt x="180" y="797"/>
                  </a:cubicBezTo>
                  <a:cubicBezTo>
                    <a:pt x="181" y="795"/>
                    <a:pt x="179" y="788"/>
                    <a:pt x="178" y="786"/>
                  </a:cubicBezTo>
                  <a:cubicBezTo>
                    <a:pt x="178" y="784"/>
                    <a:pt x="178" y="783"/>
                    <a:pt x="177" y="783"/>
                  </a:cubicBezTo>
                  <a:cubicBezTo>
                    <a:pt x="176" y="782"/>
                    <a:pt x="176" y="782"/>
                    <a:pt x="176" y="782"/>
                  </a:cubicBezTo>
                  <a:cubicBezTo>
                    <a:pt x="176" y="782"/>
                    <a:pt x="176" y="779"/>
                    <a:pt x="175" y="777"/>
                  </a:cubicBezTo>
                  <a:cubicBezTo>
                    <a:pt x="175" y="775"/>
                    <a:pt x="176" y="776"/>
                    <a:pt x="176" y="776"/>
                  </a:cubicBezTo>
                  <a:cubicBezTo>
                    <a:pt x="176" y="776"/>
                    <a:pt x="177" y="776"/>
                    <a:pt x="178" y="777"/>
                  </a:cubicBezTo>
                  <a:cubicBezTo>
                    <a:pt x="178" y="777"/>
                    <a:pt x="180" y="778"/>
                    <a:pt x="180" y="779"/>
                  </a:cubicBezTo>
                  <a:cubicBezTo>
                    <a:pt x="181" y="780"/>
                    <a:pt x="182" y="782"/>
                    <a:pt x="182" y="783"/>
                  </a:cubicBezTo>
                  <a:cubicBezTo>
                    <a:pt x="183" y="784"/>
                    <a:pt x="184" y="786"/>
                    <a:pt x="184" y="787"/>
                  </a:cubicBezTo>
                  <a:cubicBezTo>
                    <a:pt x="185" y="788"/>
                    <a:pt x="185" y="788"/>
                    <a:pt x="185" y="789"/>
                  </a:cubicBezTo>
                  <a:cubicBezTo>
                    <a:pt x="185" y="790"/>
                    <a:pt x="187" y="792"/>
                    <a:pt x="187" y="793"/>
                  </a:cubicBezTo>
                  <a:cubicBezTo>
                    <a:pt x="188" y="794"/>
                    <a:pt x="188" y="794"/>
                    <a:pt x="187" y="795"/>
                  </a:cubicBezTo>
                  <a:cubicBezTo>
                    <a:pt x="187" y="796"/>
                    <a:pt x="187" y="797"/>
                    <a:pt x="187" y="798"/>
                  </a:cubicBezTo>
                  <a:cubicBezTo>
                    <a:pt x="187" y="799"/>
                    <a:pt x="187" y="799"/>
                    <a:pt x="186" y="800"/>
                  </a:cubicBezTo>
                  <a:cubicBezTo>
                    <a:pt x="186" y="802"/>
                    <a:pt x="185" y="804"/>
                    <a:pt x="184" y="805"/>
                  </a:cubicBezTo>
                  <a:cubicBezTo>
                    <a:pt x="184" y="805"/>
                    <a:pt x="183" y="806"/>
                    <a:pt x="182" y="808"/>
                  </a:cubicBezTo>
                  <a:cubicBezTo>
                    <a:pt x="181" y="809"/>
                    <a:pt x="181" y="810"/>
                    <a:pt x="181" y="810"/>
                  </a:cubicBezTo>
                  <a:cubicBezTo>
                    <a:pt x="181" y="811"/>
                    <a:pt x="181" y="811"/>
                    <a:pt x="180" y="811"/>
                  </a:cubicBezTo>
                  <a:cubicBezTo>
                    <a:pt x="180" y="812"/>
                    <a:pt x="177" y="813"/>
                    <a:pt x="176" y="815"/>
                  </a:cubicBezTo>
                  <a:cubicBezTo>
                    <a:pt x="175" y="816"/>
                    <a:pt x="174" y="818"/>
                    <a:pt x="174" y="819"/>
                  </a:cubicBezTo>
                  <a:cubicBezTo>
                    <a:pt x="174" y="820"/>
                    <a:pt x="173" y="822"/>
                    <a:pt x="173" y="823"/>
                  </a:cubicBezTo>
                  <a:cubicBezTo>
                    <a:pt x="172" y="823"/>
                    <a:pt x="172" y="824"/>
                    <a:pt x="172" y="825"/>
                  </a:cubicBezTo>
                  <a:cubicBezTo>
                    <a:pt x="172" y="825"/>
                    <a:pt x="172" y="825"/>
                    <a:pt x="172" y="825"/>
                  </a:cubicBezTo>
                  <a:cubicBezTo>
                    <a:pt x="171" y="826"/>
                    <a:pt x="171" y="827"/>
                    <a:pt x="171" y="828"/>
                  </a:cubicBezTo>
                  <a:cubicBezTo>
                    <a:pt x="170" y="829"/>
                    <a:pt x="169" y="830"/>
                    <a:pt x="169" y="832"/>
                  </a:cubicBezTo>
                  <a:cubicBezTo>
                    <a:pt x="168" y="834"/>
                    <a:pt x="169" y="835"/>
                    <a:pt x="168" y="836"/>
                  </a:cubicBezTo>
                  <a:cubicBezTo>
                    <a:pt x="168" y="836"/>
                    <a:pt x="167" y="837"/>
                    <a:pt x="166" y="838"/>
                  </a:cubicBezTo>
                  <a:cubicBezTo>
                    <a:pt x="165" y="839"/>
                    <a:pt x="166" y="839"/>
                    <a:pt x="166" y="840"/>
                  </a:cubicBezTo>
                  <a:cubicBezTo>
                    <a:pt x="165" y="841"/>
                    <a:pt x="165" y="842"/>
                    <a:pt x="166" y="843"/>
                  </a:cubicBezTo>
                  <a:cubicBezTo>
                    <a:pt x="166" y="844"/>
                    <a:pt x="168" y="845"/>
                    <a:pt x="172" y="845"/>
                  </a:cubicBezTo>
                  <a:cubicBezTo>
                    <a:pt x="177" y="845"/>
                    <a:pt x="181" y="845"/>
                    <a:pt x="187" y="845"/>
                  </a:cubicBezTo>
                  <a:cubicBezTo>
                    <a:pt x="193" y="845"/>
                    <a:pt x="195" y="845"/>
                    <a:pt x="195" y="845"/>
                  </a:cubicBezTo>
                  <a:cubicBezTo>
                    <a:pt x="195" y="844"/>
                    <a:pt x="196" y="844"/>
                    <a:pt x="198" y="844"/>
                  </a:cubicBezTo>
                  <a:cubicBezTo>
                    <a:pt x="200" y="844"/>
                    <a:pt x="212" y="843"/>
                    <a:pt x="214" y="843"/>
                  </a:cubicBezTo>
                  <a:cubicBezTo>
                    <a:pt x="230" y="839"/>
                    <a:pt x="230" y="833"/>
                    <a:pt x="231" y="831"/>
                  </a:cubicBezTo>
                  <a:cubicBezTo>
                    <a:pt x="232" y="829"/>
                    <a:pt x="232" y="828"/>
                    <a:pt x="232" y="828"/>
                  </a:cubicBezTo>
                  <a:cubicBezTo>
                    <a:pt x="233" y="828"/>
                    <a:pt x="234" y="828"/>
                    <a:pt x="234" y="828"/>
                  </a:cubicBezTo>
                  <a:cubicBezTo>
                    <a:pt x="235" y="828"/>
                    <a:pt x="238" y="825"/>
                    <a:pt x="239" y="824"/>
                  </a:cubicBezTo>
                  <a:cubicBezTo>
                    <a:pt x="240" y="823"/>
                    <a:pt x="240" y="822"/>
                    <a:pt x="240" y="821"/>
                  </a:cubicBezTo>
                  <a:cubicBezTo>
                    <a:pt x="241" y="819"/>
                    <a:pt x="240" y="812"/>
                    <a:pt x="240" y="810"/>
                  </a:cubicBezTo>
                  <a:cubicBezTo>
                    <a:pt x="240" y="807"/>
                    <a:pt x="239" y="807"/>
                    <a:pt x="238" y="807"/>
                  </a:cubicBezTo>
                  <a:cubicBezTo>
                    <a:pt x="238" y="807"/>
                    <a:pt x="238" y="807"/>
                    <a:pt x="238" y="806"/>
                  </a:cubicBezTo>
                  <a:cubicBezTo>
                    <a:pt x="238" y="806"/>
                    <a:pt x="238" y="806"/>
                    <a:pt x="239" y="805"/>
                  </a:cubicBezTo>
                  <a:cubicBezTo>
                    <a:pt x="239" y="805"/>
                    <a:pt x="239" y="804"/>
                    <a:pt x="239" y="803"/>
                  </a:cubicBezTo>
                  <a:cubicBezTo>
                    <a:pt x="239" y="802"/>
                    <a:pt x="239" y="801"/>
                    <a:pt x="239" y="800"/>
                  </a:cubicBezTo>
                  <a:cubicBezTo>
                    <a:pt x="240" y="798"/>
                    <a:pt x="240" y="794"/>
                    <a:pt x="241" y="793"/>
                  </a:cubicBezTo>
                  <a:cubicBezTo>
                    <a:pt x="241" y="791"/>
                    <a:pt x="241" y="790"/>
                    <a:pt x="241" y="790"/>
                  </a:cubicBezTo>
                  <a:cubicBezTo>
                    <a:pt x="241" y="789"/>
                    <a:pt x="242" y="789"/>
                    <a:pt x="242" y="788"/>
                  </a:cubicBezTo>
                  <a:cubicBezTo>
                    <a:pt x="243" y="786"/>
                    <a:pt x="243" y="784"/>
                    <a:pt x="244" y="781"/>
                  </a:cubicBezTo>
                  <a:cubicBezTo>
                    <a:pt x="245" y="777"/>
                    <a:pt x="245" y="776"/>
                    <a:pt x="246" y="776"/>
                  </a:cubicBezTo>
                  <a:cubicBezTo>
                    <a:pt x="247" y="775"/>
                    <a:pt x="247" y="775"/>
                    <a:pt x="248" y="774"/>
                  </a:cubicBezTo>
                  <a:cubicBezTo>
                    <a:pt x="249" y="772"/>
                    <a:pt x="249" y="766"/>
                    <a:pt x="249" y="762"/>
                  </a:cubicBezTo>
                  <a:cubicBezTo>
                    <a:pt x="250" y="758"/>
                    <a:pt x="251" y="748"/>
                    <a:pt x="251" y="745"/>
                  </a:cubicBezTo>
                  <a:cubicBezTo>
                    <a:pt x="252" y="742"/>
                    <a:pt x="252" y="731"/>
                    <a:pt x="252" y="727"/>
                  </a:cubicBezTo>
                  <a:cubicBezTo>
                    <a:pt x="252" y="723"/>
                    <a:pt x="253" y="699"/>
                    <a:pt x="253" y="692"/>
                  </a:cubicBezTo>
                  <a:cubicBezTo>
                    <a:pt x="254" y="685"/>
                    <a:pt x="254" y="661"/>
                    <a:pt x="254" y="659"/>
                  </a:cubicBezTo>
                  <a:cubicBezTo>
                    <a:pt x="254" y="656"/>
                    <a:pt x="254" y="624"/>
                    <a:pt x="254" y="619"/>
                  </a:cubicBezTo>
                  <a:cubicBezTo>
                    <a:pt x="254" y="614"/>
                    <a:pt x="253" y="597"/>
                    <a:pt x="253" y="596"/>
                  </a:cubicBezTo>
                  <a:cubicBezTo>
                    <a:pt x="253" y="596"/>
                    <a:pt x="253" y="594"/>
                    <a:pt x="253" y="594"/>
                  </a:cubicBezTo>
                  <a:cubicBezTo>
                    <a:pt x="253" y="592"/>
                    <a:pt x="253" y="554"/>
                    <a:pt x="253" y="549"/>
                  </a:cubicBezTo>
                  <a:cubicBezTo>
                    <a:pt x="253" y="545"/>
                    <a:pt x="252" y="517"/>
                    <a:pt x="252" y="513"/>
                  </a:cubicBezTo>
                  <a:cubicBezTo>
                    <a:pt x="252" y="510"/>
                    <a:pt x="251" y="467"/>
                    <a:pt x="251" y="466"/>
                  </a:cubicBezTo>
                  <a:cubicBezTo>
                    <a:pt x="251" y="465"/>
                    <a:pt x="251" y="465"/>
                    <a:pt x="252" y="466"/>
                  </a:cubicBezTo>
                  <a:cubicBezTo>
                    <a:pt x="252" y="467"/>
                    <a:pt x="254" y="470"/>
                    <a:pt x="255" y="471"/>
                  </a:cubicBezTo>
                  <a:cubicBezTo>
                    <a:pt x="256" y="472"/>
                    <a:pt x="258" y="474"/>
                    <a:pt x="259" y="474"/>
                  </a:cubicBezTo>
                  <a:cubicBezTo>
                    <a:pt x="259" y="474"/>
                    <a:pt x="263" y="475"/>
                    <a:pt x="264" y="476"/>
                  </a:cubicBezTo>
                  <a:cubicBezTo>
                    <a:pt x="264" y="476"/>
                    <a:pt x="269" y="476"/>
                    <a:pt x="271" y="476"/>
                  </a:cubicBezTo>
                  <a:cubicBezTo>
                    <a:pt x="274" y="476"/>
                    <a:pt x="279" y="475"/>
                    <a:pt x="280" y="475"/>
                  </a:cubicBezTo>
                  <a:cubicBezTo>
                    <a:pt x="281" y="475"/>
                    <a:pt x="287" y="474"/>
                    <a:pt x="289" y="474"/>
                  </a:cubicBezTo>
                  <a:cubicBezTo>
                    <a:pt x="290" y="474"/>
                    <a:pt x="293" y="472"/>
                    <a:pt x="295" y="471"/>
                  </a:cubicBezTo>
                  <a:cubicBezTo>
                    <a:pt x="297" y="471"/>
                    <a:pt x="299" y="470"/>
                    <a:pt x="300" y="469"/>
                  </a:cubicBezTo>
                  <a:cubicBezTo>
                    <a:pt x="300" y="469"/>
                    <a:pt x="301" y="468"/>
                    <a:pt x="301" y="467"/>
                  </a:cubicBezTo>
                  <a:cubicBezTo>
                    <a:pt x="301" y="466"/>
                    <a:pt x="300" y="459"/>
                    <a:pt x="300" y="457"/>
                  </a:cubicBezTo>
                  <a:cubicBezTo>
                    <a:pt x="299" y="455"/>
                    <a:pt x="299" y="451"/>
                    <a:pt x="299" y="449"/>
                  </a:cubicBezTo>
                  <a:cubicBezTo>
                    <a:pt x="299" y="446"/>
                    <a:pt x="298" y="442"/>
                    <a:pt x="298" y="438"/>
                  </a:cubicBezTo>
                  <a:cubicBezTo>
                    <a:pt x="298" y="434"/>
                    <a:pt x="298" y="428"/>
                    <a:pt x="298" y="426"/>
                  </a:cubicBezTo>
                  <a:cubicBezTo>
                    <a:pt x="298" y="425"/>
                    <a:pt x="298" y="421"/>
                    <a:pt x="298" y="419"/>
                  </a:cubicBezTo>
                  <a:cubicBezTo>
                    <a:pt x="298" y="415"/>
                    <a:pt x="297" y="411"/>
                    <a:pt x="297" y="407"/>
                  </a:cubicBezTo>
                  <a:cubicBezTo>
                    <a:pt x="297" y="402"/>
                    <a:pt x="296" y="398"/>
                    <a:pt x="296" y="397"/>
                  </a:cubicBezTo>
                  <a:cubicBezTo>
                    <a:pt x="296" y="396"/>
                    <a:pt x="296" y="392"/>
                    <a:pt x="295" y="389"/>
                  </a:cubicBezTo>
                  <a:cubicBezTo>
                    <a:pt x="295" y="384"/>
                    <a:pt x="294" y="370"/>
                    <a:pt x="293" y="368"/>
                  </a:cubicBezTo>
                  <a:cubicBezTo>
                    <a:pt x="293" y="366"/>
                    <a:pt x="294" y="366"/>
                    <a:pt x="294" y="366"/>
                  </a:cubicBezTo>
                  <a:cubicBezTo>
                    <a:pt x="294" y="366"/>
                    <a:pt x="294" y="364"/>
                    <a:pt x="294" y="363"/>
                  </a:cubicBezTo>
                  <a:cubicBezTo>
                    <a:pt x="294" y="361"/>
                    <a:pt x="293" y="358"/>
                    <a:pt x="293" y="357"/>
                  </a:cubicBezTo>
                  <a:cubicBezTo>
                    <a:pt x="293" y="353"/>
                    <a:pt x="291" y="344"/>
                    <a:pt x="291" y="344"/>
                  </a:cubicBezTo>
                  <a:cubicBezTo>
                    <a:pt x="291" y="343"/>
                    <a:pt x="291" y="343"/>
                    <a:pt x="291" y="342"/>
                  </a:cubicBezTo>
                  <a:cubicBezTo>
                    <a:pt x="291" y="341"/>
                    <a:pt x="291" y="341"/>
                    <a:pt x="291" y="341"/>
                  </a:cubicBezTo>
                  <a:cubicBezTo>
                    <a:pt x="290" y="341"/>
                    <a:pt x="290" y="340"/>
                    <a:pt x="290" y="339"/>
                  </a:cubicBezTo>
                  <a:cubicBezTo>
                    <a:pt x="290" y="338"/>
                    <a:pt x="291" y="338"/>
                    <a:pt x="292" y="337"/>
                  </a:cubicBezTo>
                  <a:cubicBezTo>
                    <a:pt x="293" y="335"/>
                    <a:pt x="301" y="326"/>
                    <a:pt x="303" y="323"/>
                  </a:cubicBezTo>
                  <a:cubicBezTo>
                    <a:pt x="306" y="319"/>
                    <a:pt x="321" y="301"/>
                    <a:pt x="323" y="298"/>
                  </a:cubicBezTo>
                  <a:cubicBezTo>
                    <a:pt x="325" y="295"/>
                    <a:pt x="329" y="288"/>
                    <a:pt x="332" y="285"/>
                  </a:cubicBezTo>
                  <a:cubicBezTo>
                    <a:pt x="334" y="282"/>
                    <a:pt x="338" y="277"/>
                    <a:pt x="339" y="275"/>
                  </a:cubicBezTo>
                  <a:cubicBezTo>
                    <a:pt x="340" y="274"/>
                    <a:pt x="342" y="270"/>
                    <a:pt x="343" y="268"/>
                  </a:cubicBezTo>
                  <a:cubicBezTo>
                    <a:pt x="344" y="267"/>
                    <a:pt x="347" y="262"/>
                    <a:pt x="347" y="260"/>
                  </a:cubicBezTo>
                  <a:cubicBezTo>
                    <a:pt x="348" y="259"/>
                    <a:pt x="349" y="256"/>
                    <a:pt x="349" y="254"/>
                  </a:cubicBezTo>
                  <a:cubicBezTo>
                    <a:pt x="351" y="243"/>
                    <a:pt x="346" y="234"/>
                    <a:pt x="345" y="232"/>
                  </a:cubicBezTo>
                  <a:close/>
                  <a:moveTo>
                    <a:pt x="54" y="267"/>
                  </a:moveTo>
                  <a:cubicBezTo>
                    <a:pt x="55" y="266"/>
                    <a:pt x="55" y="265"/>
                    <a:pt x="56" y="265"/>
                  </a:cubicBezTo>
                  <a:cubicBezTo>
                    <a:pt x="56" y="265"/>
                    <a:pt x="59" y="262"/>
                    <a:pt x="60" y="261"/>
                  </a:cubicBezTo>
                  <a:cubicBezTo>
                    <a:pt x="60" y="259"/>
                    <a:pt x="61" y="258"/>
                    <a:pt x="61" y="255"/>
                  </a:cubicBezTo>
                  <a:cubicBezTo>
                    <a:pt x="61" y="253"/>
                    <a:pt x="61" y="246"/>
                    <a:pt x="61" y="245"/>
                  </a:cubicBezTo>
                  <a:cubicBezTo>
                    <a:pt x="61" y="244"/>
                    <a:pt x="62" y="243"/>
                    <a:pt x="62" y="245"/>
                  </a:cubicBezTo>
                  <a:cubicBezTo>
                    <a:pt x="62" y="248"/>
                    <a:pt x="63" y="256"/>
                    <a:pt x="63" y="258"/>
                  </a:cubicBezTo>
                  <a:cubicBezTo>
                    <a:pt x="63" y="261"/>
                    <a:pt x="63" y="278"/>
                    <a:pt x="63" y="280"/>
                  </a:cubicBezTo>
                  <a:cubicBezTo>
                    <a:pt x="63" y="283"/>
                    <a:pt x="63" y="286"/>
                    <a:pt x="62" y="285"/>
                  </a:cubicBezTo>
                  <a:cubicBezTo>
                    <a:pt x="62" y="285"/>
                    <a:pt x="62" y="284"/>
                    <a:pt x="61" y="282"/>
                  </a:cubicBezTo>
                  <a:cubicBezTo>
                    <a:pt x="60" y="280"/>
                    <a:pt x="59" y="276"/>
                    <a:pt x="58" y="274"/>
                  </a:cubicBezTo>
                  <a:cubicBezTo>
                    <a:pt x="56" y="272"/>
                    <a:pt x="55" y="269"/>
                    <a:pt x="55" y="268"/>
                  </a:cubicBezTo>
                  <a:cubicBezTo>
                    <a:pt x="54" y="268"/>
                    <a:pt x="54" y="267"/>
                    <a:pt x="54" y="267"/>
                  </a:cubicBezTo>
                  <a:close/>
                  <a:moveTo>
                    <a:pt x="77" y="332"/>
                  </a:moveTo>
                  <a:cubicBezTo>
                    <a:pt x="74" y="334"/>
                    <a:pt x="68" y="338"/>
                    <a:pt x="65" y="342"/>
                  </a:cubicBezTo>
                  <a:cubicBezTo>
                    <a:pt x="62" y="346"/>
                    <a:pt x="59" y="350"/>
                    <a:pt x="56" y="355"/>
                  </a:cubicBezTo>
                  <a:cubicBezTo>
                    <a:pt x="54" y="353"/>
                    <a:pt x="54" y="353"/>
                    <a:pt x="54" y="353"/>
                  </a:cubicBezTo>
                  <a:cubicBezTo>
                    <a:pt x="54" y="353"/>
                    <a:pt x="57" y="347"/>
                    <a:pt x="61" y="343"/>
                  </a:cubicBezTo>
                  <a:cubicBezTo>
                    <a:pt x="65" y="339"/>
                    <a:pt x="71" y="333"/>
                    <a:pt x="75" y="332"/>
                  </a:cubicBezTo>
                  <a:cubicBezTo>
                    <a:pt x="79" y="330"/>
                    <a:pt x="85" y="328"/>
                    <a:pt x="85" y="328"/>
                  </a:cubicBezTo>
                  <a:cubicBezTo>
                    <a:pt x="87" y="329"/>
                    <a:pt x="87" y="329"/>
                    <a:pt x="87" y="329"/>
                  </a:cubicBezTo>
                  <a:cubicBezTo>
                    <a:pt x="87" y="329"/>
                    <a:pt x="80" y="330"/>
                    <a:pt x="77" y="332"/>
                  </a:cubicBezTo>
                  <a:close/>
                  <a:moveTo>
                    <a:pt x="114" y="782"/>
                  </a:moveTo>
                  <a:cubicBezTo>
                    <a:pt x="113" y="785"/>
                    <a:pt x="112" y="783"/>
                    <a:pt x="112" y="782"/>
                  </a:cubicBezTo>
                  <a:cubicBezTo>
                    <a:pt x="113" y="782"/>
                    <a:pt x="114" y="780"/>
                    <a:pt x="114" y="782"/>
                  </a:cubicBezTo>
                  <a:close/>
                  <a:moveTo>
                    <a:pt x="123" y="362"/>
                  </a:moveTo>
                  <a:cubicBezTo>
                    <a:pt x="120" y="363"/>
                    <a:pt x="118" y="362"/>
                    <a:pt x="116" y="361"/>
                  </a:cubicBezTo>
                  <a:cubicBezTo>
                    <a:pt x="118" y="357"/>
                    <a:pt x="115" y="354"/>
                    <a:pt x="111" y="350"/>
                  </a:cubicBezTo>
                  <a:cubicBezTo>
                    <a:pt x="107" y="346"/>
                    <a:pt x="101" y="343"/>
                    <a:pt x="98" y="338"/>
                  </a:cubicBezTo>
                  <a:cubicBezTo>
                    <a:pt x="94" y="333"/>
                    <a:pt x="97" y="332"/>
                    <a:pt x="95" y="320"/>
                  </a:cubicBezTo>
                  <a:cubicBezTo>
                    <a:pt x="94" y="308"/>
                    <a:pt x="93" y="297"/>
                    <a:pt x="93" y="289"/>
                  </a:cubicBezTo>
                  <a:cubicBezTo>
                    <a:pt x="94" y="280"/>
                    <a:pt x="95" y="263"/>
                    <a:pt x="98" y="251"/>
                  </a:cubicBezTo>
                  <a:cubicBezTo>
                    <a:pt x="101" y="238"/>
                    <a:pt x="101" y="228"/>
                    <a:pt x="101" y="211"/>
                  </a:cubicBezTo>
                  <a:cubicBezTo>
                    <a:pt x="101" y="195"/>
                    <a:pt x="107" y="183"/>
                    <a:pt x="111" y="170"/>
                  </a:cubicBezTo>
                  <a:cubicBezTo>
                    <a:pt x="114" y="158"/>
                    <a:pt x="115" y="143"/>
                    <a:pt x="120" y="132"/>
                  </a:cubicBezTo>
                  <a:cubicBezTo>
                    <a:pt x="125" y="121"/>
                    <a:pt x="126" y="112"/>
                    <a:pt x="126" y="112"/>
                  </a:cubicBezTo>
                  <a:cubicBezTo>
                    <a:pt x="126" y="112"/>
                    <a:pt x="126" y="110"/>
                    <a:pt x="126" y="107"/>
                  </a:cubicBezTo>
                  <a:cubicBezTo>
                    <a:pt x="127" y="103"/>
                    <a:pt x="129" y="103"/>
                    <a:pt x="129" y="103"/>
                  </a:cubicBezTo>
                  <a:cubicBezTo>
                    <a:pt x="129" y="103"/>
                    <a:pt x="130" y="104"/>
                    <a:pt x="130" y="106"/>
                  </a:cubicBezTo>
                  <a:cubicBezTo>
                    <a:pt x="130" y="107"/>
                    <a:pt x="131" y="114"/>
                    <a:pt x="131" y="115"/>
                  </a:cubicBezTo>
                  <a:cubicBezTo>
                    <a:pt x="132" y="116"/>
                    <a:pt x="133" y="118"/>
                    <a:pt x="137" y="122"/>
                  </a:cubicBezTo>
                  <a:cubicBezTo>
                    <a:pt x="142" y="127"/>
                    <a:pt x="146" y="129"/>
                    <a:pt x="148" y="130"/>
                  </a:cubicBezTo>
                  <a:cubicBezTo>
                    <a:pt x="150" y="132"/>
                    <a:pt x="149" y="132"/>
                    <a:pt x="149" y="132"/>
                  </a:cubicBezTo>
                  <a:cubicBezTo>
                    <a:pt x="149" y="132"/>
                    <a:pt x="149" y="132"/>
                    <a:pt x="147" y="131"/>
                  </a:cubicBezTo>
                  <a:cubicBezTo>
                    <a:pt x="145" y="131"/>
                    <a:pt x="139" y="144"/>
                    <a:pt x="137" y="151"/>
                  </a:cubicBezTo>
                  <a:cubicBezTo>
                    <a:pt x="134" y="158"/>
                    <a:pt x="133" y="159"/>
                    <a:pt x="132" y="159"/>
                  </a:cubicBezTo>
                  <a:cubicBezTo>
                    <a:pt x="132" y="159"/>
                    <a:pt x="131" y="157"/>
                    <a:pt x="131" y="155"/>
                  </a:cubicBezTo>
                  <a:cubicBezTo>
                    <a:pt x="130" y="154"/>
                    <a:pt x="130" y="152"/>
                    <a:pt x="127" y="135"/>
                  </a:cubicBezTo>
                  <a:cubicBezTo>
                    <a:pt x="125" y="122"/>
                    <a:pt x="126" y="120"/>
                    <a:pt x="126" y="116"/>
                  </a:cubicBezTo>
                  <a:cubicBezTo>
                    <a:pt x="126" y="112"/>
                    <a:pt x="126" y="112"/>
                    <a:pt x="126" y="112"/>
                  </a:cubicBezTo>
                  <a:cubicBezTo>
                    <a:pt x="126" y="112"/>
                    <a:pt x="125" y="117"/>
                    <a:pt x="125" y="123"/>
                  </a:cubicBezTo>
                  <a:cubicBezTo>
                    <a:pt x="125" y="129"/>
                    <a:pt x="128" y="139"/>
                    <a:pt x="129" y="147"/>
                  </a:cubicBezTo>
                  <a:cubicBezTo>
                    <a:pt x="130" y="154"/>
                    <a:pt x="132" y="160"/>
                    <a:pt x="133" y="160"/>
                  </a:cubicBezTo>
                  <a:cubicBezTo>
                    <a:pt x="133" y="161"/>
                    <a:pt x="135" y="157"/>
                    <a:pt x="138" y="150"/>
                  </a:cubicBezTo>
                  <a:cubicBezTo>
                    <a:pt x="139" y="147"/>
                    <a:pt x="140" y="143"/>
                    <a:pt x="141" y="141"/>
                  </a:cubicBezTo>
                  <a:cubicBezTo>
                    <a:pt x="141" y="140"/>
                    <a:pt x="141" y="140"/>
                    <a:pt x="141" y="140"/>
                  </a:cubicBezTo>
                  <a:cubicBezTo>
                    <a:pt x="141" y="140"/>
                    <a:pt x="141" y="140"/>
                    <a:pt x="142" y="140"/>
                  </a:cubicBezTo>
                  <a:cubicBezTo>
                    <a:pt x="143" y="137"/>
                    <a:pt x="144" y="135"/>
                    <a:pt x="144" y="134"/>
                  </a:cubicBezTo>
                  <a:cubicBezTo>
                    <a:pt x="146" y="131"/>
                    <a:pt x="147" y="132"/>
                    <a:pt x="148" y="133"/>
                  </a:cubicBezTo>
                  <a:cubicBezTo>
                    <a:pt x="146" y="133"/>
                    <a:pt x="142" y="138"/>
                    <a:pt x="142" y="140"/>
                  </a:cubicBezTo>
                  <a:cubicBezTo>
                    <a:pt x="141" y="140"/>
                    <a:pt x="141" y="140"/>
                    <a:pt x="141" y="141"/>
                  </a:cubicBezTo>
                  <a:cubicBezTo>
                    <a:pt x="141" y="141"/>
                    <a:pt x="141" y="142"/>
                    <a:pt x="143" y="144"/>
                  </a:cubicBezTo>
                  <a:cubicBezTo>
                    <a:pt x="146" y="146"/>
                    <a:pt x="147" y="146"/>
                    <a:pt x="146" y="147"/>
                  </a:cubicBezTo>
                  <a:cubicBezTo>
                    <a:pt x="146" y="149"/>
                    <a:pt x="144" y="152"/>
                    <a:pt x="143" y="157"/>
                  </a:cubicBezTo>
                  <a:cubicBezTo>
                    <a:pt x="142" y="161"/>
                    <a:pt x="136" y="171"/>
                    <a:pt x="133" y="192"/>
                  </a:cubicBezTo>
                  <a:cubicBezTo>
                    <a:pt x="129" y="214"/>
                    <a:pt x="126" y="239"/>
                    <a:pt x="125" y="269"/>
                  </a:cubicBezTo>
                  <a:cubicBezTo>
                    <a:pt x="123" y="299"/>
                    <a:pt x="121" y="338"/>
                    <a:pt x="121" y="338"/>
                  </a:cubicBezTo>
                  <a:cubicBezTo>
                    <a:pt x="141" y="361"/>
                    <a:pt x="141" y="361"/>
                    <a:pt x="141" y="361"/>
                  </a:cubicBezTo>
                  <a:cubicBezTo>
                    <a:pt x="141" y="361"/>
                    <a:pt x="126" y="362"/>
                    <a:pt x="123" y="362"/>
                  </a:cubicBezTo>
                  <a:close/>
                  <a:moveTo>
                    <a:pt x="191" y="666"/>
                  </a:moveTo>
                  <a:cubicBezTo>
                    <a:pt x="190" y="669"/>
                    <a:pt x="188" y="675"/>
                    <a:pt x="187" y="678"/>
                  </a:cubicBezTo>
                  <a:cubicBezTo>
                    <a:pt x="186" y="680"/>
                    <a:pt x="186" y="681"/>
                    <a:pt x="185" y="682"/>
                  </a:cubicBezTo>
                  <a:cubicBezTo>
                    <a:pt x="185" y="683"/>
                    <a:pt x="184" y="686"/>
                    <a:pt x="184" y="687"/>
                  </a:cubicBezTo>
                  <a:cubicBezTo>
                    <a:pt x="183" y="688"/>
                    <a:pt x="183" y="688"/>
                    <a:pt x="183" y="690"/>
                  </a:cubicBezTo>
                  <a:cubicBezTo>
                    <a:pt x="183" y="692"/>
                    <a:pt x="182" y="696"/>
                    <a:pt x="181" y="702"/>
                  </a:cubicBezTo>
                  <a:cubicBezTo>
                    <a:pt x="181" y="707"/>
                    <a:pt x="180" y="717"/>
                    <a:pt x="179" y="721"/>
                  </a:cubicBezTo>
                  <a:cubicBezTo>
                    <a:pt x="178" y="724"/>
                    <a:pt x="177" y="728"/>
                    <a:pt x="177" y="729"/>
                  </a:cubicBezTo>
                  <a:cubicBezTo>
                    <a:pt x="177" y="729"/>
                    <a:pt x="177" y="730"/>
                    <a:pt x="176" y="728"/>
                  </a:cubicBezTo>
                  <a:cubicBezTo>
                    <a:pt x="175" y="726"/>
                    <a:pt x="171" y="718"/>
                    <a:pt x="169" y="714"/>
                  </a:cubicBezTo>
                  <a:cubicBezTo>
                    <a:pt x="168" y="710"/>
                    <a:pt x="166" y="706"/>
                    <a:pt x="166" y="705"/>
                  </a:cubicBezTo>
                  <a:cubicBezTo>
                    <a:pt x="166" y="704"/>
                    <a:pt x="166" y="701"/>
                    <a:pt x="166" y="699"/>
                  </a:cubicBezTo>
                  <a:cubicBezTo>
                    <a:pt x="167" y="697"/>
                    <a:pt x="168" y="683"/>
                    <a:pt x="168" y="679"/>
                  </a:cubicBezTo>
                  <a:cubicBezTo>
                    <a:pt x="168" y="674"/>
                    <a:pt x="168" y="665"/>
                    <a:pt x="168" y="661"/>
                  </a:cubicBezTo>
                  <a:cubicBezTo>
                    <a:pt x="168" y="656"/>
                    <a:pt x="168" y="654"/>
                    <a:pt x="169" y="651"/>
                  </a:cubicBezTo>
                  <a:cubicBezTo>
                    <a:pt x="169" y="647"/>
                    <a:pt x="169" y="644"/>
                    <a:pt x="169" y="642"/>
                  </a:cubicBezTo>
                  <a:cubicBezTo>
                    <a:pt x="169" y="641"/>
                    <a:pt x="169" y="639"/>
                    <a:pt x="169" y="637"/>
                  </a:cubicBezTo>
                  <a:cubicBezTo>
                    <a:pt x="169" y="635"/>
                    <a:pt x="169" y="630"/>
                    <a:pt x="169" y="627"/>
                  </a:cubicBezTo>
                  <a:cubicBezTo>
                    <a:pt x="169" y="623"/>
                    <a:pt x="170" y="618"/>
                    <a:pt x="170" y="613"/>
                  </a:cubicBezTo>
                  <a:cubicBezTo>
                    <a:pt x="171" y="608"/>
                    <a:pt x="172" y="604"/>
                    <a:pt x="172" y="603"/>
                  </a:cubicBezTo>
                  <a:cubicBezTo>
                    <a:pt x="172" y="602"/>
                    <a:pt x="171" y="596"/>
                    <a:pt x="171" y="592"/>
                  </a:cubicBezTo>
                  <a:cubicBezTo>
                    <a:pt x="171" y="588"/>
                    <a:pt x="171" y="576"/>
                    <a:pt x="171" y="572"/>
                  </a:cubicBezTo>
                  <a:cubicBezTo>
                    <a:pt x="171" y="568"/>
                    <a:pt x="171" y="566"/>
                    <a:pt x="171" y="566"/>
                  </a:cubicBezTo>
                  <a:cubicBezTo>
                    <a:pt x="171" y="565"/>
                    <a:pt x="171" y="564"/>
                    <a:pt x="171" y="566"/>
                  </a:cubicBezTo>
                  <a:cubicBezTo>
                    <a:pt x="172" y="568"/>
                    <a:pt x="173" y="573"/>
                    <a:pt x="173" y="576"/>
                  </a:cubicBezTo>
                  <a:cubicBezTo>
                    <a:pt x="174" y="579"/>
                    <a:pt x="175" y="585"/>
                    <a:pt x="175" y="586"/>
                  </a:cubicBezTo>
                  <a:cubicBezTo>
                    <a:pt x="175" y="587"/>
                    <a:pt x="175" y="588"/>
                    <a:pt x="175" y="589"/>
                  </a:cubicBezTo>
                  <a:cubicBezTo>
                    <a:pt x="175" y="590"/>
                    <a:pt x="176" y="593"/>
                    <a:pt x="176" y="594"/>
                  </a:cubicBezTo>
                  <a:cubicBezTo>
                    <a:pt x="176" y="595"/>
                    <a:pt x="178" y="601"/>
                    <a:pt x="180" y="604"/>
                  </a:cubicBezTo>
                  <a:cubicBezTo>
                    <a:pt x="181" y="607"/>
                    <a:pt x="184" y="613"/>
                    <a:pt x="185" y="616"/>
                  </a:cubicBezTo>
                  <a:cubicBezTo>
                    <a:pt x="186" y="618"/>
                    <a:pt x="188" y="623"/>
                    <a:pt x="188" y="626"/>
                  </a:cubicBezTo>
                  <a:cubicBezTo>
                    <a:pt x="189" y="629"/>
                    <a:pt x="190" y="631"/>
                    <a:pt x="190" y="633"/>
                  </a:cubicBezTo>
                  <a:cubicBezTo>
                    <a:pt x="190" y="634"/>
                    <a:pt x="191" y="638"/>
                    <a:pt x="190" y="640"/>
                  </a:cubicBezTo>
                  <a:cubicBezTo>
                    <a:pt x="190" y="641"/>
                    <a:pt x="191" y="645"/>
                    <a:pt x="191" y="647"/>
                  </a:cubicBezTo>
                  <a:cubicBezTo>
                    <a:pt x="191" y="650"/>
                    <a:pt x="192" y="653"/>
                    <a:pt x="192" y="654"/>
                  </a:cubicBezTo>
                  <a:cubicBezTo>
                    <a:pt x="192" y="656"/>
                    <a:pt x="192" y="657"/>
                    <a:pt x="192" y="658"/>
                  </a:cubicBezTo>
                  <a:cubicBezTo>
                    <a:pt x="192" y="660"/>
                    <a:pt x="193" y="661"/>
                    <a:pt x="193" y="662"/>
                  </a:cubicBezTo>
                  <a:cubicBezTo>
                    <a:pt x="193" y="662"/>
                    <a:pt x="193" y="662"/>
                    <a:pt x="191" y="666"/>
                  </a:cubicBezTo>
                  <a:close/>
                  <a:moveTo>
                    <a:pt x="223" y="320"/>
                  </a:moveTo>
                  <a:cubicBezTo>
                    <a:pt x="217" y="324"/>
                    <a:pt x="215" y="325"/>
                    <a:pt x="212" y="325"/>
                  </a:cubicBezTo>
                  <a:cubicBezTo>
                    <a:pt x="209" y="326"/>
                    <a:pt x="204" y="328"/>
                    <a:pt x="199" y="330"/>
                  </a:cubicBezTo>
                  <a:cubicBezTo>
                    <a:pt x="195" y="332"/>
                    <a:pt x="192" y="333"/>
                    <a:pt x="188" y="336"/>
                  </a:cubicBezTo>
                  <a:cubicBezTo>
                    <a:pt x="185" y="338"/>
                    <a:pt x="178" y="342"/>
                    <a:pt x="174" y="344"/>
                  </a:cubicBezTo>
                  <a:cubicBezTo>
                    <a:pt x="170" y="347"/>
                    <a:pt x="168" y="348"/>
                    <a:pt x="169" y="350"/>
                  </a:cubicBezTo>
                  <a:cubicBezTo>
                    <a:pt x="170" y="353"/>
                    <a:pt x="173" y="353"/>
                    <a:pt x="173" y="353"/>
                  </a:cubicBezTo>
                  <a:cubicBezTo>
                    <a:pt x="173" y="353"/>
                    <a:pt x="168" y="355"/>
                    <a:pt x="162" y="357"/>
                  </a:cubicBezTo>
                  <a:cubicBezTo>
                    <a:pt x="157" y="359"/>
                    <a:pt x="143" y="360"/>
                    <a:pt x="143" y="360"/>
                  </a:cubicBezTo>
                  <a:cubicBezTo>
                    <a:pt x="143" y="360"/>
                    <a:pt x="150" y="354"/>
                    <a:pt x="156" y="348"/>
                  </a:cubicBezTo>
                  <a:cubicBezTo>
                    <a:pt x="162" y="342"/>
                    <a:pt x="165" y="338"/>
                    <a:pt x="165" y="338"/>
                  </a:cubicBezTo>
                  <a:cubicBezTo>
                    <a:pt x="165" y="338"/>
                    <a:pt x="166" y="326"/>
                    <a:pt x="167" y="295"/>
                  </a:cubicBezTo>
                  <a:cubicBezTo>
                    <a:pt x="167" y="264"/>
                    <a:pt x="168" y="246"/>
                    <a:pt x="168" y="228"/>
                  </a:cubicBezTo>
                  <a:cubicBezTo>
                    <a:pt x="169" y="210"/>
                    <a:pt x="169" y="198"/>
                    <a:pt x="167" y="183"/>
                  </a:cubicBezTo>
                  <a:cubicBezTo>
                    <a:pt x="166" y="167"/>
                    <a:pt x="159" y="149"/>
                    <a:pt x="159" y="149"/>
                  </a:cubicBezTo>
                  <a:cubicBezTo>
                    <a:pt x="163" y="143"/>
                    <a:pt x="163" y="143"/>
                    <a:pt x="163" y="143"/>
                  </a:cubicBezTo>
                  <a:cubicBezTo>
                    <a:pt x="163" y="143"/>
                    <a:pt x="175" y="157"/>
                    <a:pt x="176" y="157"/>
                  </a:cubicBezTo>
                  <a:cubicBezTo>
                    <a:pt x="176" y="157"/>
                    <a:pt x="177" y="156"/>
                    <a:pt x="179" y="152"/>
                  </a:cubicBezTo>
                  <a:cubicBezTo>
                    <a:pt x="180" y="149"/>
                    <a:pt x="184" y="139"/>
                    <a:pt x="187" y="135"/>
                  </a:cubicBezTo>
                  <a:cubicBezTo>
                    <a:pt x="187" y="134"/>
                    <a:pt x="187" y="133"/>
                    <a:pt x="186" y="134"/>
                  </a:cubicBezTo>
                  <a:cubicBezTo>
                    <a:pt x="186" y="135"/>
                    <a:pt x="182" y="141"/>
                    <a:pt x="180" y="148"/>
                  </a:cubicBezTo>
                  <a:cubicBezTo>
                    <a:pt x="177" y="154"/>
                    <a:pt x="176" y="156"/>
                    <a:pt x="176" y="156"/>
                  </a:cubicBezTo>
                  <a:cubicBezTo>
                    <a:pt x="176" y="156"/>
                    <a:pt x="174" y="155"/>
                    <a:pt x="172" y="152"/>
                  </a:cubicBezTo>
                  <a:cubicBezTo>
                    <a:pt x="169" y="148"/>
                    <a:pt x="158" y="133"/>
                    <a:pt x="157" y="133"/>
                  </a:cubicBezTo>
                  <a:cubicBezTo>
                    <a:pt x="156" y="132"/>
                    <a:pt x="154" y="132"/>
                    <a:pt x="154" y="132"/>
                  </a:cubicBezTo>
                  <a:cubicBezTo>
                    <a:pt x="154" y="132"/>
                    <a:pt x="162" y="124"/>
                    <a:pt x="164" y="123"/>
                  </a:cubicBezTo>
                  <a:cubicBezTo>
                    <a:pt x="164" y="123"/>
                    <a:pt x="166" y="123"/>
                    <a:pt x="170" y="122"/>
                  </a:cubicBezTo>
                  <a:cubicBezTo>
                    <a:pt x="174" y="120"/>
                    <a:pt x="176" y="118"/>
                    <a:pt x="179" y="115"/>
                  </a:cubicBezTo>
                  <a:cubicBezTo>
                    <a:pt x="181" y="112"/>
                    <a:pt x="186" y="107"/>
                    <a:pt x="187" y="106"/>
                  </a:cubicBezTo>
                  <a:cubicBezTo>
                    <a:pt x="187" y="106"/>
                    <a:pt x="188" y="117"/>
                    <a:pt x="187" y="126"/>
                  </a:cubicBezTo>
                  <a:cubicBezTo>
                    <a:pt x="187" y="135"/>
                    <a:pt x="187" y="150"/>
                    <a:pt x="187" y="150"/>
                  </a:cubicBezTo>
                  <a:cubicBezTo>
                    <a:pt x="187" y="150"/>
                    <a:pt x="185" y="171"/>
                    <a:pt x="185" y="193"/>
                  </a:cubicBezTo>
                  <a:cubicBezTo>
                    <a:pt x="185" y="214"/>
                    <a:pt x="185" y="227"/>
                    <a:pt x="187" y="239"/>
                  </a:cubicBezTo>
                  <a:cubicBezTo>
                    <a:pt x="190" y="251"/>
                    <a:pt x="194" y="265"/>
                    <a:pt x="200" y="274"/>
                  </a:cubicBezTo>
                  <a:cubicBezTo>
                    <a:pt x="206" y="282"/>
                    <a:pt x="207" y="282"/>
                    <a:pt x="212" y="286"/>
                  </a:cubicBezTo>
                  <a:cubicBezTo>
                    <a:pt x="217" y="291"/>
                    <a:pt x="224" y="302"/>
                    <a:pt x="224" y="302"/>
                  </a:cubicBezTo>
                  <a:cubicBezTo>
                    <a:pt x="224" y="302"/>
                    <a:pt x="223" y="305"/>
                    <a:pt x="225" y="306"/>
                  </a:cubicBezTo>
                  <a:cubicBezTo>
                    <a:pt x="227" y="308"/>
                    <a:pt x="231" y="310"/>
                    <a:pt x="231" y="310"/>
                  </a:cubicBezTo>
                  <a:cubicBezTo>
                    <a:pt x="231" y="310"/>
                    <a:pt x="232" y="314"/>
                    <a:pt x="232" y="316"/>
                  </a:cubicBezTo>
                  <a:cubicBezTo>
                    <a:pt x="232" y="317"/>
                    <a:pt x="229" y="317"/>
                    <a:pt x="223" y="320"/>
                  </a:cubicBezTo>
                  <a:close/>
                  <a:moveTo>
                    <a:pt x="258" y="345"/>
                  </a:moveTo>
                  <a:cubicBezTo>
                    <a:pt x="256" y="344"/>
                    <a:pt x="256" y="345"/>
                    <a:pt x="256" y="345"/>
                  </a:cubicBezTo>
                  <a:cubicBezTo>
                    <a:pt x="256" y="345"/>
                    <a:pt x="255" y="346"/>
                    <a:pt x="255" y="346"/>
                  </a:cubicBezTo>
                  <a:cubicBezTo>
                    <a:pt x="254" y="346"/>
                    <a:pt x="254" y="346"/>
                    <a:pt x="254" y="346"/>
                  </a:cubicBezTo>
                  <a:cubicBezTo>
                    <a:pt x="256" y="344"/>
                    <a:pt x="256" y="344"/>
                    <a:pt x="256" y="344"/>
                  </a:cubicBezTo>
                  <a:cubicBezTo>
                    <a:pt x="256" y="344"/>
                    <a:pt x="252" y="341"/>
                    <a:pt x="247" y="333"/>
                  </a:cubicBezTo>
                  <a:cubicBezTo>
                    <a:pt x="243" y="326"/>
                    <a:pt x="234" y="318"/>
                    <a:pt x="235" y="317"/>
                  </a:cubicBezTo>
                  <a:cubicBezTo>
                    <a:pt x="235" y="317"/>
                    <a:pt x="235" y="316"/>
                    <a:pt x="236" y="316"/>
                  </a:cubicBezTo>
                  <a:cubicBezTo>
                    <a:pt x="236" y="317"/>
                    <a:pt x="246" y="327"/>
                    <a:pt x="250" y="332"/>
                  </a:cubicBezTo>
                  <a:cubicBezTo>
                    <a:pt x="254" y="336"/>
                    <a:pt x="262" y="344"/>
                    <a:pt x="262" y="344"/>
                  </a:cubicBezTo>
                  <a:cubicBezTo>
                    <a:pt x="262" y="344"/>
                    <a:pt x="259" y="345"/>
                    <a:pt x="258" y="345"/>
                  </a:cubicBezTo>
                  <a:close/>
                  <a:moveTo>
                    <a:pt x="285" y="258"/>
                  </a:moveTo>
                  <a:cubicBezTo>
                    <a:pt x="284" y="260"/>
                    <a:pt x="282" y="264"/>
                    <a:pt x="280" y="266"/>
                  </a:cubicBezTo>
                  <a:cubicBezTo>
                    <a:pt x="279" y="268"/>
                    <a:pt x="277" y="271"/>
                    <a:pt x="277" y="272"/>
                  </a:cubicBezTo>
                  <a:cubicBezTo>
                    <a:pt x="277" y="274"/>
                    <a:pt x="278" y="275"/>
                    <a:pt x="277" y="276"/>
                  </a:cubicBezTo>
                  <a:cubicBezTo>
                    <a:pt x="277" y="276"/>
                    <a:pt x="276" y="277"/>
                    <a:pt x="276" y="276"/>
                  </a:cubicBezTo>
                  <a:cubicBezTo>
                    <a:pt x="275" y="274"/>
                    <a:pt x="275" y="271"/>
                    <a:pt x="275" y="269"/>
                  </a:cubicBezTo>
                  <a:cubicBezTo>
                    <a:pt x="275" y="268"/>
                    <a:pt x="275" y="264"/>
                    <a:pt x="275" y="260"/>
                  </a:cubicBezTo>
                  <a:cubicBezTo>
                    <a:pt x="275" y="256"/>
                    <a:pt x="276" y="252"/>
                    <a:pt x="276" y="250"/>
                  </a:cubicBezTo>
                  <a:cubicBezTo>
                    <a:pt x="276" y="248"/>
                    <a:pt x="276" y="244"/>
                    <a:pt x="276" y="244"/>
                  </a:cubicBezTo>
                  <a:cubicBezTo>
                    <a:pt x="276" y="243"/>
                    <a:pt x="276" y="243"/>
                    <a:pt x="277" y="243"/>
                  </a:cubicBezTo>
                  <a:cubicBezTo>
                    <a:pt x="278" y="243"/>
                    <a:pt x="280" y="244"/>
                    <a:pt x="281" y="245"/>
                  </a:cubicBezTo>
                  <a:cubicBezTo>
                    <a:pt x="282" y="247"/>
                    <a:pt x="285" y="250"/>
                    <a:pt x="286" y="251"/>
                  </a:cubicBezTo>
                  <a:cubicBezTo>
                    <a:pt x="287" y="252"/>
                    <a:pt x="288" y="253"/>
                    <a:pt x="288" y="254"/>
                  </a:cubicBezTo>
                  <a:cubicBezTo>
                    <a:pt x="288" y="255"/>
                    <a:pt x="287" y="255"/>
                    <a:pt x="285" y="258"/>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6" name="Footer Placeholder 5"/>
          <p:cNvSpPr>
            <a:spLocks noGrp="1"/>
          </p:cNvSpPr>
          <p:nvPr>
            <p:ph type="ftr" sz="quarter" idx="11"/>
          </p:nvPr>
        </p:nvSpPr>
        <p:spPr/>
        <p:txBody>
          <a:bodyPr/>
          <a:lstStyle/>
          <a:p>
            <a:r>
              <a:rPr lang="en-US" smtClean="0"/>
              <a:t>GURU (SEKOLAH)</a:t>
            </a:r>
            <a:endParaRPr lang="en-US"/>
          </a:p>
        </p:txBody>
      </p:sp>
      <p:sp>
        <p:nvSpPr>
          <p:cNvPr id="7" name="Slide Number Placeholder 6"/>
          <p:cNvSpPr>
            <a:spLocks noGrp="1"/>
          </p:cNvSpPr>
          <p:nvPr>
            <p:ph type="sldNum" sz="quarter" idx="12"/>
          </p:nvPr>
        </p:nvSpPr>
        <p:spPr/>
        <p:txBody>
          <a:bodyPr/>
          <a:lstStyle/>
          <a:p>
            <a:fld id="{4D86EDED-B1AF-7E4B-94C9-3F0EAA36C7D5}" type="slidenum">
              <a:rPr lang="en-US" smtClean="0"/>
              <a:pPr/>
              <a:t>47</a:t>
            </a:fld>
            <a:endParaRPr lang="en-US"/>
          </a:p>
        </p:txBody>
      </p:sp>
      <p:sp>
        <p:nvSpPr>
          <p:cNvPr id="29" name="Rectangle 28"/>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PP </a:t>
            </a:r>
            <a:r>
              <a:rPr lang="en-US" sz="2800" b="1" dirty="0" err="1" smtClean="0">
                <a:solidFill>
                  <a:schemeClr val="bg1"/>
                </a:solidFill>
                <a:latin typeface="Segoe UI" pitchFamily="34" charset="0"/>
                <a:ea typeface="Segoe UI" pitchFamily="34" charset="0"/>
                <a:cs typeface="Segoe UI" pitchFamily="34" charset="0"/>
              </a:rPr>
              <a:t>bagi</a:t>
            </a:r>
            <a:r>
              <a:rPr lang="en-US" sz="2800" b="1" dirty="0" smtClean="0">
                <a:solidFill>
                  <a:schemeClr val="bg1"/>
                </a:solidFill>
                <a:latin typeface="Segoe UI" pitchFamily="34" charset="0"/>
                <a:ea typeface="Segoe UI" pitchFamily="34" charset="0"/>
                <a:cs typeface="Segoe UI" pitchFamily="34" charset="0"/>
              </a:rPr>
              <a:t> SEK AGAMA (</a:t>
            </a:r>
            <a:r>
              <a:rPr lang="en-US" sz="2800" b="1" dirty="0" err="1" smtClean="0">
                <a:solidFill>
                  <a:schemeClr val="bg1"/>
                </a:solidFill>
                <a:latin typeface="Segoe UI" pitchFamily="34" charset="0"/>
                <a:ea typeface="Segoe UI" pitchFamily="34" charset="0"/>
                <a:cs typeface="Segoe UI" pitchFamily="34" charset="0"/>
              </a:rPr>
              <a:t>Sek</a:t>
            </a:r>
            <a:r>
              <a:rPr lang="en-US" sz="2800" b="1" dirty="0" smtClean="0">
                <a:solidFill>
                  <a:schemeClr val="bg1"/>
                </a:solidFill>
                <a:latin typeface="Segoe UI" pitchFamily="34" charset="0"/>
                <a:ea typeface="Segoe UI" pitchFamily="34" charset="0"/>
                <a:cs typeface="Segoe UI" pitchFamily="34" charset="0"/>
              </a:rPr>
              <a:t> </a:t>
            </a:r>
            <a:r>
              <a:rPr lang="en-US" sz="2800" b="1" dirty="0" err="1" smtClean="0">
                <a:solidFill>
                  <a:schemeClr val="bg1"/>
                </a:solidFill>
                <a:latin typeface="Segoe UI" pitchFamily="34" charset="0"/>
                <a:ea typeface="Segoe UI" pitchFamily="34" charset="0"/>
                <a:cs typeface="Segoe UI" pitchFamily="34" charset="0"/>
              </a:rPr>
              <a:t>dibawah</a:t>
            </a:r>
            <a:r>
              <a:rPr lang="en-US" sz="2800" b="1" dirty="0" smtClean="0">
                <a:solidFill>
                  <a:schemeClr val="bg1"/>
                </a:solidFill>
                <a:latin typeface="Segoe UI" pitchFamily="34" charset="0"/>
                <a:ea typeface="Segoe UI" pitchFamily="34" charset="0"/>
                <a:cs typeface="Segoe UI" pitchFamily="34" charset="0"/>
              </a:rPr>
              <a:t> </a:t>
            </a:r>
            <a:r>
              <a:rPr lang="en-US" sz="2800" b="1" dirty="0" err="1" smtClean="0">
                <a:solidFill>
                  <a:schemeClr val="bg1"/>
                </a:solidFill>
                <a:latin typeface="Segoe UI" pitchFamily="34" charset="0"/>
                <a:ea typeface="Segoe UI" pitchFamily="34" charset="0"/>
                <a:cs typeface="Segoe UI" pitchFamily="34" charset="0"/>
              </a:rPr>
              <a:t>Kawalan</a:t>
            </a:r>
            <a:r>
              <a:rPr lang="en-US" sz="2800" b="1" dirty="0" smtClean="0">
                <a:solidFill>
                  <a:schemeClr val="bg1"/>
                </a:solidFill>
                <a:latin typeface="Segoe UI" pitchFamily="34" charset="0"/>
                <a:ea typeface="Segoe UI" pitchFamily="34" charset="0"/>
                <a:cs typeface="Segoe UI" pitchFamily="34" charset="0"/>
              </a:rPr>
              <a:t> BPI)</a:t>
            </a:r>
            <a:endParaRPr lang="en-US" sz="2800" b="1" dirty="0">
              <a:solidFill>
                <a:schemeClr val="bg1"/>
              </a:solidFill>
              <a:latin typeface="Segoe UI" pitchFamily="34" charset="0"/>
              <a:ea typeface="Segoe UI" pitchFamily="34" charset="0"/>
              <a:cs typeface="Segoe UI" pitchFamily="34" charset="0"/>
            </a:endParaRPr>
          </a:p>
        </p:txBody>
      </p:sp>
      <p:grpSp>
        <p:nvGrpSpPr>
          <p:cNvPr id="3" name="Group 41"/>
          <p:cNvGrpSpPr/>
          <p:nvPr/>
        </p:nvGrpSpPr>
        <p:grpSpPr>
          <a:xfrm>
            <a:off x="1210436" y="1386391"/>
            <a:ext cx="7039043" cy="2271212"/>
            <a:chOff x="1210436" y="1386391"/>
            <a:chExt cx="7039043" cy="2271212"/>
          </a:xfrm>
        </p:grpSpPr>
        <p:grpSp>
          <p:nvGrpSpPr>
            <p:cNvPr id="4" name="Group 36"/>
            <p:cNvGrpSpPr/>
            <p:nvPr/>
          </p:nvGrpSpPr>
          <p:grpSpPr>
            <a:xfrm>
              <a:off x="1210436" y="1386391"/>
              <a:ext cx="7039043" cy="2132204"/>
              <a:chOff x="1210436" y="1386391"/>
              <a:chExt cx="7039043" cy="2132204"/>
            </a:xfrm>
          </p:grpSpPr>
          <p:grpSp>
            <p:nvGrpSpPr>
              <p:cNvPr id="5" name="Group 10"/>
              <p:cNvGrpSpPr/>
              <p:nvPr/>
            </p:nvGrpSpPr>
            <p:grpSpPr>
              <a:xfrm>
                <a:off x="1210436" y="1386391"/>
                <a:ext cx="3218688" cy="2019790"/>
                <a:chOff x="1210436" y="1229591"/>
                <a:chExt cx="3218688" cy="2019790"/>
              </a:xfrm>
            </p:grpSpPr>
            <p:grpSp>
              <p:nvGrpSpPr>
                <p:cNvPr id="8" name="Group 7"/>
                <p:cNvGrpSpPr/>
                <p:nvPr/>
              </p:nvGrpSpPr>
              <p:grpSpPr>
                <a:xfrm>
                  <a:off x="2664989" y="1229591"/>
                  <a:ext cx="1764135" cy="1913657"/>
                  <a:chOff x="2664989" y="1229591"/>
                  <a:chExt cx="1764135" cy="1913657"/>
                </a:xfrm>
              </p:grpSpPr>
              <p:pic>
                <p:nvPicPr>
                  <p:cNvPr id="36" name="Picture 5" descr="professional-man.png"/>
                  <p:cNvPicPr>
                    <a:picLocks noChangeAspect="1"/>
                  </p:cNvPicPr>
                  <p:nvPr/>
                </p:nvPicPr>
                <p:blipFill>
                  <a:blip r:embed="rId6" cstate="print"/>
                  <a:srcRect/>
                  <a:stretch>
                    <a:fillRect/>
                  </a:stretch>
                </p:blipFill>
                <p:spPr bwMode="auto">
                  <a:xfrm rot="21442773">
                    <a:off x="2664989" y="1229591"/>
                    <a:ext cx="685800" cy="969992"/>
                  </a:xfrm>
                  <a:prstGeom prst="rect">
                    <a:avLst/>
                  </a:prstGeom>
                  <a:noFill/>
                  <a:ln w="9525">
                    <a:noFill/>
                    <a:miter lim="800000"/>
                    <a:headEnd/>
                    <a:tailEnd/>
                  </a:ln>
                </p:spPr>
              </p:pic>
              <p:sp>
                <p:nvSpPr>
                  <p:cNvPr id="56" name="Freeform 499"/>
                  <p:cNvSpPr>
                    <a:spLocks noEditPoints="1"/>
                  </p:cNvSpPr>
                  <p:nvPr/>
                </p:nvSpPr>
                <p:spPr bwMode="auto">
                  <a:xfrm>
                    <a:off x="2714612" y="2000240"/>
                    <a:ext cx="1714512" cy="1143008"/>
                  </a:xfrm>
                  <a:custGeom>
                    <a:avLst/>
                    <a:gdLst>
                      <a:gd name="T0" fmla="*/ 207 w 362"/>
                      <a:gd name="T1" fmla="*/ 1 h 362"/>
                      <a:gd name="T2" fmla="*/ 177 w 362"/>
                      <a:gd name="T3" fmla="*/ 5 h 362"/>
                      <a:gd name="T4" fmla="*/ 137 w 362"/>
                      <a:gd name="T5" fmla="*/ 19 h 362"/>
                      <a:gd name="T6" fmla="*/ 79 w 362"/>
                      <a:gd name="T7" fmla="*/ 24 h 362"/>
                      <a:gd name="T8" fmla="*/ 49 w 362"/>
                      <a:gd name="T9" fmla="*/ 33 h 362"/>
                      <a:gd name="T10" fmla="*/ 54 w 362"/>
                      <a:gd name="T11" fmla="*/ 32 h 362"/>
                      <a:gd name="T12" fmla="*/ 50 w 362"/>
                      <a:gd name="T13" fmla="*/ 30 h 362"/>
                      <a:gd name="T14" fmla="*/ 51 w 362"/>
                      <a:gd name="T15" fmla="*/ 36 h 362"/>
                      <a:gd name="T16" fmla="*/ 49 w 362"/>
                      <a:gd name="T17" fmla="*/ 30 h 362"/>
                      <a:gd name="T18" fmla="*/ 51 w 362"/>
                      <a:gd name="T19" fmla="*/ 36 h 362"/>
                      <a:gd name="T20" fmla="*/ 49 w 362"/>
                      <a:gd name="T21" fmla="*/ 33 h 362"/>
                      <a:gd name="T22" fmla="*/ 48 w 362"/>
                      <a:gd name="T23" fmla="*/ 32 h 362"/>
                      <a:gd name="T24" fmla="*/ 47 w 362"/>
                      <a:gd name="T25" fmla="*/ 38 h 362"/>
                      <a:gd name="T26" fmla="*/ 47 w 362"/>
                      <a:gd name="T27" fmla="*/ 41 h 362"/>
                      <a:gd name="T28" fmla="*/ 111 w 362"/>
                      <a:gd name="T29" fmla="*/ 27 h 362"/>
                      <a:gd name="T30" fmla="*/ 50 w 362"/>
                      <a:gd name="T31" fmla="*/ 35 h 362"/>
                      <a:gd name="T32" fmla="*/ 49 w 362"/>
                      <a:gd name="T33" fmla="*/ 31 h 362"/>
                      <a:gd name="T34" fmla="*/ 47 w 362"/>
                      <a:gd name="T35" fmla="*/ 32 h 362"/>
                      <a:gd name="T36" fmla="*/ 46 w 362"/>
                      <a:gd name="T37" fmla="*/ 32 h 362"/>
                      <a:gd name="T38" fmla="*/ 159 w 362"/>
                      <a:gd name="T39" fmla="*/ 18 h 362"/>
                      <a:gd name="T40" fmla="*/ 317 w 362"/>
                      <a:gd name="T41" fmla="*/ 14 h 362"/>
                      <a:gd name="T42" fmla="*/ 260 w 362"/>
                      <a:gd name="T43" fmla="*/ 1 h 362"/>
                      <a:gd name="T44" fmla="*/ 184 w 362"/>
                      <a:gd name="T45" fmla="*/ 5 h 362"/>
                      <a:gd name="T46" fmla="*/ 129 w 362"/>
                      <a:gd name="T47" fmla="*/ 13 h 362"/>
                      <a:gd name="T48" fmla="*/ 85 w 362"/>
                      <a:gd name="T49" fmla="*/ 22 h 362"/>
                      <a:gd name="T50" fmla="*/ 97 w 362"/>
                      <a:gd name="T51" fmla="*/ 20 h 362"/>
                      <a:gd name="T52" fmla="*/ 97 w 362"/>
                      <a:gd name="T53" fmla="*/ 21 h 362"/>
                      <a:gd name="T54" fmla="*/ 137 w 362"/>
                      <a:gd name="T55" fmla="*/ 14 h 362"/>
                      <a:gd name="T56" fmla="*/ 143 w 362"/>
                      <a:gd name="T57" fmla="*/ 14 h 362"/>
                      <a:gd name="T58" fmla="*/ 112 w 362"/>
                      <a:gd name="T59" fmla="*/ 20 h 362"/>
                      <a:gd name="T60" fmla="*/ 182 w 362"/>
                      <a:gd name="T61" fmla="*/ 12 h 362"/>
                      <a:gd name="T62" fmla="*/ 53 w 362"/>
                      <a:gd name="T63" fmla="*/ 36 h 362"/>
                      <a:gd name="T64" fmla="*/ 56 w 362"/>
                      <a:gd name="T65" fmla="*/ 36 h 362"/>
                      <a:gd name="T66" fmla="*/ 158 w 362"/>
                      <a:gd name="T67" fmla="*/ 18 h 362"/>
                      <a:gd name="T68" fmla="*/ 221 w 362"/>
                      <a:gd name="T69" fmla="*/ 12 h 362"/>
                      <a:gd name="T70" fmla="*/ 327 w 362"/>
                      <a:gd name="T71" fmla="*/ 43 h 362"/>
                      <a:gd name="T72" fmla="*/ 344 w 362"/>
                      <a:gd name="T73" fmla="*/ 235 h 362"/>
                      <a:gd name="T74" fmla="*/ 273 w 362"/>
                      <a:gd name="T75" fmla="*/ 333 h 362"/>
                      <a:gd name="T76" fmla="*/ 91 w 362"/>
                      <a:gd name="T77" fmla="*/ 339 h 362"/>
                      <a:gd name="T78" fmla="*/ 16 w 362"/>
                      <a:gd name="T79" fmla="*/ 244 h 362"/>
                      <a:gd name="T80" fmla="*/ 28 w 362"/>
                      <a:gd name="T81" fmla="*/ 84 h 362"/>
                      <a:gd name="T82" fmla="*/ 34 w 362"/>
                      <a:gd name="T83" fmla="*/ 56 h 362"/>
                      <a:gd name="T84" fmla="*/ 36 w 362"/>
                      <a:gd name="T85" fmla="*/ 50 h 362"/>
                      <a:gd name="T86" fmla="*/ 33 w 362"/>
                      <a:gd name="T87" fmla="*/ 41 h 362"/>
                      <a:gd name="T88" fmla="*/ 25 w 362"/>
                      <a:gd name="T89" fmla="*/ 39 h 362"/>
                      <a:gd name="T90" fmla="*/ 19 w 362"/>
                      <a:gd name="T91" fmla="*/ 43 h 362"/>
                      <a:gd name="T92" fmla="*/ 17 w 362"/>
                      <a:gd name="T93" fmla="*/ 49 h 362"/>
                      <a:gd name="T94" fmla="*/ 16 w 362"/>
                      <a:gd name="T95" fmla="*/ 56 h 362"/>
                      <a:gd name="T96" fmla="*/ 12 w 362"/>
                      <a:gd name="T97" fmla="*/ 82 h 362"/>
                      <a:gd name="T98" fmla="*/ 3 w 362"/>
                      <a:gd name="T99" fmla="*/ 154 h 362"/>
                      <a:gd name="T100" fmla="*/ 3 w 362"/>
                      <a:gd name="T101" fmla="*/ 259 h 362"/>
                      <a:gd name="T102" fmla="*/ 72 w 362"/>
                      <a:gd name="T103" fmla="*/ 349 h 362"/>
                      <a:gd name="T104" fmla="*/ 222 w 362"/>
                      <a:gd name="T105" fmla="*/ 358 h 362"/>
                      <a:gd name="T106" fmla="*/ 337 w 362"/>
                      <a:gd name="T107" fmla="*/ 31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2" h="362">
                        <a:moveTo>
                          <a:pt x="268" y="15"/>
                        </a:moveTo>
                        <a:cubicBezTo>
                          <a:pt x="267" y="15"/>
                          <a:pt x="265" y="14"/>
                          <a:pt x="264" y="14"/>
                        </a:cubicBezTo>
                        <a:cubicBezTo>
                          <a:pt x="264" y="14"/>
                          <a:pt x="266" y="14"/>
                          <a:pt x="268" y="15"/>
                        </a:cubicBezTo>
                        <a:close/>
                        <a:moveTo>
                          <a:pt x="207" y="1"/>
                        </a:moveTo>
                        <a:cubicBezTo>
                          <a:pt x="206" y="1"/>
                          <a:pt x="205" y="1"/>
                          <a:pt x="203" y="1"/>
                        </a:cubicBezTo>
                        <a:cubicBezTo>
                          <a:pt x="202" y="1"/>
                          <a:pt x="206" y="1"/>
                          <a:pt x="207" y="1"/>
                        </a:cubicBezTo>
                        <a:close/>
                        <a:moveTo>
                          <a:pt x="196" y="1"/>
                        </a:moveTo>
                        <a:cubicBezTo>
                          <a:pt x="197" y="1"/>
                          <a:pt x="200" y="1"/>
                          <a:pt x="201" y="1"/>
                        </a:cubicBezTo>
                        <a:cubicBezTo>
                          <a:pt x="200" y="1"/>
                          <a:pt x="196" y="1"/>
                          <a:pt x="196" y="1"/>
                        </a:cubicBezTo>
                        <a:close/>
                        <a:moveTo>
                          <a:pt x="177" y="5"/>
                        </a:moveTo>
                        <a:cubicBezTo>
                          <a:pt x="179" y="5"/>
                          <a:pt x="181" y="5"/>
                          <a:pt x="182" y="5"/>
                        </a:cubicBezTo>
                        <a:cubicBezTo>
                          <a:pt x="181" y="5"/>
                          <a:pt x="178" y="5"/>
                          <a:pt x="177" y="5"/>
                        </a:cubicBezTo>
                        <a:close/>
                        <a:moveTo>
                          <a:pt x="165" y="5"/>
                        </a:moveTo>
                        <a:cubicBezTo>
                          <a:pt x="169" y="4"/>
                          <a:pt x="172" y="4"/>
                          <a:pt x="173" y="4"/>
                        </a:cubicBezTo>
                        <a:cubicBezTo>
                          <a:pt x="171" y="4"/>
                          <a:pt x="167" y="4"/>
                          <a:pt x="165" y="5"/>
                        </a:cubicBezTo>
                        <a:close/>
                        <a:moveTo>
                          <a:pt x="137" y="19"/>
                        </a:moveTo>
                        <a:cubicBezTo>
                          <a:pt x="140" y="19"/>
                          <a:pt x="148" y="17"/>
                          <a:pt x="152" y="17"/>
                        </a:cubicBezTo>
                        <a:cubicBezTo>
                          <a:pt x="147" y="17"/>
                          <a:pt x="142" y="18"/>
                          <a:pt x="137" y="19"/>
                        </a:cubicBezTo>
                        <a:close/>
                        <a:moveTo>
                          <a:pt x="135" y="15"/>
                        </a:moveTo>
                        <a:cubicBezTo>
                          <a:pt x="131" y="15"/>
                          <a:pt x="131" y="15"/>
                          <a:pt x="131" y="15"/>
                        </a:cubicBezTo>
                        <a:cubicBezTo>
                          <a:pt x="129" y="16"/>
                          <a:pt x="119" y="17"/>
                          <a:pt x="120" y="17"/>
                        </a:cubicBezTo>
                        <a:cubicBezTo>
                          <a:pt x="126" y="16"/>
                          <a:pt x="135" y="15"/>
                          <a:pt x="140" y="14"/>
                        </a:cubicBezTo>
                        <a:cubicBezTo>
                          <a:pt x="138" y="14"/>
                          <a:pt x="137" y="14"/>
                          <a:pt x="135" y="15"/>
                        </a:cubicBezTo>
                        <a:close/>
                        <a:moveTo>
                          <a:pt x="79" y="24"/>
                        </a:moveTo>
                        <a:cubicBezTo>
                          <a:pt x="76" y="25"/>
                          <a:pt x="76" y="25"/>
                          <a:pt x="76" y="25"/>
                        </a:cubicBezTo>
                        <a:cubicBezTo>
                          <a:pt x="76" y="25"/>
                          <a:pt x="76" y="25"/>
                          <a:pt x="77" y="25"/>
                        </a:cubicBezTo>
                        <a:cubicBezTo>
                          <a:pt x="79" y="25"/>
                          <a:pt x="79" y="24"/>
                          <a:pt x="79" y="24"/>
                        </a:cubicBezTo>
                        <a:close/>
                        <a:moveTo>
                          <a:pt x="50" y="33"/>
                        </a:moveTo>
                        <a:cubicBezTo>
                          <a:pt x="50" y="33"/>
                          <a:pt x="50" y="33"/>
                          <a:pt x="50" y="33"/>
                        </a:cubicBezTo>
                        <a:cubicBezTo>
                          <a:pt x="50" y="33"/>
                          <a:pt x="49" y="33"/>
                          <a:pt x="49" y="33"/>
                        </a:cubicBezTo>
                        <a:cubicBezTo>
                          <a:pt x="49" y="33"/>
                          <a:pt x="49" y="33"/>
                          <a:pt x="50" y="33"/>
                        </a:cubicBezTo>
                        <a:close/>
                        <a:moveTo>
                          <a:pt x="50" y="32"/>
                        </a:moveTo>
                        <a:cubicBezTo>
                          <a:pt x="50" y="33"/>
                          <a:pt x="50" y="33"/>
                          <a:pt x="50" y="33"/>
                        </a:cubicBezTo>
                        <a:cubicBezTo>
                          <a:pt x="50" y="33"/>
                          <a:pt x="50" y="33"/>
                          <a:pt x="50" y="33"/>
                        </a:cubicBezTo>
                        <a:cubicBezTo>
                          <a:pt x="50" y="33"/>
                          <a:pt x="51" y="32"/>
                          <a:pt x="51" y="32"/>
                        </a:cubicBezTo>
                        <a:cubicBezTo>
                          <a:pt x="54" y="32"/>
                          <a:pt x="54" y="32"/>
                          <a:pt x="54" y="32"/>
                        </a:cubicBezTo>
                        <a:lnTo>
                          <a:pt x="50" y="32"/>
                        </a:lnTo>
                        <a:close/>
                        <a:moveTo>
                          <a:pt x="50" y="33"/>
                        </a:moveTo>
                        <a:cubicBezTo>
                          <a:pt x="50" y="33"/>
                          <a:pt x="50" y="33"/>
                          <a:pt x="50" y="33"/>
                        </a:cubicBezTo>
                        <a:cubicBezTo>
                          <a:pt x="50" y="33"/>
                          <a:pt x="50" y="33"/>
                          <a:pt x="50" y="33"/>
                        </a:cubicBezTo>
                        <a:cubicBezTo>
                          <a:pt x="50" y="33"/>
                          <a:pt x="50" y="33"/>
                          <a:pt x="50" y="33"/>
                        </a:cubicBezTo>
                        <a:close/>
                        <a:moveTo>
                          <a:pt x="50" y="30"/>
                        </a:move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lose/>
                        <a:moveTo>
                          <a:pt x="51" y="36"/>
                        </a:moveTo>
                        <a:cubicBezTo>
                          <a:pt x="51" y="36"/>
                          <a:pt x="51" y="36"/>
                          <a:pt x="51" y="36"/>
                        </a:cubicBezTo>
                        <a:cubicBezTo>
                          <a:pt x="51" y="36"/>
                          <a:pt x="51" y="36"/>
                          <a:pt x="51" y="36"/>
                        </a:cubicBezTo>
                        <a:close/>
                        <a:moveTo>
                          <a:pt x="50" y="31"/>
                        </a:moveTo>
                        <a:cubicBezTo>
                          <a:pt x="50" y="31"/>
                          <a:pt x="50" y="31"/>
                          <a:pt x="50" y="31"/>
                        </a:cubicBezTo>
                        <a:cubicBezTo>
                          <a:pt x="50" y="31"/>
                          <a:pt x="49" y="31"/>
                          <a:pt x="50" y="31"/>
                        </a:cubicBezTo>
                        <a:close/>
                        <a:moveTo>
                          <a:pt x="49" y="30"/>
                        </a:moveTo>
                        <a:cubicBezTo>
                          <a:pt x="49" y="30"/>
                          <a:pt x="50" y="30"/>
                          <a:pt x="50" y="30"/>
                        </a:cubicBezTo>
                        <a:cubicBezTo>
                          <a:pt x="49" y="30"/>
                          <a:pt x="49" y="30"/>
                          <a:pt x="49" y="30"/>
                        </a:cubicBezTo>
                        <a:close/>
                        <a:moveTo>
                          <a:pt x="51" y="38"/>
                        </a:moveTo>
                        <a:cubicBezTo>
                          <a:pt x="51" y="38"/>
                          <a:pt x="51" y="38"/>
                          <a:pt x="51" y="37"/>
                        </a:cubicBezTo>
                        <a:cubicBezTo>
                          <a:pt x="51" y="37"/>
                          <a:pt x="51" y="37"/>
                          <a:pt x="51" y="38"/>
                        </a:cubicBezTo>
                        <a:close/>
                        <a:moveTo>
                          <a:pt x="51" y="36"/>
                        </a:moveTo>
                        <a:cubicBezTo>
                          <a:pt x="50" y="36"/>
                          <a:pt x="50" y="36"/>
                          <a:pt x="50" y="37"/>
                        </a:cubicBezTo>
                        <a:cubicBezTo>
                          <a:pt x="50" y="37"/>
                          <a:pt x="50" y="36"/>
                          <a:pt x="51" y="36"/>
                        </a:cubicBezTo>
                        <a:close/>
                        <a:moveTo>
                          <a:pt x="48" y="31"/>
                        </a:moveTo>
                        <a:cubicBezTo>
                          <a:pt x="48" y="31"/>
                          <a:pt x="49" y="31"/>
                          <a:pt x="49" y="30"/>
                        </a:cubicBezTo>
                        <a:cubicBezTo>
                          <a:pt x="49" y="31"/>
                          <a:pt x="48" y="31"/>
                          <a:pt x="48" y="31"/>
                        </a:cubicBezTo>
                        <a:close/>
                        <a:moveTo>
                          <a:pt x="49" y="33"/>
                        </a:moveTo>
                        <a:cubicBezTo>
                          <a:pt x="49" y="33"/>
                          <a:pt x="49" y="33"/>
                          <a:pt x="49" y="33"/>
                        </a:cubicBezTo>
                        <a:cubicBezTo>
                          <a:pt x="49" y="33"/>
                          <a:pt x="48" y="33"/>
                          <a:pt x="49" y="33"/>
                        </a:cubicBezTo>
                        <a:close/>
                        <a:moveTo>
                          <a:pt x="48" y="33"/>
                        </a:moveTo>
                        <a:cubicBezTo>
                          <a:pt x="48" y="33"/>
                          <a:pt x="48" y="33"/>
                          <a:pt x="48" y="32"/>
                        </a:cubicBezTo>
                        <a:cubicBezTo>
                          <a:pt x="48" y="32"/>
                          <a:pt x="48" y="32"/>
                          <a:pt x="48" y="33"/>
                        </a:cubicBezTo>
                        <a:close/>
                        <a:moveTo>
                          <a:pt x="48" y="32"/>
                        </a:moveTo>
                        <a:cubicBezTo>
                          <a:pt x="48" y="32"/>
                          <a:pt x="48" y="32"/>
                          <a:pt x="48" y="32"/>
                        </a:cubicBezTo>
                        <a:cubicBezTo>
                          <a:pt x="47" y="32"/>
                          <a:pt x="48" y="32"/>
                          <a:pt x="48" y="32"/>
                        </a:cubicBezTo>
                        <a:cubicBezTo>
                          <a:pt x="48" y="32"/>
                          <a:pt x="48" y="32"/>
                          <a:pt x="48" y="32"/>
                        </a:cubicBezTo>
                        <a:close/>
                        <a:moveTo>
                          <a:pt x="48" y="36"/>
                        </a:moveTo>
                        <a:cubicBezTo>
                          <a:pt x="48" y="36"/>
                          <a:pt x="48" y="36"/>
                          <a:pt x="48" y="36"/>
                        </a:cubicBezTo>
                        <a:close/>
                        <a:moveTo>
                          <a:pt x="47" y="38"/>
                        </a:moveTo>
                        <a:cubicBezTo>
                          <a:pt x="47" y="38"/>
                          <a:pt x="47" y="38"/>
                          <a:pt x="48" y="38"/>
                        </a:cubicBezTo>
                        <a:cubicBezTo>
                          <a:pt x="48" y="38"/>
                          <a:pt x="47" y="38"/>
                          <a:pt x="47" y="38"/>
                        </a:cubicBezTo>
                        <a:close/>
                        <a:moveTo>
                          <a:pt x="48" y="38"/>
                        </a:moveTo>
                        <a:cubicBezTo>
                          <a:pt x="47" y="38"/>
                          <a:pt x="47" y="38"/>
                          <a:pt x="47" y="38"/>
                        </a:cubicBezTo>
                        <a:cubicBezTo>
                          <a:pt x="47" y="38"/>
                          <a:pt x="48" y="38"/>
                          <a:pt x="48" y="38"/>
                        </a:cubicBezTo>
                        <a:close/>
                        <a:moveTo>
                          <a:pt x="47" y="41"/>
                        </a:moveTo>
                        <a:cubicBezTo>
                          <a:pt x="48" y="41"/>
                          <a:pt x="48" y="41"/>
                          <a:pt x="48" y="40"/>
                        </a:cubicBezTo>
                        <a:cubicBezTo>
                          <a:pt x="48" y="40"/>
                          <a:pt x="47" y="41"/>
                          <a:pt x="47" y="41"/>
                        </a:cubicBezTo>
                        <a:close/>
                        <a:moveTo>
                          <a:pt x="46" y="41"/>
                        </a:moveTo>
                        <a:cubicBezTo>
                          <a:pt x="46" y="41"/>
                          <a:pt x="46" y="41"/>
                          <a:pt x="46" y="41"/>
                        </a:cubicBezTo>
                        <a:close/>
                        <a:moveTo>
                          <a:pt x="103" y="29"/>
                        </a:moveTo>
                        <a:cubicBezTo>
                          <a:pt x="106" y="28"/>
                          <a:pt x="109" y="27"/>
                          <a:pt x="111" y="27"/>
                        </a:cubicBezTo>
                        <a:cubicBezTo>
                          <a:pt x="112" y="27"/>
                          <a:pt x="113" y="27"/>
                          <a:pt x="114" y="26"/>
                        </a:cubicBezTo>
                        <a:cubicBezTo>
                          <a:pt x="110" y="27"/>
                          <a:pt x="106" y="28"/>
                          <a:pt x="103" y="29"/>
                        </a:cubicBezTo>
                        <a:close/>
                        <a:moveTo>
                          <a:pt x="49" y="35"/>
                        </a:moveTo>
                        <a:cubicBezTo>
                          <a:pt x="49" y="35"/>
                          <a:pt x="50" y="36"/>
                          <a:pt x="50" y="35"/>
                        </a:cubicBezTo>
                        <a:cubicBezTo>
                          <a:pt x="50" y="35"/>
                          <a:pt x="50" y="35"/>
                          <a:pt x="50" y="35"/>
                        </a:cubicBezTo>
                        <a:cubicBezTo>
                          <a:pt x="50" y="35"/>
                          <a:pt x="50" y="35"/>
                          <a:pt x="50" y="35"/>
                        </a:cubicBezTo>
                        <a:cubicBezTo>
                          <a:pt x="50" y="35"/>
                          <a:pt x="50" y="35"/>
                          <a:pt x="50" y="35"/>
                        </a:cubicBezTo>
                        <a:cubicBezTo>
                          <a:pt x="51" y="35"/>
                          <a:pt x="51" y="35"/>
                          <a:pt x="51" y="35"/>
                        </a:cubicBezTo>
                        <a:cubicBezTo>
                          <a:pt x="51" y="35"/>
                          <a:pt x="50" y="35"/>
                          <a:pt x="50" y="35"/>
                        </a:cubicBezTo>
                        <a:cubicBezTo>
                          <a:pt x="50" y="35"/>
                          <a:pt x="51" y="35"/>
                          <a:pt x="51" y="35"/>
                        </a:cubicBezTo>
                        <a:cubicBezTo>
                          <a:pt x="50" y="35"/>
                          <a:pt x="49" y="35"/>
                          <a:pt x="49" y="35"/>
                        </a:cubicBezTo>
                        <a:close/>
                        <a:moveTo>
                          <a:pt x="49" y="31"/>
                        </a:moveTo>
                        <a:cubicBezTo>
                          <a:pt x="49" y="31"/>
                          <a:pt x="49" y="31"/>
                          <a:pt x="49" y="31"/>
                        </a:cubicBezTo>
                        <a:cubicBezTo>
                          <a:pt x="49" y="31"/>
                          <a:pt x="49" y="31"/>
                          <a:pt x="49" y="31"/>
                        </a:cubicBezTo>
                        <a:cubicBezTo>
                          <a:pt x="50" y="31"/>
                          <a:pt x="49" y="31"/>
                          <a:pt x="49" y="31"/>
                        </a:cubicBezTo>
                        <a:close/>
                        <a:moveTo>
                          <a:pt x="46" y="32"/>
                        </a:moveTo>
                        <a:cubicBezTo>
                          <a:pt x="46" y="32"/>
                          <a:pt x="46" y="32"/>
                          <a:pt x="46" y="32"/>
                        </a:cubicBezTo>
                        <a:cubicBezTo>
                          <a:pt x="46" y="32"/>
                          <a:pt x="47" y="32"/>
                          <a:pt x="47" y="32"/>
                        </a:cubicBezTo>
                        <a:cubicBezTo>
                          <a:pt x="47" y="32"/>
                          <a:pt x="47" y="32"/>
                          <a:pt x="47" y="32"/>
                        </a:cubicBezTo>
                        <a:cubicBezTo>
                          <a:pt x="48" y="31"/>
                          <a:pt x="49" y="32"/>
                          <a:pt x="49" y="31"/>
                        </a:cubicBezTo>
                        <a:cubicBezTo>
                          <a:pt x="48" y="32"/>
                          <a:pt x="47" y="32"/>
                          <a:pt x="46" y="32"/>
                        </a:cubicBezTo>
                        <a:cubicBezTo>
                          <a:pt x="46" y="32"/>
                          <a:pt x="46" y="32"/>
                          <a:pt x="46" y="32"/>
                        </a:cubicBezTo>
                        <a:cubicBezTo>
                          <a:pt x="46" y="32"/>
                          <a:pt x="45" y="32"/>
                          <a:pt x="45" y="32"/>
                        </a:cubicBezTo>
                        <a:cubicBezTo>
                          <a:pt x="45" y="33"/>
                          <a:pt x="45" y="32"/>
                          <a:pt x="46" y="32"/>
                        </a:cubicBezTo>
                        <a:close/>
                        <a:moveTo>
                          <a:pt x="47" y="39"/>
                        </a:moveTo>
                        <a:cubicBezTo>
                          <a:pt x="47" y="38"/>
                          <a:pt x="48" y="38"/>
                          <a:pt x="48" y="38"/>
                        </a:cubicBezTo>
                        <a:cubicBezTo>
                          <a:pt x="47" y="38"/>
                          <a:pt x="47" y="39"/>
                          <a:pt x="47" y="39"/>
                        </a:cubicBezTo>
                        <a:close/>
                        <a:moveTo>
                          <a:pt x="159" y="18"/>
                        </a:moveTo>
                        <a:cubicBezTo>
                          <a:pt x="159" y="18"/>
                          <a:pt x="159" y="18"/>
                          <a:pt x="159" y="18"/>
                        </a:cubicBezTo>
                        <a:cubicBezTo>
                          <a:pt x="159" y="18"/>
                          <a:pt x="159" y="18"/>
                          <a:pt x="159" y="18"/>
                        </a:cubicBezTo>
                        <a:close/>
                        <a:moveTo>
                          <a:pt x="361" y="152"/>
                        </a:moveTo>
                        <a:cubicBezTo>
                          <a:pt x="360" y="120"/>
                          <a:pt x="356" y="87"/>
                          <a:pt x="347" y="57"/>
                        </a:cubicBezTo>
                        <a:cubicBezTo>
                          <a:pt x="345" y="52"/>
                          <a:pt x="343" y="45"/>
                          <a:pt x="341" y="41"/>
                        </a:cubicBezTo>
                        <a:cubicBezTo>
                          <a:pt x="340" y="40"/>
                          <a:pt x="339" y="37"/>
                          <a:pt x="338" y="35"/>
                        </a:cubicBezTo>
                        <a:cubicBezTo>
                          <a:pt x="336" y="31"/>
                          <a:pt x="333" y="27"/>
                          <a:pt x="330" y="23"/>
                        </a:cubicBezTo>
                        <a:cubicBezTo>
                          <a:pt x="326" y="19"/>
                          <a:pt x="322" y="16"/>
                          <a:pt x="317" y="14"/>
                        </a:cubicBezTo>
                        <a:cubicBezTo>
                          <a:pt x="314" y="13"/>
                          <a:pt x="309" y="10"/>
                          <a:pt x="305" y="9"/>
                        </a:cubicBezTo>
                        <a:cubicBezTo>
                          <a:pt x="303" y="8"/>
                          <a:pt x="307" y="9"/>
                          <a:pt x="304" y="8"/>
                        </a:cubicBezTo>
                        <a:cubicBezTo>
                          <a:pt x="301" y="7"/>
                          <a:pt x="294" y="5"/>
                          <a:pt x="287" y="4"/>
                        </a:cubicBezTo>
                        <a:cubicBezTo>
                          <a:pt x="279" y="3"/>
                          <a:pt x="271" y="2"/>
                          <a:pt x="266" y="1"/>
                        </a:cubicBezTo>
                        <a:cubicBezTo>
                          <a:pt x="267" y="1"/>
                          <a:pt x="267" y="1"/>
                          <a:pt x="266" y="1"/>
                        </a:cubicBezTo>
                        <a:cubicBezTo>
                          <a:pt x="264" y="1"/>
                          <a:pt x="263" y="1"/>
                          <a:pt x="260" y="1"/>
                        </a:cubicBezTo>
                        <a:cubicBezTo>
                          <a:pt x="243" y="0"/>
                          <a:pt x="230" y="1"/>
                          <a:pt x="215" y="2"/>
                        </a:cubicBezTo>
                        <a:cubicBezTo>
                          <a:pt x="213" y="2"/>
                          <a:pt x="208" y="2"/>
                          <a:pt x="206" y="2"/>
                        </a:cubicBezTo>
                        <a:cubicBezTo>
                          <a:pt x="209" y="2"/>
                          <a:pt x="212" y="2"/>
                          <a:pt x="212" y="2"/>
                        </a:cubicBezTo>
                        <a:cubicBezTo>
                          <a:pt x="208" y="2"/>
                          <a:pt x="202" y="3"/>
                          <a:pt x="199" y="3"/>
                        </a:cubicBezTo>
                        <a:cubicBezTo>
                          <a:pt x="193" y="4"/>
                          <a:pt x="190" y="4"/>
                          <a:pt x="185" y="4"/>
                        </a:cubicBezTo>
                        <a:cubicBezTo>
                          <a:pt x="184" y="4"/>
                          <a:pt x="187" y="5"/>
                          <a:pt x="184" y="5"/>
                        </a:cubicBezTo>
                        <a:cubicBezTo>
                          <a:pt x="176" y="5"/>
                          <a:pt x="172" y="6"/>
                          <a:pt x="166" y="7"/>
                        </a:cubicBezTo>
                        <a:cubicBezTo>
                          <a:pt x="164" y="7"/>
                          <a:pt x="155" y="8"/>
                          <a:pt x="153" y="9"/>
                        </a:cubicBezTo>
                        <a:cubicBezTo>
                          <a:pt x="151" y="9"/>
                          <a:pt x="155" y="8"/>
                          <a:pt x="154" y="9"/>
                        </a:cubicBezTo>
                        <a:cubicBezTo>
                          <a:pt x="147" y="10"/>
                          <a:pt x="141" y="11"/>
                          <a:pt x="136" y="11"/>
                        </a:cubicBezTo>
                        <a:cubicBezTo>
                          <a:pt x="134" y="12"/>
                          <a:pt x="133" y="12"/>
                          <a:pt x="131" y="12"/>
                        </a:cubicBezTo>
                        <a:cubicBezTo>
                          <a:pt x="129" y="13"/>
                          <a:pt x="131" y="12"/>
                          <a:pt x="129" y="13"/>
                        </a:cubicBezTo>
                        <a:cubicBezTo>
                          <a:pt x="127" y="13"/>
                          <a:pt x="131" y="13"/>
                          <a:pt x="130" y="13"/>
                        </a:cubicBezTo>
                        <a:cubicBezTo>
                          <a:pt x="127" y="13"/>
                          <a:pt x="128" y="13"/>
                          <a:pt x="126" y="14"/>
                        </a:cubicBezTo>
                        <a:cubicBezTo>
                          <a:pt x="122" y="14"/>
                          <a:pt x="119" y="15"/>
                          <a:pt x="115" y="16"/>
                        </a:cubicBezTo>
                        <a:cubicBezTo>
                          <a:pt x="103" y="18"/>
                          <a:pt x="103" y="18"/>
                          <a:pt x="103" y="18"/>
                        </a:cubicBezTo>
                        <a:cubicBezTo>
                          <a:pt x="99" y="19"/>
                          <a:pt x="98" y="19"/>
                          <a:pt x="94" y="20"/>
                        </a:cubicBezTo>
                        <a:cubicBezTo>
                          <a:pt x="91" y="21"/>
                          <a:pt x="88" y="21"/>
                          <a:pt x="85" y="22"/>
                        </a:cubicBezTo>
                        <a:cubicBezTo>
                          <a:pt x="83" y="22"/>
                          <a:pt x="86" y="22"/>
                          <a:pt x="84" y="22"/>
                        </a:cubicBezTo>
                        <a:cubicBezTo>
                          <a:pt x="72" y="25"/>
                          <a:pt x="60" y="27"/>
                          <a:pt x="51" y="30"/>
                        </a:cubicBezTo>
                        <a:cubicBezTo>
                          <a:pt x="64" y="26"/>
                          <a:pt x="74" y="25"/>
                          <a:pt x="86" y="22"/>
                        </a:cubicBezTo>
                        <a:cubicBezTo>
                          <a:pt x="88" y="22"/>
                          <a:pt x="92" y="21"/>
                          <a:pt x="93" y="21"/>
                        </a:cubicBezTo>
                        <a:cubicBezTo>
                          <a:pt x="94" y="20"/>
                          <a:pt x="91" y="21"/>
                          <a:pt x="94" y="20"/>
                        </a:cubicBezTo>
                        <a:cubicBezTo>
                          <a:pt x="95" y="20"/>
                          <a:pt x="95" y="20"/>
                          <a:pt x="97" y="20"/>
                        </a:cubicBezTo>
                        <a:cubicBezTo>
                          <a:pt x="95" y="20"/>
                          <a:pt x="98" y="20"/>
                          <a:pt x="99" y="20"/>
                        </a:cubicBezTo>
                        <a:cubicBezTo>
                          <a:pt x="109" y="18"/>
                          <a:pt x="117" y="16"/>
                          <a:pt x="125" y="15"/>
                        </a:cubicBezTo>
                        <a:cubicBezTo>
                          <a:pt x="127" y="15"/>
                          <a:pt x="124" y="15"/>
                          <a:pt x="126" y="15"/>
                        </a:cubicBezTo>
                        <a:cubicBezTo>
                          <a:pt x="136" y="13"/>
                          <a:pt x="136" y="13"/>
                          <a:pt x="136" y="13"/>
                        </a:cubicBezTo>
                        <a:cubicBezTo>
                          <a:pt x="137" y="13"/>
                          <a:pt x="140" y="13"/>
                          <a:pt x="139" y="13"/>
                        </a:cubicBezTo>
                        <a:cubicBezTo>
                          <a:pt x="127" y="15"/>
                          <a:pt x="111" y="18"/>
                          <a:pt x="97" y="21"/>
                        </a:cubicBezTo>
                        <a:cubicBezTo>
                          <a:pt x="92" y="22"/>
                          <a:pt x="88" y="22"/>
                          <a:pt x="85" y="23"/>
                        </a:cubicBezTo>
                        <a:cubicBezTo>
                          <a:pt x="92" y="22"/>
                          <a:pt x="97" y="21"/>
                          <a:pt x="102" y="20"/>
                        </a:cubicBezTo>
                        <a:cubicBezTo>
                          <a:pt x="109" y="19"/>
                          <a:pt x="117" y="17"/>
                          <a:pt x="124" y="16"/>
                        </a:cubicBezTo>
                        <a:cubicBezTo>
                          <a:pt x="129" y="15"/>
                          <a:pt x="129" y="15"/>
                          <a:pt x="129" y="15"/>
                        </a:cubicBezTo>
                        <a:cubicBezTo>
                          <a:pt x="134" y="14"/>
                          <a:pt x="134" y="14"/>
                          <a:pt x="134" y="14"/>
                        </a:cubicBezTo>
                        <a:cubicBezTo>
                          <a:pt x="136" y="14"/>
                          <a:pt x="136" y="14"/>
                          <a:pt x="137" y="14"/>
                        </a:cubicBezTo>
                        <a:cubicBezTo>
                          <a:pt x="140" y="14"/>
                          <a:pt x="142" y="13"/>
                          <a:pt x="146" y="13"/>
                        </a:cubicBezTo>
                        <a:cubicBezTo>
                          <a:pt x="163" y="10"/>
                          <a:pt x="163" y="10"/>
                          <a:pt x="163" y="10"/>
                        </a:cubicBezTo>
                        <a:cubicBezTo>
                          <a:pt x="164" y="10"/>
                          <a:pt x="163" y="11"/>
                          <a:pt x="162" y="11"/>
                        </a:cubicBezTo>
                        <a:cubicBezTo>
                          <a:pt x="155" y="12"/>
                          <a:pt x="154" y="12"/>
                          <a:pt x="146" y="13"/>
                        </a:cubicBezTo>
                        <a:cubicBezTo>
                          <a:pt x="147" y="13"/>
                          <a:pt x="148" y="13"/>
                          <a:pt x="148" y="13"/>
                        </a:cubicBezTo>
                        <a:cubicBezTo>
                          <a:pt x="145" y="13"/>
                          <a:pt x="144" y="13"/>
                          <a:pt x="143" y="14"/>
                        </a:cubicBezTo>
                        <a:cubicBezTo>
                          <a:pt x="148" y="13"/>
                          <a:pt x="148" y="13"/>
                          <a:pt x="146" y="14"/>
                        </a:cubicBezTo>
                        <a:cubicBezTo>
                          <a:pt x="132" y="16"/>
                          <a:pt x="116" y="19"/>
                          <a:pt x="105" y="21"/>
                        </a:cubicBezTo>
                        <a:cubicBezTo>
                          <a:pt x="104" y="21"/>
                          <a:pt x="103" y="21"/>
                          <a:pt x="101" y="22"/>
                        </a:cubicBezTo>
                        <a:cubicBezTo>
                          <a:pt x="88" y="24"/>
                          <a:pt x="74" y="27"/>
                          <a:pt x="61" y="30"/>
                        </a:cubicBezTo>
                        <a:cubicBezTo>
                          <a:pt x="76" y="27"/>
                          <a:pt x="92" y="23"/>
                          <a:pt x="110" y="20"/>
                        </a:cubicBezTo>
                        <a:cubicBezTo>
                          <a:pt x="111" y="20"/>
                          <a:pt x="110" y="20"/>
                          <a:pt x="112" y="20"/>
                        </a:cubicBezTo>
                        <a:cubicBezTo>
                          <a:pt x="119" y="18"/>
                          <a:pt x="128" y="17"/>
                          <a:pt x="134" y="16"/>
                        </a:cubicBezTo>
                        <a:cubicBezTo>
                          <a:pt x="142" y="15"/>
                          <a:pt x="142" y="15"/>
                          <a:pt x="142" y="15"/>
                        </a:cubicBezTo>
                        <a:cubicBezTo>
                          <a:pt x="161" y="12"/>
                          <a:pt x="174" y="11"/>
                          <a:pt x="192" y="10"/>
                        </a:cubicBezTo>
                        <a:cubicBezTo>
                          <a:pt x="192" y="10"/>
                          <a:pt x="194" y="10"/>
                          <a:pt x="194" y="10"/>
                        </a:cubicBezTo>
                        <a:cubicBezTo>
                          <a:pt x="190" y="11"/>
                          <a:pt x="190" y="11"/>
                          <a:pt x="190" y="11"/>
                        </a:cubicBezTo>
                        <a:cubicBezTo>
                          <a:pt x="187" y="11"/>
                          <a:pt x="184" y="11"/>
                          <a:pt x="182" y="12"/>
                        </a:cubicBezTo>
                        <a:cubicBezTo>
                          <a:pt x="167" y="13"/>
                          <a:pt x="145" y="16"/>
                          <a:pt x="126" y="19"/>
                        </a:cubicBezTo>
                        <a:cubicBezTo>
                          <a:pt x="124" y="20"/>
                          <a:pt x="126" y="20"/>
                          <a:pt x="128" y="20"/>
                        </a:cubicBezTo>
                        <a:cubicBezTo>
                          <a:pt x="137" y="19"/>
                          <a:pt x="145" y="17"/>
                          <a:pt x="154" y="16"/>
                        </a:cubicBezTo>
                        <a:cubicBezTo>
                          <a:pt x="158" y="16"/>
                          <a:pt x="154" y="17"/>
                          <a:pt x="147" y="18"/>
                        </a:cubicBezTo>
                        <a:cubicBezTo>
                          <a:pt x="135" y="20"/>
                          <a:pt x="114" y="23"/>
                          <a:pt x="106" y="25"/>
                        </a:cubicBezTo>
                        <a:cubicBezTo>
                          <a:pt x="88" y="28"/>
                          <a:pt x="70" y="32"/>
                          <a:pt x="53" y="36"/>
                        </a:cubicBezTo>
                        <a:cubicBezTo>
                          <a:pt x="51" y="37"/>
                          <a:pt x="51" y="37"/>
                          <a:pt x="51" y="37"/>
                        </a:cubicBezTo>
                        <a:cubicBezTo>
                          <a:pt x="50" y="37"/>
                          <a:pt x="50" y="37"/>
                          <a:pt x="50" y="37"/>
                        </a:cubicBezTo>
                        <a:cubicBezTo>
                          <a:pt x="49" y="37"/>
                          <a:pt x="49" y="37"/>
                          <a:pt x="48" y="38"/>
                        </a:cubicBezTo>
                        <a:cubicBezTo>
                          <a:pt x="49" y="37"/>
                          <a:pt x="49" y="37"/>
                          <a:pt x="50" y="37"/>
                        </a:cubicBezTo>
                        <a:cubicBezTo>
                          <a:pt x="51" y="37"/>
                          <a:pt x="51" y="37"/>
                          <a:pt x="51" y="37"/>
                        </a:cubicBezTo>
                        <a:cubicBezTo>
                          <a:pt x="56" y="36"/>
                          <a:pt x="56" y="36"/>
                          <a:pt x="56" y="36"/>
                        </a:cubicBezTo>
                        <a:cubicBezTo>
                          <a:pt x="56" y="36"/>
                          <a:pt x="57" y="35"/>
                          <a:pt x="58" y="35"/>
                        </a:cubicBezTo>
                        <a:cubicBezTo>
                          <a:pt x="76" y="31"/>
                          <a:pt x="95" y="27"/>
                          <a:pt x="111" y="24"/>
                        </a:cubicBezTo>
                        <a:cubicBezTo>
                          <a:pt x="118" y="23"/>
                          <a:pt x="130" y="21"/>
                          <a:pt x="137" y="20"/>
                        </a:cubicBezTo>
                        <a:cubicBezTo>
                          <a:pt x="136" y="21"/>
                          <a:pt x="130" y="22"/>
                          <a:pt x="123" y="23"/>
                        </a:cubicBezTo>
                        <a:cubicBezTo>
                          <a:pt x="130" y="22"/>
                          <a:pt x="137" y="21"/>
                          <a:pt x="143" y="20"/>
                        </a:cubicBezTo>
                        <a:cubicBezTo>
                          <a:pt x="148" y="19"/>
                          <a:pt x="156" y="18"/>
                          <a:pt x="158" y="18"/>
                        </a:cubicBezTo>
                        <a:cubicBezTo>
                          <a:pt x="159" y="18"/>
                          <a:pt x="158" y="18"/>
                          <a:pt x="159" y="18"/>
                        </a:cubicBezTo>
                        <a:cubicBezTo>
                          <a:pt x="160" y="18"/>
                          <a:pt x="163" y="17"/>
                          <a:pt x="163" y="17"/>
                        </a:cubicBezTo>
                        <a:cubicBezTo>
                          <a:pt x="166" y="17"/>
                          <a:pt x="165" y="17"/>
                          <a:pt x="168" y="17"/>
                        </a:cubicBezTo>
                        <a:cubicBezTo>
                          <a:pt x="172" y="16"/>
                          <a:pt x="172" y="16"/>
                          <a:pt x="175" y="16"/>
                        </a:cubicBezTo>
                        <a:cubicBezTo>
                          <a:pt x="189" y="15"/>
                          <a:pt x="202" y="13"/>
                          <a:pt x="216" y="13"/>
                        </a:cubicBezTo>
                        <a:cubicBezTo>
                          <a:pt x="221" y="12"/>
                          <a:pt x="221" y="12"/>
                          <a:pt x="221" y="12"/>
                        </a:cubicBezTo>
                        <a:cubicBezTo>
                          <a:pt x="222" y="12"/>
                          <a:pt x="221" y="13"/>
                          <a:pt x="223" y="13"/>
                        </a:cubicBezTo>
                        <a:cubicBezTo>
                          <a:pt x="224" y="13"/>
                          <a:pt x="223" y="12"/>
                          <a:pt x="225" y="12"/>
                        </a:cubicBezTo>
                        <a:cubicBezTo>
                          <a:pt x="230" y="12"/>
                          <a:pt x="236" y="12"/>
                          <a:pt x="242" y="12"/>
                        </a:cubicBezTo>
                        <a:cubicBezTo>
                          <a:pt x="255" y="12"/>
                          <a:pt x="271" y="14"/>
                          <a:pt x="281" y="16"/>
                        </a:cubicBezTo>
                        <a:cubicBezTo>
                          <a:pt x="284" y="16"/>
                          <a:pt x="281" y="16"/>
                          <a:pt x="284" y="16"/>
                        </a:cubicBezTo>
                        <a:cubicBezTo>
                          <a:pt x="301" y="20"/>
                          <a:pt x="321" y="26"/>
                          <a:pt x="327" y="43"/>
                        </a:cubicBezTo>
                        <a:cubicBezTo>
                          <a:pt x="328" y="44"/>
                          <a:pt x="327" y="43"/>
                          <a:pt x="328" y="45"/>
                        </a:cubicBezTo>
                        <a:cubicBezTo>
                          <a:pt x="329" y="48"/>
                          <a:pt x="329" y="47"/>
                          <a:pt x="330" y="49"/>
                        </a:cubicBezTo>
                        <a:cubicBezTo>
                          <a:pt x="330" y="51"/>
                          <a:pt x="331" y="52"/>
                          <a:pt x="331" y="53"/>
                        </a:cubicBezTo>
                        <a:cubicBezTo>
                          <a:pt x="339" y="74"/>
                          <a:pt x="343" y="98"/>
                          <a:pt x="345" y="122"/>
                        </a:cubicBezTo>
                        <a:cubicBezTo>
                          <a:pt x="347" y="144"/>
                          <a:pt x="348" y="166"/>
                          <a:pt x="347" y="188"/>
                        </a:cubicBezTo>
                        <a:cubicBezTo>
                          <a:pt x="347" y="205"/>
                          <a:pt x="346" y="221"/>
                          <a:pt x="344" y="235"/>
                        </a:cubicBezTo>
                        <a:cubicBezTo>
                          <a:pt x="342" y="255"/>
                          <a:pt x="339" y="273"/>
                          <a:pt x="333" y="290"/>
                        </a:cubicBezTo>
                        <a:cubicBezTo>
                          <a:pt x="331" y="296"/>
                          <a:pt x="329" y="303"/>
                          <a:pt x="326" y="308"/>
                        </a:cubicBezTo>
                        <a:cubicBezTo>
                          <a:pt x="323" y="311"/>
                          <a:pt x="318" y="315"/>
                          <a:pt x="314" y="318"/>
                        </a:cubicBezTo>
                        <a:cubicBezTo>
                          <a:pt x="312" y="319"/>
                          <a:pt x="310" y="320"/>
                          <a:pt x="308" y="321"/>
                        </a:cubicBezTo>
                        <a:cubicBezTo>
                          <a:pt x="305" y="322"/>
                          <a:pt x="302" y="323"/>
                          <a:pt x="299" y="325"/>
                        </a:cubicBezTo>
                        <a:cubicBezTo>
                          <a:pt x="291" y="328"/>
                          <a:pt x="282" y="331"/>
                          <a:pt x="273" y="333"/>
                        </a:cubicBezTo>
                        <a:cubicBezTo>
                          <a:pt x="263" y="336"/>
                          <a:pt x="253" y="338"/>
                          <a:pt x="243" y="340"/>
                        </a:cubicBezTo>
                        <a:cubicBezTo>
                          <a:pt x="237" y="341"/>
                          <a:pt x="232" y="342"/>
                          <a:pt x="226" y="343"/>
                        </a:cubicBezTo>
                        <a:cubicBezTo>
                          <a:pt x="222" y="343"/>
                          <a:pt x="218" y="344"/>
                          <a:pt x="214" y="344"/>
                        </a:cubicBezTo>
                        <a:cubicBezTo>
                          <a:pt x="203" y="345"/>
                          <a:pt x="192" y="346"/>
                          <a:pt x="182" y="347"/>
                        </a:cubicBezTo>
                        <a:cubicBezTo>
                          <a:pt x="168" y="347"/>
                          <a:pt x="153" y="347"/>
                          <a:pt x="139" y="346"/>
                        </a:cubicBezTo>
                        <a:cubicBezTo>
                          <a:pt x="124" y="345"/>
                          <a:pt x="105" y="343"/>
                          <a:pt x="91" y="339"/>
                        </a:cubicBezTo>
                        <a:cubicBezTo>
                          <a:pt x="79" y="336"/>
                          <a:pt x="67" y="332"/>
                          <a:pt x="56" y="326"/>
                        </a:cubicBezTo>
                        <a:cubicBezTo>
                          <a:pt x="55" y="325"/>
                          <a:pt x="54" y="325"/>
                          <a:pt x="53" y="324"/>
                        </a:cubicBezTo>
                        <a:cubicBezTo>
                          <a:pt x="44" y="319"/>
                          <a:pt x="37" y="312"/>
                          <a:pt x="32" y="304"/>
                        </a:cubicBezTo>
                        <a:cubicBezTo>
                          <a:pt x="27" y="296"/>
                          <a:pt x="24" y="287"/>
                          <a:pt x="22" y="279"/>
                        </a:cubicBezTo>
                        <a:cubicBezTo>
                          <a:pt x="20" y="273"/>
                          <a:pt x="19" y="268"/>
                          <a:pt x="18" y="262"/>
                        </a:cubicBezTo>
                        <a:cubicBezTo>
                          <a:pt x="18" y="256"/>
                          <a:pt x="17" y="250"/>
                          <a:pt x="16" y="244"/>
                        </a:cubicBezTo>
                        <a:cubicBezTo>
                          <a:pt x="16" y="242"/>
                          <a:pt x="16" y="241"/>
                          <a:pt x="16" y="239"/>
                        </a:cubicBezTo>
                        <a:cubicBezTo>
                          <a:pt x="16" y="232"/>
                          <a:pt x="15" y="226"/>
                          <a:pt x="15" y="220"/>
                        </a:cubicBezTo>
                        <a:cubicBezTo>
                          <a:pt x="15" y="209"/>
                          <a:pt x="16" y="199"/>
                          <a:pt x="16" y="187"/>
                        </a:cubicBezTo>
                        <a:cubicBezTo>
                          <a:pt x="19" y="154"/>
                          <a:pt x="19" y="154"/>
                          <a:pt x="19" y="154"/>
                        </a:cubicBezTo>
                        <a:cubicBezTo>
                          <a:pt x="21" y="137"/>
                          <a:pt x="22" y="119"/>
                          <a:pt x="25" y="101"/>
                        </a:cubicBezTo>
                        <a:cubicBezTo>
                          <a:pt x="26" y="95"/>
                          <a:pt x="27" y="90"/>
                          <a:pt x="28" y="84"/>
                        </a:cubicBezTo>
                        <a:cubicBezTo>
                          <a:pt x="29" y="77"/>
                          <a:pt x="31" y="70"/>
                          <a:pt x="32" y="62"/>
                        </a:cubicBezTo>
                        <a:cubicBezTo>
                          <a:pt x="33" y="60"/>
                          <a:pt x="33" y="60"/>
                          <a:pt x="33" y="60"/>
                        </a:cubicBezTo>
                        <a:cubicBezTo>
                          <a:pt x="33" y="60"/>
                          <a:pt x="33" y="60"/>
                          <a:pt x="33" y="60"/>
                        </a:cubicBezTo>
                        <a:cubicBezTo>
                          <a:pt x="33" y="59"/>
                          <a:pt x="33" y="59"/>
                          <a:pt x="33" y="59"/>
                        </a:cubicBezTo>
                        <a:cubicBezTo>
                          <a:pt x="33" y="58"/>
                          <a:pt x="33" y="58"/>
                          <a:pt x="33" y="58"/>
                        </a:cubicBezTo>
                        <a:cubicBezTo>
                          <a:pt x="33" y="58"/>
                          <a:pt x="33" y="57"/>
                          <a:pt x="34" y="56"/>
                        </a:cubicBezTo>
                        <a:cubicBezTo>
                          <a:pt x="35" y="56"/>
                          <a:pt x="34" y="55"/>
                          <a:pt x="34" y="55"/>
                        </a:cubicBezTo>
                        <a:cubicBezTo>
                          <a:pt x="34" y="54"/>
                          <a:pt x="34" y="54"/>
                          <a:pt x="35" y="54"/>
                        </a:cubicBezTo>
                        <a:cubicBezTo>
                          <a:pt x="35" y="54"/>
                          <a:pt x="35" y="54"/>
                          <a:pt x="35" y="53"/>
                        </a:cubicBezTo>
                        <a:cubicBezTo>
                          <a:pt x="35" y="53"/>
                          <a:pt x="36" y="53"/>
                          <a:pt x="36" y="52"/>
                        </a:cubicBezTo>
                        <a:cubicBezTo>
                          <a:pt x="36" y="52"/>
                          <a:pt x="36" y="52"/>
                          <a:pt x="36" y="52"/>
                        </a:cubicBezTo>
                        <a:cubicBezTo>
                          <a:pt x="36" y="51"/>
                          <a:pt x="36" y="51"/>
                          <a:pt x="36" y="50"/>
                        </a:cubicBezTo>
                        <a:cubicBezTo>
                          <a:pt x="36" y="50"/>
                          <a:pt x="36" y="49"/>
                          <a:pt x="36" y="49"/>
                        </a:cubicBezTo>
                        <a:cubicBezTo>
                          <a:pt x="36" y="48"/>
                          <a:pt x="36" y="48"/>
                          <a:pt x="36" y="48"/>
                        </a:cubicBezTo>
                        <a:cubicBezTo>
                          <a:pt x="36" y="47"/>
                          <a:pt x="36" y="47"/>
                          <a:pt x="36" y="46"/>
                        </a:cubicBezTo>
                        <a:cubicBezTo>
                          <a:pt x="36" y="46"/>
                          <a:pt x="35" y="45"/>
                          <a:pt x="35" y="45"/>
                        </a:cubicBezTo>
                        <a:cubicBezTo>
                          <a:pt x="35" y="45"/>
                          <a:pt x="35" y="45"/>
                          <a:pt x="35" y="44"/>
                        </a:cubicBezTo>
                        <a:cubicBezTo>
                          <a:pt x="35" y="43"/>
                          <a:pt x="34" y="42"/>
                          <a:pt x="33" y="41"/>
                        </a:cubicBezTo>
                        <a:cubicBezTo>
                          <a:pt x="33" y="41"/>
                          <a:pt x="33" y="41"/>
                          <a:pt x="32" y="40"/>
                        </a:cubicBezTo>
                        <a:cubicBezTo>
                          <a:pt x="32" y="40"/>
                          <a:pt x="32" y="40"/>
                          <a:pt x="32" y="40"/>
                        </a:cubicBezTo>
                        <a:cubicBezTo>
                          <a:pt x="32" y="40"/>
                          <a:pt x="31" y="40"/>
                          <a:pt x="30" y="39"/>
                        </a:cubicBezTo>
                        <a:cubicBezTo>
                          <a:pt x="30" y="39"/>
                          <a:pt x="30" y="39"/>
                          <a:pt x="30" y="39"/>
                        </a:cubicBezTo>
                        <a:cubicBezTo>
                          <a:pt x="29" y="39"/>
                          <a:pt x="28" y="39"/>
                          <a:pt x="27" y="38"/>
                        </a:cubicBezTo>
                        <a:cubicBezTo>
                          <a:pt x="26" y="39"/>
                          <a:pt x="26" y="38"/>
                          <a:pt x="25" y="39"/>
                        </a:cubicBezTo>
                        <a:cubicBezTo>
                          <a:pt x="25" y="39"/>
                          <a:pt x="25" y="39"/>
                          <a:pt x="24" y="39"/>
                        </a:cubicBezTo>
                        <a:cubicBezTo>
                          <a:pt x="24" y="39"/>
                          <a:pt x="24" y="39"/>
                          <a:pt x="23" y="40"/>
                        </a:cubicBezTo>
                        <a:cubicBezTo>
                          <a:pt x="23" y="39"/>
                          <a:pt x="23" y="40"/>
                          <a:pt x="22" y="40"/>
                        </a:cubicBezTo>
                        <a:cubicBezTo>
                          <a:pt x="22" y="40"/>
                          <a:pt x="22" y="40"/>
                          <a:pt x="21" y="41"/>
                        </a:cubicBezTo>
                        <a:cubicBezTo>
                          <a:pt x="21" y="41"/>
                          <a:pt x="21" y="41"/>
                          <a:pt x="21" y="41"/>
                        </a:cubicBezTo>
                        <a:cubicBezTo>
                          <a:pt x="20" y="41"/>
                          <a:pt x="19" y="42"/>
                          <a:pt x="19" y="43"/>
                        </a:cubicBezTo>
                        <a:cubicBezTo>
                          <a:pt x="19" y="43"/>
                          <a:pt x="19" y="43"/>
                          <a:pt x="19" y="43"/>
                        </a:cubicBezTo>
                        <a:cubicBezTo>
                          <a:pt x="19" y="44"/>
                          <a:pt x="18" y="45"/>
                          <a:pt x="18" y="46"/>
                        </a:cubicBezTo>
                        <a:cubicBezTo>
                          <a:pt x="18" y="46"/>
                          <a:pt x="18" y="46"/>
                          <a:pt x="18" y="46"/>
                        </a:cubicBezTo>
                        <a:cubicBezTo>
                          <a:pt x="17" y="46"/>
                          <a:pt x="17" y="46"/>
                          <a:pt x="17" y="47"/>
                        </a:cubicBezTo>
                        <a:cubicBezTo>
                          <a:pt x="17" y="47"/>
                          <a:pt x="17" y="47"/>
                          <a:pt x="17" y="48"/>
                        </a:cubicBezTo>
                        <a:cubicBezTo>
                          <a:pt x="17" y="48"/>
                          <a:pt x="17" y="48"/>
                          <a:pt x="17" y="49"/>
                        </a:cubicBezTo>
                        <a:cubicBezTo>
                          <a:pt x="17" y="49"/>
                          <a:pt x="17" y="49"/>
                          <a:pt x="17" y="49"/>
                        </a:cubicBezTo>
                        <a:cubicBezTo>
                          <a:pt x="17" y="50"/>
                          <a:pt x="17" y="51"/>
                          <a:pt x="16" y="51"/>
                        </a:cubicBezTo>
                        <a:cubicBezTo>
                          <a:pt x="16" y="51"/>
                          <a:pt x="16" y="51"/>
                          <a:pt x="16" y="52"/>
                        </a:cubicBezTo>
                        <a:cubicBezTo>
                          <a:pt x="16" y="52"/>
                          <a:pt x="16" y="52"/>
                          <a:pt x="17" y="52"/>
                        </a:cubicBezTo>
                        <a:cubicBezTo>
                          <a:pt x="17" y="53"/>
                          <a:pt x="16" y="54"/>
                          <a:pt x="17" y="55"/>
                        </a:cubicBezTo>
                        <a:cubicBezTo>
                          <a:pt x="16" y="56"/>
                          <a:pt x="16" y="56"/>
                          <a:pt x="16" y="56"/>
                        </a:cubicBezTo>
                        <a:cubicBezTo>
                          <a:pt x="16" y="57"/>
                          <a:pt x="16" y="57"/>
                          <a:pt x="16" y="57"/>
                        </a:cubicBezTo>
                        <a:cubicBezTo>
                          <a:pt x="16" y="57"/>
                          <a:pt x="16" y="57"/>
                          <a:pt x="16" y="57"/>
                        </a:cubicBezTo>
                        <a:cubicBezTo>
                          <a:pt x="16" y="58"/>
                          <a:pt x="16" y="58"/>
                          <a:pt x="16" y="58"/>
                        </a:cubicBezTo>
                        <a:cubicBezTo>
                          <a:pt x="15" y="65"/>
                          <a:pt x="15" y="65"/>
                          <a:pt x="15" y="65"/>
                        </a:cubicBezTo>
                        <a:cubicBezTo>
                          <a:pt x="14" y="71"/>
                          <a:pt x="14" y="71"/>
                          <a:pt x="14" y="71"/>
                        </a:cubicBezTo>
                        <a:cubicBezTo>
                          <a:pt x="13" y="74"/>
                          <a:pt x="13" y="78"/>
                          <a:pt x="12" y="82"/>
                        </a:cubicBezTo>
                        <a:cubicBezTo>
                          <a:pt x="11" y="89"/>
                          <a:pt x="10" y="95"/>
                          <a:pt x="9" y="101"/>
                        </a:cubicBezTo>
                        <a:cubicBezTo>
                          <a:pt x="8" y="110"/>
                          <a:pt x="7" y="116"/>
                          <a:pt x="6" y="124"/>
                        </a:cubicBezTo>
                        <a:cubicBezTo>
                          <a:pt x="5" y="132"/>
                          <a:pt x="5" y="132"/>
                          <a:pt x="5" y="132"/>
                        </a:cubicBezTo>
                        <a:cubicBezTo>
                          <a:pt x="4" y="140"/>
                          <a:pt x="4" y="140"/>
                          <a:pt x="4" y="140"/>
                        </a:cubicBezTo>
                        <a:cubicBezTo>
                          <a:pt x="3" y="149"/>
                          <a:pt x="3" y="149"/>
                          <a:pt x="3" y="149"/>
                        </a:cubicBezTo>
                        <a:cubicBezTo>
                          <a:pt x="3" y="154"/>
                          <a:pt x="3" y="154"/>
                          <a:pt x="3" y="154"/>
                        </a:cubicBezTo>
                        <a:cubicBezTo>
                          <a:pt x="3" y="156"/>
                          <a:pt x="2" y="158"/>
                          <a:pt x="2" y="160"/>
                        </a:cubicBezTo>
                        <a:cubicBezTo>
                          <a:pt x="2" y="168"/>
                          <a:pt x="2" y="168"/>
                          <a:pt x="2" y="168"/>
                        </a:cubicBezTo>
                        <a:cubicBezTo>
                          <a:pt x="1" y="177"/>
                          <a:pt x="0" y="187"/>
                          <a:pt x="0" y="195"/>
                        </a:cubicBezTo>
                        <a:cubicBezTo>
                          <a:pt x="0" y="211"/>
                          <a:pt x="0" y="225"/>
                          <a:pt x="1" y="243"/>
                        </a:cubicBezTo>
                        <a:cubicBezTo>
                          <a:pt x="2" y="256"/>
                          <a:pt x="2" y="256"/>
                          <a:pt x="2" y="256"/>
                        </a:cubicBezTo>
                        <a:cubicBezTo>
                          <a:pt x="2" y="257"/>
                          <a:pt x="2" y="257"/>
                          <a:pt x="3" y="259"/>
                        </a:cubicBezTo>
                        <a:cubicBezTo>
                          <a:pt x="4" y="269"/>
                          <a:pt x="6" y="279"/>
                          <a:pt x="9" y="289"/>
                        </a:cubicBezTo>
                        <a:cubicBezTo>
                          <a:pt x="9" y="289"/>
                          <a:pt x="9" y="290"/>
                          <a:pt x="9" y="290"/>
                        </a:cubicBezTo>
                        <a:cubicBezTo>
                          <a:pt x="11" y="297"/>
                          <a:pt x="14" y="305"/>
                          <a:pt x="19" y="312"/>
                        </a:cubicBezTo>
                        <a:cubicBezTo>
                          <a:pt x="23" y="319"/>
                          <a:pt x="29" y="324"/>
                          <a:pt x="33" y="328"/>
                        </a:cubicBezTo>
                        <a:cubicBezTo>
                          <a:pt x="40" y="334"/>
                          <a:pt x="49" y="339"/>
                          <a:pt x="59" y="344"/>
                        </a:cubicBezTo>
                        <a:cubicBezTo>
                          <a:pt x="63" y="346"/>
                          <a:pt x="68" y="348"/>
                          <a:pt x="72" y="349"/>
                        </a:cubicBezTo>
                        <a:cubicBezTo>
                          <a:pt x="81" y="352"/>
                          <a:pt x="93" y="355"/>
                          <a:pt x="101" y="356"/>
                        </a:cubicBezTo>
                        <a:cubicBezTo>
                          <a:pt x="104" y="357"/>
                          <a:pt x="106" y="357"/>
                          <a:pt x="109" y="357"/>
                        </a:cubicBezTo>
                        <a:cubicBezTo>
                          <a:pt x="113" y="358"/>
                          <a:pt x="118" y="359"/>
                          <a:pt x="123" y="359"/>
                        </a:cubicBezTo>
                        <a:cubicBezTo>
                          <a:pt x="141" y="361"/>
                          <a:pt x="163" y="362"/>
                          <a:pt x="179" y="361"/>
                        </a:cubicBezTo>
                        <a:cubicBezTo>
                          <a:pt x="184" y="361"/>
                          <a:pt x="188" y="361"/>
                          <a:pt x="194" y="360"/>
                        </a:cubicBezTo>
                        <a:cubicBezTo>
                          <a:pt x="203" y="359"/>
                          <a:pt x="213" y="359"/>
                          <a:pt x="222" y="358"/>
                        </a:cubicBezTo>
                        <a:cubicBezTo>
                          <a:pt x="229" y="357"/>
                          <a:pt x="229" y="357"/>
                          <a:pt x="229" y="357"/>
                        </a:cubicBezTo>
                        <a:cubicBezTo>
                          <a:pt x="234" y="356"/>
                          <a:pt x="240" y="355"/>
                          <a:pt x="245" y="354"/>
                        </a:cubicBezTo>
                        <a:cubicBezTo>
                          <a:pt x="260" y="351"/>
                          <a:pt x="274" y="348"/>
                          <a:pt x="287" y="344"/>
                        </a:cubicBezTo>
                        <a:cubicBezTo>
                          <a:pt x="295" y="341"/>
                          <a:pt x="306" y="338"/>
                          <a:pt x="316" y="333"/>
                        </a:cubicBezTo>
                        <a:cubicBezTo>
                          <a:pt x="321" y="330"/>
                          <a:pt x="326" y="327"/>
                          <a:pt x="331" y="323"/>
                        </a:cubicBezTo>
                        <a:cubicBezTo>
                          <a:pt x="333" y="321"/>
                          <a:pt x="335" y="319"/>
                          <a:pt x="337" y="316"/>
                        </a:cubicBezTo>
                        <a:cubicBezTo>
                          <a:pt x="339" y="313"/>
                          <a:pt x="340" y="311"/>
                          <a:pt x="341" y="308"/>
                        </a:cubicBezTo>
                        <a:cubicBezTo>
                          <a:pt x="343" y="304"/>
                          <a:pt x="345" y="300"/>
                          <a:pt x="347" y="295"/>
                        </a:cubicBezTo>
                        <a:cubicBezTo>
                          <a:pt x="351" y="281"/>
                          <a:pt x="354" y="263"/>
                          <a:pt x="357" y="248"/>
                        </a:cubicBezTo>
                        <a:cubicBezTo>
                          <a:pt x="361" y="216"/>
                          <a:pt x="362" y="184"/>
                          <a:pt x="361" y="152"/>
                        </a:cubicBezTo>
                        <a:close/>
                      </a:path>
                    </a:pathLst>
                  </a:custGeom>
                  <a:solidFill>
                    <a:srgbClr val="FF0000"/>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57" name="Rectangle 56"/>
                  <p:cNvSpPr/>
                  <p:nvPr/>
                </p:nvSpPr>
                <p:spPr>
                  <a:xfrm>
                    <a:off x="2857488" y="2071678"/>
                    <a:ext cx="1332416" cy="1015663"/>
                  </a:xfrm>
                  <a:prstGeom prst="rect">
                    <a:avLst/>
                  </a:prstGeom>
                </p:spPr>
                <p:txBody>
                  <a:bodyPr wrap="none">
                    <a:spAutoFit/>
                  </a:bodyPr>
                  <a:lstStyle/>
                  <a:p>
                    <a:pPr algn="ctr">
                      <a:defRPr/>
                    </a:pPr>
                    <a:r>
                      <a:rPr lang="de-DE" sz="6000" b="1" kern="0" noProof="1" smtClean="0">
                        <a:solidFill>
                          <a:srgbClr val="000000"/>
                        </a:solidFill>
                        <a:latin typeface="Bradley Hand ITC" pitchFamily="66" charset="0"/>
                        <a:ea typeface="ＭＳ Ｐゴシック" pitchFamily="-97" charset="-128"/>
                      </a:rPr>
                      <a:t>Pp1</a:t>
                    </a:r>
                    <a:endParaRPr lang="de-DE" sz="6000" b="1" kern="0" noProof="1">
                      <a:solidFill>
                        <a:srgbClr val="000000"/>
                      </a:solidFill>
                      <a:latin typeface="Bradley Hand ITC" pitchFamily="66" charset="0"/>
                      <a:ea typeface="ＭＳ Ｐゴシック" pitchFamily="-97" charset="-128"/>
                    </a:endParaRPr>
                  </a:p>
                </p:txBody>
              </p:sp>
            </p:grpSp>
            <p:sp>
              <p:nvSpPr>
                <p:cNvPr id="63" name="Freeform 6"/>
                <p:cNvSpPr>
                  <a:spLocks noEditPoints="1"/>
                </p:cNvSpPr>
                <p:nvPr/>
              </p:nvSpPr>
              <p:spPr bwMode="auto">
                <a:xfrm flipV="1">
                  <a:off x="1210436" y="2108786"/>
                  <a:ext cx="1643438" cy="1140595"/>
                </a:xfrm>
                <a:custGeom>
                  <a:avLst/>
                  <a:gdLst>
                    <a:gd name="T0" fmla="*/ 38 w 760"/>
                    <a:gd name="T1" fmla="*/ 89 h 677"/>
                    <a:gd name="T2" fmla="*/ 158 w 760"/>
                    <a:gd name="T3" fmla="*/ 77 h 677"/>
                    <a:gd name="T4" fmla="*/ 163 w 760"/>
                    <a:gd name="T5" fmla="*/ 95 h 677"/>
                    <a:gd name="T6" fmla="*/ 165 w 760"/>
                    <a:gd name="T7" fmla="*/ 105 h 677"/>
                    <a:gd name="T8" fmla="*/ 163 w 760"/>
                    <a:gd name="T9" fmla="*/ 154 h 677"/>
                    <a:gd name="T10" fmla="*/ 373 w 760"/>
                    <a:gd name="T11" fmla="*/ 627 h 677"/>
                    <a:gd name="T12" fmla="*/ 220 w 760"/>
                    <a:gd name="T13" fmla="*/ 622 h 677"/>
                    <a:gd name="T14" fmla="*/ 124 w 760"/>
                    <a:gd name="T15" fmla="*/ 320 h 677"/>
                    <a:gd name="T16" fmla="*/ 124 w 760"/>
                    <a:gd name="T17" fmla="*/ 132 h 677"/>
                    <a:gd name="T18" fmla="*/ 752 w 760"/>
                    <a:gd name="T19" fmla="*/ 643 h 677"/>
                    <a:gd name="T20" fmla="*/ 753 w 760"/>
                    <a:gd name="T21" fmla="*/ 645 h 677"/>
                    <a:gd name="T22" fmla="*/ 750 w 760"/>
                    <a:gd name="T23" fmla="*/ 644 h 677"/>
                    <a:gd name="T24" fmla="*/ 737 w 760"/>
                    <a:gd name="T25" fmla="*/ 636 h 677"/>
                    <a:gd name="T26" fmla="*/ 700 w 760"/>
                    <a:gd name="T27" fmla="*/ 632 h 677"/>
                    <a:gd name="T28" fmla="*/ 632 w 760"/>
                    <a:gd name="T29" fmla="*/ 637 h 677"/>
                    <a:gd name="T30" fmla="*/ 586 w 760"/>
                    <a:gd name="T31" fmla="*/ 635 h 677"/>
                    <a:gd name="T32" fmla="*/ 575 w 760"/>
                    <a:gd name="T33" fmla="*/ 634 h 677"/>
                    <a:gd name="T34" fmla="*/ 467 w 760"/>
                    <a:gd name="T35" fmla="*/ 628 h 677"/>
                    <a:gd name="T36" fmla="*/ 430 w 760"/>
                    <a:gd name="T37" fmla="*/ 632 h 677"/>
                    <a:gd name="T38" fmla="*/ 369 w 760"/>
                    <a:gd name="T39" fmla="*/ 633 h 677"/>
                    <a:gd name="T40" fmla="*/ 327 w 760"/>
                    <a:gd name="T41" fmla="*/ 632 h 677"/>
                    <a:gd name="T42" fmla="*/ 276 w 760"/>
                    <a:gd name="T43" fmla="*/ 628 h 677"/>
                    <a:gd name="T44" fmla="*/ 253 w 760"/>
                    <a:gd name="T45" fmla="*/ 625 h 677"/>
                    <a:gd name="T46" fmla="*/ 217 w 760"/>
                    <a:gd name="T47" fmla="*/ 621 h 677"/>
                    <a:gd name="T48" fmla="*/ 173 w 760"/>
                    <a:gd name="T49" fmla="*/ 607 h 677"/>
                    <a:gd name="T50" fmla="*/ 131 w 760"/>
                    <a:gd name="T51" fmla="*/ 479 h 677"/>
                    <a:gd name="T52" fmla="*/ 128 w 760"/>
                    <a:gd name="T53" fmla="*/ 414 h 677"/>
                    <a:gd name="T54" fmla="*/ 125 w 760"/>
                    <a:gd name="T55" fmla="*/ 224 h 677"/>
                    <a:gd name="T56" fmla="*/ 123 w 760"/>
                    <a:gd name="T57" fmla="*/ 102 h 677"/>
                    <a:gd name="T58" fmla="*/ 153 w 760"/>
                    <a:gd name="T59" fmla="*/ 149 h 677"/>
                    <a:gd name="T60" fmla="*/ 165 w 760"/>
                    <a:gd name="T61" fmla="*/ 153 h 677"/>
                    <a:gd name="T62" fmla="*/ 175 w 760"/>
                    <a:gd name="T63" fmla="*/ 142 h 677"/>
                    <a:gd name="T64" fmla="*/ 176 w 760"/>
                    <a:gd name="T65" fmla="*/ 125 h 677"/>
                    <a:gd name="T66" fmla="*/ 172 w 760"/>
                    <a:gd name="T67" fmla="*/ 110 h 677"/>
                    <a:gd name="T68" fmla="*/ 160 w 760"/>
                    <a:gd name="T69" fmla="*/ 105 h 677"/>
                    <a:gd name="T70" fmla="*/ 163 w 760"/>
                    <a:gd name="T71" fmla="*/ 95 h 677"/>
                    <a:gd name="T72" fmla="*/ 161 w 760"/>
                    <a:gd name="T73" fmla="*/ 89 h 677"/>
                    <a:gd name="T74" fmla="*/ 155 w 760"/>
                    <a:gd name="T75" fmla="*/ 68 h 677"/>
                    <a:gd name="T76" fmla="*/ 151 w 760"/>
                    <a:gd name="T77" fmla="*/ 63 h 677"/>
                    <a:gd name="T78" fmla="*/ 138 w 760"/>
                    <a:gd name="T79" fmla="*/ 45 h 677"/>
                    <a:gd name="T80" fmla="*/ 131 w 760"/>
                    <a:gd name="T81" fmla="*/ 32 h 677"/>
                    <a:gd name="T82" fmla="*/ 124 w 760"/>
                    <a:gd name="T83" fmla="*/ 16 h 677"/>
                    <a:gd name="T84" fmla="*/ 121 w 760"/>
                    <a:gd name="T85" fmla="*/ 4 h 677"/>
                    <a:gd name="T86" fmla="*/ 113 w 760"/>
                    <a:gd name="T87" fmla="*/ 19 h 677"/>
                    <a:gd name="T88" fmla="*/ 107 w 760"/>
                    <a:gd name="T89" fmla="*/ 25 h 677"/>
                    <a:gd name="T90" fmla="*/ 77 w 760"/>
                    <a:gd name="T91" fmla="*/ 49 h 677"/>
                    <a:gd name="T92" fmla="*/ 55 w 760"/>
                    <a:gd name="T93" fmla="*/ 72 h 677"/>
                    <a:gd name="T94" fmla="*/ 39 w 760"/>
                    <a:gd name="T95" fmla="*/ 89 h 677"/>
                    <a:gd name="T96" fmla="*/ 14 w 760"/>
                    <a:gd name="T97" fmla="*/ 106 h 677"/>
                    <a:gd name="T98" fmla="*/ 20 w 760"/>
                    <a:gd name="T99" fmla="*/ 148 h 677"/>
                    <a:gd name="T100" fmla="*/ 87 w 760"/>
                    <a:gd name="T101" fmla="*/ 101 h 677"/>
                    <a:gd name="T102" fmla="*/ 96 w 760"/>
                    <a:gd name="T103" fmla="*/ 523 h 677"/>
                    <a:gd name="T104" fmla="*/ 214 w 760"/>
                    <a:gd name="T105" fmla="*/ 661 h 677"/>
                    <a:gd name="T106" fmla="*/ 587 w 760"/>
                    <a:gd name="T107" fmla="*/ 673 h 677"/>
                    <a:gd name="T108" fmla="*/ 747 w 760"/>
                    <a:gd name="T109" fmla="*/ 665 h 677"/>
                    <a:gd name="T110" fmla="*/ 756 w 760"/>
                    <a:gd name="T111" fmla="*/ 658 h 677"/>
                    <a:gd name="T112" fmla="*/ 632 w 760"/>
                    <a:gd name="T113" fmla="*/ 637 h 677"/>
                    <a:gd name="T114" fmla="*/ 753 w 760"/>
                    <a:gd name="T115" fmla="*/ 645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0" h="677">
                      <a:moveTo>
                        <a:pt x="144" y="39"/>
                      </a:moveTo>
                      <a:cubicBezTo>
                        <a:pt x="144" y="39"/>
                        <a:pt x="144" y="40"/>
                        <a:pt x="143" y="40"/>
                      </a:cubicBezTo>
                      <a:cubicBezTo>
                        <a:pt x="143" y="40"/>
                        <a:pt x="143" y="40"/>
                        <a:pt x="143" y="40"/>
                      </a:cubicBezTo>
                      <a:lnTo>
                        <a:pt x="144" y="39"/>
                      </a:lnTo>
                      <a:close/>
                      <a:moveTo>
                        <a:pt x="153" y="65"/>
                      </a:moveTo>
                      <a:cubicBezTo>
                        <a:pt x="153" y="65"/>
                        <a:pt x="153" y="65"/>
                        <a:pt x="153" y="65"/>
                      </a:cubicBezTo>
                      <a:cubicBezTo>
                        <a:pt x="153" y="65"/>
                        <a:pt x="153" y="64"/>
                        <a:pt x="153" y="65"/>
                      </a:cubicBezTo>
                      <a:close/>
                      <a:moveTo>
                        <a:pt x="38" y="89"/>
                      </a:moveTo>
                      <a:cubicBezTo>
                        <a:pt x="38" y="89"/>
                        <a:pt x="38" y="89"/>
                        <a:pt x="38" y="89"/>
                      </a:cubicBezTo>
                      <a:cubicBezTo>
                        <a:pt x="38" y="89"/>
                        <a:pt x="38" y="89"/>
                        <a:pt x="38" y="89"/>
                      </a:cubicBezTo>
                      <a:close/>
                      <a:moveTo>
                        <a:pt x="38" y="89"/>
                      </a:moveTo>
                      <a:cubicBezTo>
                        <a:pt x="39" y="90"/>
                        <a:pt x="39" y="90"/>
                        <a:pt x="39" y="89"/>
                      </a:cubicBezTo>
                      <a:cubicBezTo>
                        <a:pt x="38" y="88"/>
                        <a:pt x="38" y="89"/>
                        <a:pt x="38" y="88"/>
                      </a:cubicBezTo>
                      <a:cubicBezTo>
                        <a:pt x="38" y="89"/>
                        <a:pt x="38" y="89"/>
                        <a:pt x="38" y="89"/>
                      </a:cubicBezTo>
                      <a:close/>
                      <a:moveTo>
                        <a:pt x="159" y="76"/>
                      </a:moveTo>
                      <a:cubicBezTo>
                        <a:pt x="158" y="77"/>
                        <a:pt x="158" y="77"/>
                        <a:pt x="158" y="77"/>
                      </a:cubicBezTo>
                      <a:cubicBezTo>
                        <a:pt x="158" y="77"/>
                        <a:pt x="158" y="77"/>
                        <a:pt x="158" y="77"/>
                      </a:cubicBezTo>
                      <a:lnTo>
                        <a:pt x="159" y="76"/>
                      </a:lnTo>
                      <a:close/>
                      <a:moveTo>
                        <a:pt x="175" y="142"/>
                      </a:moveTo>
                      <a:cubicBezTo>
                        <a:pt x="174" y="143"/>
                        <a:pt x="174" y="143"/>
                        <a:pt x="174" y="143"/>
                      </a:cubicBezTo>
                      <a:cubicBezTo>
                        <a:pt x="174" y="143"/>
                        <a:pt x="175" y="143"/>
                        <a:pt x="175" y="143"/>
                      </a:cubicBezTo>
                      <a:lnTo>
                        <a:pt x="175" y="142"/>
                      </a:lnTo>
                      <a:close/>
                      <a:moveTo>
                        <a:pt x="163" y="95"/>
                      </a:moveTo>
                      <a:cubicBezTo>
                        <a:pt x="163" y="95"/>
                        <a:pt x="163" y="95"/>
                        <a:pt x="163" y="95"/>
                      </a:cubicBezTo>
                      <a:cubicBezTo>
                        <a:pt x="163" y="94"/>
                        <a:pt x="163" y="93"/>
                        <a:pt x="162" y="93"/>
                      </a:cubicBezTo>
                      <a:cubicBezTo>
                        <a:pt x="161" y="93"/>
                        <a:pt x="161" y="93"/>
                        <a:pt x="161" y="93"/>
                      </a:cubicBezTo>
                      <a:lnTo>
                        <a:pt x="163" y="95"/>
                      </a:lnTo>
                      <a:close/>
                      <a:moveTo>
                        <a:pt x="157" y="150"/>
                      </a:moveTo>
                      <a:cubicBezTo>
                        <a:pt x="157" y="150"/>
                        <a:pt x="157" y="150"/>
                        <a:pt x="157" y="150"/>
                      </a:cubicBezTo>
                      <a:cubicBezTo>
                        <a:pt x="156" y="151"/>
                        <a:pt x="156" y="150"/>
                        <a:pt x="157" y="150"/>
                      </a:cubicBezTo>
                      <a:close/>
                      <a:moveTo>
                        <a:pt x="165" y="105"/>
                      </a:moveTo>
                      <a:cubicBezTo>
                        <a:pt x="165" y="105"/>
                        <a:pt x="165" y="105"/>
                        <a:pt x="165" y="105"/>
                      </a:cubicBezTo>
                      <a:cubicBezTo>
                        <a:pt x="166" y="104"/>
                        <a:pt x="166" y="104"/>
                        <a:pt x="166" y="104"/>
                      </a:cubicBezTo>
                      <a:lnTo>
                        <a:pt x="165" y="105"/>
                      </a:lnTo>
                      <a:close/>
                      <a:moveTo>
                        <a:pt x="177" y="123"/>
                      </a:moveTo>
                      <a:cubicBezTo>
                        <a:pt x="177" y="122"/>
                        <a:pt x="177" y="122"/>
                        <a:pt x="176" y="123"/>
                      </a:cubicBezTo>
                      <a:cubicBezTo>
                        <a:pt x="177" y="123"/>
                        <a:pt x="177" y="123"/>
                        <a:pt x="177" y="123"/>
                      </a:cubicBezTo>
                      <a:close/>
                      <a:moveTo>
                        <a:pt x="163" y="155"/>
                      </a:moveTo>
                      <a:cubicBezTo>
                        <a:pt x="163" y="155"/>
                        <a:pt x="164" y="155"/>
                        <a:pt x="164" y="154"/>
                      </a:cubicBezTo>
                      <a:cubicBezTo>
                        <a:pt x="163" y="154"/>
                        <a:pt x="163" y="154"/>
                        <a:pt x="163" y="154"/>
                      </a:cubicBezTo>
                      <a:cubicBezTo>
                        <a:pt x="163" y="154"/>
                        <a:pt x="163" y="155"/>
                        <a:pt x="163" y="155"/>
                      </a:cubicBezTo>
                      <a:close/>
                      <a:moveTo>
                        <a:pt x="175" y="145"/>
                      </a:moveTo>
                      <a:cubicBezTo>
                        <a:pt x="175" y="144"/>
                        <a:pt x="175" y="144"/>
                        <a:pt x="175" y="144"/>
                      </a:cubicBezTo>
                      <a:cubicBezTo>
                        <a:pt x="175" y="144"/>
                        <a:pt x="175" y="145"/>
                        <a:pt x="175" y="145"/>
                      </a:cubicBezTo>
                      <a:close/>
                      <a:moveTo>
                        <a:pt x="130" y="440"/>
                      </a:moveTo>
                      <a:cubicBezTo>
                        <a:pt x="130" y="439"/>
                        <a:pt x="129" y="439"/>
                        <a:pt x="130" y="440"/>
                      </a:cubicBezTo>
                      <a:close/>
                      <a:moveTo>
                        <a:pt x="373" y="627"/>
                      </a:moveTo>
                      <a:cubicBezTo>
                        <a:pt x="373" y="627"/>
                        <a:pt x="373" y="627"/>
                        <a:pt x="373" y="627"/>
                      </a:cubicBezTo>
                      <a:cubicBezTo>
                        <a:pt x="374" y="626"/>
                        <a:pt x="374" y="626"/>
                        <a:pt x="374" y="625"/>
                      </a:cubicBezTo>
                      <a:lnTo>
                        <a:pt x="373" y="627"/>
                      </a:lnTo>
                      <a:close/>
                      <a:moveTo>
                        <a:pt x="439" y="631"/>
                      </a:moveTo>
                      <a:cubicBezTo>
                        <a:pt x="440" y="631"/>
                        <a:pt x="440" y="631"/>
                        <a:pt x="440" y="631"/>
                      </a:cubicBezTo>
                      <a:cubicBezTo>
                        <a:pt x="440" y="631"/>
                        <a:pt x="440" y="630"/>
                        <a:pt x="439" y="631"/>
                      </a:cubicBezTo>
                      <a:close/>
                      <a:moveTo>
                        <a:pt x="220" y="622"/>
                      </a:moveTo>
                      <a:cubicBezTo>
                        <a:pt x="221" y="621"/>
                        <a:pt x="221" y="621"/>
                        <a:pt x="222" y="621"/>
                      </a:cubicBezTo>
                      <a:cubicBezTo>
                        <a:pt x="221" y="621"/>
                        <a:pt x="221" y="621"/>
                        <a:pt x="220" y="622"/>
                      </a:cubicBezTo>
                      <a:close/>
                      <a:moveTo>
                        <a:pt x="123" y="318"/>
                      </a:moveTo>
                      <a:cubicBezTo>
                        <a:pt x="123" y="319"/>
                        <a:pt x="123" y="319"/>
                        <a:pt x="123" y="319"/>
                      </a:cubicBezTo>
                      <a:cubicBezTo>
                        <a:pt x="124" y="318"/>
                        <a:pt x="124" y="318"/>
                        <a:pt x="124" y="318"/>
                      </a:cubicBezTo>
                      <a:lnTo>
                        <a:pt x="123" y="318"/>
                      </a:lnTo>
                      <a:close/>
                      <a:moveTo>
                        <a:pt x="124" y="320"/>
                      </a:moveTo>
                      <a:cubicBezTo>
                        <a:pt x="124" y="320"/>
                        <a:pt x="124" y="319"/>
                        <a:pt x="123" y="319"/>
                      </a:cubicBezTo>
                      <a:cubicBezTo>
                        <a:pt x="123" y="320"/>
                        <a:pt x="123" y="322"/>
                        <a:pt x="123" y="323"/>
                      </a:cubicBezTo>
                      <a:cubicBezTo>
                        <a:pt x="124" y="323"/>
                        <a:pt x="124" y="321"/>
                        <a:pt x="124" y="320"/>
                      </a:cubicBezTo>
                      <a:close/>
                      <a:moveTo>
                        <a:pt x="124" y="320"/>
                      </a:moveTo>
                      <a:cubicBezTo>
                        <a:pt x="124" y="320"/>
                        <a:pt x="124" y="320"/>
                        <a:pt x="124" y="320"/>
                      </a:cubicBezTo>
                      <a:cubicBezTo>
                        <a:pt x="124" y="320"/>
                        <a:pt x="124" y="320"/>
                        <a:pt x="124" y="320"/>
                      </a:cubicBezTo>
                      <a:close/>
                      <a:moveTo>
                        <a:pt x="223" y="663"/>
                      </a:moveTo>
                      <a:cubicBezTo>
                        <a:pt x="222" y="663"/>
                        <a:pt x="222" y="663"/>
                        <a:pt x="222" y="663"/>
                      </a:cubicBezTo>
                      <a:cubicBezTo>
                        <a:pt x="222" y="663"/>
                        <a:pt x="222" y="663"/>
                        <a:pt x="223" y="663"/>
                      </a:cubicBezTo>
                      <a:close/>
                      <a:moveTo>
                        <a:pt x="123" y="132"/>
                      </a:moveTo>
                      <a:cubicBezTo>
                        <a:pt x="124" y="132"/>
                        <a:pt x="124" y="132"/>
                        <a:pt x="124" y="132"/>
                      </a:cubicBezTo>
                      <a:cubicBezTo>
                        <a:pt x="123" y="132"/>
                        <a:pt x="123" y="132"/>
                        <a:pt x="123" y="132"/>
                      </a:cubicBezTo>
                      <a:close/>
                      <a:moveTo>
                        <a:pt x="501" y="631"/>
                      </a:moveTo>
                      <a:cubicBezTo>
                        <a:pt x="501" y="632"/>
                        <a:pt x="501" y="632"/>
                        <a:pt x="501" y="632"/>
                      </a:cubicBezTo>
                      <a:cubicBezTo>
                        <a:pt x="501" y="632"/>
                        <a:pt x="501" y="632"/>
                        <a:pt x="501" y="632"/>
                      </a:cubicBezTo>
                      <a:lnTo>
                        <a:pt x="501" y="631"/>
                      </a:lnTo>
                      <a:close/>
                      <a:moveTo>
                        <a:pt x="752" y="643"/>
                      </a:moveTo>
                      <a:cubicBezTo>
                        <a:pt x="751" y="644"/>
                        <a:pt x="751" y="644"/>
                        <a:pt x="751" y="644"/>
                      </a:cubicBezTo>
                      <a:cubicBezTo>
                        <a:pt x="751" y="644"/>
                        <a:pt x="752" y="643"/>
                        <a:pt x="752" y="643"/>
                      </a:cubicBezTo>
                      <a:close/>
                      <a:moveTo>
                        <a:pt x="585" y="635"/>
                      </a:moveTo>
                      <a:cubicBezTo>
                        <a:pt x="585" y="635"/>
                        <a:pt x="586" y="635"/>
                        <a:pt x="586" y="635"/>
                      </a:cubicBezTo>
                      <a:cubicBezTo>
                        <a:pt x="584" y="634"/>
                        <a:pt x="580" y="634"/>
                        <a:pt x="575" y="634"/>
                      </a:cubicBezTo>
                      <a:cubicBezTo>
                        <a:pt x="575" y="636"/>
                        <a:pt x="575" y="636"/>
                        <a:pt x="575" y="636"/>
                      </a:cubicBezTo>
                      <a:lnTo>
                        <a:pt x="585" y="635"/>
                      </a:lnTo>
                      <a:close/>
                      <a:moveTo>
                        <a:pt x="760" y="655"/>
                      </a:moveTo>
                      <a:cubicBezTo>
                        <a:pt x="760" y="655"/>
                        <a:pt x="755" y="649"/>
                        <a:pt x="753" y="646"/>
                      </a:cubicBezTo>
                      <a:cubicBezTo>
                        <a:pt x="755" y="647"/>
                        <a:pt x="754" y="646"/>
                        <a:pt x="753" y="645"/>
                      </a:cubicBezTo>
                      <a:cubicBezTo>
                        <a:pt x="753" y="645"/>
                        <a:pt x="753" y="645"/>
                        <a:pt x="753" y="645"/>
                      </a:cubicBezTo>
                      <a:cubicBezTo>
                        <a:pt x="752" y="645"/>
                        <a:pt x="752" y="643"/>
                        <a:pt x="751" y="642"/>
                      </a:cubicBezTo>
                      <a:cubicBezTo>
                        <a:pt x="752" y="643"/>
                        <a:pt x="752" y="643"/>
                        <a:pt x="752" y="643"/>
                      </a:cubicBezTo>
                      <a:cubicBezTo>
                        <a:pt x="752" y="642"/>
                        <a:pt x="752" y="642"/>
                        <a:pt x="752" y="642"/>
                      </a:cubicBezTo>
                      <a:cubicBezTo>
                        <a:pt x="752" y="643"/>
                        <a:pt x="752" y="643"/>
                        <a:pt x="752" y="643"/>
                      </a:cubicBezTo>
                      <a:cubicBezTo>
                        <a:pt x="752" y="644"/>
                        <a:pt x="752" y="644"/>
                        <a:pt x="751" y="644"/>
                      </a:cubicBezTo>
                      <a:cubicBezTo>
                        <a:pt x="751" y="644"/>
                        <a:pt x="751" y="644"/>
                        <a:pt x="751" y="644"/>
                      </a:cubicBezTo>
                      <a:cubicBezTo>
                        <a:pt x="751" y="644"/>
                        <a:pt x="750" y="644"/>
                        <a:pt x="750" y="644"/>
                      </a:cubicBezTo>
                      <a:cubicBezTo>
                        <a:pt x="750" y="642"/>
                        <a:pt x="750" y="642"/>
                        <a:pt x="750" y="642"/>
                      </a:cubicBezTo>
                      <a:cubicBezTo>
                        <a:pt x="749" y="645"/>
                        <a:pt x="744" y="638"/>
                        <a:pt x="743" y="638"/>
                      </a:cubicBezTo>
                      <a:cubicBezTo>
                        <a:pt x="742" y="636"/>
                        <a:pt x="741" y="638"/>
                        <a:pt x="739" y="637"/>
                      </a:cubicBezTo>
                      <a:cubicBezTo>
                        <a:pt x="737" y="637"/>
                        <a:pt x="738" y="635"/>
                        <a:pt x="737" y="634"/>
                      </a:cubicBezTo>
                      <a:cubicBezTo>
                        <a:pt x="737" y="634"/>
                        <a:pt x="737" y="633"/>
                        <a:pt x="736" y="633"/>
                      </a:cubicBezTo>
                      <a:cubicBezTo>
                        <a:pt x="736" y="633"/>
                        <a:pt x="736" y="633"/>
                        <a:pt x="736" y="634"/>
                      </a:cubicBezTo>
                      <a:cubicBezTo>
                        <a:pt x="736" y="634"/>
                        <a:pt x="736" y="634"/>
                        <a:pt x="736" y="634"/>
                      </a:cubicBezTo>
                      <a:cubicBezTo>
                        <a:pt x="737" y="635"/>
                        <a:pt x="737" y="636"/>
                        <a:pt x="737" y="636"/>
                      </a:cubicBezTo>
                      <a:cubicBezTo>
                        <a:pt x="737" y="636"/>
                        <a:pt x="737" y="635"/>
                        <a:pt x="736" y="635"/>
                      </a:cubicBezTo>
                      <a:cubicBezTo>
                        <a:pt x="735" y="635"/>
                        <a:pt x="735" y="635"/>
                        <a:pt x="735" y="635"/>
                      </a:cubicBezTo>
                      <a:cubicBezTo>
                        <a:pt x="733" y="635"/>
                        <a:pt x="733" y="635"/>
                        <a:pt x="733" y="635"/>
                      </a:cubicBezTo>
                      <a:cubicBezTo>
                        <a:pt x="729" y="634"/>
                        <a:pt x="729" y="634"/>
                        <a:pt x="729" y="634"/>
                      </a:cubicBezTo>
                      <a:cubicBezTo>
                        <a:pt x="734" y="633"/>
                        <a:pt x="731" y="633"/>
                        <a:pt x="730" y="632"/>
                      </a:cubicBezTo>
                      <a:cubicBezTo>
                        <a:pt x="723" y="632"/>
                        <a:pt x="712" y="630"/>
                        <a:pt x="710" y="633"/>
                      </a:cubicBezTo>
                      <a:cubicBezTo>
                        <a:pt x="700" y="632"/>
                        <a:pt x="700" y="631"/>
                        <a:pt x="696" y="631"/>
                      </a:cubicBezTo>
                      <a:cubicBezTo>
                        <a:pt x="697" y="631"/>
                        <a:pt x="700" y="632"/>
                        <a:pt x="700" y="632"/>
                      </a:cubicBezTo>
                      <a:cubicBezTo>
                        <a:pt x="696" y="631"/>
                        <a:pt x="698" y="633"/>
                        <a:pt x="700" y="633"/>
                      </a:cubicBezTo>
                      <a:cubicBezTo>
                        <a:pt x="694" y="635"/>
                        <a:pt x="669" y="628"/>
                        <a:pt x="668" y="632"/>
                      </a:cubicBezTo>
                      <a:cubicBezTo>
                        <a:pt x="668" y="631"/>
                        <a:pt x="668" y="631"/>
                        <a:pt x="668" y="631"/>
                      </a:cubicBezTo>
                      <a:cubicBezTo>
                        <a:pt x="667" y="634"/>
                        <a:pt x="669" y="636"/>
                        <a:pt x="665" y="638"/>
                      </a:cubicBezTo>
                      <a:cubicBezTo>
                        <a:pt x="662" y="637"/>
                        <a:pt x="662" y="637"/>
                        <a:pt x="662" y="637"/>
                      </a:cubicBezTo>
                      <a:cubicBezTo>
                        <a:pt x="658" y="638"/>
                        <a:pt x="658" y="638"/>
                        <a:pt x="658" y="638"/>
                      </a:cubicBezTo>
                      <a:cubicBezTo>
                        <a:pt x="655" y="638"/>
                        <a:pt x="656" y="637"/>
                        <a:pt x="656" y="637"/>
                      </a:cubicBezTo>
                      <a:cubicBezTo>
                        <a:pt x="650" y="638"/>
                        <a:pt x="640" y="637"/>
                        <a:pt x="632" y="637"/>
                      </a:cubicBezTo>
                      <a:cubicBezTo>
                        <a:pt x="641" y="644"/>
                        <a:pt x="641" y="644"/>
                        <a:pt x="641" y="644"/>
                      </a:cubicBezTo>
                      <a:cubicBezTo>
                        <a:pt x="634" y="642"/>
                        <a:pt x="622" y="639"/>
                        <a:pt x="620" y="642"/>
                      </a:cubicBezTo>
                      <a:cubicBezTo>
                        <a:pt x="616" y="639"/>
                        <a:pt x="616" y="639"/>
                        <a:pt x="616" y="639"/>
                      </a:cubicBezTo>
                      <a:cubicBezTo>
                        <a:pt x="602" y="635"/>
                        <a:pt x="607" y="642"/>
                        <a:pt x="601" y="641"/>
                      </a:cubicBezTo>
                      <a:cubicBezTo>
                        <a:pt x="594" y="638"/>
                        <a:pt x="594" y="638"/>
                        <a:pt x="594" y="638"/>
                      </a:cubicBezTo>
                      <a:cubicBezTo>
                        <a:pt x="601" y="638"/>
                        <a:pt x="601" y="638"/>
                        <a:pt x="601" y="638"/>
                      </a:cubicBezTo>
                      <a:cubicBezTo>
                        <a:pt x="594" y="637"/>
                        <a:pt x="591" y="636"/>
                        <a:pt x="586" y="635"/>
                      </a:cubicBezTo>
                      <a:cubicBezTo>
                        <a:pt x="586" y="635"/>
                        <a:pt x="586" y="635"/>
                        <a:pt x="586" y="635"/>
                      </a:cubicBezTo>
                      <a:cubicBezTo>
                        <a:pt x="586" y="635"/>
                        <a:pt x="586" y="635"/>
                        <a:pt x="586" y="635"/>
                      </a:cubicBezTo>
                      <a:cubicBezTo>
                        <a:pt x="585" y="635"/>
                        <a:pt x="585" y="635"/>
                        <a:pt x="585" y="635"/>
                      </a:cubicBezTo>
                      <a:cubicBezTo>
                        <a:pt x="585" y="636"/>
                        <a:pt x="581" y="637"/>
                        <a:pt x="576" y="637"/>
                      </a:cubicBezTo>
                      <a:cubicBezTo>
                        <a:pt x="569" y="637"/>
                        <a:pt x="564" y="639"/>
                        <a:pt x="553" y="637"/>
                      </a:cubicBezTo>
                      <a:cubicBezTo>
                        <a:pt x="550" y="640"/>
                        <a:pt x="550" y="640"/>
                        <a:pt x="550" y="640"/>
                      </a:cubicBezTo>
                      <a:cubicBezTo>
                        <a:pt x="542" y="638"/>
                        <a:pt x="542" y="638"/>
                        <a:pt x="542" y="638"/>
                      </a:cubicBezTo>
                      <a:cubicBezTo>
                        <a:pt x="542" y="636"/>
                        <a:pt x="542" y="636"/>
                        <a:pt x="542" y="636"/>
                      </a:cubicBezTo>
                      <a:cubicBezTo>
                        <a:pt x="550" y="636"/>
                        <a:pt x="565" y="635"/>
                        <a:pt x="575" y="634"/>
                      </a:cubicBezTo>
                      <a:cubicBezTo>
                        <a:pt x="576" y="633"/>
                        <a:pt x="576" y="633"/>
                        <a:pt x="576" y="633"/>
                      </a:cubicBezTo>
                      <a:cubicBezTo>
                        <a:pt x="569" y="634"/>
                        <a:pt x="562" y="635"/>
                        <a:pt x="558" y="635"/>
                      </a:cubicBezTo>
                      <a:cubicBezTo>
                        <a:pt x="556" y="634"/>
                        <a:pt x="551" y="632"/>
                        <a:pt x="555" y="631"/>
                      </a:cubicBezTo>
                      <a:cubicBezTo>
                        <a:pt x="551" y="633"/>
                        <a:pt x="551" y="633"/>
                        <a:pt x="551" y="633"/>
                      </a:cubicBezTo>
                      <a:cubicBezTo>
                        <a:pt x="531" y="634"/>
                        <a:pt x="530" y="634"/>
                        <a:pt x="509" y="632"/>
                      </a:cubicBezTo>
                      <a:cubicBezTo>
                        <a:pt x="511" y="633"/>
                        <a:pt x="511" y="633"/>
                        <a:pt x="511" y="633"/>
                      </a:cubicBezTo>
                      <a:cubicBezTo>
                        <a:pt x="507" y="633"/>
                        <a:pt x="502" y="634"/>
                        <a:pt x="501" y="632"/>
                      </a:cubicBezTo>
                      <a:cubicBezTo>
                        <a:pt x="488" y="632"/>
                        <a:pt x="475" y="631"/>
                        <a:pt x="467" y="628"/>
                      </a:cubicBezTo>
                      <a:cubicBezTo>
                        <a:pt x="465" y="631"/>
                        <a:pt x="465" y="631"/>
                        <a:pt x="465" y="631"/>
                      </a:cubicBezTo>
                      <a:cubicBezTo>
                        <a:pt x="462" y="631"/>
                        <a:pt x="458" y="627"/>
                        <a:pt x="457" y="630"/>
                      </a:cubicBezTo>
                      <a:cubicBezTo>
                        <a:pt x="451" y="631"/>
                        <a:pt x="451" y="631"/>
                        <a:pt x="451" y="631"/>
                      </a:cubicBezTo>
                      <a:cubicBezTo>
                        <a:pt x="447" y="631"/>
                        <a:pt x="445" y="633"/>
                        <a:pt x="441" y="631"/>
                      </a:cubicBezTo>
                      <a:cubicBezTo>
                        <a:pt x="441" y="631"/>
                        <a:pt x="441" y="631"/>
                        <a:pt x="441" y="631"/>
                      </a:cubicBezTo>
                      <a:cubicBezTo>
                        <a:pt x="440" y="631"/>
                        <a:pt x="440" y="631"/>
                        <a:pt x="440" y="631"/>
                      </a:cubicBezTo>
                      <a:cubicBezTo>
                        <a:pt x="440" y="631"/>
                        <a:pt x="440" y="631"/>
                        <a:pt x="440" y="631"/>
                      </a:cubicBezTo>
                      <a:cubicBezTo>
                        <a:pt x="431" y="630"/>
                        <a:pt x="440" y="633"/>
                        <a:pt x="430" y="632"/>
                      </a:cubicBezTo>
                      <a:cubicBezTo>
                        <a:pt x="427" y="630"/>
                        <a:pt x="427" y="635"/>
                        <a:pt x="422" y="634"/>
                      </a:cubicBezTo>
                      <a:cubicBezTo>
                        <a:pt x="417" y="631"/>
                        <a:pt x="417" y="631"/>
                        <a:pt x="417" y="631"/>
                      </a:cubicBezTo>
                      <a:cubicBezTo>
                        <a:pt x="409" y="629"/>
                        <a:pt x="407" y="632"/>
                        <a:pt x="395" y="632"/>
                      </a:cubicBezTo>
                      <a:cubicBezTo>
                        <a:pt x="389" y="631"/>
                        <a:pt x="387" y="628"/>
                        <a:pt x="390" y="625"/>
                      </a:cubicBezTo>
                      <a:cubicBezTo>
                        <a:pt x="385" y="628"/>
                        <a:pt x="388" y="627"/>
                        <a:pt x="381" y="629"/>
                      </a:cubicBezTo>
                      <a:cubicBezTo>
                        <a:pt x="380" y="627"/>
                        <a:pt x="381" y="627"/>
                        <a:pt x="382" y="626"/>
                      </a:cubicBezTo>
                      <a:cubicBezTo>
                        <a:pt x="376" y="624"/>
                        <a:pt x="378" y="627"/>
                        <a:pt x="373" y="627"/>
                      </a:cubicBezTo>
                      <a:cubicBezTo>
                        <a:pt x="372" y="629"/>
                        <a:pt x="370" y="633"/>
                        <a:pt x="369" y="633"/>
                      </a:cubicBezTo>
                      <a:cubicBezTo>
                        <a:pt x="371" y="634"/>
                        <a:pt x="371" y="634"/>
                        <a:pt x="371" y="634"/>
                      </a:cubicBezTo>
                      <a:cubicBezTo>
                        <a:pt x="365" y="635"/>
                        <a:pt x="360" y="636"/>
                        <a:pt x="354" y="635"/>
                      </a:cubicBezTo>
                      <a:cubicBezTo>
                        <a:pt x="354" y="633"/>
                        <a:pt x="354" y="633"/>
                        <a:pt x="354" y="633"/>
                      </a:cubicBezTo>
                      <a:cubicBezTo>
                        <a:pt x="348" y="634"/>
                        <a:pt x="348" y="634"/>
                        <a:pt x="348" y="634"/>
                      </a:cubicBezTo>
                      <a:cubicBezTo>
                        <a:pt x="348" y="632"/>
                        <a:pt x="348" y="632"/>
                        <a:pt x="348" y="632"/>
                      </a:cubicBezTo>
                      <a:cubicBezTo>
                        <a:pt x="339" y="632"/>
                        <a:pt x="339" y="632"/>
                        <a:pt x="339" y="632"/>
                      </a:cubicBezTo>
                      <a:cubicBezTo>
                        <a:pt x="340" y="633"/>
                        <a:pt x="340" y="633"/>
                        <a:pt x="340" y="633"/>
                      </a:cubicBezTo>
                      <a:cubicBezTo>
                        <a:pt x="338" y="633"/>
                        <a:pt x="331" y="633"/>
                        <a:pt x="327" y="632"/>
                      </a:cubicBezTo>
                      <a:cubicBezTo>
                        <a:pt x="327" y="631"/>
                        <a:pt x="327" y="631"/>
                        <a:pt x="327" y="631"/>
                      </a:cubicBezTo>
                      <a:cubicBezTo>
                        <a:pt x="316" y="628"/>
                        <a:pt x="307" y="631"/>
                        <a:pt x="294" y="631"/>
                      </a:cubicBezTo>
                      <a:cubicBezTo>
                        <a:pt x="296" y="629"/>
                        <a:pt x="296" y="629"/>
                        <a:pt x="296" y="629"/>
                      </a:cubicBezTo>
                      <a:cubicBezTo>
                        <a:pt x="292" y="627"/>
                        <a:pt x="295" y="632"/>
                        <a:pt x="289" y="630"/>
                      </a:cubicBezTo>
                      <a:cubicBezTo>
                        <a:pt x="289" y="628"/>
                        <a:pt x="289" y="628"/>
                        <a:pt x="289" y="628"/>
                      </a:cubicBezTo>
                      <a:cubicBezTo>
                        <a:pt x="284" y="631"/>
                        <a:pt x="283" y="627"/>
                        <a:pt x="280" y="626"/>
                      </a:cubicBezTo>
                      <a:cubicBezTo>
                        <a:pt x="282" y="629"/>
                        <a:pt x="282" y="629"/>
                        <a:pt x="282" y="629"/>
                      </a:cubicBezTo>
                      <a:cubicBezTo>
                        <a:pt x="276" y="628"/>
                        <a:pt x="276" y="628"/>
                        <a:pt x="276" y="628"/>
                      </a:cubicBezTo>
                      <a:cubicBezTo>
                        <a:pt x="269" y="626"/>
                        <a:pt x="272" y="624"/>
                        <a:pt x="273" y="622"/>
                      </a:cubicBezTo>
                      <a:cubicBezTo>
                        <a:pt x="268" y="624"/>
                        <a:pt x="268" y="624"/>
                        <a:pt x="268" y="624"/>
                      </a:cubicBezTo>
                      <a:cubicBezTo>
                        <a:pt x="268" y="621"/>
                        <a:pt x="268" y="621"/>
                        <a:pt x="268" y="621"/>
                      </a:cubicBezTo>
                      <a:cubicBezTo>
                        <a:pt x="264" y="624"/>
                        <a:pt x="264" y="621"/>
                        <a:pt x="259" y="622"/>
                      </a:cubicBezTo>
                      <a:cubicBezTo>
                        <a:pt x="258" y="621"/>
                        <a:pt x="260" y="620"/>
                        <a:pt x="258" y="620"/>
                      </a:cubicBezTo>
                      <a:cubicBezTo>
                        <a:pt x="248" y="622"/>
                        <a:pt x="248" y="622"/>
                        <a:pt x="248" y="622"/>
                      </a:cubicBezTo>
                      <a:cubicBezTo>
                        <a:pt x="254" y="621"/>
                        <a:pt x="254" y="621"/>
                        <a:pt x="254" y="621"/>
                      </a:cubicBezTo>
                      <a:cubicBezTo>
                        <a:pt x="253" y="625"/>
                        <a:pt x="253" y="625"/>
                        <a:pt x="253" y="625"/>
                      </a:cubicBezTo>
                      <a:cubicBezTo>
                        <a:pt x="247" y="628"/>
                        <a:pt x="245" y="624"/>
                        <a:pt x="241" y="625"/>
                      </a:cubicBezTo>
                      <a:cubicBezTo>
                        <a:pt x="244" y="624"/>
                        <a:pt x="244" y="624"/>
                        <a:pt x="244" y="624"/>
                      </a:cubicBezTo>
                      <a:cubicBezTo>
                        <a:pt x="237" y="624"/>
                        <a:pt x="237" y="622"/>
                        <a:pt x="233" y="621"/>
                      </a:cubicBezTo>
                      <a:cubicBezTo>
                        <a:pt x="234" y="622"/>
                        <a:pt x="236" y="623"/>
                        <a:pt x="233" y="623"/>
                      </a:cubicBezTo>
                      <a:cubicBezTo>
                        <a:pt x="231" y="623"/>
                        <a:pt x="232" y="622"/>
                        <a:pt x="230" y="621"/>
                      </a:cubicBezTo>
                      <a:cubicBezTo>
                        <a:pt x="229" y="624"/>
                        <a:pt x="224" y="624"/>
                        <a:pt x="220" y="622"/>
                      </a:cubicBezTo>
                      <a:cubicBezTo>
                        <a:pt x="220" y="622"/>
                        <a:pt x="220" y="622"/>
                        <a:pt x="220" y="622"/>
                      </a:cubicBezTo>
                      <a:cubicBezTo>
                        <a:pt x="219" y="622"/>
                        <a:pt x="219" y="622"/>
                        <a:pt x="217" y="621"/>
                      </a:cubicBezTo>
                      <a:cubicBezTo>
                        <a:pt x="218" y="619"/>
                        <a:pt x="218" y="619"/>
                        <a:pt x="218" y="619"/>
                      </a:cubicBezTo>
                      <a:cubicBezTo>
                        <a:pt x="214" y="621"/>
                        <a:pt x="214" y="621"/>
                        <a:pt x="214" y="621"/>
                      </a:cubicBezTo>
                      <a:cubicBezTo>
                        <a:pt x="212" y="620"/>
                        <a:pt x="208" y="621"/>
                        <a:pt x="209" y="619"/>
                      </a:cubicBezTo>
                      <a:cubicBezTo>
                        <a:pt x="210" y="619"/>
                        <a:pt x="210" y="619"/>
                        <a:pt x="210" y="619"/>
                      </a:cubicBezTo>
                      <a:cubicBezTo>
                        <a:pt x="204" y="618"/>
                        <a:pt x="198" y="616"/>
                        <a:pt x="192" y="615"/>
                      </a:cubicBezTo>
                      <a:cubicBezTo>
                        <a:pt x="192" y="612"/>
                        <a:pt x="192" y="612"/>
                        <a:pt x="192" y="612"/>
                      </a:cubicBezTo>
                      <a:cubicBezTo>
                        <a:pt x="189" y="615"/>
                        <a:pt x="183" y="609"/>
                        <a:pt x="182" y="613"/>
                      </a:cubicBezTo>
                      <a:cubicBezTo>
                        <a:pt x="180" y="610"/>
                        <a:pt x="169" y="611"/>
                        <a:pt x="173" y="607"/>
                      </a:cubicBezTo>
                      <a:cubicBezTo>
                        <a:pt x="168" y="605"/>
                        <a:pt x="164" y="604"/>
                        <a:pt x="160" y="603"/>
                      </a:cubicBezTo>
                      <a:cubicBezTo>
                        <a:pt x="159" y="603"/>
                        <a:pt x="157" y="602"/>
                        <a:pt x="156" y="602"/>
                      </a:cubicBezTo>
                      <a:cubicBezTo>
                        <a:pt x="156" y="601"/>
                        <a:pt x="155" y="601"/>
                        <a:pt x="154" y="598"/>
                      </a:cubicBezTo>
                      <a:cubicBezTo>
                        <a:pt x="155" y="596"/>
                        <a:pt x="154" y="592"/>
                        <a:pt x="153" y="588"/>
                      </a:cubicBezTo>
                      <a:cubicBezTo>
                        <a:pt x="151" y="583"/>
                        <a:pt x="150" y="578"/>
                        <a:pt x="149" y="573"/>
                      </a:cubicBezTo>
                      <a:cubicBezTo>
                        <a:pt x="143" y="556"/>
                        <a:pt x="140" y="544"/>
                        <a:pt x="136" y="525"/>
                      </a:cubicBezTo>
                      <a:cubicBezTo>
                        <a:pt x="140" y="512"/>
                        <a:pt x="131" y="495"/>
                        <a:pt x="133" y="482"/>
                      </a:cubicBezTo>
                      <a:cubicBezTo>
                        <a:pt x="131" y="479"/>
                        <a:pt x="131" y="479"/>
                        <a:pt x="131" y="479"/>
                      </a:cubicBezTo>
                      <a:cubicBezTo>
                        <a:pt x="133" y="470"/>
                        <a:pt x="128" y="457"/>
                        <a:pt x="131" y="445"/>
                      </a:cubicBezTo>
                      <a:cubicBezTo>
                        <a:pt x="130" y="442"/>
                        <a:pt x="130" y="440"/>
                        <a:pt x="130" y="440"/>
                      </a:cubicBezTo>
                      <a:cubicBezTo>
                        <a:pt x="129" y="440"/>
                        <a:pt x="129" y="441"/>
                        <a:pt x="128" y="442"/>
                      </a:cubicBezTo>
                      <a:cubicBezTo>
                        <a:pt x="129" y="438"/>
                        <a:pt x="127" y="431"/>
                        <a:pt x="130" y="431"/>
                      </a:cubicBezTo>
                      <a:cubicBezTo>
                        <a:pt x="130" y="432"/>
                        <a:pt x="130" y="432"/>
                        <a:pt x="130" y="432"/>
                      </a:cubicBezTo>
                      <a:cubicBezTo>
                        <a:pt x="133" y="433"/>
                        <a:pt x="128" y="422"/>
                        <a:pt x="130" y="418"/>
                      </a:cubicBezTo>
                      <a:cubicBezTo>
                        <a:pt x="128" y="420"/>
                        <a:pt x="128" y="420"/>
                        <a:pt x="128" y="420"/>
                      </a:cubicBezTo>
                      <a:cubicBezTo>
                        <a:pt x="128" y="414"/>
                        <a:pt x="128" y="414"/>
                        <a:pt x="128" y="414"/>
                      </a:cubicBezTo>
                      <a:cubicBezTo>
                        <a:pt x="129" y="415"/>
                        <a:pt x="129" y="415"/>
                        <a:pt x="129" y="415"/>
                      </a:cubicBezTo>
                      <a:cubicBezTo>
                        <a:pt x="121" y="387"/>
                        <a:pt x="130" y="374"/>
                        <a:pt x="124" y="347"/>
                      </a:cubicBezTo>
                      <a:cubicBezTo>
                        <a:pt x="127" y="351"/>
                        <a:pt x="122" y="342"/>
                        <a:pt x="125" y="342"/>
                      </a:cubicBezTo>
                      <a:cubicBezTo>
                        <a:pt x="130" y="335"/>
                        <a:pt x="124" y="329"/>
                        <a:pt x="123" y="323"/>
                      </a:cubicBezTo>
                      <a:cubicBezTo>
                        <a:pt x="123" y="323"/>
                        <a:pt x="123" y="323"/>
                        <a:pt x="122" y="323"/>
                      </a:cubicBezTo>
                      <a:cubicBezTo>
                        <a:pt x="123" y="313"/>
                        <a:pt x="123" y="313"/>
                        <a:pt x="123" y="313"/>
                      </a:cubicBezTo>
                      <a:cubicBezTo>
                        <a:pt x="127" y="319"/>
                        <a:pt x="119" y="306"/>
                        <a:pt x="123" y="312"/>
                      </a:cubicBezTo>
                      <a:cubicBezTo>
                        <a:pt x="126" y="286"/>
                        <a:pt x="123" y="253"/>
                        <a:pt x="125" y="224"/>
                      </a:cubicBezTo>
                      <a:cubicBezTo>
                        <a:pt x="124" y="225"/>
                        <a:pt x="124" y="225"/>
                        <a:pt x="124" y="225"/>
                      </a:cubicBezTo>
                      <a:cubicBezTo>
                        <a:pt x="124" y="218"/>
                        <a:pt x="123" y="209"/>
                        <a:pt x="124" y="203"/>
                      </a:cubicBezTo>
                      <a:cubicBezTo>
                        <a:pt x="126" y="197"/>
                        <a:pt x="122" y="190"/>
                        <a:pt x="122" y="188"/>
                      </a:cubicBezTo>
                      <a:cubicBezTo>
                        <a:pt x="120" y="182"/>
                        <a:pt x="124" y="177"/>
                        <a:pt x="124" y="179"/>
                      </a:cubicBezTo>
                      <a:cubicBezTo>
                        <a:pt x="123" y="173"/>
                        <a:pt x="119" y="166"/>
                        <a:pt x="121" y="157"/>
                      </a:cubicBezTo>
                      <a:cubicBezTo>
                        <a:pt x="125" y="154"/>
                        <a:pt x="118" y="132"/>
                        <a:pt x="123" y="132"/>
                      </a:cubicBezTo>
                      <a:cubicBezTo>
                        <a:pt x="122" y="132"/>
                        <a:pt x="122" y="132"/>
                        <a:pt x="122" y="132"/>
                      </a:cubicBezTo>
                      <a:cubicBezTo>
                        <a:pt x="125" y="122"/>
                        <a:pt x="122" y="112"/>
                        <a:pt x="123" y="102"/>
                      </a:cubicBezTo>
                      <a:cubicBezTo>
                        <a:pt x="126" y="105"/>
                        <a:pt x="129" y="109"/>
                        <a:pt x="130" y="114"/>
                      </a:cubicBezTo>
                      <a:cubicBezTo>
                        <a:pt x="128" y="117"/>
                        <a:pt x="139" y="131"/>
                        <a:pt x="141" y="131"/>
                      </a:cubicBezTo>
                      <a:cubicBezTo>
                        <a:pt x="143" y="128"/>
                        <a:pt x="143" y="128"/>
                        <a:pt x="143" y="128"/>
                      </a:cubicBezTo>
                      <a:cubicBezTo>
                        <a:pt x="147" y="133"/>
                        <a:pt x="146" y="137"/>
                        <a:pt x="151" y="140"/>
                      </a:cubicBezTo>
                      <a:cubicBezTo>
                        <a:pt x="150" y="140"/>
                        <a:pt x="150" y="140"/>
                        <a:pt x="150" y="140"/>
                      </a:cubicBezTo>
                      <a:cubicBezTo>
                        <a:pt x="150" y="140"/>
                        <a:pt x="151" y="141"/>
                        <a:pt x="151" y="141"/>
                      </a:cubicBezTo>
                      <a:cubicBezTo>
                        <a:pt x="152" y="141"/>
                        <a:pt x="156" y="140"/>
                        <a:pt x="154" y="149"/>
                      </a:cubicBezTo>
                      <a:cubicBezTo>
                        <a:pt x="153" y="149"/>
                        <a:pt x="153" y="149"/>
                        <a:pt x="153" y="149"/>
                      </a:cubicBezTo>
                      <a:cubicBezTo>
                        <a:pt x="153" y="150"/>
                        <a:pt x="154" y="149"/>
                        <a:pt x="154" y="150"/>
                      </a:cubicBezTo>
                      <a:cubicBezTo>
                        <a:pt x="154" y="148"/>
                        <a:pt x="154" y="148"/>
                        <a:pt x="154" y="148"/>
                      </a:cubicBezTo>
                      <a:cubicBezTo>
                        <a:pt x="156" y="148"/>
                        <a:pt x="157" y="148"/>
                        <a:pt x="158" y="149"/>
                      </a:cubicBezTo>
                      <a:cubicBezTo>
                        <a:pt x="158" y="149"/>
                        <a:pt x="157" y="150"/>
                        <a:pt x="157" y="150"/>
                      </a:cubicBezTo>
                      <a:cubicBezTo>
                        <a:pt x="159" y="152"/>
                        <a:pt x="159" y="152"/>
                        <a:pt x="159" y="152"/>
                      </a:cubicBezTo>
                      <a:cubicBezTo>
                        <a:pt x="158" y="154"/>
                        <a:pt x="158" y="154"/>
                        <a:pt x="158" y="154"/>
                      </a:cubicBezTo>
                      <a:cubicBezTo>
                        <a:pt x="159" y="154"/>
                        <a:pt x="163" y="151"/>
                        <a:pt x="162" y="154"/>
                      </a:cubicBezTo>
                      <a:cubicBezTo>
                        <a:pt x="164" y="152"/>
                        <a:pt x="164" y="154"/>
                        <a:pt x="165" y="153"/>
                      </a:cubicBezTo>
                      <a:cubicBezTo>
                        <a:pt x="165" y="153"/>
                        <a:pt x="164" y="154"/>
                        <a:pt x="164" y="154"/>
                      </a:cubicBezTo>
                      <a:cubicBezTo>
                        <a:pt x="165" y="155"/>
                        <a:pt x="167" y="157"/>
                        <a:pt x="169" y="156"/>
                      </a:cubicBezTo>
                      <a:cubicBezTo>
                        <a:pt x="169" y="156"/>
                        <a:pt x="171" y="148"/>
                        <a:pt x="173" y="146"/>
                      </a:cubicBezTo>
                      <a:cubicBezTo>
                        <a:pt x="174" y="147"/>
                        <a:pt x="174" y="146"/>
                        <a:pt x="175" y="145"/>
                      </a:cubicBezTo>
                      <a:cubicBezTo>
                        <a:pt x="174" y="145"/>
                        <a:pt x="174" y="145"/>
                        <a:pt x="174" y="145"/>
                      </a:cubicBezTo>
                      <a:cubicBezTo>
                        <a:pt x="174" y="144"/>
                        <a:pt x="175" y="143"/>
                        <a:pt x="176" y="142"/>
                      </a:cubicBezTo>
                      <a:cubicBezTo>
                        <a:pt x="175" y="142"/>
                        <a:pt x="175" y="142"/>
                        <a:pt x="175" y="142"/>
                      </a:cubicBezTo>
                      <a:cubicBezTo>
                        <a:pt x="175" y="142"/>
                        <a:pt x="175" y="142"/>
                        <a:pt x="175" y="142"/>
                      </a:cubicBezTo>
                      <a:cubicBezTo>
                        <a:pt x="175" y="142"/>
                        <a:pt x="175" y="143"/>
                        <a:pt x="175" y="143"/>
                      </a:cubicBezTo>
                      <a:cubicBezTo>
                        <a:pt x="174" y="143"/>
                        <a:pt x="174" y="143"/>
                        <a:pt x="174" y="143"/>
                      </a:cubicBezTo>
                      <a:cubicBezTo>
                        <a:pt x="174" y="143"/>
                        <a:pt x="174" y="143"/>
                        <a:pt x="174" y="143"/>
                      </a:cubicBezTo>
                      <a:cubicBezTo>
                        <a:pt x="174" y="142"/>
                        <a:pt x="174" y="142"/>
                        <a:pt x="174" y="141"/>
                      </a:cubicBezTo>
                      <a:cubicBezTo>
                        <a:pt x="175" y="140"/>
                        <a:pt x="175" y="140"/>
                        <a:pt x="175" y="140"/>
                      </a:cubicBezTo>
                      <a:cubicBezTo>
                        <a:pt x="172" y="141"/>
                        <a:pt x="176" y="133"/>
                        <a:pt x="175" y="132"/>
                      </a:cubicBezTo>
                      <a:cubicBezTo>
                        <a:pt x="176" y="130"/>
                        <a:pt x="174" y="131"/>
                        <a:pt x="174" y="129"/>
                      </a:cubicBezTo>
                      <a:cubicBezTo>
                        <a:pt x="173" y="127"/>
                        <a:pt x="175" y="127"/>
                        <a:pt x="176" y="125"/>
                      </a:cubicBezTo>
                      <a:cubicBezTo>
                        <a:pt x="176" y="123"/>
                        <a:pt x="174" y="126"/>
                        <a:pt x="174" y="126"/>
                      </a:cubicBezTo>
                      <a:cubicBezTo>
                        <a:pt x="175" y="123"/>
                        <a:pt x="175" y="123"/>
                        <a:pt x="175" y="123"/>
                      </a:cubicBezTo>
                      <a:cubicBezTo>
                        <a:pt x="176" y="124"/>
                        <a:pt x="176" y="123"/>
                        <a:pt x="176" y="123"/>
                      </a:cubicBezTo>
                      <a:cubicBezTo>
                        <a:pt x="176" y="121"/>
                        <a:pt x="177" y="117"/>
                        <a:pt x="174" y="119"/>
                      </a:cubicBezTo>
                      <a:cubicBezTo>
                        <a:pt x="174" y="116"/>
                        <a:pt x="175" y="116"/>
                        <a:pt x="175" y="115"/>
                      </a:cubicBezTo>
                      <a:cubicBezTo>
                        <a:pt x="175" y="115"/>
                        <a:pt x="175" y="116"/>
                        <a:pt x="174" y="116"/>
                      </a:cubicBezTo>
                      <a:cubicBezTo>
                        <a:pt x="175" y="115"/>
                        <a:pt x="174" y="116"/>
                        <a:pt x="173" y="117"/>
                      </a:cubicBezTo>
                      <a:cubicBezTo>
                        <a:pt x="172" y="116"/>
                        <a:pt x="175" y="108"/>
                        <a:pt x="172" y="110"/>
                      </a:cubicBezTo>
                      <a:cubicBezTo>
                        <a:pt x="172" y="109"/>
                        <a:pt x="172" y="109"/>
                        <a:pt x="172" y="109"/>
                      </a:cubicBezTo>
                      <a:cubicBezTo>
                        <a:pt x="170" y="111"/>
                        <a:pt x="168" y="112"/>
                        <a:pt x="166" y="112"/>
                      </a:cubicBezTo>
                      <a:cubicBezTo>
                        <a:pt x="167" y="111"/>
                        <a:pt x="167" y="111"/>
                        <a:pt x="167" y="111"/>
                      </a:cubicBezTo>
                      <a:cubicBezTo>
                        <a:pt x="166" y="111"/>
                        <a:pt x="166" y="111"/>
                        <a:pt x="166" y="111"/>
                      </a:cubicBezTo>
                      <a:cubicBezTo>
                        <a:pt x="166" y="110"/>
                        <a:pt x="167" y="110"/>
                        <a:pt x="167" y="110"/>
                      </a:cubicBezTo>
                      <a:cubicBezTo>
                        <a:pt x="165" y="109"/>
                        <a:pt x="166" y="107"/>
                        <a:pt x="165" y="105"/>
                      </a:cubicBezTo>
                      <a:cubicBezTo>
                        <a:pt x="160" y="110"/>
                        <a:pt x="160" y="110"/>
                        <a:pt x="160" y="110"/>
                      </a:cubicBezTo>
                      <a:cubicBezTo>
                        <a:pt x="160" y="108"/>
                        <a:pt x="162" y="104"/>
                        <a:pt x="160" y="105"/>
                      </a:cubicBezTo>
                      <a:cubicBezTo>
                        <a:pt x="161" y="103"/>
                        <a:pt x="161" y="103"/>
                        <a:pt x="161" y="103"/>
                      </a:cubicBezTo>
                      <a:cubicBezTo>
                        <a:pt x="164" y="98"/>
                        <a:pt x="159" y="102"/>
                        <a:pt x="159" y="101"/>
                      </a:cubicBezTo>
                      <a:cubicBezTo>
                        <a:pt x="161" y="98"/>
                        <a:pt x="161" y="98"/>
                        <a:pt x="161" y="98"/>
                      </a:cubicBezTo>
                      <a:cubicBezTo>
                        <a:pt x="161" y="99"/>
                        <a:pt x="161" y="99"/>
                        <a:pt x="161" y="99"/>
                      </a:cubicBezTo>
                      <a:cubicBezTo>
                        <a:pt x="162" y="97"/>
                        <a:pt x="162" y="96"/>
                        <a:pt x="163" y="95"/>
                      </a:cubicBezTo>
                      <a:cubicBezTo>
                        <a:pt x="163" y="95"/>
                        <a:pt x="163" y="95"/>
                        <a:pt x="163" y="95"/>
                      </a:cubicBezTo>
                      <a:cubicBezTo>
                        <a:pt x="163" y="95"/>
                        <a:pt x="163" y="95"/>
                        <a:pt x="163" y="95"/>
                      </a:cubicBezTo>
                      <a:cubicBezTo>
                        <a:pt x="163" y="95"/>
                        <a:pt x="163" y="95"/>
                        <a:pt x="163" y="95"/>
                      </a:cubicBezTo>
                      <a:cubicBezTo>
                        <a:pt x="161" y="95"/>
                        <a:pt x="160" y="95"/>
                        <a:pt x="160" y="94"/>
                      </a:cubicBezTo>
                      <a:cubicBezTo>
                        <a:pt x="159" y="93"/>
                        <a:pt x="157" y="93"/>
                        <a:pt x="158" y="89"/>
                      </a:cubicBezTo>
                      <a:cubicBezTo>
                        <a:pt x="156" y="90"/>
                        <a:pt x="156" y="90"/>
                        <a:pt x="156" y="90"/>
                      </a:cubicBezTo>
                      <a:cubicBezTo>
                        <a:pt x="156" y="88"/>
                        <a:pt x="156" y="88"/>
                        <a:pt x="156" y="88"/>
                      </a:cubicBezTo>
                      <a:cubicBezTo>
                        <a:pt x="158" y="87"/>
                        <a:pt x="158" y="87"/>
                        <a:pt x="158" y="87"/>
                      </a:cubicBezTo>
                      <a:cubicBezTo>
                        <a:pt x="159" y="88"/>
                        <a:pt x="161" y="91"/>
                        <a:pt x="162" y="93"/>
                      </a:cubicBezTo>
                      <a:cubicBezTo>
                        <a:pt x="163" y="92"/>
                        <a:pt x="163" y="92"/>
                        <a:pt x="163" y="92"/>
                      </a:cubicBezTo>
                      <a:cubicBezTo>
                        <a:pt x="163" y="91"/>
                        <a:pt x="161" y="90"/>
                        <a:pt x="161" y="89"/>
                      </a:cubicBezTo>
                      <a:cubicBezTo>
                        <a:pt x="161" y="89"/>
                        <a:pt x="162" y="87"/>
                        <a:pt x="164" y="87"/>
                      </a:cubicBezTo>
                      <a:cubicBezTo>
                        <a:pt x="162" y="87"/>
                        <a:pt x="162" y="87"/>
                        <a:pt x="162" y="87"/>
                      </a:cubicBezTo>
                      <a:cubicBezTo>
                        <a:pt x="159" y="83"/>
                        <a:pt x="159" y="83"/>
                        <a:pt x="159" y="78"/>
                      </a:cubicBezTo>
                      <a:cubicBezTo>
                        <a:pt x="158" y="79"/>
                        <a:pt x="158" y="79"/>
                        <a:pt x="158" y="79"/>
                      </a:cubicBezTo>
                      <a:cubicBezTo>
                        <a:pt x="157" y="78"/>
                        <a:pt x="156" y="78"/>
                        <a:pt x="158" y="77"/>
                      </a:cubicBezTo>
                      <a:cubicBezTo>
                        <a:pt x="157" y="74"/>
                        <a:pt x="156" y="71"/>
                        <a:pt x="158" y="68"/>
                      </a:cubicBezTo>
                      <a:cubicBezTo>
                        <a:pt x="156" y="69"/>
                        <a:pt x="156" y="69"/>
                        <a:pt x="156" y="69"/>
                      </a:cubicBezTo>
                      <a:cubicBezTo>
                        <a:pt x="155" y="69"/>
                        <a:pt x="158" y="66"/>
                        <a:pt x="155" y="68"/>
                      </a:cubicBezTo>
                      <a:cubicBezTo>
                        <a:pt x="153" y="67"/>
                        <a:pt x="153" y="67"/>
                        <a:pt x="153" y="67"/>
                      </a:cubicBezTo>
                      <a:cubicBezTo>
                        <a:pt x="153" y="66"/>
                        <a:pt x="152" y="66"/>
                        <a:pt x="153" y="65"/>
                      </a:cubicBezTo>
                      <a:cubicBezTo>
                        <a:pt x="153" y="65"/>
                        <a:pt x="153" y="65"/>
                        <a:pt x="153" y="65"/>
                      </a:cubicBezTo>
                      <a:cubicBezTo>
                        <a:pt x="153" y="65"/>
                        <a:pt x="153" y="65"/>
                        <a:pt x="153" y="65"/>
                      </a:cubicBezTo>
                      <a:cubicBezTo>
                        <a:pt x="153" y="65"/>
                        <a:pt x="153" y="65"/>
                        <a:pt x="153" y="65"/>
                      </a:cubicBezTo>
                      <a:cubicBezTo>
                        <a:pt x="153" y="65"/>
                        <a:pt x="153" y="65"/>
                        <a:pt x="153" y="65"/>
                      </a:cubicBezTo>
                      <a:cubicBezTo>
                        <a:pt x="153" y="64"/>
                        <a:pt x="152" y="64"/>
                        <a:pt x="152" y="64"/>
                      </a:cubicBezTo>
                      <a:cubicBezTo>
                        <a:pt x="151" y="64"/>
                        <a:pt x="151" y="65"/>
                        <a:pt x="151" y="63"/>
                      </a:cubicBezTo>
                      <a:cubicBezTo>
                        <a:pt x="151" y="61"/>
                        <a:pt x="147" y="63"/>
                        <a:pt x="147" y="62"/>
                      </a:cubicBezTo>
                      <a:cubicBezTo>
                        <a:pt x="148" y="60"/>
                        <a:pt x="148" y="59"/>
                        <a:pt x="149" y="58"/>
                      </a:cubicBezTo>
                      <a:cubicBezTo>
                        <a:pt x="149" y="54"/>
                        <a:pt x="146" y="56"/>
                        <a:pt x="144" y="52"/>
                      </a:cubicBezTo>
                      <a:cubicBezTo>
                        <a:pt x="144" y="49"/>
                        <a:pt x="145" y="45"/>
                        <a:pt x="148" y="44"/>
                      </a:cubicBezTo>
                      <a:cubicBezTo>
                        <a:pt x="145" y="45"/>
                        <a:pt x="146" y="45"/>
                        <a:pt x="144" y="44"/>
                      </a:cubicBezTo>
                      <a:cubicBezTo>
                        <a:pt x="144" y="43"/>
                        <a:pt x="145" y="43"/>
                        <a:pt x="146" y="42"/>
                      </a:cubicBezTo>
                      <a:cubicBezTo>
                        <a:pt x="146" y="38"/>
                        <a:pt x="144" y="42"/>
                        <a:pt x="143" y="40"/>
                      </a:cubicBezTo>
                      <a:cubicBezTo>
                        <a:pt x="141" y="42"/>
                        <a:pt x="139" y="45"/>
                        <a:pt x="138" y="45"/>
                      </a:cubicBezTo>
                      <a:cubicBezTo>
                        <a:pt x="138" y="46"/>
                        <a:pt x="138" y="46"/>
                        <a:pt x="138" y="46"/>
                      </a:cubicBezTo>
                      <a:cubicBezTo>
                        <a:pt x="136" y="46"/>
                        <a:pt x="135" y="45"/>
                        <a:pt x="135" y="42"/>
                      </a:cubicBezTo>
                      <a:cubicBezTo>
                        <a:pt x="136" y="40"/>
                        <a:pt x="136" y="40"/>
                        <a:pt x="136" y="40"/>
                      </a:cubicBezTo>
                      <a:cubicBezTo>
                        <a:pt x="134" y="39"/>
                        <a:pt x="134" y="39"/>
                        <a:pt x="134" y="39"/>
                      </a:cubicBezTo>
                      <a:cubicBezTo>
                        <a:pt x="135" y="37"/>
                        <a:pt x="135" y="37"/>
                        <a:pt x="135" y="37"/>
                      </a:cubicBezTo>
                      <a:cubicBezTo>
                        <a:pt x="133" y="35"/>
                        <a:pt x="133" y="35"/>
                        <a:pt x="133" y="35"/>
                      </a:cubicBezTo>
                      <a:cubicBezTo>
                        <a:pt x="133" y="36"/>
                        <a:pt x="133" y="36"/>
                        <a:pt x="133" y="36"/>
                      </a:cubicBezTo>
                      <a:cubicBezTo>
                        <a:pt x="133" y="35"/>
                        <a:pt x="132" y="34"/>
                        <a:pt x="131" y="32"/>
                      </a:cubicBezTo>
                      <a:cubicBezTo>
                        <a:pt x="132" y="31"/>
                        <a:pt x="132" y="31"/>
                        <a:pt x="132" y="31"/>
                      </a:cubicBezTo>
                      <a:cubicBezTo>
                        <a:pt x="132" y="27"/>
                        <a:pt x="131" y="25"/>
                        <a:pt x="129" y="24"/>
                      </a:cubicBezTo>
                      <a:cubicBezTo>
                        <a:pt x="128" y="24"/>
                        <a:pt x="127" y="23"/>
                        <a:pt x="126" y="21"/>
                      </a:cubicBezTo>
                      <a:cubicBezTo>
                        <a:pt x="127" y="19"/>
                        <a:pt x="127" y="19"/>
                        <a:pt x="127" y="19"/>
                      </a:cubicBezTo>
                      <a:cubicBezTo>
                        <a:pt x="127" y="15"/>
                        <a:pt x="126" y="23"/>
                        <a:pt x="125" y="20"/>
                      </a:cubicBezTo>
                      <a:cubicBezTo>
                        <a:pt x="126" y="16"/>
                        <a:pt x="126" y="16"/>
                        <a:pt x="126" y="16"/>
                      </a:cubicBezTo>
                      <a:cubicBezTo>
                        <a:pt x="124" y="20"/>
                        <a:pt x="125" y="13"/>
                        <a:pt x="125" y="10"/>
                      </a:cubicBezTo>
                      <a:cubicBezTo>
                        <a:pt x="124" y="16"/>
                        <a:pt x="124" y="16"/>
                        <a:pt x="124" y="16"/>
                      </a:cubicBezTo>
                      <a:cubicBezTo>
                        <a:pt x="123" y="13"/>
                        <a:pt x="123" y="13"/>
                        <a:pt x="123" y="13"/>
                      </a:cubicBezTo>
                      <a:cubicBezTo>
                        <a:pt x="122" y="9"/>
                        <a:pt x="124" y="5"/>
                        <a:pt x="124" y="3"/>
                      </a:cubicBezTo>
                      <a:cubicBezTo>
                        <a:pt x="124" y="3"/>
                        <a:pt x="123" y="4"/>
                        <a:pt x="123" y="5"/>
                      </a:cubicBezTo>
                      <a:cubicBezTo>
                        <a:pt x="123" y="0"/>
                        <a:pt x="123" y="0"/>
                        <a:pt x="123" y="0"/>
                      </a:cubicBezTo>
                      <a:cubicBezTo>
                        <a:pt x="123" y="1"/>
                        <a:pt x="123" y="1"/>
                        <a:pt x="123" y="1"/>
                      </a:cubicBezTo>
                      <a:cubicBezTo>
                        <a:pt x="123" y="2"/>
                        <a:pt x="123" y="2"/>
                        <a:pt x="122" y="2"/>
                      </a:cubicBezTo>
                      <a:cubicBezTo>
                        <a:pt x="122" y="3"/>
                        <a:pt x="122" y="3"/>
                        <a:pt x="122" y="3"/>
                      </a:cubicBezTo>
                      <a:cubicBezTo>
                        <a:pt x="122" y="2"/>
                        <a:pt x="121" y="2"/>
                        <a:pt x="121" y="4"/>
                      </a:cubicBezTo>
                      <a:cubicBezTo>
                        <a:pt x="121" y="3"/>
                        <a:pt x="121" y="1"/>
                        <a:pt x="121" y="1"/>
                      </a:cubicBezTo>
                      <a:cubicBezTo>
                        <a:pt x="117" y="11"/>
                        <a:pt x="117" y="11"/>
                        <a:pt x="117" y="11"/>
                      </a:cubicBezTo>
                      <a:cubicBezTo>
                        <a:pt x="119" y="6"/>
                        <a:pt x="119" y="6"/>
                        <a:pt x="119" y="6"/>
                      </a:cubicBezTo>
                      <a:cubicBezTo>
                        <a:pt x="118" y="13"/>
                        <a:pt x="118" y="13"/>
                        <a:pt x="118" y="13"/>
                      </a:cubicBezTo>
                      <a:cubicBezTo>
                        <a:pt x="116" y="20"/>
                        <a:pt x="116" y="14"/>
                        <a:pt x="115" y="17"/>
                      </a:cubicBezTo>
                      <a:cubicBezTo>
                        <a:pt x="116" y="15"/>
                        <a:pt x="116" y="15"/>
                        <a:pt x="116" y="15"/>
                      </a:cubicBezTo>
                      <a:cubicBezTo>
                        <a:pt x="114" y="18"/>
                        <a:pt x="114" y="16"/>
                        <a:pt x="113" y="16"/>
                      </a:cubicBezTo>
                      <a:cubicBezTo>
                        <a:pt x="113" y="16"/>
                        <a:pt x="114" y="18"/>
                        <a:pt x="113" y="19"/>
                      </a:cubicBezTo>
                      <a:cubicBezTo>
                        <a:pt x="113" y="20"/>
                        <a:pt x="113" y="17"/>
                        <a:pt x="112" y="17"/>
                      </a:cubicBezTo>
                      <a:cubicBezTo>
                        <a:pt x="112" y="21"/>
                        <a:pt x="111" y="25"/>
                        <a:pt x="110" y="24"/>
                      </a:cubicBezTo>
                      <a:cubicBezTo>
                        <a:pt x="110" y="24"/>
                        <a:pt x="110" y="23"/>
                        <a:pt x="110" y="23"/>
                      </a:cubicBezTo>
                      <a:cubicBezTo>
                        <a:pt x="110" y="24"/>
                        <a:pt x="109" y="25"/>
                        <a:pt x="109" y="25"/>
                      </a:cubicBezTo>
                      <a:cubicBezTo>
                        <a:pt x="109" y="20"/>
                        <a:pt x="109" y="20"/>
                        <a:pt x="109" y="20"/>
                      </a:cubicBezTo>
                      <a:cubicBezTo>
                        <a:pt x="108" y="25"/>
                        <a:pt x="108" y="25"/>
                        <a:pt x="108" y="25"/>
                      </a:cubicBezTo>
                      <a:cubicBezTo>
                        <a:pt x="107" y="25"/>
                        <a:pt x="107" y="29"/>
                        <a:pt x="107" y="26"/>
                      </a:cubicBezTo>
                      <a:cubicBezTo>
                        <a:pt x="107" y="25"/>
                        <a:pt x="107" y="25"/>
                        <a:pt x="107" y="25"/>
                      </a:cubicBezTo>
                      <a:cubicBezTo>
                        <a:pt x="102" y="30"/>
                        <a:pt x="102" y="30"/>
                        <a:pt x="102" y="30"/>
                      </a:cubicBezTo>
                      <a:cubicBezTo>
                        <a:pt x="101" y="27"/>
                        <a:pt x="101" y="27"/>
                        <a:pt x="101" y="27"/>
                      </a:cubicBezTo>
                      <a:cubicBezTo>
                        <a:pt x="101" y="31"/>
                        <a:pt x="98" y="29"/>
                        <a:pt x="99" y="33"/>
                      </a:cubicBezTo>
                      <a:cubicBezTo>
                        <a:pt x="97" y="32"/>
                        <a:pt x="96" y="39"/>
                        <a:pt x="95" y="34"/>
                      </a:cubicBezTo>
                      <a:cubicBezTo>
                        <a:pt x="93" y="35"/>
                        <a:pt x="92" y="38"/>
                        <a:pt x="91" y="40"/>
                      </a:cubicBezTo>
                      <a:cubicBezTo>
                        <a:pt x="89" y="42"/>
                        <a:pt x="88" y="44"/>
                        <a:pt x="85" y="46"/>
                      </a:cubicBezTo>
                      <a:cubicBezTo>
                        <a:pt x="84" y="45"/>
                        <a:pt x="82" y="46"/>
                        <a:pt x="80" y="47"/>
                      </a:cubicBezTo>
                      <a:cubicBezTo>
                        <a:pt x="79" y="48"/>
                        <a:pt x="78" y="49"/>
                        <a:pt x="77" y="49"/>
                      </a:cubicBezTo>
                      <a:cubicBezTo>
                        <a:pt x="77" y="50"/>
                        <a:pt x="76" y="50"/>
                        <a:pt x="76" y="50"/>
                      </a:cubicBezTo>
                      <a:cubicBezTo>
                        <a:pt x="74" y="54"/>
                        <a:pt x="73" y="57"/>
                        <a:pt x="71" y="61"/>
                      </a:cubicBezTo>
                      <a:cubicBezTo>
                        <a:pt x="65" y="58"/>
                        <a:pt x="67" y="66"/>
                        <a:pt x="63" y="66"/>
                      </a:cubicBezTo>
                      <a:cubicBezTo>
                        <a:pt x="64" y="68"/>
                        <a:pt x="64" y="68"/>
                        <a:pt x="64" y="68"/>
                      </a:cubicBezTo>
                      <a:cubicBezTo>
                        <a:pt x="60" y="66"/>
                        <a:pt x="61" y="71"/>
                        <a:pt x="57" y="70"/>
                      </a:cubicBezTo>
                      <a:cubicBezTo>
                        <a:pt x="57" y="71"/>
                        <a:pt x="57" y="72"/>
                        <a:pt x="57" y="72"/>
                      </a:cubicBezTo>
                      <a:cubicBezTo>
                        <a:pt x="57" y="72"/>
                        <a:pt x="57" y="72"/>
                        <a:pt x="58" y="73"/>
                      </a:cubicBezTo>
                      <a:cubicBezTo>
                        <a:pt x="57" y="73"/>
                        <a:pt x="56" y="75"/>
                        <a:pt x="55" y="72"/>
                      </a:cubicBezTo>
                      <a:cubicBezTo>
                        <a:pt x="55" y="72"/>
                        <a:pt x="55" y="72"/>
                        <a:pt x="55" y="72"/>
                      </a:cubicBezTo>
                      <a:cubicBezTo>
                        <a:pt x="53" y="70"/>
                        <a:pt x="54" y="74"/>
                        <a:pt x="52" y="73"/>
                      </a:cubicBezTo>
                      <a:cubicBezTo>
                        <a:pt x="54" y="75"/>
                        <a:pt x="54" y="75"/>
                        <a:pt x="54" y="75"/>
                      </a:cubicBezTo>
                      <a:cubicBezTo>
                        <a:pt x="53" y="76"/>
                        <a:pt x="53" y="76"/>
                        <a:pt x="53" y="76"/>
                      </a:cubicBezTo>
                      <a:cubicBezTo>
                        <a:pt x="52" y="75"/>
                        <a:pt x="52" y="75"/>
                        <a:pt x="52" y="75"/>
                      </a:cubicBezTo>
                      <a:cubicBezTo>
                        <a:pt x="52" y="84"/>
                        <a:pt x="44" y="78"/>
                        <a:pt x="43" y="86"/>
                      </a:cubicBezTo>
                      <a:cubicBezTo>
                        <a:pt x="42" y="83"/>
                        <a:pt x="43" y="88"/>
                        <a:pt x="41" y="85"/>
                      </a:cubicBezTo>
                      <a:cubicBezTo>
                        <a:pt x="37" y="83"/>
                        <a:pt x="39" y="87"/>
                        <a:pt x="39" y="89"/>
                      </a:cubicBezTo>
                      <a:cubicBezTo>
                        <a:pt x="39" y="89"/>
                        <a:pt x="39" y="89"/>
                        <a:pt x="39" y="90"/>
                      </a:cubicBezTo>
                      <a:cubicBezTo>
                        <a:pt x="37" y="91"/>
                        <a:pt x="37" y="91"/>
                        <a:pt x="37" y="91"/>
                      </a:cubicBezTo>
                      <a:cubicBezTo>
                        <a:pt x="36" y="86"/>
                        <a:pt x="38" y="94"/>
                        <a:pt x="37" y="91"/>
                      </a:cubicBezTo>
                      <a:cubicBezTo>
                        <a:pt x="31" y="91"/>
                        <a:pt x="27" y="98"/>
                        <a:pt x="21" y="100"/>
                      </a:cubicBezTo>
                      <a:cubicBezTo>
                        <a:pt x="22" y="101"/>
                        <a:pt x="22" y="101"/>
                        <a:pt x="22" y="101"/>
                      </a:cubicBezTo>
                      <a:cubicBezTo>
                        <a:pt x="20" y="101"/>
                        <a:pt x="19" y="104"/>
                        <a:pt x="18" y="103"/>
                      </a:cubicBezTo>
                      <a:cubicBezTo>
                        <a:pt x="16" y="102"/>
                        <a:pt x="17" y="106"/>
                        <a:pt x="17" y="107"/>
                      </a:cubicBezTo>
                      <a:cubicBezTo>
                        <a:pt x="16" y="109"/>
                        <a:pt x="13" y="107"/>
                        <a:pt x="14" y="106"/>
                      </a:cubicBezTo>
                      <a:cubicBezTo>
                        <a:pt x="13" y="108"/>
                        <a:pt x="14" y="112"/>
                        <a:pt x="12" y="111"/>
                      </a:cubicBezTo>
                      <a:cubicBezTo>
                        <a:pt x="9" y="109"/>
                        <a:pt x="9" y="117"/>
                        <a:pt x="7" y="114"/>
                      </a:cubicBezTo>
                      <a:cubicBezTo>
                        <a:pt x="7" y="114"/>
                        <a:pt x="7" y="114"/>
                        <a:pt x="7" y="114"/>
                      </a:cubicBezTo>
                      <a:cubicBezTo>
                        <a:pt x="3" y="113"/>
                        <a:pt x="4" y="118"/>
                        <a:pt x="0" y="117"/>
                      </a:cubicBezTo>
                      <a:cubicBezTo>
                        <a:pt x="0" y="117"/>
                        <a:pt x="0" y="117"/>
                        <a:pt x="0" y="117"/>
                      </a:cubicBezTo>
                      <a:cubicBezTo>
                        <a:pt x="1" y="121"/>
                        <a:pt x="1" y="126"/>
                        <a:pt x="2" y="130"/>
                      </a:cubicBezTo>
                      <a:cubicBezTo>
                        <a:pt x="10" y="141"/>
                        <a:pt x="10" y="141"/>
                        <a:pt x="10" y="141"/>
                      </a:cubicBezTo>
                      <a:cubicBezTo>
                        <a:pt x="20" y="148"/>
                        <a:pt x="20" y="148"/>
                        <a:pt x="20" y="148"/>
                      </a:cubicBezTo>
                      <a:cubicBezTo>
                        <a:pt x="23" y="145"/>
                        <a:pt x="27" y="142"/>
                        <a:pt x="30" y="139"/>
                      </a:cubicBezTo>
                      <a:cubicBezTo>
                        <a:pt x="42" y="137"/>
                        <a:pt x="42" y="137"/>
                        <a:pt x="42" y="137"/>
                      </a:cubicBezTo>
                      <a:cubicBezTo>
                        <a:pt x="49" y="132"/>
                        <a:pt x="56" y="127"/>
                        <a:pt x="63" y="121"/>
                      </a:cubicBezTo>
                      <a:cubicBezTo>
                        <a:pt x="62" y="117"/>
                        <a:pt x="62" y="117"/>
                        <a:pt x="62" y="117"/>
                      </a:cubicBezTo>
                      <a:cubicBezTo>
                        <a:pt x="70" y="119"/>
                        <a:pt x="72" y="110"/>
                        <a:pt x="78" y="109"/>
                      </a:cubicBezTo>
                      <a:cubicBezTo>
                        <a:pt x="77" y="107"/>
                        <a:pt x="77" y="107"/>
                        <a:pt x="77" y="107"/>
                      </a:cubicBezTo>
                      <a:cubicBezTo>
                        <a:pt x="78" y="106"/>
                        <a:pt x="79" y="108"/>
                        <a:pt x="79" y="108"/>
                      </a:cubicBezTo>
                      <a:cubicBezTo>
                        <a:pt x="82" y="105"/>
                        <a:pt x="85" y="103"/>
                        <a:pt x="87" y="101"/>
                      </a:cubicBezTo>
                      <a:cubicBezTo>
                        <a:pt x="87" y="121"/>
                        <a:pt x="87" y="141"/>
                        <a:pt x="88" y="160"/>
                      </a:cubicBezTo>
                      <a:cubicBezTo>
                        <a:pt x="82" y="209"/>
                        <a:pt x="82" y="209"/>
                        <a:pt x="82" y="209"/>
                      </a:cubicBezTo>
                      <a:cubicBezTo>
                        <a:pt x="82" y="249"/>
                        <a:pt x="82" y="288"/>
                        <a:pt x="83" y="328"/>
                      </a:cubicBezTo>
                      <a:cubicBezTo>
                        <a:pt x="87" y="336"/>
                        <a:pt x="87" y="336"/>
                        <a:pt x="87" y="336"/>
                      </a:cubicBezTo>
                      <a:cubicBezTo>
                        <a:pt x="81" y="359"/>
                        <a:pt x="88" y="389"/>
                        <a:pt x="85" y="415"/>
                      </a:cubicBezTo>
                      <a:cubicBezTo>
                        <a:pt x="88" y="415"/>
                        <a:pt x="88" y="415"/>
                        <a:pt x="88" y="415"/>
                      </a:cubicBezTo>
                      <a:cubicBezTo>
                        <a:pt x="89" y="422"/>
                        <a:pt x="87" y="422"/>
                        <a:pt x="86" y="423"/>
                      </a:cubicBezTo>
                      <a:cubicBezTo>
                        <a:pt x="88" y="456"/>
                        <a:pt x="91" y="490"/>
                        <a:pt x="96" y="523"/>
                      </a:cubicBezTo>
                      <a:cubicBezTo>
                        <a:pt x="98" y="539"/>
                        <a:pt x="100" y="556"/>
                        <a:pt x="103" y="572"/>
                      </a:cubicBezTo>
                      <a:cubicBezTo>
                        <a:pt x="105" y="580"/>
                        <a:pt x="107" y="588"/>
                        <a:pt x="109" y="597"/>
                      </a:cubicBezTo>
                      <a:cubicBezTo>
                        <a:pt x="112" y="605"/>
                        <a:pt x="114" y="613"/>
                        <a:pt x="120" y="623"/>
                      </a:cubicBezTo>
                      <a:cubicBezTo>
                        <a:pt x="121" y="625"/>
                        <a:pt x="123" y="628"/>
                        <a:pt x="126" y="632"/>
                      </a:cubicBezTo>
                      <a:cubicBezTo>
                        <a:pt x="129" y="635"/>
                        <a:pt x="133" y="638"/>
                        <a:pt x="136" y="640"/>
                      </a:cubicBezTo>
                      <a:cubicBezTo>
                        <a:pt x="143" y="644"/>
                        <a:pt x="149" y="647"/>
                        <a:pt x="151" y="649"/>
                      </a:cubicBezTo>
                      <a:cubicBezTo>
                        <a:pt x="163" y="652"/>
                        <a:pt x="173" y="654"/>
                        <a:pt x="184" y="655"/>
                      </a:cubicBezTo>
                      <a:cubicBezTo>
                        <a:pt x="194" y="657"/>
                        <a:pt x="204" y="659"/>
                        <a:pt x="214" y="661"/>
                      </a:cubicBezTo>
                      <a:cubicBezTo>
                        <a:pt x="213" y="661"/>
                        <a:pt x="213" y="661"/>
                        <a:pt x="213" y="661"/>
                      </a:cubicBezTo>
                      <a:cubicBezTo>
                        <a:pt x="223" y="662"/>
                        <a:pt x="223" y="662"/>
                        <a:pt x="223" y="662"/>
                      </a:cubicBezTo>
                      <a:cubicBezTo>
                        <a:pt x="223" y="662"/>
                        <a:pt x="223" y="662"/>
                        <a:pt x="223" y="663"/>
                      </a:cubicBezTo>
                      <a:cubicBezTo>
                        <a:pt x="233" y="662"/>
                        <a:pt x="249" y="666"/>
                        <a:pt x="262" y="668"/>
                      </a:cubicBezTo>
                      <a:cubicBezTo>
                        <a:pt x="261" y="668"/>
                        <a:pt x="261" y="668"/>
                        <a:pt x="261" y="668"/>
                      </a:cubicBezTo>
                      <a:cubicBezTo>
                        <a:pt x="298" y="671"/>
                        <a:pt x="334" y="672"/>
                        <a:pt x="369" y="672"/>
                      </a:cubicBezTo>
                      <a:cubicBezTo>
                        <a:pt x="404" y="672"/>
                        <a:pt x="439" y="672"/>
                        <a:pt x="476" y="673"/>
                      </a:cubicBezTo>
                      <a:cubicBezTo>
                        <a:pt x="509" y="677"/>
                        <a:pt x="549" y="671"/>
                        <a:pt x="587" y="673"/>
                      </a:cubicBezTo>
                      <a:cubicBezTo>
                        <a:pt x="594" y="676"/>
                        <a:pt x="672" y="671"/>
                        <a:pt x="679" y="669"/>
                      </a:cubicBezTo>
                      <a:cubicBezTo>
                        <a:pt x="670" y="666"/>
                        <a:pt x="670" y="666"/>
                        <a:pt x="670" y="666"/>
                      </a:cubicBezTo>
                      <a:cubicBezTo>
                        <a:pt x="699" y="664"/>
                        <a:pt x="713" y="666"/>
                        <a:pt x="738" y="662"/>
                      </a:cubicBezTo>
                      <a:cubicBezTo>
                        <a:pt x="736" y="663"/>
                        <a:pt x="736" y="663"/>
                        <a:pt x="736" y="663"/>
                      </a:cubicBezTo>
                      <a:cubicBezTo>
                        <a:pt x="739" y="663"/>
                        <a:pt x="738" y="662"/>
                        <a:pt x="739" y="661"/>
                      </a:cubicBezTo>
                      <a:cubicBezTo>
                        <a:pt x="740" y="660"/>
                        <a:pt x="742" y="661"/>
                        <a:pt x="747" y="665"/>
                      </a:cubicBezTo>
                      <a:cubicBezTo>
                        <a:pt x="747" y="665"/>
                        <a:pt x="747" y="665"/>
                        <a:pt x="747" y="665"/>
                      </a:cubicBezTo>
                      <a:cubicBezTo>
                        <a:pt x="747" y="665"/>
                        <a:pt x="747" y="665"/>
                        <a:pt x="747" y="665"/>
                      </a:cubicBezTo>
                      <a:cubicBezTo>
                        <a:pt x="746" y="663"/>
                        <a:pt x="746" y="663"/>
                        <a:pt x="746" y="663"/>
                      </a:cubicBezTo>
                      <a:cubicBezTo>
                        <a:pt x="747" y="663"/>
                        <a:pt x="747" y="661"/>
                        <a:pt x="748" y="661"/>
                      </a:cubicBezTo>
                      <a:cubicBezTo>
                        <a:pt x="749" y="661"/>
                        <a:pt x="749" y="662"/>
                        <a:pt x="749" y="662"/>
                      </a:cubicBezTo>
                      <a:cubicBezTo>
                        <a:pt x="751" y="662"/>
                        <a:pt x="751" y="662"/>
                        <a:pt x="751" y="662"/>
                      </a:cubicBezTo>
                      <a:cubicBezTo>
                        <a:pt x="752" y="664"/>
                        <a:pt x="752" y="664"/>
                        <a:pt x="752" y="664"/>
                      </a:cubicBezTo>
                      <a:cubicBezTo>
                        <a:pt x="753" y="662"/>
                        <a:pt x="753" y="658"/>
                        <a:pt x="755" y="660"/>
                      </a:cubicBezTo>
                      <a:cubicBezTo>
                        <a:pt x="754" y="657"/>
                        <a:pt x="756" y="658"/>
                        <a:pt x="755" y="657"/>
                      </a:cubicBezTo>
                      <a:cubicBezTo>
                        <a:pt x="756" y="657"/>
                        <a:pt x="756" y="658"/>
                        <a:pt x="756" y="658"/>
                      </a:cubicBezTo>
                      <a:cubicBezTo>
                        <a:pt x="757" y="658"/>
                        <a:pt x="760" y="657"/>
                        <a:pt x="760" y="655"/>
                      </a:cubicBezTo>
                      <a:close/>
                      <a:moveTo>
                        <a:pt x="749" y="662"/>
                      </a:moveTo>
                      <a:cubicBezTo>
                        <a:pt x="749" y="662"/>
                        <a:pt x="749" y="662"/>
                        <a:pt x="749" y="662"/>
                      </a:cubicBezTo>
                      <a:cubicBezTo>
                        <a:pt x="749" y="663"/>
                        <a:pt x="749" y="663"/>
                        <a:pt x="749" y="662"/>
                      </a:cubicBezTo>
                      <a:close/>
                      <a:moveTo>
                        <a:pt x="632" y="637"/>
                      </a:moveTo>
                      <a:cubicBezTo>
                        <a:pt x="632" y="637"/>
                        <a:pt x="632" y="637"/>
                        <a:pt x="632" y="637"/>
                      </a:cubicBezTo>
                      <a:cubicBezTo>
                        <a:pt x="630" y="635"/>
                        <a:pt x="630" y="635"/>
                        <a:pt x="630" y="635"/>
                      </a:cubicBezTo>
                      <a:lnTo>
                        <a:pt x="632" y="637"/>
                      </a:lnTo>
                      <a:close/>
                      <a:moveTo>
                        <a:pt x="730" y="632"/>
                      </a:moveTo>
                      <a:cubicBezTo>
                        <a:pt x="732" y="632"/>
                        <a:pt x="733" y="632"/>
                        <a:pt x="734" y="631"/>
                      </a:cubicBezTo>
                      <a:cubicBezTo>
                        <a:pt x="730" y="631"/>
                        <a:pt x="730" y="632"/>
                        <a:pt x="730" y="632"/>
                      </a:cubicBezTo>
                      <a:close/>
                      <a:moveTo>
                        <a:pt x="756" y="660"/>
                      </a:moveTo>
                      <a:cubicBezTo>
                        <a:pt x="757" y="660"/>
                        <a:pt x="756" y="659"/>
                        <a:pt x="756" y="658"/>
                      </a:cubicBezTo>
                      <a:cubicBezTo>
                        <a:pt x="755" y="659"/>
                        <a:pt x="755" y="659"/>
                        <a:pt x="755" y="659"/>
                      </a:cubicBezTo>
                      <a:cubicBezTo>
                        <a:pt x="756" y="659"/>
                        <a:pt x="756" y="659"/>
                        <a:pt x="756" y="660"/>
                      </a:cubicBezTo>
                      <a:close/>
                      <a:moveTo>
                        <a:pt x="753" y="645"/>
                      </a:moveTo>
                      <a:cubicBezTo>
                        <a:pt x="753" y="644"/>
                        <a:pt x="753" y="644"/>
                        <a:pt x="753" y="644"/>
                      </a:cubicBezTo>
                      <a:cubicBezTo>
                        <a:pt x="753" y="644"/>
                        <a:pt x="753" y="644"/>
                        <a:pt x="753" y="645"/>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7" name="TextBox 26"/>
              <p:cNvSpPr txBox="1"/>
              <p:nvPr/>
            </p:nvSpPr>
            <p:spPr>
              <a:xfrm>
                <a:off x="4876800" y="2133600"/>
                <a:ext cx="3372679" cy="1384995"/>
              </a:xfrm>
              <a:prstGeom prst="rect">
                <a:avLst/>
              </a:prstGeom>
              <a:noFill/>
            </p:spPr>
            <p:txBody>
              <a:bodyPr wrap="square" rtlCol="0">
                <a:spAutoFit/>
              </a:bodyPr>
              <a:lstStyle/>
              <a:p>
                <a:pPr algn="ctr"/>
                <a:r>
                  <a:rPr lang="en-US" sz="2800" dirty="0" smtClean="0">
                    <a:latin typeface="Segoe UI" pitchFamily="34" charset="0"/>
                    <a:ea typeface="Segoe UI" pitchFamily="34" charset="0"/>
                    <a:cs typeface="Segoe UI" pitchFamily="34" charset="0"/>
                  </a:rPr>
                  <a:t>SEKTOR PENDIDIKAN ISLAM </a:t>
                </a:r>
              </a:p>
              <a:p>
                <a:pPr algn="ctr"/>
                <a:r>
                  <a:rPr lang="en-US" sz="2800" dirty="0" smtClean="0">
                    <a:latin typeface="Segoe UI" pitchFamily="34" charset="0"/>
                    <a:ea typeface="Segoe UI" pitchFamily="34" charset="0"/>
                    <a:cs typeface="Segoe UI" pitchFamily="34" charset="0"/>
                  </a:rPr>
                  <a:t>(JPN)</a:t>
                </a:r>
                <a:endParaRPr lang="en-US" sz="2800" dirty="0">
                  <a:latin typeface="Segoe UI" pitchFamily="34" charset="0"/>
                  <a:ea typeface="Segoe UI" pitchFamily="34" charset="0"/>
                  <a:cs typeface="Segoe UI" pitchFamily="34" charset="0"/>
                </a:endParaRPr>
              </a:p>
            </p:txBody>
          </p:sp>
        </p:grpSp>
        <p:sp>
          <p:nvSpPr>
            <p:cNvPr id="39" name="Freeform 68"/>
            <p:cNvSpPr>
              <a:spLocks/>
            </p:cNvSpPr>
            <p:nvPr>
              <p:custDataLst>
                <p:tags r:id="rId2"/>
              </p:custDataLst>
            </p:nvPr>
          </p:nvSpPr>
          <p:spPr bwMode="gray">
            <a:xfrm flipV="1">
              <a:off x="4876801" y="3518595"/>
              <a:ext cx="3372678" cy="139008"/>
            </a:xfrm>
            <a:custGeom>
              <a:avLst/>
              <a:gdLst>
                <a:gd name="T0" fmla="*/ 2147483647 w 2709"/>
                <a:gd name="T1" fmla="*/ 0 h 468"/>
                <a:gd name="T2" fmla="*/ 0 w 2709"/>
                <a:gd name="T3" fmla="*/ 0 h 468"/>
                <a:gd name="T4" fmla="*/ 2147483647 w 2709"/>
                <a:gd name="T5" fmla="*/ 0 h 468"/>
                <a:gd name="T6" fmla="*/ 2147483647 w 2709"/>
                <a:gd name="T7" fmla="*/ 2147483647 h 468"/>
                <a:gd name="T8" fmla="*/ 0 60000 65536"/>
                <a:gd name="T9" fmla="*/ 0 60000 65536"/>
                <a:gd name="T10" fmla="*/ 0 60000 65536"/>
                <a:gd name="T11" fmla="*/ 0 60000 65536"/>
                <a:gd name="T12" fmla="*/ 0 w 2709"/>
                <a:gd name="T13" fmla="*/ 0 h 468"/>
                <a:gd name="T14" fmla="*/ 2709 w 2709"/>
                <a:gd name="T15" fmla="*/ 468 h 468"/>
              </a:gdLst>
              <a:ahLst/>
              <a:cxnLst>
                <a:cxn ang="T8">
                  <a:pos x="T0" y="T1"/>
                </a:cxn>
                <a:cxn ang="T9">
                  <a:pos x="T2" y="T3"/>
                </a:cxn>
                <a:cxn ang="T10">
                  <a:pos x="T4" y="T5"/>
                </a:cxn>
                <a:cxn ang="T11">
                  <a:pos x="T6" y="T7"/>
                </a:cxn>
              </a:cxnLst>
              <a:rect l="T12" t="T13" r="T14" b="T15"/>
              <a:pathLst>
                <a:path w="2709" h="468">
                  <a:moveTo>
                    <a:pt x="2709" y="0"/>
                  </a:moveTo>
                  <a:lnTo>
                    <a:pt x="0" y="0"/>
                  </a:lnTo>
                  <a:lnTo>
                    <a:pt x="1356" y="0"/>
                  </a:lnTo>
                  <a:lnTo>
                    <a:pt x="1356" y="468"/>
                  </a:lnTo>
                </a:path>
              </a:pathLst>
            </a:custGeom>
            <a:noFill/>
            <a:ln w="19050" cap="flat" cmpd="sng">
              <a:solidFill>
                <a:srgbClr val="808080"/>
              </a:solidFill>
              <a:prstDash val="solid"/>
              <a:round/>
              <a:headEnd type="none" w="med" len="med"/>
              <a:tailEnd type="oval" w="med" len="med"/>
            </a:ln>
          </p:spPr>
          <p:txBody>
            <a:bodyPr wrap="none" lIns="73144" tIns="73144" rIns="73144" bIns="73144" anchor="ctr"/>
            <a:lstStyle/>
            <a:p>
              <a:endParaRPr lang="en-US">
                <a:latin typeface="Arial" pitchFamily="34" charset="0"/>
                <a:cs typeface="Arial" pitchFamily="34" charset="0"/>
              </a:endParaRPr>
            </a:p>
          </p:txBody>
        </p:sp>
      </p:grpSp>
      <p:grpSp>
        <p:nvGrpSpPr>
          <p:cNvPr id="9" name="Group 40"/>
          <p:cNvGrpSpPr/>
          <p:nvPr/>
        </p:nvGrpSpPr>
        <p:grpSpPr>
          <a:xfrm>
            <a:off x="1210436" y="4566616"/>
            <a:ext cx="7039043" cy="1843212"/>
            <a:chOff x="1210436" y="4566616"/>
            <a:chExt cx="7039043" cy="1843212"/>
          </a:xfrm>
        </p:grpSpPr>
        <p:grpSp>
          <p:nvGrpSpPr>
            <p:cNvPr id="10" name="Group 37"/>
            <p:cNvGrpSpPr/>
            <p:nvPr/>
          </p:nvGrpSpPr>
          <p:grpSpPr>
            <a:xfrm>
              <a:off x="1210436" y="4566616"/>
              <a:ext cx="7039043" cy="1843212"/>
              <a:chOff x="1210436" y="4566616"/>
              <a:chExt cx="7039043" cy="1843212"/>
            </a:xfrm>
          </p:grpSpPr>
          <p:grpSp>
            <p:nvGrpSpPr>
              <p:cNvPr id="11" name="Group 9"/>
              <p:cNvGrpSpPr/>
              <p:nvPr/>
            </p:nvGrpSpPr>
            <p:grpSpPr>
              <a:xfrm>
                <a:off x="1210436" y="4566616"/>
                <a:ext cx="3269434" cy="1843212"/>
                <a:chOff x="1210436" y="4124066"/>
                <a:chExt cx="3269434" cy="1843212"/>
              </a:xfrm>
            </p:grpSpPr>
            <p:grpSp>
              <p:nvGrpSpPr>
                <p:cNvPr id="12" name="Group 8"/>
                <p:cNvGrpSpPr/>
                <p:nvPr/>
              </p:nvGrpSpPr>
              <p:grpSpPr>
                <a:xfrm>
                  <a:off x="2744194" y="4124066"/>
                  <a:ext cx="1735676" cy="1843212"/>
                  <a:chOff x="2744194" y="4124066"/>
                  <a:chExt cx="1735676" cy="1843212"/>
                </a:xfrm>
              </p:grpSpPr>
              <p:pic>
                <p:nvPicPr>
                  <p:cNvPr id="59" name="Picture 5" descr="professional-man.png"/>
                  <p:cNvPicPr>
                    <a:picLocks noChangeAspect="1"/>
                  </p:cNvPicPr>
                  <p:nvPr/>
                </p:nvPicPr>
                <p:blipFill>
                  <a:blip r:embed="rId6" cstate="print"/>
                  <a:srcRect/>
                  <a:stretch>
                    <a:fillRect/>
                  </a:stretch>
                </p:blipFill>
                <p:spPr bwMode="auto">
                  <a:xfrm rot="21442773" flipH="1">
                    <a:off x="3837601" y="4124066"/>
                    <a:ext cx="642269" cy="969992"/>
                  </a:xfrm>
                  <a:prstGeom prst="rect">
                    <a:avLst/>
                  </a:prstGeom>
                  <a:noFill/>
                  <a:ln w="9525">
                    <a:noFill/>
                    <a:miter lim="800000"/>
                    <a:headEnd/>
                    <a:tailEnd/>
                  </a:ln>
                </p:spPr>
              </p:pic>
              <p:sp>
                <p:nvSpPr>
                  <p:cNvPr id="60" name="Freeform 499"/>
                  <p:cNvSpPr>
                    <a:spLocks noEditPoints="1"/>
                  </p:cNvSpPr>
                  <p:nvPr/>
                </p:nvSpPr>
                <p:spPr bwMode="auto">
                  <a:xfrm>
                    <a:off x="2744194" y="4824270"/>
                    <a:ext cx="1714512" cy="1143008"/>
                  </a:xfrm>
                  <a:custGeom>
                    <a:avLst/>
                    <a:gdLst>
                      <a:gd name="T0" fmla="*/ 207 w 362"/>
                      <a:gd name="T1" fmla="*/ 1 h 362"/>
                      <a:gd name="T2" fmla="*/ 177 w 362"/>
                      <a:gd name="T3" fmla="*/ 5 h 362"/>
                      <a:gd name="T4" fmla="*/ 137 w 362"/>
                      <a:gd name="T5" fmla="*/ 19 h 362"/>
                      <a:gd name="T6" fmla="*/ 79 w 362"/>
                      <a:gd name="T7" fmla="*/ 24 h 362"/>
                      <a:gd name="T8" fmla="*/ 49 w 362"/>
                      <a:gd name="T9" fmla="*/ 33 h 362"/>
                      <a:gd name="T10" fmla="*/ 54 w 362"/>
                      <a:gd name="T11" fmla="*/ 32 h 362"/>
                      <a:gd name="T12" fmla="*/ 50 w 362"/>
                      <a:gd name="T13" fmla="*/ 30 h 362"/>
                      <a:gd name="T14" fmla="*/ 51 w 362"/>
                      <a:gd name="T15" fmla="*/ 36 h 362"/>
                      <a:gd name="T16" fmla="*/ 49 w 362"/>
                      <a:gd name="T17" fmla="*/ 30 h 362"/>
                      <a:gd name="T18" fmla="*/ 51 w 362"/>
                      <a:gd name="T19" fmla="*/ 36 h 362"/>
                      <a:gd name="T20" fmla="*/ 49 w 362"/>
                      <a:gd name="T21" fmla="*/ 33 h 362"/>
                      <a:gd name="T22" fmla="*/ 48 w 362"/>
                      <a:gd name="T23" fmla="*/ 32 h 362"/>
                      <a:gd name="T24" fmla="*/ 47 w 362"/>
                      <a:gd name="T25" fmla="*/ 38 h 362"/>
                      <a:gd name="T26" fmla="*/ 47 w 362"/>
                      <a:gd name="T27" fmla="*/ 41 h 362"/>
                      <a:gd name="T28" fmla="*/ 111 w 362"/>
                      <a:gd name="T29" fmla="*/ 27 h 362"/>
                      <a:gd name="T30" fmla="*/ 50 w 362"/>
                      <a:gd name="T31" fmla="*/ 35 h 362"/>
                      <a:gd name="T32" fmla="*/ 49 w 362"/>
                      <a:gd name="T33" fmla="*/ 31 h 362"/>
                      <a:gd name="T34" fmla="*/ 47 w 362"/>
                      <a:gd name="T35" fmla="*/ 32 h 362"/>
                      <a:gd name="T36" fmla="*/ 46 w 362"/>
                      <a:gd name="T37" fmla="*/ 32 h 362"/>
                      <a:gd name="T38" fmla="*/ 159 w 362"/>
                      <a:gd name="T39" fmla="*/ 18 h 362"/>
                      <a:gd name="T40" fmla="*/ 317 w 362"/>
                      <a:gd name="T41" fmla="*/ 14 h 362"/>
                      <a:gd name="T42" fmla="*/ 260 w 362"/>
                      <a:gd name="T43" fmla="*/ 1 h 362"/>
                      <a:gd name="T44" fmla="*/ 184 w 362"/>
                      <a:gd name="T45" fmla="*/ 5 h 362"/>
                      <a:gd name="T46" fmla="*/ 129 w 362"/>
                      <a:gd name="T47" fmla="*/ 13 h 362"/>
                      <a:gd name="T48" fmla="*/ 85 w 362"/>
                      <a:gd name="T49" fmla="*/ 22 h 362"/>
                      <a:gd name="T50" fmla="*/ 97 w 362"/>
                      <a:gd name="T51" fmla="*/ 20 h 362"/>
                      <a:gd name="T52" fmla="*/ 97 w 362"/>
                      <a:gd name="T53" fmla="*/ 21 h 362"/>
                      <a:gd name="T54" fmla="*/ 137 w 362"/>
                      <a:gd name="T55" fmla="*/ 14 h 362"/>
                      <a:gd name="T56" fmla="*/ 143 w 362"/>
                      <a:gd name="T57" fmla="*/ 14 h 362"/>
                      <a:gd name="T58" fmla="*/ 112 w 362"/>
                      <a:gd name="T59" fmla="*/ 20 h 362"/>
                      <a:gd name="T60" fmla="*/ 182 w 362"/>
                      <a:gd name="T61" fmla="*/ 12 h 362"/>
                      <a:gd name="T62" fmla="*/ 53 w 362"/>
                      <a:gd name="T63" fmla="*/ 36 h 362"/>
                      <a:gd name="T64" fmla="*/ 56 w 362"/>
                      <a:gd name="T65" fmla="*/ 36 h 362"/>
                      <a:gd name="T66" fmla="*/ 158 w 362"/>
                      <a:gd name="T67" fmla="*/ 18 h 362"/>
                      <a:gd name="T68" fmla="*/ 221 w 362"/>
                      <a:gd name="T69" fmla="*/ 12 h 362"/>
                      <a:gd name="T70" fmla="*/ 327 w 362"/>
                      <a:gd name="T71" fmla="*/ 43 h 362"/>
                      <a:gd name="T72" fmla="*/ 344 w 362"/>
                      <a:gd name="T73" fmla="*/ 235 h 362"/>
                      <a:gd name="T74" fmla="*/ 273 w 362"/>
                      <a:gd name="T75" fmla="*/ 333 h 362"/>
                      <a:gd name="T76" fmla="*/ 91 w 362"/>
                      <a:gd name="T77" fmla="*/ 339 h 362"/>
                      <a:gd name="T78" fmla="*/ 16 w 362"/>
                      <a:gd name="T79" fmla="*/ 244 h 362"/>
                      <a:gd name="T80" fmla="*/ 28 w 362"/>
                      <a:gd name="T81" fmla="*/ 84 h 362"/>
                      <a:gd name="T82" fmla="*/ 34 w 362"/>
                      <a:gd name="T83" fmla="*/ 56 h 362"/>
                      <a:gd name="T84" fmla="*/ 36 w 362"/>
                      <a:gd name="T85" fmla="*/ 50 h 362"/>
                      <a:gd name="T86" fmla="*/ 33 w 362"/>
                      <a:gd name="T87" fmla="*/ 41 h 362"/>
                      <a:gd name="T88" fmla="*/ 25 w 362"/>
                      <a:gd name="T89" fmla="*/ 39 h 362"/>
                      <a:gd name="T90" fmla="*/ 19 w 362"/>
                      <a:gd name="T91" fmla="*/ 43 h 362"/>
                      <a:gd name="T92" fmla="*/ 17 w 362"/>
                      <a:gd name="T93" fmla="*/ 49 h 362"/>
                      <a:gd name="T94" fmla="*/ 16 w 362"/>
                      <a:gd name="T95" fmla="*/ 56 h 362"/>
                      <a:gd name="T96" fmla="*/ 12 w 362"/>
                      <a:gd name="T97" fmla="*/ 82 h 362"/>
                      <a:gd name="T98" fmla="*/ 3 w 362"/>
                      <a:gd name="T99" fmla="*/ 154 h 362"/>
                      <a:gd name="T100" fmla="*/ 3 w 362"/>
                      <a:gd name="T101" fmla="*/ 259 h 362"/>
                      <a:gd name="T102" fmla="*/ 72 w 362"/>
                      <a:gd name="T103" fmla="*/ 349 h 362"/>
                      <a:gd name="T104" fmla="*/ 222 w 362"/>
                      <a:gd name="T105" fmla="*/ 358 h 362"/>
                      <a:gd name="T106" fmla="*/ 337 w 362"/>
                      <a:gd name="T107" fmla="*/ 31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2" h="362">
                        <a:moveTo>
                          <a:pt x="268" y="15"/>
                        </a:moveTo>
                        <a:cubicBezTo>
                          <a:pt x="267" y="15"/>
                          <a:pt x="265" y="14"/>
                          <a:pt x="264" y="14"/>
                        </a:cubicBezTo>
                        <a:cubicBezTo>
                          <a:pt x="264" y="14"/>
                          <a:pt x="266" y="14"/>
                          <a:pt x="268" y="15"/>
                        </a:cubicBezTo>
                        <a:close/>
                        <a:moveTo>
                          <a:pt x="207" y="1"/>
                        </a:moveTo>
                        <a:cubicBezTo>
                          <a:pt x="206" y="1"/>
                          <a:pt x="205" y="1"/>
                          <a:pt x="203" y="1"/>
                        </a:cubicBezTo>
                        <a:cubicBezTo>
                          <a:pt x="202" y="1"/>
                          <a:pt x="206" y="1"/>
                          <a:pt x="207" y="1"/>
                        </a:cubicBezTo>
                        <a:close/>
                        <a:moveTo>
                          <a:pt x="196" y="1"/>
                        </a:moveTo>
                        <a:cubicBezTo>
                          <a:pt x="197" y="1"/>
                          <a:pt x="200" y="1"/>
                          <a:pt x="201" y="1"/>
                        </a:cubicBezTo>
                        <a:cubicBezTo>
                          <a:pt x="200" y="1"/>
                          <a:pt x="196" y="1"/>
                          <a:pt x="196" y="1"/>
                        </a:cubicBezTo>
                        <a:close/>
                        <a:moveTo>
                          <a:pt x="177" y="5"/>
                        </a:moveTo>
                        <a:cubicBezTo>
                          <a:pt x="179" y="5"/>
                          <a:pt x="181" y="5"/>
                          <a:pt x="182" y="5"/>
                        </a:cubicBezTo>
                        <a:cubicBezTo>
                          <a:pt x="181" y="5"/>
                          <a:pt x="178" y="5"/>
                          <a:pt x="177" y="5"/>
                        </a:cubicBezTo>
                        <a:close/>
                        <a:moveTo>
                          <a:pt x="165" y="5"/>
                        </a:moveTo>
                        <a:cubicBezTo>
                          <a:pt x="169" y="4"/>
                          <a:pt x="172" y="4"/>
                          <a:pt x="173" y="4"/>
                        </a:cubicBezTo>
                        <a:cubicBezTo>
                          <a:pt x="171" y="4"/>
                          <a:pt x="167" y="4"/>
                          <a:pt x="165" y="5"/>
                        </a:cubicBezTo>
                        <a:close/>
                        <a:moveTo>
                          <a:pt x="137" y="19"/>
                        </a:moveTo>
                        <a:cubicBezTo>
                          <a:pt x="140" y="19"/>
                          <a:pt x="148" y="17"/>
                          <a:pt x="152" y="17"/>
                        </a:cubicBezTo>
                        <a:cubicBezTo>
                          <a:pt x="147" y="17"/>
                          <a:pt x="142" y="18"/>
                          <a:pt x="137" y="19"/>
                        </a:cubicBezTo>
                        <a:close/>
                        <a:moveTo>
                          <a:pt x="135" y="15"/>
                        </a:moveTo>
                        <a:cubicBezTo>
                          <a:pt x="131" y="15"/>
                          <a:pt x="131" y="15"/>
                          <a:pt x="131" y="15"/>
                        </a:cubicBezTo>
                        <a:cubicBezTo>
                          <a:pt x="129" y="16"/>
                          <a:pt x="119" y="17"/>
                          <a:pt x="120" y="17"/>
                        </a:cubicBezTo>
                        <a:cubicBezTo>
                          <a:pt x="126" y="16"/>
                          <a:pt x="135" y="15"/>
                          <a:pt x="140" y="14"/>
                        </a:cubicBezTo>
                        <a:cubicBezTo>
                          <a:pt x="138" y="14"/>
                          <a:pt x="137" y="14"/>
                          <a:pt x="135" y="15"/>
                        </a:cubicBezTo>
                        <a:close/>
                        <a:moveTo>
                          <a:pt x="79" y="24"/>
                        </a:moveTo>
                        <a:cubicBezTo>
                          <a:pt x="76" y="25"/>
                          <a:pt x="76" y="25"/>
                          <a:pt x="76" y="25"/>
                        </a:cubicBezTo>
                        <a:cubicBezTo>
                          <a:pt x="76" y="25"/>
                          <a:pt x="76" y="25"/>
                          <a:pt x="77" y="25"/>
                        </a:cubicBezTo>
                        <a:cubicBezTo>
                          <a:pt x="79" y="25"/>
                          <a:pt x="79" y="24"/>
                          <a:pt x="79" y="24"/>
                        </a:cubicBezTo>
                        <a:close/>
                        <a:moveTo>
                          <a:pt x="50" y="33"/>
                        </a:moveTo>
                        <a:cubicBezTo>
                          <a:pt x="50" y="33"/>
                          <a:pt x="50" y="33"/>
                          <a:pt x="50" y="33"/>
                        </a:cubicBezTo>
                        <a:cubicBezTo>
                          <a:pt x="50" y="33"/>
                          <a:pt x="49" y="33"/>
                          <a:pt x="49" y="33"/>
                        </a:cubicBezTo>
                        <a:cubicBezTo>
                          <a:pt x="49" y="33"/>
                          <a:pt x="49" y="33"/>
                          <a:pt x="50" y="33"/>
                        </a:cubicBezTo>
                        <a:close/>
                        <a:moveTo>
                          <a:pt x="50" y="32"/>
                        </a:moveTo>
                        <a:cubicBezTo>
                          <a:pt x="50" y="33"/>
                          <a:pt x="50" y="33"/>
                          <a:pt x="50" y="33"/>
                        </a:cubicBezTo>
                        <a:cubicBezTo>
                          <a:pt x="50" y="33"/>
                          <a:pt x="50" y="33"/>
                          <a:pt x="50" y="33"/>
                        </a:cubicBezTo>
                        <a:cubicBezTo>
                          <a:pt x="50" y="33"/>
                          <a:pt x="51" y="32"/>
                          <a:pt x="51" y="32"/>
                        </a:cubicBezTo>
                        <a:cubicBezTo>
                          <a:pt x="54" y="32"/>
                          <a:pt x="54" y="32"/>
                          <a:pt x="54" y="32"/>
                        </a:cubicBezTo>
                        <a:lnTo>
                          <a:pt x="50" y="32"/>
                        </a:lnTo>
                        <a:close/>
                        <a:moveTo>
                          <a:pt x="50" y="33"/>
                        </a:moveTo>
                        <a:cubicBezTo>
                          <a:pt x="50" y="33"/>
                          <a:pt x="50" y="33"/>
                          <a:pt x="50" y="33"/>
                        </a:cubicBezTo>
                        <a:cubicBezTo>
                          <a:pt x="50" y="33"/>
                          <a:pt x="50" y="33"/>
                          <a:pt x="50" y="33"/>
                        </a:cubicBezTo>
                        <a:cubicBezTo>
                          <a:pt x="50" y="33"/>
                          <a:pt x="50" y="33"/>
                          <a:pt x="50" y="33"/>
                        </a:cubicBezTo>
                        <a:close/>
                        <a:moveTo>
                          <a:pt x="50" y="30"/>
                        </a:move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lose/>
                        <a:moveTo>
                          <a:pt x="51" y="36"/>
                        </a:moveTo>
                        <a:cubicBezTo>
                          <a:pt x="51" y="36"/>
                          <a:pt x="51" y="36"/>
                          <a:pt x="51" y="36"/>
                        </a:cubicBezTo>
                        <a:cubicBezTo>
                          <a:pt x="51" y="36"/>
                          <a:pt x="51" y="36"/>
                          <a:pt x="51" y="36"/>
                        </a:cubicBezTo>
                        <a:close/>
                        <a:moveTo>
                          <a:pt x="50" y="31"/>
                        </a:moveTo>
                        <a:cubicBezTo>
                          <a:pt x="50" y="31"/>
                          <a:pt x="50" y="31"/>
                          <a:pt x="50" y="31"/>
                        </a:cubicBezTo>
                        <a:cubicBezTo>
                          <a:pt x="50" y="31"/>
                          <a:pt x="49" y="31"/>
                          <a:pt x="50" y="31"/>
                        </a:cubicBezTo>
                        <a:close/>
                        <a:moveTo>
                          <a:pt x="49" y="30"/>
                        </a:moveTo>
                        <a:cubicBezTo>
                          <a:pt x="49" y="30"/>
                          <a:pt x="50" y="30"/>
                          <a:pt x="50" y="30"/>
                        </a:cubicBezTo>
                        <a:cubicBezTo>
                          <a:pt x="49" y="30"/>
                          <a:pt x="49" y="30"/>
                          <a:pt x="49" y="30"/>
                        </a:cubicBezTo>
                        <a:close/>
                        <a:moveTo>
                          <a:pt x="51" y="38"/>
                        </a:moveTo>
                        <a:cubicBezTo>
                          <a:pt x="51" y="38"/>
                          <a:pt x="51" y="38"/>
                          <a:pt x="51" y="37"/>
                        </a:cubicBezTo>
                        <a:cubicBezTo>
                          <a:pt x="51" y="37"/>
                          <a:pt x="51" y="37"/>
                          <a:pt x="51" y="38"/>
                        </a:cubicBezTo>
                        <a:close/>
                        <a:moveTo>
                          <a:pt x="51" y="36"/>
                        </a:moveTo>
                        <a:cubicBezTo>
                          <a:pt x="50" y="36"/>
                          <a:pt x="50" y="36"/>
                          <a:pt x="50" y="37"/>
                        </a:cubicBezTo>
                        <a:cubicBezTo>
                          <a:pt x="50" y="37"/>
                          <a:pt x="50" y="36"/>
                          <a:pt x="51" y="36"/>
                        </a:cubicBezTo>
                        <a:close/>
                        <a:moveTo>
                          <a:pt x="48" y="31"/>
                        </a:moveTo>
                        <a:cubicBezTo>
                          <a:pt x="48" y="31"/>
                          <a:pt x="49" y="31"/>
                          <a:pt x="49" y="30"/>
                        </a:cubicBezTo>
                        <a:cubicBezTo>
                          <a:pt x="49" y="31"/>
                          <a:pt x="48" y="31"/>
                          <a:pt x="48" y="31"/>
                        </a:cubicBezTo>
                        <a:close/>
                        <a:moveTo>
                          <a:pt x="49" y="33"/>
                        </a:moveTo>
                        <a:cubicBezTo>
                          <a:pt x="49" y="33"/>
                          <a:pt x="49" y="33"/>
                          <a:pt x="49" y="33"/>
                        </a:cubicBezTo>
                        <a:cubicBezTo>
                          <a:pt x="49" y="33"/>
                          <a:pt x="48" y="33"/>
                          <a:pt x="49" y="33"/>
                        </a:cubicBezTo>
                        <a:close/>
                        <a:moveTo>
                          <a:pt x="48" y="33"/>
                        </a:moveTo>
                        <a:cubicBezTo>
                          <a:pt x="48" y="33"/>
                          <a:pt x="48" y="33"/>
                          <a:pt x="48" y="32"/>
                        </a:cubicBezTo>
                        <a:cubicBezTo>
                          <a:pt x="48" y="32"/>
                          <a:pt x="48" y="32"/>
                          <a:pt x="48" y="33"/>
                        </a:cubicBezTo>
                        <a:close/>
                        <a:moveTo>
                          <a:pt x="48" y="32"/>
                        </a:moveTo>
                        <a:cubicBezTo>
                          <a:pt x="48" y="32"/>
                          <a:pt x="48" y="32"/>
                          <a:pt x="48" y="32"/>
                        </a:cubicBezTo>
                        <a:cubicBezTo>
                          <a:pt x="47" y="32"/>
                          <a:pt x="48" y="32"/>
                          <a:pt x="48" y="32"/>
                        </a:cubicBezTo>
                        <a:cubicBezTo>
                          <a:pt x="48" y="32"/>
                          <a:pt x="48" y="32"/>
                          <a:pt x="48" y="32"/>
                        </a:cubicBezTo>
                        <a:close/>
                        <a:moveTo>
                          <a:pt x="48" y="36"/>
                        </a:moveTo>
                        <a:cubicBezTo>
                          <a:pt x="48" y="36"/>
                          <a:pt x="48" y="36"/>
                          <a:pt x="48" y="36"/>
                        </a:cubicBezTo>
                        <a:close/>
                        <a:moveTo>
                          <a:pt x="47" y="38"/>
                        </a:moveTo>
                        <a:cubicBezTo>
                          <a:pt x="47" y="38"/>
                          <a:pt x="47" y="38"/>
                          <a:pt x="48" y="38"/>
                        </a:cubicBezTo>
                        <a:cubicBezTo>
                          <a:pt x="48" y="38"/>
                          <a:pt x="47" y="38"/>
                          <a:pt x="47" y="38"/>
                        </a:cubicBezTo>
                        <a:close/>
                        <a:moveTo>
                          <a:pt x="48" y="38"/>
                        </a:moveTo>
                        <a:cubicBezTo>
                          <a:pt x="47" y="38"/>
                          <a:pt x="47" y="38"/>
                          <a:pt x="47" y="38"/>
                        </a:cubicBezTo>
                        <a:cubicBezTo>
                          <a:pt x="47" y="38"/>
                          <a:pt x="48" y="38"/>
                          <a:pt x="48" y="38"/>
                        </a:cubicBezTo>
                        <a:close/>
                        <a:moveTo>
                          <a:pt x="47" y="41"/>
                        </a:moveTo>
                        <a:cubicBezTo>
                          <a:pt x="48" y="41"/>
                          <a:pt x="48" y="41"/>
                          <a:pt x="48" y="40"/>
                        </a:cubicBezTo>
                        <a:cubicBezTo>
                          <a:pt x="48" y="40"/>
                          <a:pt x="47" y="41"/>
                          <a:pt x="47" y="41"/>
                        </a:cubicBezTo>
                        <a:close/>
                        <a:moveTo>
                          <a:pt x="46" y="41"/>
                        </a:moveTo>
                        <a:cubicBezTo>
                          <a:pt x="46" y="41"/>
                          <a:pt x="46" y="41"/>
                          <a:pt x="46" y="41"/>
                        </a:cubicBezTo>
                        <a:close/>
                        <a:moveTo>
                          <a:pt x="103" y="29"/>
                        </a:moveTo>
                        <a:cubicBezTo>
                          <a:pt x="106" y="28"/>
                          <a:pt x="109" y="27"/>
                          <a:pt x="111" y="27"/>
                        </a:cubicBezTo>
                        <a:cubicBezTo>
                          <a:pt x="112" y="27"/>
                          <a:pt x="113" y="27"/>
                          <a:pt x="114" y="26"/>
                        </a:cubicBezTo>
                        <a:cubicBezTo>
                          <a:pt x="110" y="27"/>
                          <a:pt x="106" y="28"/>
                          <a:pt x="103" y="29"/>
                        </a:cubicBezTo>
                        <a:close/>
                        <a:moveTo>
                          <a:pt x="49" y="35"/>
                        </a:moveTo>
                        <a:cubicBezTo>
                          <a:pt x="49" y="35"/>
                          <a:pt x="50" y="36"/>
                          <a:pt x="50" y="35"/>
                        </a:cubicBezTo>
                        <a:cubicBezTo>
                          <a:pt x="50" y="35"/>
                          <a:pt x="50" y="35"/>
                          <a:pt x="50" y="35"/>
                        </a:cubicBezTo>
                        <a:cubicBezTo>
                          <a:pt x="50" y="35"/>
                          <a:pt x="50" y="35"/>
                          <a:pt x="50" y="35"/>
                        </a:cubicBezTo>
                        <a:cubicBezTo>
                          <a:pt x="50" y="35"/>
                          <a:pt x="50" y="35"/>
                          <a:pt x="50" y="35"/>
                        </a:cubicBezTo>
                        <a:cubicBezTo>
                          <a:pt x="51" y="35"/>
                          <a:pt x="51" y="35"/>
                          <a:pt x="51" y="35"/>
                        </a:cubicBezTo>
                        <a:cubicBezTo>
                          <a:pt x="51" y="35"/>
                          <a:pt x="50" y="35"/>
                          <a:pt x="50" y="35"/>
                        </a:cubicBezTo>
                        <a:cubicBezTo>
                          <a:pt x="50" y="35"/>
                          <a:pt x="51" y="35"/>
                          <a:pt x="51" y="35"/>
                        </a:cubicBezTo>
                        <a:cubicBezTo>
                          <a:pt x="50" y="35"/>
                          <a:pt x="49" y="35"/>
                          <a:pt x="49" y="35"/>
                        </a:cubicBezTo>
                        <a:close/>
                        <a:moveTo>
                          <a:pt x="49" y="31"/>
                        </a:moveTo>
                        <a:cubicBezTo>
                          <a:pt x="49" y="31"/>
                          <a:pt x="49" y="31"/>
                          <a:pt x="49" y="31"/>
                        </a:cubicBezTo>
                        <a:cubicBezTo>
                          <a:pt x="49" y="31"/>
                          <a:pt x="49" y="31"/>
                          <a:pt x="49" y="31"/>
                        </a:cubicBezTo>
                        <a:cubicBezTo>
                          <a:pt x="50" y="31"/>
                          <a:pt x="49" y="31"/>
                          <a:pt x="49" y="31"/>
                        </a:cubicBezTo>
                        <a:close/>
                        <a:moveTo>
                          <a:pt x="46" y="32"/>
                        </a:moveTo>
                        <a:cubicBezTo>
                          <a:pt x="46" y="32"/>
                          <a:pt x="46" y="32"/>
                          <a:pt x="46" y="32"/>
                        </a:cubicBezTo>
                        <a:cubicBezTo>
                          <a:pt x="46" y="32"/>
                          <a:pt x="47" y="32"/>
                          <a:pt x="47" y="32"/>
                        </a:cubicBezTo>
                        <a:cubicBezTo>
                          <a:pt x="47" y="32"/>
                          <a:pt x="47" y="32"/>
                          <a:pt x="47" y="32"/>
                        </a:cubicBezTo>
                        <a:cubicBezTo>
                          <a:pt x="48" y="31"/>
                          <a:pt x="49" y="32"/>
                          <a:pt x="49" y="31"/>
                        </a:cubicBezTo>
                        <a:cubicBezTo>
                          <a:pt x="48" y="32"/>
                          <a:pt x="47" y="32"/>
                          <a:pt x="46" y="32"/>
                        </a:cubicBezTo>
                        <a:cubicBezTo>
                          <a:pt x="46" y="32"/>
                          <a:pt x="46" y="32"/>
                          <a:pt x="46" y="32"/>
                        </a:cubicBezTo>
                        <a:cubicBezTo>
                          <a:pt x="46" y="32"/>
                          <a:pt x="45" y="32"/>
                          <a:pt x="45" y="32"/>
                        </a:cubicBezTo>
                        <a:cubicBezTo>
                          <a:pt x="45" y="33"/>
                          <a:pt x="45" y="32"/>
                          <a:pt x="46" y="32"/>
                        </a:cubicBezTo>
                        <a:close/>
                        <a:moveTo>
                          <a:pt x="47" y="39"/>
                        </a:moveTo>
                        <a:cubicBezTo>
                          <a:pt x="47" y="38"/>
                          <a:pt x="48" y="38"/>
                          <a:pt x="48" y="38"/>
                        </a:cubicBezTo>
                        <a:cubicBezTo>
                          <a:pt x="47" y="38"/>
                          <a:pt x="47" y="39"/>
                          <a:pt x="47" y="39"/>
                        </a:cubicBezTo>
                        <a:close/>
                        <a:moveTo>
                          <a:pt x="159" y="18"/>
                        </a:moveTo>
                        <a:cubicBezTo>
                          <a:pt x="159" y="18"/>
                          <a:pt x="159" y="18"/>
                          <a:pt x="159" y="18"/>
                        </a:cubicBezTo>
                        <a:cubicBezTo>
                          <a:pt x="159" y="18"/>
                          <a:pt x="159" y="18"/>
                          <a:pt x="159" y="18"/>
                        </a:cubicBezTo>
                        <a:close/>
                        <a:moveTo>
                          <a:pt x="361" y="152"/>
                        </a:moveTo>
                        <a:cubicBezTo>
                          <a:pt x="360" y="120"/>
                          <a:pt x="356" y="87"/>
                          <a:pt x="347" y="57"/>
                        </a:cubicBezTo>
                        <a:cubicBezTo>
                          <a:pt x="345" y="52"/>
                          <a:pt x="343" y="45"/>
                          <a:pt x="341" y="41"/>
                        </a:cubicBezTo>
                        <a:cubicBezTo>
                          <a:pt x="340" y="40"/>
                          <a:pt x="339" y="37"/>
                          <a:pt x="338" y="35"/>
                        </a:cubicBezTo>
                        <a:cubicBezTo>
                          <a:pt x="336" y="31"/>
                          <a:pt x="333" y="27"/>
                          <a:pt x="330" y="23"/>
                        </a:cubicBezTo>
                        <a:cubicBezTo>
                          <a:pt x="326" y="19"/>
                          <a:pt x="322" y="16"/>
                          <a:pt x="317" y="14"/>
                        </a:cubicBezTo>
                        <a:cubicBezTo>
                          <a:pt x="314" y="13"/>
                          <a:pt x="309" y="10"/>
                          <a:pt x="305" y="9"/>
                        </a:cubicBezTo>
                        <a:cubicBezTo>
                          <a:pt x="303" y="8"/>
                          <a:pt x="307" y="9"/>
                          <a:pt x="304" y="8"/>
                        </a:cubicBezTo>
                        <a:cubicBezTo>
                          <a:pt x="301" y="7"/>
                          <a:pt x="294" y="5"/>
                          <a:pt x="287" y="4"/>
                        </a:cubicBezTo>
                        <a:cubicBezTo>
                          <a:pt x="279" y="3"/>
                          <a:pt x="271" y="2"/>
                          <a:pt x="266" y="1"/>
                        </a:cubicBezTo>
                        <a:cubicBezTo>
                          <a:pt x="267" y="1"/>
                          <a:pt x="267" y="1"/>
                          <a:pt x="266" y="1"/>
                        </a:cubicBezTo>
                        <a:cubicBezTo>
                          <a:pt x="264" y="1"/>
                          <a:pt x="263" y="1"/>
                          <a:pt x="260" y="1"/>
                        </a:cubicBezTo>
                        <a:cubicBezTo>
                          <a:pt x="243" y="0"/>
                          <a:pt x="230" y="1"/>
                          <a:pt x="215" y="2"/>
                        </a:cubicBezTo>
                        <a:cubicBezTo>
                          <a:pt x="213" y="2"/>
                          <a:pt x="208" y="2"/>
                          <a:pt x="206" y="2"/>
                        </a:cubicBezTo>
                        <a:cubicBezTo>
                          <a:pt x="209" y="2"/>
                          <a:pt x="212" y="2"/>
                          <a:pt x="212" y="2"/>
                        </a:cubicBezTo>
                        <a:cubicBezTo>
                          <a:pt x="208" y="2"/>
                          <a:pt x="202" y="3"/>
                          <a:pt x="199" y="3"/>
                        </a:cubicBezTo>
                        <a:cubicBezTo>
                          <a:pt x="193" y="4"/>
                          <a:pt x="190" y="4"/>
                          <a:pt x="185" y="4"/>
                        </a:cubicBezTo>
                        <a:cubicBezTo>
                          <a:pt x="184" y="4"/>
                          <a:pt x="187" y="5"/>
                          <a:pt x="184" y="5"/>
                        </a:cubicBezTo>
                        <a:cubicBezTo>
                          <a:pt x="176" y="5"/>
                          <a:pt x="172" y="6"/>
                          <a:pt x="166" y="7"/>
                        </a:cubicBezTo>
                        <a:cubicBezTo>
                          <a:pt x="164" y="7"/>
                          <a:pt x="155" y="8"/>
                          <a:pt x="153" y="9"/>
                        </a:cubicBezTo>
                        <a:cubicBezTo>
                          <a:pt x="151" y="9"/>
                          <a:pt x="155" y="8"/>
                          <a:pt x="154" y="9"/>
                        </a:cubicBezTo>
                        <a:cubicBezTo>
                          <a:pt x="147" y="10"/>
                          <a:pt x="141" y="11"/>
                          <a:pt x="136" y="11"/>
                        </a:cubicBezTo>
                        <a:cubicBezTo>
                          <a:pt x="134" y="12"/>
                          <a:pt x="133" y="12"/>
                          <a:pt x="131" y="12"/>
                        </a:cubicBezTo>
                        <a:cubicBezTo>
                          <a:pt x="129" y="13"/>
                          <a:pt x="131" y="12"/>
                          <a:pt x="129" y="13"/>
                        </a:cubicBezTo>
                        <a:cubicBezTo>
                          <a:pt x="127" y="13"/>
                          <a:pt x="131" y="13"/>
                          <a:pt x="130" y="13"/>
                        </a:cubicBezTo>
                        <a:cubicBezTo>
                          <a:pt x="127" y="13"/>
                          <a:pt x="128" y="13"/>
                          <a:pt x="126" y="14"/>
                        </a:cubicBezTo>
                        <a:cubicBezTo>
                          <a:pt x="122" y="14"/>
                          <a:pt x="119" y="15"/>
                          <a:pt x="115" y="16"/>
                        </a:cubicBezTo>
                        <a:cubicBezTo>
                          <a:pt x="103" y="18"/>
                          <a:pt x="103" y="18"/>
                          <a:pt x="103" y="18"/>
                        </a:cubicBezTo>
                        <a:cubicBezTo>
                          <a:pt x="99" y="19"/>
                          <a:pt x="98" y="19"/>
                          <a:pt x="94" y="20"/>
                        </a:cubicBezTo>
                        <a:cubicBezTo>
                          <a:pt x="91" y="21"/>
                          <a:pt x="88" y="21"/>
                          <a:pt x="85" y="22"/>
                        </a:cubicBezTo>
                        <a:cubicBezTo>
                          <a:pt x="83" y="22"/>
                          <a:pt x="86" y="22"/>
                          <a:pt x="84" y="22"/>
                        </a:cubicBezTo>
                        <a:cubicBezTo>
                          <a:pt x="72" y="25"/>
                          <a:pt x="60" y="27"/>
                          <a:pt x="51" y="30"/>
                        </a:cubicBezTo>
                        <a:cubicBezTo>
                          <a:pt x="64" y="26"/>
                          <a:pt x="74" y="25"/>
                          <a:pt x="86" y="22"/>
                        </a:cubicBezTo>
                        <a:cubicBezTo>
                          <a:pt x="88" y="22"/>
                          <a:pt x="92" y="21"/>
                          <a:pt x="93" y="21"/>
                        </a:cubicBezTo>
                        <a:cubicBezTo>
                          <a:pt x="94" y="20"/>
                          <a:pt x="91" y="21"/>
                          <a:pt x="94" y="20"/>
                        </a:cubicBezTo>
                        <a:cubicBezTo>
                          <a:pt x="95" y="20"/>
                          <a:pt x="95" y="20"/>
                          <a:pt x="97" y="20"/>
                        </a:cubicBezTo>
                        <a:cubicBezTo>
                          <a:pt x="95" y="20"/>
                          <a:pt x="98" y="20"/>
                          <a:pt x="99" y="20"/>
                        </a:cubicBezTo>
                        <a:cubicBezTo>
                          <a:pt x="109" y="18"/>
                          <a:pt x="117" y="16"/>
                          <a:pt x="125" y="15"/>
                        </a:cubicBezTo>
                        <a:cubicBezTo>
                          <a:pt x="127" y="15"/>
                          <a:pt x="124" y="15"/>
                          <a:pt x="126" y="15"/>
                        </a:cubicBezTo>
                        <a:cubicBezTo>
                          <a:pt x="136" y="13"/>
                          <a:pt x="136" y="13"/>
                          <a:pt x="136" y="13"/>
                        </a:cubicBezTo>
                        <a:cubicBezTo>
                          <a:pt x="137" y="13"/>
                          <a:pt x="140" y="13"/>
                          <a:pt x="139" y="13"/>
                        </a:cubicBezTo>
                        <a:cubicBezTo>
                          <a:pt x="127" y="15"/>
                          <a:pt x="111" y="18"/>
                          <a:pt x="97" y="21"/>
                        </a:cubicBezTo>
                        <a:cubicBezTo>
                          <a:pt x="92" y="22"/>
                          <a:pt x="88" y="22"/>
                          <a:pt x="85" y="23"/>
                        </a:cubicBezTo>
                        <a:cubicBezTo>
                          <a:pt x="92" y="22"/>
                          <a:pt x="97" y="21"/>
                          <a:pt x="102" y="20"/>
                        </a:cubicBezTo>
                        <a:cubicBezTo>
                          <a:pt x="109" y="19"/>
                          <a:pt x="117" y="17"/>
                          <a:pt x="124" y="16"/>
                        </a:cubicBezTo>
                        <a:cubicBezTo>
                          <a:pt x="129" y="15"/>
                          <a:pt x="129" y="15"/>
                          <a:pt x="129" y="15"/>
                        </a:cubicBezTo>
                        <a:cubicBezTo>
                          <a:pt x="134" y="14"/>
                          <a:pt x="134" y="14"/>
                          <a:pt x="134" y="14"/>
                        </a:cubicBezTo>
                        <a:cubicBezTo>
                          <a:pt x="136" y="14"/>
                          <a:pt x="136" y="14"/>
                          <a:pt x="137" y="14"/>
                        </a:cubicBezTo>
                        <a:cubicBezTo>
                          <a:pt x="140" y="14"/>
                          <a:pt x="142" y="13"/>
                          <a:pt x="146" y="13"/>
                        </a:cubicBezTo>
                        <a:cubicBezTo>
                          <a:pt x="163" y="10"/>
                          <a:pt x="163" y="10"/>
                          <a:pt x="163" y="10"/>
                        </a:cubicBezTo>
                        <a:cubicBezTo>
                          <a:pt x="164" y="10"/>
                          <a:pt x="163" y="11"/>
                          <a:pt x="162" y="11"/>
                        </a:cubicBezTo>
                        <a:cubicBezTo>
                          <a:pt x="155" y="12"/>
                          <a:pt x="154" y="12"/>
                          <a:pt x="146" y="13"/>
                        </a:cubicBezTo>
                        <a:cubicBezTo>
                          <a:pt x="147" y="13"/>
                          <a:pt x="148" y="13"/>
                          <a:pt x="148" y="13"/>
                        </a:cubicBezTo>
                        <a:cubicBezTo>
                          <a:pt x="145" y="13"/>
                          <a:pt x="144" y="13"/>
                          <a:pt x="143" y="14"/>
                        </a:cubicBezTo>
                        <a:cubicBezTo>
                          <a:pt x="148" y="13"/>
                          <a:pt x="148" y="13"/>
                          <a:pt x="146" y="14"/>
                        </a:cubicBezTo>
                        <a:cubicBezTo>
                          <a:pt x="132" y="16"/>
                          <a:pt x="116" y="19"/>
                          <a:pt x="105" y="21"/>
                        </a:cubicBezTo>
                        <a:cubicBezTo>
                          <a:pt x="104" y="21"/>
                          <a:pt x="103" y="21"/>
                          <a:pt x="101" y="22"/>
                        </a:cubicBezTo>
                        <a:cubicBezTo>
                          <a:pt x="88" y="24"/>
                          <a:pt x="74" y="27"/>
                          <a:pt x="61" y="30"/>
                        </a:cubicBezTo>
                        <a:cubicBezTo>
                          <a:pt x="76" y="27"/>
                          <a:pt x="92" y="23"/>
                          <a:pt x="110" y="20"/>
                        </a:cubicBezTo>
                        <a:cubicBezTo>
                          <a:pt x="111" y="20"/>
                          <a:pt x="110" y="20"/>
                          <a:pt x="112" y="20"/>
                        </a:cubicBezTo>
                        <a:cubicBezTo>
                          <a:pt x="119" y="18"/>
                          <a:pt x="128" y="17"/>
                          <a:pt x="134" y="16"/>
                        </a:cubicBezTo>
                        <a:cubicBezTo>
                          <a:pt x="142" y="15"/>
                          <a:pt x="142" y="15"/>
                          <a:pt x="142" y="15"/>
                        </a:cubicBezTo>
                        <a:cubicBezTo>
                          <a:pt x="161" y="12"/>
                          <a:pt x="174" y="11"/>
                          <a:pt x="192" y="10"/>
                        </a:cubicBezTo>
                        <a:cubicBezTo>
                          <a:pt x="192" y="10"/>
                          <a:pt x="194" y="10"/>
                          <a:pt x="194" y="10"/>
                        </a:cubicBezTo>
                        <a:cubicBezTo>
                          <a:pt x="190" y="11"/>
                          <a:pt x="190" y="11"/>
                          <a:pt x="190" y="11"/>
                        </a:cubicBezTo>
                        <a:cubicBezTo>
                          <a:pt x="187" y="11"/>
                          <a:pt x="184" y="11"/>
                          <a:pt x="182" y="12"/>
                        </a:cubicBezTo>
                        <a:cubicBezTo>
                          <a:pt x="167" y="13"/>
                          <a:pt x="145" y="16"/>
                          <a:pt x="126" y="19"/>
                        </a:cubicBezTo>
                        <a:cubicBezTo>
                          <a:pt x="124" y="20"/>
                          <a:pt x="126" y="20"/>
                          <a:pt x="128" y="20"/>
                        </a:cubicBezTo>
                        <a:cubicBezTo>
                          <a:pt x="137" y="19"/>
                          <a:pt x="145" y="17"/>
                          <a:pt x="154" y="16"/>
                        </a:cubicBezTo>
                        <a:cubicBezTo>
                          <a:pt x="158" y="16"/>
                          <a:pt x="154" y="17"/>
                          <a:pt x="147" y="18"/>
                        </a:cubicBezTo>
                        <a:cubicBezTo>
                          <a:pt x="135" y="20"/>
                          <a:pt x="114" y="23"/>
                          <a:pt x="106" y="25"/>
                        </a:cubicBezTo>
                        <a:cubicBezTo>
                          <a:pt x="88" y="28"/>
                          <a:pt x="70" y="32"/>
                          <a:pt x="53" y="36"/>
                        </a:cubicBezTo>
                        <a:cubicBezTo>
                          <a:pt x="51" y="37"/>
                          <a:pt x="51" y="37"/>
                          <a:pt x="51" y="37"/>
                        </a:cubicBezTo>
                        <a:cubicBezTo>
                          <a:pt x="50" y="37"/>
                          <a:pt x="50" y="37"/>
                          <a:pt x="50" y="37"/>
                        </a:cubicBezTo>
                        <a:cubicBezTo>
                          <a:pt x="49" y="37"/>
                          <a:pt x="49" y="37"/>
                          <a:pt x="48" y="38"/>
                        </a:cubicBezTo>
                        <a:cubicBezTo>
                          <a:pt x="49" y="37"/>
                          <a:pt x="49" y="37"/>
                          <a:pt x="50" y="37"/>
                        </a:cubicBezTo>
                        <a:cubicBezTo>
                          <a:pt x="51" y="37"/>
                          <a:pt x="51" y="37"/>
                          <a:pt x="51" y="37"/>
                        </a:cubicBezTo>
                        <a:cubicBezTo>
                          <a:pt x="56" y="36"/>
                          <a:pt x="56" y="36"/>
                          <a:pt x="56" y="36"/>
                        </a:cubicBezTo>
                        <a:cubicBezTo>
                          <a:pt x="56" y="36"/>
                          <a:pt x="57" y="35"/>
                          <a:pt x="58" y="35"/>
                        </a:cubicBezTo>
                        <a:cubicBezTo>
                          <a:pt x="76" y="31"/>
                          <a:pt x="95" y="27"/>
                          <a:pt x="111" y="24"/>
                        </a:cubicBezTo>
                        <a:cubicBezTo>
                          <a:pt x="118" y="23"/>
                          <a:pt x="130" y="21"/>
                          <a:pt x="137" y="20"/>
                        </a:cubicBezTo>
                        <a:cubicBezTo>
                          <a:pt x="136" y="21"/>
                          <a:pt x="130" y="22"/>
                          <a:pt x="123" y="23"/>
                        </a:cubicBezTo>
                        <a:cubicBezTo>
                          <a:pt x="130" y="22"/>
                          <a:pt x="137" y="21"/>
                          <a:pt x="143" y="20"/>
                        </a:cubicBezTo>
                        <a:cubicBezTo>
                          <a:pt x="148" y="19"/>
                          <a:pt x="156" y="18"/>
                          <a:pt x="158" y="18"/>
                        </a:cubicBezTo>
                        <a:cubicBezTo>
                          <a:pt x="159" y="18"/>
                          <a:pt x="158" y="18"/>
                          <a:pt x="159" y="18"/>
                        </a:cubicBezTo>
                        <a:cubicBezTo>
                          <a:pt x="160" y="18"/>
                          <a:pt x="163" y="17"/>
                          <a:pt x="163" y="17"/>
                        </a:cubicBezTo>
                        <a:cubicBezTo>
                          <a:pt x="166" y="17"/>
                          <a:pt x="165" y="17"/>
                          <a:pt x="168" y="17"/>
                        </a:cubicBezTo>
                        <a:cubicBezTo>
                          <a:pt x="172" y="16"/>
                          <a:pt x="172" y="16"/>
                          <a:pt x="175" y="16"/>
                        </a:cubicBezTo>
                        <a:cubicBezTo>
                          <a:pt x="189" y="15"/>
                          <a:pt x="202" y="13"/>
                          <a:pt x="216" y="13"/>
                        </a:cubicBezTo>
                        <a:cubicBezTo>
                          <a:pt x="221" y="12"/>
                          <a:pt x="221" y="12"/>
                          <a:pt x="221" y="12"/>
                        </a:cubicBezTo>
                        <a:cubicBezTo>
                          <a:pt x="222" y="12"/>
                          <a:pt x="221" y="13"/>
                          <a:pt x="223" y="13"/>
                        </a:cubicBezTo>
                        <a:cubicBezTo>
                          <a:pt x="224" y="13"/>
                          <a:pt x="223" y="12"/>
                          <a:pt x="225" y="12"/>
                        </a:cubicBezTo>
                        <a:cubicBezTo>
                          <a:pt x="230" y="12"/>
                          <a:pt x="236" y="12"/>
                          <a:pt x="242" y="12"/>
                        </a:cubicBezTo>
                        <a:cubicBezTo>
                          <a:pt x="255" y="12"/>
                          <a:pt x="271" y="14"/>
                          <a:pt x="281" y="16"/>
                        </a:cubicBezTo>
                        <a:cubicBezTo>
                          <a:pt x="284" y="16"/>
                          <a:pt x="281" y="16"/>
                          <a:pt x="284" y="16"/>
                        </a:cubicBezTo>
                        <a:cubicBezTo>
                          <a:pt x="301" y="20"/>
                          <a:pt x="321" y="26"/>
                          <a:pt x="327" y="43"/>
                        </a:cubicBezTo>
                        <a:cubicBezTo>
                          <a:pt x="328" y="44"/>
                          <a:pt x="327" y="43"/>
                          <a:pt x="328" y="45"/>
                        </a:cubicBezTo>
                        <a:cubicBezTo>
                          <a:pt x="329" y="48"/>
                          <a:pt x="329" y="47"/>
                          <a:pt x="330" y="49"/>
                        </a:cubicBezTo>
                        <a:cubicBezTo>
                          <a:pt x="330" y="51"/>
                          <a:pt x="331" y="52"/>
                          <a:pt x="331" y="53"/>
                        </a:cubicBezTo>
                        <a:cubicBezTo>
                          <a:pt x="339" y="74"/>
                          <a:pt x="343" y="98"/>
                          <a:pt x="345" y="122"/>
                        </a:cubicBezTo>
                        <a:cubicBezTo>
                          <a:pt x="347" y="144"/>
                          <a:pt x="348" y="166"/>
                          <a:pt x="347" y="188"/>
                        </a:cubicBezTo>
                        <a:cubicBezTo>
                          <a:pt x="347" y="205"/>
                          <a:pt x="346" y="221"/>
                          <a:pt x="344" y="235"/>
                        </a:cubicBezTo>
                        <a:cubicBezTo>
                          <a:pt x="342" y="255"/>
                          <a:pt x="339" y="273"/>
                          <a:pt x="333" y="290"/>
                        </a:cubicBezTo>
                        <a:cubicBezTo>
                          <a:pt x="331" y="296"/>
                          <a:pt x="329" y="303"/>
                          <a:pt x="326" y="308"/>
                        </a:cubicBezTo>
                        <a:cubicBezTo>
                          <a:pt x="323" y="311"/>
                          <a:pt x="318" y="315"/>
                          <a:pt x="314" y="318"/>
                        </a:cubicBezTo>
                        <a:cubicBezTo>
                          <a:pt x="312" y="319"/>
                          <a:pt x="310" y="320"/>
                          <a:pt x="308" y="321"/>
                        </a:cubicBezTo>
                        <a:cubicBezTo>
                          <a:pt x="305" y="322"/>
                          <a:pt x="302" y="323"/>
                          <a:pt x="299" y="325"/>
                        </a:cubicBezTo>
                        <a:cubicBezTo>
                          <a:pt x="291" y="328"/>
                          <a:pt x="282" y="331"/>
                          <a:pt x="273" y="333"/>
                        </a:cubicBezTo>
                        <a:cubicBezTo>
                          <a:pt x="263" y="336"/>
                          <a:pt x="253" y="338"/>
                          <a:pt x="243" y="340"/>
                        </a:cubicBezTo>
                        <a:cubicBezTo>
                          <a:pt x="237" y="341"/>
                          <a:pt x="232" y="342"/>
                          <a:pt x="226" y="343"/>
                        </a:cubicBezTo>
                        <a:cubicBezTo>
                          <a:pt x="222" y="343"/>
                          <a:pt x="218" y="344"/>
                          <a:pt x="214" y="344"/>
                        </a:cubicBezTo>
                        <a:cubicBezTo>
                          <a:pt x="203" y="345"/>
                          <a:pt x="192" y="346"/>
                          <a:pt x="182" y="347"/>
                        </a:cubicBezTo>
                        <a:cubicBezTo>
                          <a:pt x="168" y="347"/>
                          <a:pt x="153" y="347"/>
                          <a:pt x="139" y="346"/>
                        </a:cubicBezTo>
                        <a:cubicBezTo>
                          <a:pt x="124" y="345"/>
                          <a:pt x="105" y="343"/>
                          <a:pt x="91" y="339"/>
                        </a:cubicBezTo>
                        <a:cubicBezTo>
                          <a:pt x="79" y="336"/>
                          <a:pt x="67" y="332"/>
                          <a:pt x="56" y="326"/>
                        </a:cubicBezTo>
                        <a:cubicBezTo>
                          <a:pt x="55" y="325"/>
                          <a:pt x="54" y="325"/>
                          <a:pt x="53" y="324"/>
                        </a:cubicBezTo>
                        <a:cubicBezTo>
                          <a:pt x="44" y="319"/>
                          <a:pt x="37" y="312"/>
                          <a:pt x="32" y="304"/>
                        </a:cubicBezTo>
                        <a:cubicBezTo>
                          <a:pt x="27" y="296"/>
                          <a:pt x="24" y="287"/>
                          <a:pt x="22" y="279"/>
                        </a:cubicBezTo>
                        <a:cubicBezTo>
                          <a:pt x="20" y="273"/>
                          <a:pt x="19" y="268"/>
                          <a:pt x="18" y="262"/>
                        </a:cubicBezTo>
                        <a:cubicBezTo>
                          <a:pt x="18" y="256"/>
                          <a:pt x="17" y="250"/>
                          <a:pt x="16" y="244"/>
                        </a:cubicBezTo>
                        <a:cubicBezTo>
                          <a:pt x="16" y="242"/>
                          <a:pt x="16" y="241"/>
                          <a:pt x="16" y="239"/>
                        </a:cubicBezTo>
                        <a:cubicBezTo>
                          <a:pt x="16" y="232"/>
                          <a:pt x="15" y="226"/>
                          <a:pt x="15" y="220"/>
                        </a:cubicBezTo>
                        <a:cubicBezTo>
                          <a:pt x="15" y="209"/>
                          <a:pt x="16" y="199"/>
                          <a:pt x="16" y="187"/>
                        </a:cubicBezTo>
                        <a:cubicBezTo>
                          <a:pt x="19" y="154"/>
                          <a:pt x="19" y="154"/>
                          <a:pt x="19" y="154"/>
                        </a:cubicBezTo>
                        <a:cubicBezTo>
                          <a:pt x="21" y="137"/>
                          <a:pt x="22" y="119"/>
                          <a:pt x="25" y="101"/>
                        </a:cubicBezTo>
                        <a:cubicBezTo>
                          <a:pt x="26" y="95"/>
                          <a:pt x="27" y="90"/>
                          <a:pt x="28" y="84"/>
                        </a:cubicBezTo>
                        <a:cubicBezTo>
                          <a:pt x="29" y="77"/>
                          <a:pt x="31" y="70"/>
                          <a:pt x="32" y="62"/>
                        </a:cubicBezTo>
                        <a:cubicBezTo>
                          <a:pt x="33" y="60"/>
                          <a:pt x="33" y="60"/>
                          <a:pt x="33" y="60"/>
                        </a:cubicBezTo>
                        <a:cubicBezTo>
                          <a:pt x="33" y="60"/>
                          <a:pt x="33" y="60"/>
                          <a:pt x="33" y="60"/>
                        </a:cubicBezTo>
                        <a:cubicBezTo>
                          <a:pt x="33" y="59"/>
                          <a:pt x="33" y="59"/>
                          <a:pt x="33" y="59"/>
                        </a:cubicBezTo>
                        <a:cubicBezTo>
                          <a:pt x="33" y="58"/>
                          <a:pt x="33" y="58"/>
                          <a:pt x="33" y="58"/>
                        </a:cubicBezTo>
                        <a:cubicBezTo>
                          <a:pt x="33" y="58"/>
                          <a:pt x="33" y="57"/>
                          <a:pt x="34" y="56"/>
                        </a:cubicBezTo>
                        <a:cubicBezTo>
                          <a:pt x="35" y="56"/>
                          <a:pt x="34" y="55"/>
                          <a:pt x="34" y="55"/>
                        </a:cubicBezTo>
                        <a:cubicBezTo>
                          <a:pt x="34" y="54"/>
                          <a:pt x="34" y="54"/>
                          <a:pt x="35" y="54"/>
                        </a:cubicBezTo>
                        <a:cubicBezTo>
                          <a:pt x="35" y="54"/>
                          <a:pt x="35" y="54"/>
                          <a:pt x="35" y="53"/>
                        </a:cubicBezTo>
                        <a:cubicBezTo>
                          <a:pt x="35" y="53"/>
                          <a:pt x="36" y="53"/>
                          <a:pt x="36" y="52"/>
                        </a:cubicBezTo>
                        <a:cubicBezTo>
                          <a:pt x="36" y="52"/>
                          <a:pt x="36" y="52"/>
                          <a:pt x="36" y="52"/>
                        </a:cubicBezTo>
                        <a:cubicBezTo>
                          <a:pt x="36" y="51"/>
                          <a:pt x="36" y="51"/>
                          <a:pt x="36" y="50"/>
                        </a:cubicBezTo>
                        <a:cubicBezTo>
                          <a:pt x="36" y="50"/>
                          <a:pt x="36" y="49"/>
                          <a:pt x="36" y="49"/>
                        </a:cubicBezTo>
                        <a:cubicBezTo>
                          <a:pt x="36" y="48"/>
                          <a:pt x="36" y="48"/>
                          <a:pt x="36" y="48"/>
                        </a:cubicBezTo>
                        <a:cubicBezTo>
                          <a:pt x="36" y="47"/>
                          <a:pt x="36" y="47"/>
                          <a:pt x="36" y="46"/>
                        </a:cubicBezTo>
                        <a:cubicBezTo>
                          <a:pt x="36" y="46"/>
                          <a:pt x="35" y="45"/>
                          <a:pt x="35" y="45"/>
                        </a:cubicBezTo>
                        <a:cubicBezTo>
                          <a:pt x="35" y="45"/>
                          <a:pt x="35" y="45"/>
                          <a:pt x="35" y="44"/>
                        </a:cubicBezTo>
                        <a:cubicBezTo>
                          <a:pt x="35" y="43"/>
                          <a:pt x="34" y="42"/>
                          <a:pt x="33" y="41"/>
                        </a:cubicBezTo>
                        <a:cubicBezTo>
                          <a:pt x="33" y="41"/>
                          <a:pt x="33" y="41"/>
                          <a:pt x="32" y="40"/>
                        </a:cubicBezTo>
                        <a:cubicBezTo>
                          <a:pt x="32" y="40"/>
                          <a:pt x="32" y="40"/>
                          <a:pt x="32" y="40"/>
                        </a:cubicBezTo>
                        <a:cubicBezTo>
                          <a:pt x="32" y="40"/>
                          <a:pt x="31" y="40"/>
                          <a:pt x="30" y="39"/>
                        </a:cubicBezTo>
                        <a:cubicBezTo>
                          <a:pt x="30" y="39"/>
                          <a:pt x="30" y="39"/>
                          <a:pt x="30" y="39"/>
                        </a:cubicBezTo>
                        <a:cubicBezTo>
                          <a:pt x="29" y="39"/>
                          <a:pt x="28" y="39"/>
                          <a:pt x="27" y="38"/>
                        </a:cubicBezTo>
                        <a:cubicBezTo>
                          <a:pt x="26" y="39"/>
                          <a:pt x="26" y="38"/>
                          <a:pt x="25" y="39"/>
                        </a:cubicBezTo>
                        <a:cubicBezTo>
                          <a:pt x="25" y="39"/>
                          <a:pt x="25" y="39"/>
                          <a:pt x="24" y="39"/>
                        </a:cubicBezTo>
                        <a:cubicBezTo>
                          <a:pt x="24" y="39"/>
                          <a:pt x="24" y="39"/>
                          <a:pt x="23" y="40"/>
                        </a:cubicBezTo>
                        <a:cubicBezTo>
                          <a:pt x="23" y="39"/>
                          <a:pt x="23" y="40"/>
                          <a:pt x="22" y="40"/>
                        </a:cubicBezTo>
                        <a:cubicBezTo>
                          <a:pt x="22" y="40"/>
                          <a:pt x="22" y="40"/>
                          <a:pt x="21" y="41"/>
                        </a:cubicBezTo>
                        <a:cubicBezTo>
                          <a:pt x="21" y="41"/>
                          <a:pt x="21" y="41"/>
                          <a:pt x="21" y="41"/>
                        </a:cubicBezTo>
                        <a:cubicBezTo>
                          <a:pt x="20" y="41"/>
                          <a:pt x="19" y="42"/>
                          <a:pt x="19" y="43"/>
                        </a:cubicBezTo>
                        <a:cubicBezTo>
                          <a:pt x="19" y="43"/>
                          <a:pt x="19" y="43"/>
                          <a:pt x="19" y="43"/>
                        </a:cubicBezTo>
                        <a:cubicBezTo>
                          <a:pt x="19" y="44"/>
                          <a:pt x="18" y="45"/>
                          <a:pt x="18" y="46"/>
                        </a:cubicBezTo>
                        <a:cubicBezTo>
                          <a:pt x="18" y="46"/>
                          <a:pt x="18" y="46"/>
                          <a:pt x="18" y="46"/>
                        </a:cubicBezTo>
                        <a:cubicBezTo>
                          <a:pt x="17" y="46"/>
                          <a:pt x="17" y="46"/>
                          <a:pt x="17" y="47"/>
                        </a:cubicBezTo>
                        <a:cubicBezTo>
                          <a:pt x="17" y="47"/>
                          <a:pt x="17" y="47"/>
                          <a:pt x="17" y="48"/>
                        </a:cubicBezTo>
                        <a:cubicBezTo>
                          <a:pt x="17" y="48"/>
                          <a:pt x="17" y="48"/>
                          <a:pt x="17" y="49"/>
                        </a:cubicBezTo>
                        <a:cubicBezTo>
                          <a:pt x="17" y="49"/>
                          <a:pt x="17" y="49"/>
                          <a:pt x="17" y="49"/>
                        </a:cubicBezTo>
                        <a:cubicBezTo>
                          <a:pt x="17" y="50"/>
                          <a:pt x="17" y="51"/>
                          <a:pt x="16" y="51"/>
                        </a:cubicBezTo>
                        <a:cubicBezTo>
                          <a:pt x="16" y="51"/>
                          <a:pt x="16" y="51"/>
                          <a:pt x="16" y="52"/>
                        </a:cubicBezTo>
                        <a:cubicBezTo>
                          <a:pt x="16" y="52"/>
                          <a:pt x="16" y="52"/>
                          <a:pt x="17" y="52"/>
                        </a:cubicBezTo>
                        <a:cubicBezTo>
                          <a:pt x="17" y="53"/>
                          <a:pt x="16" y="54"/>
                          <a:pt x="17" y="55"/>
                        </a:cubicBezTo>
                        <a:cubicBezTo>
                          <a:pt x="16" y="56"/>
                          <a:pt x="16" y="56"/>
                          <a:pt x="16" y="56"/>
                        </a:cubicBezTo>
                        <a:cubicBezTo>
                          <a:pt x="16" y="57"/>
                          <a:pt x="16" y="57"/>
                          <a:pt x="16" y="57"/>
                        </a:cubicBezTo>
                        <a:cubicBezTo>
                          <a:pt x="16" y="57"/>
                          <a:pt x="16" y="57"/>
                          <a:pt x="16" y="57"/>
                        </a:cubicBezTo>
                        <a:cubicBezTo>
                          <a:pt x="16" y="58"/>
                          <a:pt x="16" y="58"/>
                          <a:pt x="16" y="58"/>
                        </a:cubicBezTo>
                        <a:cubicBezTo>
                          <a:pt x="15" y="65"/>
                          <a:pt x="15" y="65"/>
                          <a:pt x="15" y="65"/>
                        </a:cubicBezTo>
                        <a:cubicBezTo>
                          <a:pt x="14" y="71"/>
                          <a:pt x="14" y="71"/>
                          <a:pt x="14" y="71"/>
                        </a:cubicBezTo>
                        <a:cubicBezTo>
                          <a:pt x="13" y="74"/>
                          <a:pt x="13" y="78"/>
                          <a:pt x="12" y="82"/>
                        </a:cubicBezTo>
                        <a:cubicBezTo>
                          <a:pt x="11" y="89"/>
                          <a:pt x="10" y="95"/>
                          <a:pt x="9" y="101"/>
                        </a:cubicBezTo>
                        <a:cubicBezTo>
                          <a:pt x="8" y="110"/>
                          <a:pt x="7" y="116"/>
                          <a:pt x="6" y="124"/>
                        </a:cubicBezTo>
                        <a:cubicBezTo>
                          <a:pt x="5" y="132"/>
                          <a:pt x="5" y="132"/>
                          <a:pt x="5" y="132"/>
                        </a:cubicBezTo>
                        <a:cubicBezTo>
                          <a:pt x="4" y="140"/>
                          <a:pt x="4" y="140"/>
                          <a:pt x="4" y="140"/>
                        </a:cubicBezTo>
                        <a:cubicBezTo>
                          <a:pt x="3" y="149"/>
                          <a:pt x="3" y="149"/>
                          <a:pt x="3" y="149"/>
                        </a:cubicBezTo>
                        <a:cubicBezTo>
                          <a:pt x="3" y="154"/>
                          <a:pt x="3" y="154"/>
                          <a:pt x="3" y="154"/>
                        </a:cubicBezTo>
                        <a:cubicBezTo>
                          <a:pt x="3" y="156"/>
                          <a:pt x="2" y="158"/>
                          <a:pt x="2" y="160"/>
                        </a:cubicBezTo>
                        <a:cubicBezTo>
                          <a:pt x="2" y="168"/>
                          <a:pt x="2" y="168"/>
                          <a:pt x="2" y="168"/>
                        </a:cubicBezTo>
                        <a:cubicBezTo>
                          <a:pt x="1" y="177"/>
                          <a:pt x="0" y="187"/>
                          <a:pt x="0" y="195"/>
                        </a:cubicBezTo>
                        <a:cubicBezTo>
                          <a:pt x="0" y="211"/>
                          <a:pt x="0" y="225"/>
                          <a:pt x="1" y="243"/>
                        </a:cubicBezTo>
                        <a:cubicBezTo>
                          <a:pt x="2" y="256"/>
                          <a:pt x="2" y="256"/>
                          <a:pt x="2" y="256"/>
                        </a:cubicBezTo>
                        <a:cubicBezTo>
                          <a:pt x="2" y="257"/>
                          <a:pt x="2" y="257"/>
                          <a:pt x="3" y="259"/>
                        </a:cubicBezTo>
                        <a:cubicBezTo>
                          <a:pt x="4" y="269"/>
                          <a:pt x="6" y="279"/>
                          <a:pt x="9" y="289"/>
                        </a:cubicBezTo>
                        <a:cubicBezTo>
                          <a:pt x="9" y="289"/>
                          <a:pt x="9" y="290"/>
                          <a:pt x="9" y="290"/>
                        </a:cubicBezTo>
                        <a:cubicBezTo>
                          <a:pt x="11" y="297"/>
                          <a:pt x="14" y="305"/>
                          <a:pt x="19" y="312"/>
                        </a:cubicBezTo>
                        <a:cubicBezTo>
                          <a:pt x="23" y="319"/>
                          <a:pt x="29" y="324"/>
                          <a:pt x="33" y="328"/>
                        </a:cubicBezTo>
                        <a:cubicBezTo>
                          <a:pt x="40" y="334"/>
                          <a:pt x="49" y="339"/>
                          <a:pt x="59" y="344"/>
                        </a:cubicBezTo>
                        <a:cubicBezTo>
                          <a:pt x="63" y="346"/>
                          <a:pt x="68" y="348"/>
                          <a:pt x="72" y="349"/>
                        </a:cubicBezTo>
                        <a:cubicBezTo>
                          <a:pt x="81" y="352"/>
                          <a:pt x="93" y="355"/>
                          <a:pt x="101" y="356"/>
                        </a:cubicBezTo>
                        <a:cubicBezTo>
                          <a:pt x="104" y="357"/>
                          <a:pt x="106" y="357"/>
                          <a:pt x="109" y="357"/>
                        </a:cubicBezTo>
                        <a:cubicBezTo>
                          <a:pt x="113" y="358"/>
                          <a:pt x="118" y="359"/>
                          <a:pt x="123" y="359"/>
                        </a:cubicBezTo>
                        <a:cubicBezTo>
                          <a:pt x="141" y="361"/>
                          <a:pt x="163" y="362"/>
                          <a:pt x="179" y="361"/>
                        </a:cubicBezTo>
                        <a:cubicBezTo>
                          <a:pt x="184" y="361"/>
                          <a:pt x="188" y="361"/>
                          <a:pt x="194" y="360"/>
                        </a:cubicBezTo>
                        <a:cubicBezTo>
                          <a:pt x="203" y="359"/>
                          <a:pt x="213" y="359"/>
                          <a:pt x="222" y="358"/>
                        </a:cubicBezTo>
                        <a:cubicBezTo>
                          <a:pt x="229" y="357"/>
                          <a:pt x="229" y="357"/>
                          <a:pt x="229" y="357"/>
                        </a:cubicBezTo>
                        <a:cubicBezTo>
                          <a:pt x="234" y="356"/>
                          <a:pt x="240" y="355"/>
                          <a:pt x="245" y="354"/>
                        </a:cubicBezTo>
                        <a:cubicBezTo>
                          <a:pt x="260" y="351"/>
                          <a:pt x="274" y="348"/>
                          <a:pt x="287" y="344"/>
                        </a:cubicBezTo>
                        <a:cubicBezTo>
                          <a:pt x="295" y="341"/>
                          <a:pt x="306" y="338"/>
                          <a:pt x="316" y="333"/>
                        </a:cubicBezTo>
                        <a:cubicBezTo>
                          <a:pt x="321" y="330"/>
                          <a:pt x="326" y="327"/>
                          <a:pt x="331" y="323"/>
                        </a:cubicBezTo>
                        <a:cubicBezTo>
                          <a:pt x="333" y="321"/>
                          <a:pt x="335" y="319"/>
                          <a:pt x="337" y="316"/>
                        </a:cubicBezTo>
                        <a:cubicBezTo>
                          <a:pt x="339" y="313"/>
                          <a:pt x="340" y="311"/>
                          <a:pt x="341" y="308"/>
                        </a:cubicBezTo>
                        <a:cubicBezTo>
                          <a:pt x="343" y="304"/>
                          <a:pt x="345" y="300"/>
                          <a:pt x="347" y="295"/>
                        </a:cubicBezTo>
                        <a:cubicBezTo>
                          <a:pt x="351" y="281"/>
                          <a:pt x="354" y="263"/>
                          <a:pt x="357" y="248"/>
                        </a:cubicBezTo>
                        <a:cubicBezTo>
                          <a:pt x="361" y="216"/>
                          <a:pt x="362" y="184"/>
                          <a:pt x="361" y="152"/>
                        </a:cubicBezTo>
                        <a:close/>
                      </a:path>
                    </a:pathLst>
                  </a:custGeom>
                  <a:solidFill>
                    <a:srgbClr val="FF0000"/>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61" name="Rectangle 60"/>
                  <p:cNvSpPr/>
                  <p:nvPr/>
                </p:nvSpPr>
                <p:spPr>
                  <a:xfrm>
                    <a:off x="2887070" y="4895708"/>
                    <a:ext cx="1391728" cy="1015663"/>
                  </a:xfrm>
                  <a:prstGeom prst="rect">
                    <a:avLst/>
                  </a:prstGeom>
                </p:spPr>
                <p:txBody>
                  <a:bodyPr wrap="none">
                    <a:spAutoFit/>
                  </a:bodyPr>
                  <a:lstStyle/>
                  <a:p>
                    <a:pPr algn="ctr">
                      <a:defRPr/>
                    </a:pPr>
                    <a:r>
                      <a:rPr lang="de-DE" sz="6000" b="1" kern="0" noProof="1" smtClean="0">
                        <a:solidFill>
                          <a:srgbClr val="000000"/>
                        </a:solidFill>
                        <a:latin typeface="Bradley Hand ITC" pitchFamily="66" charset="0"/>
                        <a:ea typeface="ＭＳ Ｐゴシック" pitchFamily="-97" charset="-128"/>
                      </a:rPr>
                      <a:t>Pp2</a:t>
                    </a:r>
                    <a:endParaRPr lang="de-DE" sz="6000" b="1" kern="0" noProof="1">
                      <a:solidFill>
                        <a:srgbClr val="000000"/>
                      </a:solidFill>
                      <a:latin typeface="Bradley Hand ITC" pitchFamily="66" charset="0"/>
                      <a:ea typeface="ＭＳ Ｐゴシック" pitchFamily="-97" charset="-128"/>
                    </a:endParaRPr>
                  </a:p>
                </p:txBody>
              </p:sp>
            </p:grpSp>
            <p:sp>
              <p:nvSpPr>
                <p:cNvPr id="62" name="Freeform 6"/>
                <p:cNvSpPr>
                  <a:spLocks noEditPoints="1"/>
                </p:cNvSpPr>
                <p:nvPr/>
              </p:nvSpPr>
              <p:spPr bwMode="auto">
                <a:xfrm>
                  <a:off x="1210436" y="4824269"/>
                  <a:ext cx="1676633" cy="1112873"/>
                </a:xfrm>
                <a:custGeom>
                  <a:avLst/>
                  <a:gdLst>
                    <a:gd name="T0" fmla="*/ 38 w 760"/>
                    <a:gd name="T1" fmla="*/ 89 h 677"/>
                    <a:gd name="T2" fmla="*/ 158 w 760"/>
                    <a:gd name="T3" fmla="*/ 77 h 677"/>
                    <a:gd name="T4" fmla="*/ 163 w 760"/>
                    <a:gd name="T5" fmla="*/ 95 h 677"/>
                    <a:gd name="T6" fmla="*/ 165 w 760"/>
                    <a:gd name="T7" fmla="*/ 105 h 677"/>
                    <a:gd name="T8" fmla="*/ 163 w 760"/>
                    <a:gd name="T9" fmla="*/ 154 h 677"/>
                    <a:gd name="T10" fmla="*/ 373 w 760"/>
                    <a:gd name="T11" fmla="*/ 627 h 677"/>
                    <a:gd name="T12" fmla="*/ 220 w 760"/>
                    <a:gd name="T13" fmla="*/ 622 h 677"/>
                    <a:gd name="T14" fmla="*/ 124 w 760"/>
                    <a:gd name="T15" fmla="*/ 320 h 677"/>
                    <a:gd name="T16" fmla="*/ 124 w 760"/>
                    <a:gd name="T17" fmla="*/ 132 h 677"/>
                    <a:gd name="T18" fmla="*/ 752 w 760"/>
                    <a:gd name="T19" fmla="*/ 643 h 677"/>
                    <a:gd name="T20" fmla="*/ 753 w 760"/>
                    <a:gd name="T21" fmla="*/ 645 h 677"/>
                    <a:gd name="T22" fmla="*/ 750 w 760"/>
                    <a:gd name="T23" fmla="*/ 644 h 677"/>
                    <a:gd name="T24" fmla="*/ 737 w 760"/>
                    <a:gd name="T25" fmla="*/ 636 h 677"/>
                    <a:gd name="T26" fmla="*/ 700 w 760"/>
                    <a:gd name="T27" fmla="*/ 632 h 677"/>
                    <a:gd name="T28" fmla="*/ 632 w 760"/>
                    <a:gd name="T29" fmla="*/ 637 h 677"/>
                    <a:gd name="T30" fmla="*/ 586 w 760"/>
                    <a:gd name="T31" fmla="*/ 635 h 677"/>
                    <a:gd name="T32" fmla="*/ 575 w 760"/>
                    <a:gd name="T33" fmla="*/ 634 h 677"/>
                    <a:gd name="T34" fmla="*/ 467 w 760"/>
                    <a:gd name="T35" fmla="*/ 628 h 677"/>
                    <a:gd name="T36" fmla="*/ 430 w 760"/>
                    <a:gd name="T37" fmla="*/ 632 h 677"/>
                    <a:gd name="T38" fmla="*/ 369 w 760"/>
                    <a:gd name="T39" fmla="*/ 633 h 677"/>
                    <a:gd name="T40" fmla="*/ 327 w 760"/>
                    <a:gd name="T41" fmla="*/ 632 h 677"/>
                    <a:gd name="T42" fmla="*/ 276 w 760"/>
                    <a:gd name="T43" fmla="*/ 628 h 677"/>
                    <a:gd name="T44" fmla="*/ 253 w 760"/>
                    <a:gd name="T45" fmla="*/ 625 h 677"/>
                    <a:gd name="T46" fmla="*/ 217 w 760"/>
                    <a:gd name="T47" fmla="*/ 621 h 677"/>
                    <a:gd name="T48" fmla="*/ 173 w 760"/>
                    <a:gd name="T49" fmla="*/ 607 h 677"/>
                    <a:gd name="T50" fmla="*/ 131 w 760"/>
                    <a:gd name="T51" fmla="*/ 479 h 677"/>
                    <a:gd name="T52" fmla="*/ 128 w 760"/>
                    <a:gd name="T53" fmla="*/ 414 h 677"/>
                    <a:gd name="T54" fmla="*/ 125 w 760"/>
                    <a:gd name="T55" fmla="*/ 224 h 677"/>
                    <a:gd name="T56" fmla="*/ 123 w 760"/>
                    <a:gd name="T57" fmla="*/ 102 h 677"/>
                    <a:gd name="T58" fmla="*/ 153 w 760"/>
                    <a:gd name="T59" fmla="*/ 149 h 677"/>
                    <a:gd name="T60" fmla="*/ 165 w 760"/>
                    <a:gd name="T61" fmla="*/ 153 h 677"/>
                    <a:gd name="T62" fmla="*/ 175 w 760"/>
                    <a:gd name="T63" fmla="*/ 142 h 677"/>
                    <a:gd name="T64" fmla="*/ 176 w 760"/>
                    <a:gd name="T65" fmla="*/ 125 h 677"/>
                    <a:gd name="T66" fmla="*/ 172 w 760"/>
                    <a:gd name="T67" fmla="*/ 110 h 677"/>
                    <a:gd name="T68" fmla="*/ 160 w 760"/>
                    <a:gd name="T69" fmla="*/ 105 h 677"/>
                    <a:gd name="T70" fmla="*/ 163 w 760"/>
                    <a:gd name="T71" fmla="*/ 95 h 677"/>
                    <a:gd name="T72" fmla="*/ 161 w 760"/>
                    <a:gd name="T73" fmla="*/ 89 h 677"/>
                    <a:gd name="T74" fmla="*/ 155 w 760"/>
                    <a:gd name="T75" fmla="*/ 68 h 677"/>
                    <a:gd name="T76" fmla="*/ 151 w 760"/>
                    <a:gd name="T77" fmla="*/ 63 h 677"/>
                    <a:gd name="T78" fmla="*/ 138 w 760"/>
                    <a:gd name="T79" fmla="*/ 45 h 677"/>
                    <a:gd name="T80" fmla="*/ 131 w 760"/>
                    <a:gd name="T81" fmla="*/ 32 h 677"/>
                    <a:gd name="T82" fmla="*/ 124 w 760"/>
                    <a:gd name="T83" fmla="*/ 16 h 677"/>
                    <a:gd name="T84" fmla="*/ 121 w 760"/>
                    <a:gd name="T85" fmla="*/ 4 h 677"/>
                    <a:gd name="T86" fmla="*/ 113 w 760"/>
                    <a:gd name="T87" fmla="*/ 19 h 677"/>
                    <a:gd name="T88" fmla="*/ 107 w 760"/>
                    <a:gd name="T89" fmla="*/ 25 h 677"/>
                    <a:gd name="T90" fmla="*/ 77 w 760"/>
                    <a:gd name="T91" fmla="*/ 49 h 677"/>
                    <a:gd name="T92" fmla="*/ 55 w 760"/>
                    <a:gd name="T93" fmla="*/ 72 h 677"/>
                    <a:gd name="T94" fmla="*/ 39 w 760"/>
                    <a:gd name="T95" fmla="*/ 89 h 677"/>
                    <a:gd name="T96" fmla="*/ 14 w 760"/>
                    <a:gd name="T97" fmla="*/ 106 h 677"/>
                    <a:gd name="T98" fmla="*/ 20 w 760"/>
                    <a:gd name="T99" fmla="*/ 148 h 677"/>
                    <a:gd name="T100" fmla="*/ 87 w 760"/>
                    <a:gd name="T101" fmla="*/ 101 h 677"/>
                    <a:gd name="T102" fmla="*/ 96 w 760"/>
                    <a:gd name="T103" fmla="*/ 523 h 677"/>
                    <a:gd name="T104" fmla="*/ 214 w 760"/>
                    <a:gd name="T105" fmla="*/ 661 h 677"/>
                    <a:gd name="T106" fmla="*/ 587 w 760"/>
                    <a:gd name="T107" fmla="*/ 673 h 677"/>
                    <a:gd name="T108" fmla="*/ 747 w 760"/>
                    <a:gd name="T109" fmla="*/ 665 h 677"/>
                    <a:gd name="T110" fmla="*/ 756 w 760"/>
                    <a:gd name="T111" fmla="*/ 658 h 677"/>
                    <a:gd name="T112" fmla="*/ 632 w 760"/>
                    <a:gd name="T113" fmla="*/ 637 h 677"/>
                    <a:gd name="T114" fmla="*/ 753 w 760"/>
                    <a:gd name="T115" fmla="*/ 645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0" h="677">
                      <a:moveTo>
                        <a:pt x="144" y="39"/>
                      </a:moveTo>
                      <a:cubicBezTo>
                        <a:pt x="144" y="39"/>
                        <a:pt x="144" y="40"/>
                        <a:pt x="143" y="40"/>
                      </a:cubicBezTo>
                      <a:cubicBezTo>
                        <a:pt x="143" y="40"/>
                        <a:pt x="143" y="40"/>
                        <a:pt x="143" y="40"/>
                      </a:cubicBezTo>
                      <a:lnTo>
                        <a:pt x="144" y="39"/>
                      </a:lnTo>
                      <a:close/>
                      <a:moveTo>
                        <a:pt x="153" y="65"/>
                      </a:moveTo>
                      <a:cubicBezTo>
                        <a:pt x="153" y="65"/>
                        <a:pt x="153" y="65"/>
                        <a:pt x="153" y="65"/>
                      </a:cubicBezTo>
                      <a:cubicBezTo>
                        <a:pt x="153" y="65"/>
                        <a:pt x="153" y="64"/>
                        <a:pt x="153" y="65"/>
                      </a:cubicBezTo>
                      <a:close/>
                      <a:moveTo>
                        <a:pt x="38" y="89"/>
                      </a:moveTo>
                      <a:cubicBezTo>
                        <a:pt x="38" y="89"/>
                        <a:pt x="38" y="89"/>
                        <a:pt x="38" y="89"/>
                      </a:cubicBezTo>
                      <a:cubicBezTo>
                        <a:pt x="38" y="89"/>
                        <a:pt x="38" y="89"/>
                        <a:pt x="38" y="89"/>
                      </a:cubicBezTo>
                      <a:close/>
                      <a:moveTo>
                        <a:pt x="38" y="89"/>
                      </a:moveTo>
                      <a:cubicBezTo>
                        <a:pt x="39" y="90"/>
                        <a:pt x="39" y="90"/>
                        <a:pt x="39" y="89"/>
                      </a:cubicBezTo>
                      <a:cubicBezTo>
                        <a:pt x="38" y="88"/>
                        <a:pt x="38" y="89"/>
                        <a:pt x="38" y="88"/>
                      </a:cubicBezTo>
                      <a:cubicBezTo>
                        <a:pt x="38" y="89"/>
                        <a:pt x="38" y="89"/>
                        <a:pt x="38" y="89"/>
                      </a:cubicBezTo>
                      <a:close/>
                      <a:moveTo>
                        <a:pt x="159" y="76"/>
                      </a:moveTo>
                      <a:cubicBezTo>
                        <a:pt x="158" y="77"/>
                        <a:pt x="158" y="77"/>
                        <a:pt x="158" y="77"/>
                      </a:cubicBezTo>
                      <a:cubicBezTo>
                        <a:pt x="158" y="77"/>
                        <a:pt x="158" y="77"/>
                        <a:pt x="158" y="77"/>
                      </a:cubicBezTo>
                      <a:lnTo>
                        <a:pt x="159" y="76"/>
                      </a:lnTo>
                      <a:close/>
                      <a:moveTo>
                        <a:pt x="175" y="142"/>
                      </a:moveTo>
                      <a:cubicBezTo>
                        <a:pt x="174" y="143"/>
                        <a:pt x="174" y="143"/>
                        <a:pt x="174" y="143"/>
                      </a:cubicBezTo>
                      <a:cubicBezTo>
                        <a:pt x="174" y="143"/>
                        <a:pt x="175" y="143"/>
                        <a:pt x="175" y="143"/>
                      </a:cubicBezTo>
                      <a:lnTo>
                        <a:pt x="175" y="142"/>
                      </a:lnTo>
                      <a:close/>
                      <a:moveTo>
                        <a:pt x="163" y="95"/>
                      </a:moveTo>
                      <a:cubicBezTo>
                        <a:pt x="163" y="95"/>
                        <a:pt x="163" y="95"/>
                        <a:pt x="163" y="95"/>
                      </a:cubicBezTo>
                      <a:cubicBezTo>
                        <a:pt x="163" y="94"/>
                        <a:pt x="163" y="93"/>
                        <a:pt x="162" y="93"/>
                      </a:cubicBezTo>
                      <a:cubicBezTo>
                        <a:pt x="161" y="93"/>
                        <a:pt x="161" y="93"/>
                        <a:pt x="161" y="93"/>
                      </a:cubicBezTo>
                      <a:lnTo>
                        <a:pt x="163" y="95"/>
                      </a:lnTo>
                      <a:close/>
                      <a:moveTo>
                        <a:pt x="157" y="150"/>
                      </a:moveTo>
                      <a:cubicBezTo>
                        <a:pt x="157" y="150"/>
                        <a:pt x="157" y="150"/>
                        <a:pt x="157" y="150"/>
                      </a:cubicBezTo>
                      <a:cubicBezTo>
                        <a:pt x="156" y="151"/>
                        <a:pt x="156" y="150"/>
                        <a:pt x="157" y="150"/>
                      </a:cubicBezTo>
                      <a:close/>
                      <a:moveTo>
                        <a:pt x="165" y="105"/>
                      </a:moveTo>
                      <a:cubicBezTo>
                        <a:pt x="165" y="105"/>
                        <a:pt x="165" y="105"/>
                        <a:pt x="165" y="105"/>
                      </a:cubicBezTo>
                      <a:cubicBezTo>
                        <a:pt x="166" y="104"/>
                        <a:pt x="166" y="104"/>
                        <a:pt x="166" y="104"/>
                      </a:cubicBezTo>
                      <a:lnTo>
                        <a:pt x="165" y="105"/>
                      </a:lnTo>
                      <a:close/>
                      <a:moveTo>
                        <a:pt x="177" y="123"/>
                      </a:moveTo>
                      <a:cubicBezTo>
                        <a:pt x="177" y="122"/>
                        <a:pt x="177" y="122"/>
                        <a:pt x="176" y="123"/>
                      </a:cubicBezTo>
                      <a:cubicBezTo>
                        <a:pt x="177" y="123"/>
                        <a:pt x="177" y="123"/>
                        <a:pt x="177" y="123"/>
                      </a:cubicBezTo>
                      <a:close/>
                      <a:moveTo>
                        <a:pt x="163" y="155"/>
                      </a:moveTo>
                      <a:cubicBezTo>
                        <a:pt x="163" y="155"/>
                        <a:pt x="164" y="155"/>
                        <a:pt x="164" y="154"/>
                      </a:cubicBezTo>
                      <a:cubicBezTo>
                        <a:pt x="163" y="154"/>
                        <a:pt x="163" y="154"/>
                        <a:pt x="163" y="154"/>
                      </a:cubicBezTo>
                      <a:cubicBezTo>
                        <a:pt x="163" y="154"/>
                        <a:pt x="163" y="155"/>
                        <a:pt x="163" y="155"/>
                      </a:cubicBezTo>
                      <a:close/>
                      <a:moveTo>
                        <a:pt x="175" y="145"/>
                      </a:moveTo>
                      <a:cubicBezTo>
                        <a:pt x="175" y="144"/>
                        <a:pt x="175" y="144"/>
                        <a:pt x="175" y="144"/>
                      </a:cubicBezTo>
                      <a:cubicBezTo>
                        <a:pt x="175" y="144"/>
                        <a:pt x="175" y="145"/>
                        <a:pt x="175" y="145"/>
                      </a:cubicBezTo>
                      <a:close/>
                      <a:moveTo>
                        <a:pt x="130" y="440"/>
                      </a:moveTo>
                      <a:cubicBezTo>
                        <a:pt x="130" y="439"/>
                        <a:pt x="129" y="439"/>
                        <a:pt x="130" y="440"/>
                      </a:cubicBezTo>
                      <a:close/>
                      <a:moveTo>
                        <a:pt x="373" y="627"/>
                      </a:moveTo>
                      <a:cubicBezTo>
                        <a:pt x="373" y="627"/>
                        <a:pt x="373" y="627"/>
                        <a:pt x="373" y="627"/>
                      </a:cubicBezTo>
                      <a:cubicBezTo>
                        <a:pt x="374" y="626"/>
                        <a:pt x="374" y="626"/>
                        <a:pt x="374" y="625"/>
                      </a:cubicBezTo>
                      <a:lnTo>
                        <a:pt x="373" y="627"/>
                      </a:lnTo>
                      <a:close/>
                      <a:moveTo>
                        <a:pt x="439" y="631"/>
                      </a:moveTo>
                      <a:cubicBezTo>
                        <a:pt x="440" y="631"/>
                        <a:pt x="440" y="631"/>
                        <a:pt x="440" y="631"/>
                      </a:cubicBezTo>
                      <a:cubicBezTo>
                        <a:pt x="440" y="631"/>
                        <a:pt x="440" y="630"/>
                        <a:pt x="439" y="631"/>
                      </a:cubicBezTo>
                      <a:close/>
                      <a:moveTo>
                        <a:pt x="220" y="622"/>
                      </a:moveTo>
                      <a:cubicBezTo>
                        <a:pt x="221" y="621"/>
                        <a:pt x="221" y="621"/>
                        <a:pt x="222" y="621"/>
                      </a:cubicBezTo>
                      <a:cubicBezTo>
                        <a:pt x="221" y="621"/>
                        <a:pt x="221" y="621"/>
                        <a:pt x="220" y="622"/>
                      </a:cubicBezTo>
                      <a:close/>
                      <a:moveTo>
                        <a:pt x="123" y="318"/>
                      </a:moveTo>
                      <a:cubicBezTo>
                        <a:pt x="123" y="319"/>
                        <a:pt x="123" y="319"/>
                        <a:pt x="123" y="319"/>
                      </a:cubicBezTo>
                      <a:cubicBezTo>
                        <a:pt x="124" y="318"/>
                        <a:pt x="124" y="318"/>
                        <a:pt x="124" y="318"/>
                      </a:cubicBezTo>
                      <a:lnTo>
                        <a:pt x="123" y="318"/>
                      </a:lnTo>
                      <a:close/>
                      <a:moveTo>
                        <a:pt x="124" y="320"/>
                      </a:moveTo>
                      <a:cubicBezTo>
                        <a:pt x="124" y="320"/>
                        <a:pt x="124" y="319"/>
                        <a:pt x="123" y="319"/>
                      </a:cubicBezTo>
                      <a:cubicBezTo>
                        <a:pt x="123" y="320"/>
                        <a:pt x="123" y="322"/>
                        <a:pt x="123" y="323"/>
                      </a:cubicBezTo>
                      <a:cubicBezTo>
                        <a:pt x="124" y="323"/>
                        <a:pt x="124" y="321"/>
                        <a:pt x="124" y="320"/>
                      </a:cubicBezTo>
                      <a:close/>
                      <a:moveTo>
                        <a:pt x="124" y="320"/>
                      </a:moveTo>
                      <a:cubicBezTo>
                        <a:pt x="124" y="320"/>
                        <a:pt x="124" y="320"/>
                        <a:pt x="124" y="320"/>
                      </a:cubicBezTo>
                      <a:cubicBezTo>
                        <a:pt x="124" y="320"/>
                        <a:pt x="124" y="320"/>
                        <a:pt x="124" y="320"/>
                      </a:cubicBezTo>
                      <a:close/>
                      <a:moveTo>
                        <a:pt x="223" y="663"/>
                      </a:moveTo>
                      <a:cubicBezTo>
                        <a:pt x="222" y="663"/>
                        <a:pt x="222" y="663"/>
                        <a:pt x="222" y="663"/>
                      </a:cubicBezTo>
                      <a:cubicBezTo>
                        <a:pt x="222" y="663"/>
                        <a:pt x="222" y="663"/>
                        <a:pt x="223" y="663"/>
                      </a:cubicBezTo>
                      <a:close/>
                      <a:moveTo>
                        <a:pt x="123" y="132"/>
                      </a:moveTo>
                      <a:cubicBezTo>
                        <a:pt x="124" y="132"/>
                        <a:pt x="124" y="132"/>
                        <a:pt x="124" y="132"/>
                      </a:cubicBezTo>
                      <a:cubicBezTo>
                        <a:pt x="123" y="132"/>
                        <a:pt x="123" y="132"/>
                        <a:pt x="123" y="132"/>
                      </a:cubicBezTo>
                      <a:close/>
                      <a:moveTo>
                        <a:pt x="501" y="631"/>
                      </a:moveTo>
                      <a:cubicBezTo>
                        <a:pt x="501" y="632"/>
                        <a:pt x="501" y="632"/>
                        <a:pt x="501" y="632"/>
                      </a:cubicBezTo>
                      <a:cubicBezTo>
                        <a:pt x="501" y="632"/>
                        <a:pt x="501" y="632"/>
                        <a:pt x="501" y="632"/>
                      </a:cubicBezTo>
                      <a:lnTo>
                        <a:pt x="501" y="631"/>
                      </a:lnTo>
                      <a:close/>
                      <a:moveTo>
                        <a:pt x="752" y="643"/>
                      </a:moveTo>
                      <a:cubicBezTo>
                        <a:pt x="751" y="644"/>
                        <a:pt x="751" y="644"/>
                        <a:pt x="751" y="644"/>
                      </a:cubicBezTo>
                      <a:cubicBezTo>
                        <a:pt x="751" y="644"/>
                        <a:pt x="752" y="643"/>
                        <a:pt x="752" y="643"/>
                      </a:cubicBezTo>
                      <a:close/>
                      <a:moveTo>
                        <a:pt x="585" y="635"/>
                      </a:moveTo>
                      <a:cubicBezTo>
                        <a:pt x="585" y="635"/>
                        <a:pt x="586" y="635"/>
                        <a:pt x="586" y="635"/>
                      </a:cubicBezTo>
                      <a:cubicBezTo>
                        <a:pt x="584" y="634"/>
                        <a:pt x="580" y="634"/>
                        <a:pt x="575" y="634"/>
                      </a:cubicBezTo>
                      <a:cubicBezTo>
                        <a:pt x="575" y="636"/>
                        <a:pt x="575" y="636"/>
                        <a:pt x="575" y="636"/>
                      </a:cubicBezTo>
                      <a:lnTo>
                        <a:pt x="585" y="635"/>
                      </a:lnTo>
                      <a:close/>
                      <a:moveTo>
                        <a:pt x="760" y="655"/>
                      </a:moveTo>
                      <a:cubicBezTo>
                        <a:pt x="760" y="655"/>
                        <a:pt x="755" y="649"/>
                        <a:pt x="753" y="646"/>
                      </a:cubicBezTo>
                      <a:cubicBezTo>
                        <a:pt x="755" y="647"/>
                        <a:pt x="754" y="646"/>
                        <a:pt x="753" y="645"/>
                      </a:cubicBezTo>
                      <a:cubicBezTo>
                        <a:pt x="753" y="645"/>
                        <a:pt x="753" y="645"/>
                        <a:pt x="753" y="645"/>
                      </a:cubicBezTo>
                      <a:cubicBezTo>
                        <a:pt x="752" y="645"/>
                        <a:pt x="752" y="643"/>
                        <a:pt x="751" y="642"/>
                      </a:cubicBezTo>
                      <a:cubicBezTo>
                        <a:pt x="752" y="643"/>
                        <a:pt x="752" y="643"/>
                        <a:pt x="752" y="643"/>
                      </a:cubicBezTo>
                      <a:cubicBezTo>
                        <a:pt x="752" y="642"/>
                        <a:pt x="752" y="642"/>
                        <a:pt x="752" y="642"/>
                      </a:cubicBezTo>
                      <a:cubicBezTo>
                        <a:pt x="752" y="643"/>
                        <a:pt x="752" y="643"/>
                        <a:pt x="752" y="643"/>
                      </a:cubicBezTo>
                      <a:cubicBezTo>
                        <a:pt x="752" y="644"/>
                        <a:pt x="752" y="644"/>
                        <a:pt x="751" y="644"/>
                      </a:cubicBezTo>
                      <a:cubicBezTo>
                        <a:pt x="751" y="644"/>
                        <a:pt x="751" y="644"/>
                        <a:pt x="751" y="644"/>
                      </a:cubicBezTo>
                      <a:cubicBezTo>
                        <a:pt x="751" y="644"/>
                        <a:pt x="750" y="644"/>
                        <a:pt x="750" y="644"/>
                      </a:cubicBezTo>
                      <a:cubicBezTo>
                        <a:pt x="750" y="642"/>
                        <a:pt x="750" y="642"/>
                        <a:pt x="750" y="642"/>
                      </a:cubicBezTo>
                      <a:cubicBezTo>
                        <a:pt x="749" y="645"/>
                        <a:pt x="744" y="638"/>
                        <a:pt x="743" y="638"/>
                      </a:cubicBezTo>
                      <a:cubicBezTo>
                        <a:pt x="742" y="636"/>
                        <a:pt x="741" y="638"/>
                        <a:pt x="739" y="637"/>
                      </a:cubicBezTo>
                      <a:cubicBezTo>
                        <a:pt x="737" y="637"/>
                        <a:pt x="738" y="635"/>
                        <a:pt x="737" y="634"/>
                      </a:cubicBezTo>
                      <a:cubicBezTo>
                        <a:pt x="737" y="634"/>
                        <a:pt x="737" y="633"/>
                        <a:pt x="736" y="633"/>
                      </a:cubicBezTo>
                      <a:cubicBezTo>
                        <a:pt x="736" y="633"/>
                        <a:pt x="736" y="633"/>
                        <a:pt x="736" y="634"/>
                      </a:cubicBezTo>
                      <a:cubicBezTo>
                        <a:pt x="736" y="634"/>
                        <a:pt x="736" y="634"/>
                        <a:pt x="736" y="634"/>
                      </a:cubicBezTo>
                      <a:cubicBezTo>
                        <a:pt x="737" y="635"/>
                        <a:pt x="737" y="636"/>
                        <a:pt x="737" y="636"/>
                      </a:cubicBezTo>
                      <a:cubicBezTo>
                        <a:pt x="737" y="636"/>
                        <a:pt x="737" y="635"/>
                        <a:pt x="736" y="635"/>
                      </a:cubicBezTo>
                      <a:cubicBezTo>
                        <a:pt x="735" y="635"/>
                        <a:pt x="735" y="635"/>
                        <a:pt x="735" y="635"/>
                      </a:cubicBezTo>
                      <a:cubicBezTo>
                        <a:pt x="733" y="635"/>
                        <a:pt x="733" y="635"/>
                        <a:pt x="733" y="635"/>
                      </a:cubicBezTo>
                      <a:cubicBezTo>
                        <a:pt x="729" y="634"/>
                        <a:pt x="729" y="634"/>
                        <a:pt x="729" y="634"/>
                      </a:cubicBezTo>
                      <a:cubicBezTo>
                        <a:pt x="734" y="633"/>
                        <a:pt x="731" y="633"/>
                        <a:pt x="730" y="632"/>
                      </a:cubicBezTo>
                      <a:cubicBezTo>
                        <a:pt x="723" y="632"/>
                        <a:pt x="712" y="630"/>
                        <a:pt x="710" y="633"/>
                      </a:cubicBezTo>
                      <a:cubicBezTo>
                        <a:pt x="700" y="632"/>
                        <a:pt x="700" y="631"/>
                        <a:pt x="696" y="631"/>
                      </a:cubicBezTo>
                      <a:cubicBezTo>
                        <a:pt x="697" y="631"/>
                        <a:pt x="700" y="632"/>
                        <a:pt x="700" y="632"/>
                      </a:cubicBezTo>
                      <a:cubicBezTo>
                        <a:pt x="696" y="631"/>
                        <a:pt x="698" y="633"/>
                        <a:pt x="700" y="633"/>
                      </a:cubicBezTo>
                      <a:cubicBezTo>
                        <a:pt x="694" y="635"/>
                        <a:pt x="669" y="628"/>
                        <a:pt x="668" y="632"/>
                      </a:cubicBezTo>
                      <a:cubicBezTo>
                        <a:pt x="668" y="631"/>
                        <a:pt x="668" y="631"/>
                        <a:pt x="668" y="631"/>
                      </a:cubicBezTo>
                      <a:cubicBezTo>
                        <a:pt x="667" y="634"/>
                        <a:pt x="669" y="636"/>
                        <a:pt x="665" y="638"/>
                      </a:cubicBezTo>
                      <a:cubicBezTo>
                        <a:pt x="662" y="637"/>
                        <a:pt x="662" y="637"/>
                        <a:pt x="662" y="637"/>
                      </a:cubicBezTo>
                      <a:cubicBezTo>
                        <a:pt x="658" y="638"/>
                        <a:pt x="658" y="638"/>
                        <a:pt x="658" y="638"/>
                      </a:cubicBezTo>
                      <a:cubicBezTo>
                        <a:pt x="655" y="638"/>
                        <a:pt x="656" y="637"/>
                        <a:pt x="656" y="637"/>
                      </a:cubicBezTo>
                      <a:cubicBezTo>
                        <a:pt x="650" y="638"/>
                        <a:pt x="640" y="637"/>
                        <a:pt x="632" y="637"/>
                      </a:cubicBezTo>
                      <a:cubicBezTo>
                        <a:pt x="641" y="644"/>
                        <a:pt x="641" y="644"/>
                        <a:pt x="641" y="644"/>
                      </a:cubicBezTo>
                      <a:cubicBezTo>
                        <a:pt x="634" y="642"/>
                        <a:pt x="622" y="639"/>
                        <a:pt x="620" y="642"/>
                      </a:cubicBezTo>
                      <a:cubicBezTo>
                        <a:pt x="616" y="639"/>
                        <a:pt x="616" y="639"/>
                        <a:pt x="616" y="639"/>
                      </a:cubicBezTo>
                      <a:cubicBezTo>
                        <a:pt x="602" y="635"/>
                        <a:pt x="607" y="642"/>
                        <a:pt x="601" y="641"/>
                      </a:cubicBezTo>
                      <a:cubicBezTo>
                        <a:pt x="594" y="638"/>
                        <a:pt x="594" y="638"/>
                        <a:pt x="594" y="638"/>
                      </a:cubicBezTo>
                      <a:cubicBezTo>
                        <a:pt x="601" y="638"/>
                        <a:pt x="601" y="638"/>
                        <a:pt x="601" y="638"/>
                      </a:cubicBezTo>
                      <a:cubicBezTo>
                        <a:pt x="594" y="637"/>
                        <a:pt x="591" y="636"/>
                        <a:pt x="586" y="635"/>
                      </a:cubicBezTo>
                      <a:cubicBezTo>
                        <a:pt x="586" y="635"/>
                        <a:pt x="586" y="635"/>
                        <a:pt x="586" y="635"/>
                      </a:cubicBezTo>
                      <a:cubicBezTo>
                        <a:pt x="586" y="635"/>
                        <a:pt x="586" y="635"/>
                        <a:pt x="586" y="635"/>
                      </a:cubicBezTo>
                      <a:cubicBezTo>
                        <a:pt x="585" y="635"/>
                        <a:pt x="585" y="635"/>
                        <a:pt x="585" y="635"/>
                      </a:cubicBezTo>
                      <a:cubicBezTo>
                        <a:pt x="585" y="636"/>
                        <a:pt x="581" y="637"/>
                        <a:pt x="576" y="637"/>
                      </a:cubicBezTo>
                      <a:cubicBezTo>
                        <a:pt x="569" y="637"/>
                        <a:pt x="564" y="639"/>
                        <a:pt x="553" y="637"/>
                      </a:cubicBezTo>
                      <a:cubicBezTo>
                        <a:pt x="550" y="640"/>
                        <a:pt x="550" y="640"/>
                        <a:pt x="550" y="640"/>
                      </a:cubicBezTo>
                      <a:cubicBezTo>
                        <a:pt x="542" y="638"/>
                        <a:pt x="542" y="638"/>
                        <a:pt x="542" y="638"/>
                      </a:cubicBezTo>
                      <a:cubicBezTo>
                        <a:pt x="542" y="636"/>
                        <a:pt x="542" y="636"/>
                        <a:pt x="542" y="636"/>
                      </a:cubicBezTo>
                      <a:cubicBezTo>
                        <a:pt x="550" y="636"/>
                        <a:pt x="565" y="635"/>
                        <a:pt x="575" y="634"/>
                      </a:cubicBezTo>
                      <a:cubicBezTo>
                        <a:pt x="576" y="633"/>
                        <a:pt x="576" y="633"/>
                        <a:pt x="576" y="633"/>
                      </a:cubicBezTo>
                      <a:cubicBezTo>
                        <a:pt x="569" y="634"/>
                        <a:pt x="562" y="635"/>
                        <a:pt x="558" y="635"/>
                      </a:cubicBezTo>
                      <a:cubicBezTo>
                        <a:pt x="556" y="634"/>
                        <a:pt x="551" y="632"/>
                        <a:pt x="555" y="631"/>
                      </a:cubicBezTo>
                      <a:cubicBezTo>
                        <a:pt x="551" y="633"/>
                        <a:pt x="551" y="633"/>
                        <a:pt x="551" y="633"/>
                      </a:cubicBezTo>
                      <a:cubicBezTo>
                        <a:pt x="531" y="634"/>
                        <a:pt x="530" y="634"/>
                        <a:pt x="509" y="632"/>
                      </a:cubicBezTo>
                      <a:cubicBezTo>
                        <a:pt x="511" y="633"/>
                        <a:pt x="511" y="633"/>
                        <a:pt x="511" y="633"/>
                      </a:cubicBezTo>
                      <a:cubicBezTo>
                        <a:pt x="507" y="633"/>
                        <a:pt x="502" y="634"/>
                        <a:pt x="501" y="632"/>
                      </a:cubicBezTo>
                      <a:cubicBezTo>
                        <a:pt x="488" y="632"/>
                        <a:pt x="475" y="631"/>
                        <a:pt x="467" y="628"/>
                      </a:cubicBezTo>
                      <a:cubicBezTo>
                        <a:pt x="465" y="631"/>
                        <a:pt x="465" y="631"/>
                        <a:pt x="465" y="631"/>
                      </a:cubicBezTo>
                      <a:cubicBezTo>
                        <a:pt x="462" y="631"/>
                        <a:pt x="458" y="627"/>
                        <a:pt x="457" y="630"/>
                      </a:cubicBezTo>
                      <a:cubicBezTo>
                        <a:pt x="451" y="631"/>
                        <a:pt x="451" y="631"/>
                        <a:pt x="451" y="631"/>
                      </a:cubicBezTo>
                      <a:cubicBezTo>
                        <a:pt x="447" y="631"/>
                        <a:pt x="445" y="633"/>
                        <a:pt x="441" y="631"/>
                      </a:cubicBezTo>
                      <a:cubicBezTo>
                        <a:pt x="441" y="631"/>
                        <a:pt x="441" y="631"/>
                        <a:pt x="441" y="631"/>
                      </a:cubicBezTo>
                      <a:cubicBezTo>
                        <a:pt x="440" y="631"/>
                        <a:pt x="440" y="631"/>
                        <a:pt x="440" y="631"/>
                      </a:cubicBezTo>
                      <a:cubicBezTo>
                        <a:pt x="440" y="631"/>
                        <a:pt x="440" y="631"/>
                        <a:pt x="440" y="631"/>
                      </a:cubicBezTo>
                      <a:cubicBezTo>
                        <a:pt x="431" y="630"/>
                        <a:pt x="440" y="633"/>
                        <a:pt x="430" y="632"/>
                      </a:cubicBezTo>
                      <a:cubicBezTo>
                        <a:pt x="427" y="630"/>
                        <a:pt x="427" y="635"/>
                        <a:pt x="422" y="634"/>
                      </a:cubicBezTo>
                      <a:cubicBezTo>
                        <a:pt x="417" y="631"/>
                        <a:pt x="417" y="631"/>
                        <a:pt x="417" y="631"/>
                      </a:cubicBezTo>
                      <a:cubicBezTo>
                        <a:pt x="409" y="629"/>
                        <a:pt x="407" y="632"/>
                        <a:pt x="395" y="632"/>
                      </a:cubicBezTo>
                      <a:cubicBezTo>
                        <a:pt x="389" y="631"/>
                        <a:pt x="387" y="628"/>
                        <a:pt x="390" y="625"/>
                      </a:cubicBezTo>
                      <a:cubicBezTo>
                        <a:pt x="385" y="628"/>
                        <a:pt x="388" y="627"/>
                        <a:pt x="381" y="629"/>
                      </a:cubicBezTo>
                      <a:cubicBezTo>
                        <a:pt x="380" y="627"/>
                        <a:pt x="381" y="627"/>
                        <a:pt x="382" y="626"/>
                      </a:cubicBezTo>
                      <a:cubicBezTo>
                        <a:pt x="376" y="624"/>
                        <a:pt x="378" y="627"/>
                        <a:pt x="373" y="627"/>
                      </a:cubicBezTo>
                      <a:cubicBezTo>
                        <a:pt x="372" y="629"/>
                        <a:pt x="370" y="633"/>
                        <a:pt x="369" y="633"/>
                      </a:cubicBezTo>
                      <a:cubicBezTo>
                        <a:pt x="371" y="634"/>
                        <a:pt x="371" y="634"/>
                        <a:pt x="371" y="634"/>
                      </a:cubicBezTo>
                      <a:cubicBezTo>
                        <a:pt x="365" y="635"/>
                        <a:pt x="360" y="636"/>
                        <a:pt x="354" y="635"/>
                      </a:cubicBezTo>
                      <a:cubicBezTo>
                        <a:pt x="354" y="633"/>
                        <a:pt x="354" y="633"/>
                        <a:pt x="354" y="633"/>
                      </a:cubicBezTo>
                      <a:cubicBezTo>
                        <a:pt x="348" y="634"/>
                        <a:pt x="348" y="634"/>
                        <a:pt x="348" y="634"/>
                      </a:cubicBezTo>
                      <a:cubicBezTo>
                        <a:pt x="348" y="632"/>
                        <a:pt x="348" y="632"/>
                        <a:pt x="348" y="632"/>
                      </a:cubicBezTo>
                      <a:cubicBezTo>
                        <a:pt x="339" y="632"/>
                        <a:pt x="339" y="632"/>
                        <a:pt x="339" y="632"/>
                      </a:cubicBezTo>
                      <a:cubicBezTo>
                        <a:pt x="340" y="633"/>
                        <a:pt x="340" y="633"/>
                        <a:pt x="340" y="633"/>
                      </a:cubicBezTo>
                      <a:cubicBezTo>
                        <a:pt x="338" y="633"/>
                        <a:pt x="331" y="633"/>
                        <a:pt x="327" y="632"/>
                      </a:cubicBezTo>
                      <a:cubicBezTo>
                        <a:pt x="327" y="631"/>
                        <a:pt x="327" y="631"/>
                        <a:pt x="327" y="631"/>
                      </a:cubicBezTo>
                      <a:cubicBezTo>
                        <a:pt x="316" y="628"/>
                        <a:pt x="307" y="631"/>
                        <a:pt x="294" y="631"/>
                      </a:cubicBezTo>
                      <a:cubicBezTo>
                        <a:pt x="296" y="629"/>
                        <a:pt x="296" y="629"/>
                        <a:pt x="296" y="629"/>
                      </a:cubicBezTo>
                      <a:cubicBezTo>
                        <a:pt x="292" y="627"/>
                        <a:pt x="295" y="632"/>
                        <a:pt x="289" y="630"/>
                      </a:cubicBezTo>
                      <a:cubicBezTo>
                        <a:pt x="289" y="628"/>
                        <a:pt x="289" y="628"/>
                        <a:pt x="289" y="628"/>
                      </a:cubicBezTo>
                      <a:cubicBezTo>
                        <a:pt x="284" y="631"/>
                        <a:pt x="283" y="627"/>
                        <a:pt x="280" y="626"/>
                      </a:cubicBezTo>
                      <a:cubicBezTo>
                        <a:pt x="282" y="629"/>
                        <a:pt x="282" y="629"/>
                        <a:pt x="282" y="629"/>
                      </a:cubicBezTo>
                      <a:cubicBezTo>
                        <a:pt x="276" y="628"/>
                        <a:pt x="276" y="628"/>
                        <a:pt x="276" y="628"/>
                      </a:cubicBezTo>
                      <a:cubicBezTo>
                        <a:pt x="269" y="626"/>
                        <a:pt x="272" y="624"/>
                        <a:pt x="273" y="622"/>
                      </a:cubicBezTo>
                      <a:cubicBezTo>
                        <a:pt x="268" y="624"/>
                        <a:pt x="268" y="624"/>
                        <a:pt x="268" y="624"/>
                      </a:cubicBezTo>
                      <a:cubicBezTo>
                        <a:pt x="268" y="621"/>
                        <a:pt x="268" y="621"/>
                        <a:pt x="268" y="621"/>
                      </a:cubicBezTo>
                      <a:cubicBezTo>
                        <a:pt x="264" y="624"/>
                        <a:pt x="264" y="621"/>
                        <a:pt x="259" y="622"/>
                      </a:cubicBezTo>
                      <a:cubicBezTo>
                        <a:pt x="258" y="621"/>
                        <a:pt x="260" y="620"/>
                        <a:pt x="258" y="620"/>
                      </a:cubicBezTo>
                      <a:cubicBezTo>
                        <a:pt x="248" y="622"/>
                        <a:pt x="248" y="622"/>
                        <a:pt x="248" y="622"/>
                      </a:cubicBezTo>
                      <a:cubicBezTo>
                        <a:pt x="254" y="621"/>
                        <a:pt x="254" y="621"/>
                        <a:pt x="254" y="621"/>
                      </a:cubicBezTo>
                      <a:cubicBezTo>
                        <a:pt x="253" y="625"/>
                        <a:pt x="253" y="625"/>
                        <a:pt x="253" y="625"/>
                      </a:cubicBezTo>
                      <a:cubicBezTo>
                        <a:pt x="247" y="628"/>
                        <a:pt x="245" y="624"/>
                        <a:pt x="241" y="625"/>
                      </a:cubicBezTo>
                      <a:cubicBezTo>
                        <a:pt x="244" y="624"/>
                        <a:pt x="244" y="624"/>
                        <a:pt x="244" y="624"/>
                      </a:cubicBezTo>
                      <a:cubicBezTo>
                        <a:pt x="237" y="624"/>
                        <a:pt x="237" y="622"/>
                        <a:pt x="233" y="621"/>
                      </a:cubicBezTo>
                      <a:cubicBezTo>
                        <a:pt x="234" y="622"/>
                        <a:pt x="236" y="623"/>
                        <a:pt x="233" y="623"/>
                      </a:cubicBezTo>
                      <a:cubicBezTo>
                        <a:pt x="231" y="623"/>
                        <a:pt x="232" y="622"/>
                        <a:pt x="230" y="621"/>
                      </a:cubicBezTo>
                      <a:cubicBezTo>
                        <a:pt x="229" y="624"/>
                        <a:pt x="224" y="624"/>
                        <a:pt x="220" y="622"/>
                      </a:cubicBezTo>
                      <a:cubicBezTo>
                        <a:pt x="220" y="622"/>
                        <a:pt x="220" y="622"/>
                        <a:pt x="220" y="622"/>
                      </a:cubicBezTo>
                      <a:cubicBezTo>
                        <a:pt x="219" y="622"/>
                        <a:pt x="219" y="622"/>
                        <a:pt x="217" y="621"/>
                      </a:cubicBezTo>
                      <a:cubicBezTo>
                        <a:pt x="218" y="619"/>
                        <a:pt x="218" y="619"/>
                        <a:pt x="218" y="619"/>
                      </a:cubicBezTo>
                      <a:cubicBezTo>
                        <a:pt x="214" y="621"/>
                        <a:pt x="214" y="621"/>
                        <a:pt x="214" y="621"/>
                      </a:cubicBezTo>
                      <a:cubicBezTo>
                        <a:pt x="212" y="620"/>
                        <a:pt x="208" y="621"/>
                        <a:pt x="209" y="619"/>
                      </a:cubicBezTo>
                      <a:cubicBezTo>
                        <a:pt x="210" y="619"/>
                        <a:pt x="210" y="619"/>
                        <a:pt x="210" y="619"/>
                      </a:cubicBezTo>
                      <a:cubicBezTo>
                        <a:pt x="204" y="618"/>
                        <a:pt x="198" y="616"/>
                        <a:pt x="192" y="615"/>
                      </a:cubicBezTo>
                      <a:cubicBezTo>
                        <a:pt x="192" y="612"/>
                        <a:pt x="192" y="612"/>
                        <a:pt x="192" y="612"/>
                      </a:cubicBezTo>
                      <a:cubicBezTo>
                        <a:pt x="189" y="615"/>
                        <a:pt x="183" y="609"/>
                        <a:pt x="182" y="613"/>
                      </a:cubicBezTo>
                      <a:cubicBezTo>
                        <a:pt x="180" y="610"/>
                        <a:pt x="169" y="611"/>
                        <a:pt x="173" y="607"/>
                      </a:cubicBezTo>
                      <a:cubicBezTo>
                        <a:pt x="168" y="605"/>
                        <a:pt x="164" y="604"/>
                        <a:pt x="160" y="603"/>
                      </a:cubicBezTo>
                      <a:cubicBezTo>
                        <a:pt x="159" y="603"/>
                        <a:pt x="157" y="602"/>
                        <a:pt x="156" y="602"/>
                      </a:cubicBezTo>
                      <a:cubicBezTo>
                        <a:pt x="156" y="601"/>
                        <a:pt x="155" y="601"/>
                        <a:pt x="154" y="598"/>
                      </a:cubicBezTo>
                      <a:cubicBezTo>
                        <a:pt x="155" y="596"/>
                        <a:pt x="154" y="592"/>
                        <a:pt x="153" y="588"/>
                      </a:cubicBezTo>
                      <a:cubicBezTo>
                        <a:pt x="151" y="583"/>
                        <a:pt x="150" y="578"/>
                        <a:pt x="149" y="573"/>
                      </a:cubicBezTo>
                      <a:cubicBezTo>
                        <a:pt x="143" y="556"/>
                        <a:pt x="140" y="544"/>
                        <a:pt x="136" y="525"/>
                      </a:cubicBezTo>
                      <a:cubicBezTo>
                        <a:pt x="140" y="512"/>
                        <a:pt x="131" y="495"/>
                        <a:pt x="133" y="482"/>
                      </a:cubicBezTo>
                      <a:cubicBezTo>
                        <a:pt x="131" y="479"/>
                        <a:pt x="131" y="479"/>
                        <a:pt x="131" y="479"/>
                      </a:cubicBezTo>
                      <a:cubicBezTo>
                        <a:pt x="133" y="470"/>
                        <a:pt x="128" y="457"/>
                        <a:pt x="131" y="445"/>
                      </a:cubicBezTo>
                      <a:cubicBezTo>
                        <a:pt x="130" y="442"/>
                        <a:pt x="130" y="440"/>
                        <a:pt x="130" y="440"/>
                      </a:cubicBezTo>
                      <a:cubicBezTo>
                        <a:pt x="129" y="440"/>
                        <a:pt x="129" y="441"/>
                        <a:pt x="128" y="442"/>
                      </a:cubicBezTo>
                      <a:cubicBezTo>
                        <a:pt x="129" y="438"/>
                        <a:pt x="127" y="431"/>
                        <a:pt x="130" y="431"/>
                      </a:cubicBezTo>
                      <a:cubicBezTo>
                        <a:pt x="130" y="432"/>
                        <a:pt x="130" y="432"/>
                        <a:pt x="130" y="432"/>
                      </a:cubicBezTo>
                      <a:cubicBezTo>
                        <a:pt x="133" y="433"/>
                        <a:pt x="128" y="422"/>
                        <a:pt x="130" y="418"/>
                      </a:cubicBezTo>
                      <a:cubicBezTo>
                        <a:pt x="128" y="420"/>
                        <a:pt x="128" y="420"/>
                        <a:pt x="128" y="420"/>
                      </a:cubicBezTo>
                      <a:cubicBezTo>
                        <a:pt x="128" y="414"/>
                        <a:pt x="128" y="414"/>
                        <a:pt x="128" y="414"/>
                      </a:cubicBezTo>
                      <a:cubicBezTo>
                        <a:pt x="129" y="415"/>
                        <a:pt x="129" y="415"/>
                        <a:pt x="129" y="415"/>
                      </a:cubicBezTo>
                      <a:cubicBezTo>
                        <a:pt x="121" y="387"/>
                        <a:pt x="130" y="374"/>
                        <a:pt x="124" y="347"/>
                      </a:cubicBezTo>
                      <a:cubicBezTo>
                        <a:pt x="127" y="351"/>
                        <a:pt x="122" y="342"/>
                        <a:pt x="125" y="342"/>
                      </a:cubicBezTo>
                      <a:cubicBezTo>
                        <a:pt x="130" y="335"/>
                        <a:pt x="124" y="329"/>
                        <a:pt x="123" y="323"/>
                      </a:cubicBezTo>
                      <a:cubicBezTo>
                        <a:pt x="123" y="323"/>
                        <a:pt x="123" y="323"/>
                        <a:pt x="122" y="323"/>
                      </a:cubicBezTo>
                      <a:cubicBezTo>
                        <a:pt x="123" y="313"/>
                        <a:pt x="123" y="313"/>
                        <a:pt x="123" y="313"/>
                      </a:cubicBezTo>
                      <a:cubicBezTo>
                        <a:pt x="127" y="319"/>
                        <a:pt x="119" y="306"/>
                        <a:pt x="123" y="312"/>
                      </a:cubicBezTo>
                      <a:cubicBezTo>
                        <a:pt x="126" y="286"/>
                        <a:pt x="123" y="253"/>
                        <a:pt x="125" y="224"/>
                      </a:cubicBezTo>
                      <a:cubicBezTo>
                        <a:pt x="124" y="225"/>
                        <a:pt x="124" y="225"/>
                        <a:pt x="124" y="225"/>
                      </a:cubicBezTo>
                      <a:cubicBezTo>
                        <a:pt x="124" y="218"/>
                        <a:pt x="123" y="209"/>
                        <a:pt x="124" y="203"/>
                      </a:cubicBezTo>
                      <a:cubicBezTo>
                        <a:pt x="126" y="197"/>
                        <a:pt x="122" y="190"/>
                        <a:pt x="122" y="188"/>
                      </a:cubicBezTo>
                      <a:cubicBezTo>
                        <a:pt x="120" y="182"/>
                        <a:pt x="124" y="177"/>
                        <a:pt x="124" y="179"/>
                      </a:cubicBezTo>
                      <a:cubicBezTo>
                        <a:pt x="123" y="173"/>
                        <a:pt x="119" y="166"/>
                        <a:pt x="121" y="157"/>
                      </a:cubicBezTo>
                      <a:cubicBezTo>
                        <a:pt x="125" y="154"/>
                        <a:pt x="118" y="132"/>
                        <a:pt x="123" y="132"/>
                      </a:cubicBezTo>
                      <a:cubicBezTo>
                        <a:pt x="122" y="132"/>
                        <a:pt x="122" y="132"/>
                        <a:pt x="122" y="132"/>
                      </a:cubicBezTo>
                      <a:cubicBezTo>
                        <a:pt x="125" y="122"/>
                        <a:pt x="122" y="112"/>
                        <a:pt x="123" y="102"/>
                      </a:cubicBezTo>
                      <a:cubicBezTo>
                        <a:pt x="126" y="105"/>
                        <a:pt x="129" y="109"/>
                        <a:pt x="130" y="114"/>
                      </a:cubicBezTo>
                      <a:cubicBezTo>
                        <a:pt x="128" y="117"/>
                        <a:pt x="139" y="131"/>
                        <a:pt x="141" y="131"/>
                      </a:cubicBezTo>
                      <a:cubicBezTo>
                        <a:pt x="143" y="128"/>
                        <a:pt x="143" y="128"/>
                        <a:pt x="143" y="128"/>
                      </a:cubicBezTo>
                      <a:cubicBezTo>
                        <a:pt x="147" y="133"/>
                        <a:pt x="146" y="137"/>
                        <a:pt x="151" y="140"/>
                      </a:cubicBezTo>
                      <a:cubicBezTo>
                        <a:pt x="150" y="140"/>
                        <a:pt x="150" y="140"/>
                        <a:pt x="150" y="140"/>
                      </a:cubicBezTo>
                      <a:cubicBezTo>
                        <a:pt x="150" y="140"/>
                        <a:pt x="151" y="141"/>
                        <a:pt x="151" y="141"/>
                      </a:cubicBezTo>
                      <a:cubicBezTo>
                        <a:pt x="152" y="141"/>
                        <a:pt x="156" y="140"/>
                        <a:pt x="154" y="149"/>
                      </a:cubicBezTo>
                      <a:cubicBezTo>
                        <a:pt x="153" y="149"/>
                        <a:pt x="153" y="149"/>
                        <a:pt x="153" y="149"/>
                      </a:cubicBezTo>
                      <a:cubicBezTo>
                        <a:pt x="153" y="150"/>
                        <a:pt x="154" y="149"/>
                        <a:pt x="154" y="150"/>
                      </a:cubicBezTo>
                      <a:cubicBezTo>
                        <a:pt x="154" y="148"/>
                        <a:pt x="154" y="148"/>
                        <a:pt x="154" y="148"/>
                      </a:cubicBezTo>
                      <a:cubicBezTo>
                        <a:pt x="156" y="148"/>
                        <a:pt x="157" y="148"/>
                        <a:pt x="158" y="149"/>
                      </a:cubicBezTo>
                      <a:cubicBezTo>
                        <a:pt x="158" y="149"/>
                        <a:pt x="157" y="150"/>
                        <a:pt x="157" y="150"/>
                      </a:cubicBezTo>
                      <a:cubicBezTo>
                        <a:pt x="159" y="152"/>
                        <a:pt x="159" y="152"/>
                        <a:pt x="159" y="152"/>
                      </a:cubicBezTo>
                      <a:cubicBezTo>
                        <a:pt x="158" y="154"/>
                        <a:pt x="158" y="154"/>
                        <a:pt x="158" y="154"/>
                      </a:cubicBezTo>
                      <a:cubicBezTo>
                        <a:pt x="159" y="154"/>
                        <a:pt x="163" y="151"/>
                        <a:pt x="162" y="154"/>
                      </a:cubicBezTo>
                      <a:cubicBezTo>
                        <a:pt x="164" y="152"/>
                        <a:pt x="164" y="154"/>
                        <a:pt x="165" y="153"/>
                      </a:cubicBezTo>
                      <a:cubicBezTo>
                        <a:pt x="165" y="153"/>
                        <a:pt x="164" y="154"/>
                        <a:pt x="164" y="154"/>
                      </a:cubicBezTo>
                      <a:cubicBezTo>
                        <a:pt x="165" y="155"/>
                        <a:pt x="167" y="157"/>
                        <a:pt x="169" y="156"/>
                      </a:cubicBezTo>
                      <a:cubicBezTo>
                        <a:pt x="169" y="156"/>
                        <a:pt x="171" y="148"/>
                        <a:pt x="173" y="146"/>
                      </a:cubicBezTo>
                      <a:cubicBezTo>
                        <a:pt x="174" y="147"/>
                        <a:pt x="174" y="146"/>
                        <a:pt x="175" y="145"/>
                      </a:cubicBezTo>
                      <a:cubicBezTo>
                        <a:pt x="174" y="145"/>
                        <a:pt x="174" y="145"/>
                        <a:pt x="174" y="145"/>
                      </a:cubicBezTo>
                      <a:cubicBezTo>
                        <a:pt x="174" y="144"/>
                        <a:pt x="175" y="143"/>
                        <a:pt x="176" y="142"/>
                      </a:cubicBezTo>
                      <a:cubicBezTo>
                        <a:pt x="175" y="142"/>
                        <a:pt x="175" y="142"/>
                        <a:pt x="175" y="142"/>
                      </a:cubicBezTo>
                      <a:cubicBezTo>
                        <a:pt x="175" y="142"/>
                        <a:pt x="175" y="142"/>
                        <a:pt x="175" y="142"/>
                      </a:cubicBezTo>
                      <a:cubicBezTo>
                        <a:pt x="175" y="142"/>
                        <a:pt x="175" y="143"/>
                        <a:pt x="175" y="143"/>
                      </a:cubicBezTo>
                      <a:cubicBezTo>
                        <a:pt x="174" y="143"/>
                        <a:pt x="174" y="143"/>
                        <a:pt x="174" y="143"/>
                      </a:cubicBezTo>
                      <a:cubicBezTo>
                        <a:pt x="174" y="143"/>
                        <a:pt x="174" y="143"/>
                        <a:pt x="174" y="143"/>
                      </a:cubicBezTo>
                      <a:cubicBezTo>
                        <a:pt x="174" y="142"/>
                        <a:pt x="174" y="142"/>
                        <a:pt x="174" y="141"/>
                      </a:cubicBezTo>
                      <a:cubicBezTo>
                        <a:pt x="175" y="140"/>
                        <a:pt x="175" y="140"/>
                        <a:pt x="175" y="140"/>
                      </a:cubicBezTo>
                      <a:cubicBezTo>
                        <a:pt x="172" y="141"/>
                        <a:pt x="176" y="133"/>
                        <a:pt x="175" y="132"/>
                      </a:cubicBezTo>
                      <a:cubicBezTo>
                        <a:pt x="176" y="130"/>
                        <a:pt x="174" y="131"/>
                        <a:pt x="174" y="129"/>
                      </a:cubicBezTo>
                      <a:cubicBezTo>
                        <a:pt x="173" y="127"/>
                        <a:pt x="175" y="127"/>
                        <a:pt x="176" y="125"/>
                      </a:cubicBezTo>
                      <a:cubicBezTo>
                        <a:pt x="176" y="123"/>
                        <a:pt x="174" y="126"/>
                        <a:pt x="174" y="126"/>
                      </a:cubicBezTo>
                      <a:cubicBezTo>
                        <a:pt x="175" y="123"/>
                        <a:pt x="175" y="123"/>
                        <a:pt x="175" y="123"/>
                      </a:cubicBezTo>
                      <a:cubicBezTo>
                        <a:pt x="176" y="124"/>
                        <a:pt x="176" y="123"/>
                        <a:pt x="176" y="123"/>
                      </a:cubicBezTo>
                      <a:cubicBezTo>
                        <a:pt x="176" y="121"/>
                        <a:pt x="177" y="117"/>
                        <a:pt x="174" y="119"/>
                      </a:cubicBezTo>
                      <a:cubicBezTo>
                        <a:pt x="174" y="116"/>
                        <a:pt x="175" y="116"/>
                        <a:pt x="175" y="115"/>
                      </a:cubicBezTo>
                      <a:cubicBezTo>
                        <a:pt x="175" y="115"/>
                        <a:pt x="175" y="116"/>
                        <a:pt x="174" y="116"/>
                      </a:cubicBezTo>
                      <a:cubicBezTo>
                        <a:pt x="175" y="115"/>
                        <a:pt x="174" y="116"/>
                        <a:pt x="173" y="117"/>
                      </a:cubicBezTo>
                      <a:cubicBezTo>
                        <a:pt x="172" y="116"/>
                        <a:pt x="175" y="108"/>
                        <a:pt x="172" y="110"/>
                      </a:cubicBezTo>
                      <a:cubicBezTo>
                        <a:pt x="172" y="109"/>
                        <a:pt x="172" y="109"/>
                        <a:pt x="172" y="109"/>
                      </a:cubicBezTo>
                      <a:cubicBezTo>
                        <a:pt x="170" y="111"/>
                        <a:pt x="168" y="112"/>
                        <a:pt x="166" y="112"/>
                      </a:cubicBezTo>
                      <a:cubicBezTo>
                        <a:pt x="167" y="111"/>
                        <a:pt x="167" y="111"/>
                        <a:pt x="167" y="111"/>
                      </a:cubicBezTo>
                      <a:cubicBezTo>
                        <a:pt x="166" y="111"/>
                        <a:pt x="166" y="111"/>
                        <a:pt x="166" y="111"/>
                      </a:cubicBezTo>
                      <a:cubicBezTo>
                        <a:pt x="166" y="110"/>
                        <a:pt x="167" y="110"/>
                        <a:pt x="167" y="110"/>
                      </a:cubicBezTo>
                      <a:cubicBezTo>
                        <a:pt x="165" y="109"/>
                        <a:pt x="166" y="107"/>
                        <a:pt x="165" y="105"/>
                      </a:cubicBezTo>
                      <a:cubicBezTo>
                        <a:pt x="160" y="110"/>
                        <a:pt x="160" y="110"/>
                        <a:pt x="160" y="110"/>
                      </a:cubicBezTo>
                      <a:cubicBezTo>
                        <a:pt x="160" y="108"/>
                        <a:pt x="162" y="104"/>
                        <a:pt x="160" y="105"/>
                      </a:cubicBezTo>
                      <a:cubicBezTo>
                        <a:pt x="161" y="103"/>
                        <a:pt x="161" y="103"/>
                        <a:pt x="161" y="103"/>
                      </a:cubicBezTo>
                      <a:cubicBezTo>
                        <a:pt x="164" y="98"/>
                        <a:pt x="159" y="102"/>
                        <a:pt x="159" y="101"/>
                      </a:cubicBezTo>
                      <a:cubicBezTo>
                        <a:pt x="161" y="98"/>
                        <a:pt x="161" y="98"/>
                        <a:pt x="161" y="98"/>
                      </a:cubicBezTo>
                      <a:cubicBezTo>
                        <a:pt x="161" y="99"/>
                        <a:pt x="161" y="99"/>
                        <a:pt x="161" y="99"/>
                      </a:cubicBezTo>
                      <a:cubicBezTo>
                        <a:pt x="162" y="97"/>
                        <a:pt x="162" y="96"/>
                        <a:pt x="163" y="95"/>
                      </a:cubicBezTo>
                      <a:cubicBezTo>
                        <a:pt x="163" y="95"/>
                        <a:pt x="163" y="95"/>
                        <a:pt x="163" y="95"/>
                      </a:cubicBezTo>
                      <a:cubicBezTo>
                        <a:pt x="163" y="95"/>
                        <a:pt x="163" y="95"/>
                        <a:pt x="163" y="95"/>
                      </a:cubicBezTo>
                      <a:cubicBezTo>
                        <a:pt x="163" y="95"/>
                        <a:pt x="163" y="95"/>
                        <a:pt x="163" y="95"/>
                      </a:cubicBezTo>
                      <a:cubicBezTo>
                        <a:pt x="161" y="95"/>
                        <a:pt x="160" y="95"/>
                        <a:pt x="160" y="94"/>
                      </a:cubicBezTo>
                      <a:cubicBezTo>
                        <a:pt x="159" y="93"/>
                        <a:pt x="157" y="93"/>
                        <a:pt x="158" y="89"/>
                      </a:cubicBezTo>
                      <a:cubicBezTo>
                        <a:pt x="156" y="90"/>
                        <a:pt x="156" y="90"/>
                        <a:pt x="156" y="90"/>
                      </a:cubicBezTo>
                      <a:cubicBezTo>
                        <a:pt x="156" y="88"/>
                        <a:pt x="156" y="88"/>
                        <a:pt x="156" y="88"/>
                      </a:cubicBezTo>
                      <a:cubicBezTo>
                        <a:pt x="158" y="87"/>
                        <a:pt x="158" y="87"/>
                        <a:pt x="158" y="87"/>
                      </a:cubicBezTo>
                      <a:cubicBezTo>
                        <a:pt x="159" y="88"/>
                        <a:pt x="161" y="91"/>
                        <a:pt x="162" y="93"/>
                      </a:cubicBezTo>
                      <a:cubicBezTo>
                        <a:pt x="163" y="92"/>
                        <a:pt x="163" y="92"/>
                        <a:pt x="163" y="92"/>
                      </a:cubicBezTo>
                      <a:cubicBezTo>
                        <a:pt x="163" y="91"/>
                        <a:pt x="161" y="90"/>
                        <a:pt x="161" y="89"/>
                      </a:cubicBezTo>
                      <a:cubicBezTo>
                        <a:pt x="161" y="89"/>
                        <a:pt x="162" y="87"/>
                        <a:pt x="164" y="87"/>
                      </a:cubicBezTo>
                      <a:cubicBezTo>
                        <a:pt x="162" y="87"/>
                        <a:pt x="162" y="87"/>
                        <a:pt x="162" y="87"/>
                      </a:cubicBezTo>
                      <a:cubicBezTo>
                        <a:pt x="159" y="83"/>
                        <a:pt x="159" y="83"/>
                        <a:pt x="159" y="78"/>
                      </a:cubicBezTo>
                      <a:cubicBezTo>
                        <a:pt x="158" y="79"/>
                        <a:pt x="158" y="79"/>
                        <a:pt x="158" y="79"/>
                      </a:cubicBezTo>
                      <a:cubicBezTo>
                        <a:pt x="157" y="78"/>
                        <a:pt x="156" y="78"/>
                        <a:pt x="158" y="77"/>
                      </a:cubicBezTo>
                      <a:cubicBezTo>
                        <a:pt x="157" y="74"/>
                        <a:pt x="156" y="71"/>
                        <a:pt x="158" y="68"/>
                      </a:cubicBezTo>
                      <a:cubicBezTo>
                        <a:pt x="156" y="69"/>
                        <a:pt x="156" y="69"/>
                        <a:pt x="156" y="69"/>
                      </a:cubicBezTo>
                      <a:cubicBezTo>
                        <a:pt x="155" y="69"/>
                        <a:pt x="158" y="66"/>
                        <a:pt x="155" y="68"/>
                      </a:cubicBezTo>
                      <a:cubicBezTo>
                        <a:pt x="153" y="67"/>
                        <a:pt x="153" y="67"/>
                        <a:pt x="153" y="67"/>
                      </a:cubicBezTo>
                      <a:cubicBezTo>
                        <a:pt x="153" y="66"/>
                        <a:pt x="152" y="66"/>
                        <a:pt x="153" y="65"/>
                      </a:cubicBezTo>
                      <a:cubicBezTo>
                        <a:pt x="153" y="65"/>
                        <a:pt x="153" y="65"/>
                        <a:pt x="153" y="65"/>
                      </a:cubicBezTo>
                      <a:cubicBezTo>
                        <a:pt x="153" y="65"/>
                        <a:pt x="153" y="65"/>
                        <a:pt x="153" y="65"/>
                      </a:cubicBezTo>
                      <a:cubicBezTo>
                        <a:pt x="153" y="65"/>
                        <a:pt x="153" y="65"/>
                        <a:pt x="153" y="65"/>
                      </a:cubicBezTo>
                      <a:cubicBezTo>
                        <a:pt x="153" y="65"/>
                        <a:pt x="153" y="65"/>
                        <a:pt x="153" y="65"/>
                      </a:cubicBezTo>
                      <a:cubicBezTo>
                        <a:pt x="153" y="64"/>
                        <a:pt x="152" y="64"/>
                        <a:pt x="152" y="64"/>
                      </a:cubicBezTo>
                      <a:cubicBezTo>
                        <a:pt x="151" y="64"/>
                        <a:pt x="151" y="65"/>
                        <a:pt x="151" y="63"/>
                      </a:cubicBezTo>
                      <a:cubicBezTo>
                        <a:pt x="151" y="61"/>
                        <a:pt x="147" y="63"/>
                        <a:pt x="147" y="62"/>
                      </a:cubicBezTo>
                      <a:cubicBezTo>
                        <a:pt x="148" y="60"/>
                        <a:pt x="148" y="59"/>
                        <a:pt x="149" y="58"/>
                      </a:cubicBezTo>
                      <a:cubicBezTo>
                        <a:pt x="149" y="54"/>
                        <a:pt x="146" y="56"/>
                        <a:pt x="144" y="52"/>
                      </a:cubicBezTo>
                      <a:cubicBezTo>
                        <a:pt x="144" y="49"/>
                        <a:pt x="145" y="45"/>
                        <a:pt x="148" y="44"/>
                      </a:cubicBezTo>
                      <a:cubicBezTo>
                        <a:pt x="145" y="45"/>
                        <a:pt x="146" y="45"/>
                        <a:pt x="144" y="44"/>
                      </a:cubicBezTo>
                      <a:cubicBezTo>
                        <a:pt x="144" y="43"/>
                        <a:pt x="145" y="43"/>
                        <a:pt x="146" y="42"/>
                      </a:cubicBezTo>
                      <a:cubicBezTo>
                        <a:pt x="146" y="38"/>
                        <a:pt x="144" y="42"/>
                        <a:pt x="143" y="40"/>
                      </a:cubicBezTo>
                      <a:cubicBezTo>
                        <a:pt x="141" y="42"/>
                        <a:pt x="139" y="45"/>
                        <a:pt x="138" y="45"/>
                      </a:cubicBezTo>
                      <a:cubicBezTo>
                        <a:pt x="138" y="46"/>
                        <a:pt x="138" y="46"/>
                        <a:pt x="138" y="46"/>
                      </a:cubicBezTo>
                      <a:cubicBezTo>
                        <a:pt x="136" y="46"/>
                        <a:pt x="135" y="45"/>
                        <a:pt x="135" y="42"/>
                      </a:cubicBezTo>
                      <a:cubicBezTo>
                        <a:pt x="136" y="40"/>
                        <a:pt x="136" y="40"/>
                        <a:pt x="136" y="40"/>
                      </a:cubicBezTo>
                      <a:cubicBezTo>
                        <a:pt x="134" y="39"/>
                        <a:pt x="134" y="39"/>
                        <a:pt x="134" y="39"/>
                      </a:cubicBezTo>
                      <a:cubicBezTo>
                        <a:pt x="135" y="37"/>
                        <a:pt x="135" y="37"/>
                        <a:pt x="135" y="37"/>
                      </a:cubicBezTo>
                      <a:cubicBezTo>
                        <a:pt x="133" y="35"/>
                        <a:pt x="133" y="35"/>
                        <a:pt x="133" y="35"/>
                      </a:cubicBezTo>
                      <a:cubicBezTo>
                        <a:pt x="133" y="36"/>
                        <a:pt x="133" y="36"/>
                        <a:pt x="133" y="36"/>
                      </a:cubicBezTo>
                      <a:cubicBezTo>
                        <a:pt x="133" y="35"/>
                        <a:pt x="132" y="34"/>
                        <a:pt x="131" y="32"/>
                      </a:cubicBezTo>
                      <a:cubicBezTo>
                        <a:pt x="132" y="31"/>
                        <a:pt x="132" y="31"/>
                        <a:pt x="132" y="31"/>
                      </a:cubicBezTo>
                      <a:cubicBezTo>
                        <a:pt x="132" y="27"/>
                        <a:pt x="131" y="25"/>
                        <a:pt x="129" y="24"/>
                      </a:cubicBezTo>
                      <a:cubicBezTo>
                        <a:pt x="128" y="24"/>
                        <a:pt x="127" y="23"/>
                        <a:pt x="126" y="21"/>
                      </a:cubicBezTo>
                      <a:cubicBezTo>
                        <a:pt x="127" y="19"/>
                        <a:pt x="127" y="19"/>
                        <a:pt x="127" y="19"/>
                      </a:cubicBezTo>
                      <a:cubicBezTo>
                        <a:pt x="127" y="15"/>
                        <a:pt x="126" y="23"/>
                        <a:pt x="125" y="20"/>
                      </a:cubicBezTo>
                      <a:cubicBezTo>
                        <a:pt x="126" y="16"/>
                        <a:pt x="126" y="16"/>
                        <a:pt x="126" y="16"/>
                      </a:cubicBezTo>
                      <a:cubicBezTo>
                        <a:pt x="124" y="20"/>
                        <a:pt x="125" y="13"/>
                        <a:pt x="125" y="10"/>
                      </a:cubicBezTo>
                      <a:cubicBezTo>
                        <a:pt x="124" y="16"/>
                        <a:pt x="124" y="16"/>
                        <a:pt x="124" y="16"/>
                      </a:cubicBezTo>
                      <a:cubicBezTo>
                        <a:pt x="123" y="13"/>
                        <a:pt x="123" y="13"/>
                        <a:pt x="123" y="13"/>
                      </a:cubicBezTo>
                      <a:cubicBezTo>
                        <a:pt x="122" y="9"/>
                        <a:pt x="124" y="5"/>
                        <a:pt x="124" y="3"/>
                      </a:cubicBezTo>
                      <a:cubicBezTo>
                        <a:pt x="124" y="3"/>
                        <a:pt x="123" y="4"/>
                        <a:pt x="123" y="5"/>
                      </a:cubicBezTo>
                      <a:cubicBezTo>
                        <a:pt x="123" y="0"/>
                        <a:pt x="123" y="0"/>
                        <a:pt x="123" y="0"/>
                      </a:cubicBezTo>
                      <a:cubicBezTo>
                        <a:pt x="123" y="1"/>
                        <a:pt x="123" y="1"/>
                        <a:pt x="123" y="1"/>
                      </a:cubicBezTo>
                      <a:cubicBezTo>
                        <a:pt x="123" y="2"/>
                        <a:pt x="123" y="2"/>
                        <a:pt x="122" y="2"/>
                      </a:cubicBezTo>
                      <a:cubicBezTo>
                        <a:pt x="122" y="3"/>
                        <a:pt x="122" y="3"/>
                        <a:pt x="122" y="3"/>
                      </a:cubicBezTo>
                      <a:cubicBezTo>
                        <a:pt x="122" y="2"/>
                        <a:pt x="121" y="2"/>
                        <a:pt x="121" y="4"/>
                      </a:cubicBezTo>
                      <a:cubicBezTo>
                        <a:pt x="121" y="3"/>
                        <a:pt x="121" y="1"/>
                        <a:pt x="121" y="1"/>
                      </a:cubicBezTo>
                      <a:cubicBezTo>
                        <a:pt x="117" y="11"/>
                        <a:pt x="117" y="11"/>
                        <a:pt x="117" y="11"/>
                      </a:cubicBezTo>
                      <a:cubicBezTo>
                        <a:pt x="119" y="6"/>
                        <a:pt x="119" y="6"/>
                        <a:pt x="119" y="6"/>
                      </a:cubicBezTo>
                      <a:cubicBezTo>
                        <a:pt x="118" y="13"/>
                        <a:pt x="118" y="13"/>
                        <a:pt x="118" y="13"/>
                      </a:cubicBezTo>
                      <a:cubicBezTo>
                        <a:pt x="116" y="20"/>
                        <a:pt x="116" y="14"/>
                        <a:pt x="115" y="17"/>
                      </a:cubicBezTo>
                      <a:cubicBezTo>
                        <a:pt x="116" y="15"/>
                        <a:pt x="116" y="15"/>
                        <a:pt x="116" y="15"/>
                      </a:cubicBezTo>
                      <a:cubicBezTo>
                        <a:pt x="114" y="18"/>
                        <a:pt x="114" y="16"/>
                        <a:pt x="113" y="16"/>
                      </a:cubicBezTo>
                      <a:cubicBezTo>
                        <a:pt x="113" y="16"/>
                        <a:pt x="114" y="18"/>
                        <a:pt x="113" y="19"/>
                      </a:cubicBezTo>
                      <a:cubicBezTo>
                        <a:pt x="113" y="20"/>
                        <a:pt x="113" y="17"/>
                        <a:pt x="112" y="17"/>
                      </a:cubicBezTo>
                      <a:cubicBezTo>
                        <a:pt x="112" y="21"/>
                        <a:pt x="111" y="25"/>
                        <a:pt x="110" y="24"/>
                      </a:cubicBezTo>
                      <a:cubicBezTo>
                        <a:pt x="110" y="24"/>
                        <a:pt x="110" y="23"/>
                        <a:pt x="110" y="23"/>
                      </a:cubicBezTo>
                      <a:cubicBezTo>
                        <a:pt x="110" y="24"/>
                        <a:pt x="109" y="25"/>
                        <a:pt x="109" y="25"/>
                      </a:cubicBezTo>
                      <a:cubicBezTo>
                        <a:pt x="109" y="20"/>
                        <a:pt x="109" y="20"/>
                        <a:pt x="109" y="20"/>
                      </a:cubicBezTo>
                      <a:cubicBezTo>
                        <a:pt x="108" y="25"/>
                        <a:pt x="108" y="25"/>
                        <a:pt x="108" y="25"/>
                      </a:cubicBezTo>
                      <a:cubicBezTo>
                        <a:pt x="107" y="25"/>
                        <a:pt x="107" y="29"/>
                        <a:pt x="107" y="26"/>
                      </a:cubicBezTo>
                      <a:cubicBezTo>
                        <a:pt x="107" y="25"/>
                        <a:pt x="107" y="25"/>
                        <a:pt x="107" y="25"/>
                      </a:cubicBezTo>
                      <a:cubicBezTo>
                        <a:pt x="102" y="30"/>
                        <a:pt x="102" y="30"/>
                        <a:pt x="102" y="30"/>
                      </a:cubicBezTo>
                      <a:cubicBezTo>
                        <a:pt x="101" y="27"/>
                        <a:pt x="101" y="27"/>
                        <a:pt x="101" y="27"/>
                      </a:cubicBezTo>
                      <a:cubicBezTo>
                        <a:pt x="101" y="31"/>
                        <a:pt x="98" y="29"/>
                        <a:pt x="99" y="33"/>
                      </a:cubicBezTo>
                      <a:cubicBezTo>
                        <a:pt x="97" y="32"/>
                        <a:pt x="96" y="39"/>
                        <a:pt x="95" y="34"/>
                      </a:cubicBezTo>
                      <a:cubicBezTo>
                        <a:pt x="93" y="35"/>
                        <a:pt x="92" y="38"/>
                        <a:pt x="91" y="40"/>
                      </a:cubicBezTo>
                      <a:cubicBezTo>
                        <a:pt x="89" y="42"/>
                        <a:pt x="88" y="44"/>
                        <a:pt x="85" y="46"/>
                      </a:cubicBezTo>
                      <a:cubicBezTo>
                        <a:pt x="84" y="45"/>
                        <a:pt x="82" y="46"/>
                        <a:pt x="80" y="47"/>
                      </a:cubicBezTo>
                      <a:cubicBezTo>
                        <a:pt x="79" y="48"/>
                        <a:pt x="78" y="49"/>
                        <a:pt x="77" y="49"/>
                      </a:cubicBezTo>
                      <a:cubicBezTo>
                        <a:pt x="77" y="50"/>
                        <a:pt x="76" y="50"/>
                        <a:pt x="76" y="50"/>
                      </a:cubicBezTo>
                      <a:cubicBezTo>
                        <a:pt x="74" y="54"/>
                        <a:pt x="73" y="57"/>
                        <a:pt x="71" y="61"/>
                      </a:cubicBezTo>
                      <a:cubicBezTo>
                        <a:pt x="65" y="58"/>
                        <a:pt x="67" y="66"/>
                        <a:pt x="63" y="66"/>
                      </a:cubicBezTo>
                      <a:cubicBezTo>
                        <a:pt x="64" y="68"/>
                        <a:pt x="64" y="68"/>
                        <a:pt x="64" y="68"/>
                      </a:cubicBezTo>
                      <a:cubicBezTo>
                        <a:pt x="60" y="66"/>
                        <a:pt x="61" y="71"/>
                        <a:pt x="57" y="70"/>
                      </a:cubicBezTo>
                      <a:cubicBezTo>
                        <a:pt x="57" y="71"/>
                        <a:pt x="57" y="72"/>
                        <a:pt x="57" y="72"/>
                      </a:cubicBezTo>
                      <a:cubicBezTo>
                        <a:pt x="57" y="72"/>
                        <a:pt x="57" y="72"/>
                        <a:pt x="58" y="73"/>
                      </a:cubicBezTo>
                      <a:cubicBezTo>
                        <a:pt x="57" y="73"/>
                        <a:pt x="56" y="75"/>
                        <a:pt x="55" y="72"/>
                      </a:cubicBezTo>
                      <a:cubicBezTo>
                        <a:pt x="55" y="72"/>
                        <a:pt x="55" y="72"/>
                        <a:pt x="55" y="72"/>
                      </a:cubicBezTo>
                      <a:cubicBezTo>
                        <a:pt x="53" y="70"/>
                        <a:pt x="54" y="74"/>
                        <a:pt x="52" y="73"/>
                      </a:cubicBezTo>
                      <a:cubicBezTo>
                        <a:pt x="54" y="75"/>
                        <a:pt x="54" y="75"/>
                        <a:pt x="54" y="75"/>
                      </a:cubicBezTo>
                      <a:cubicBezTo>
                        <a:pt x="53" y="76"/>
                        <a:pt x="53" y="76"/>
                        <a:pt x="53" y="76"/>
                      </a:cubicBezTo>
                      <a:cubicBezTo>
                        <a:pt x="52" y="75"/>
                        <a:pt x="52" y="75"/>
                        <a:pt x="52" y="75"/>
                      </a:cubicBezTo>
                      <a:cubicBezTo>
                        <a:pt x="52" y="84"/>
                        <a:pt x="44" y="78"/>
                        <a:pt x="43" y="86"/>
                      </a:cubicBezTo>
                      <a:cubicBezTo>
                        <a:pt x="42" y="83"/>
                        <a:pt x="43" y="88"/>
                        <a:pt x="41" y="85"/>
                      </a:cubicBezTo>
                      <a:cubicBezTo>
                        <a:pt x="37" y="83"/>
                        <a:pt x="39" y="87"/>
                        <a:pt x="39" y="89"/>
                      </a:cubicBezTo>
                      <a:cubicBezTo>
                        <a:pt x="39" y="89"/>
                        <a:pt x="39" y="89"/>
                        <a:pt x="39" y="90"/>
                      </a:cubicBezTo>
                      <a:cubicBezTo>
                        <a:pt x="37" y="91"/>
                        <a:pt x="37" y="91"/>
                        <a:pt x="37" y="91"/>
                      </a:cubicBezTo>
                      <a:cubicBezTo>
                        <a:pt x="36" y="86"/>
                        <a:pt x="38" y="94"/>
                        <a:pt x="37" y="91"/>
                      </a:cubicBezTo>
                      <a:cubicBezTo>
                        <a:pt x="31" y="91"/>
                        <a:pt x="27" y="98"/>
                        <a:pt x="21" y="100"/>
                      </a:cubicBezTo>
                      <a:cubicBezTo>
                        <a:pt x="22" y="101"/>
                        <a:pt x="22" y="101"/>
                        <a:pt x="22" y="101"/>
                      </a:cubicBezTo>
                      <a:cubicBezTo>
                        <a:pt x="20" y="101"/>
                        <a:pt x="19" y="104"/>
                        <a:pt x="18" y="103"/>
                      </a:cubicBezTo>
                      <a:cubicBezTo>
                        <a:pt x="16" y="102"/>
                        <a:pt x="17" y="106"/>
                        <a:pt x="17" y="107"/>
                      </a:cubicBezTo>
                      <a:cubicBezTo>
                        <a:pt x="16" y="109"/>
                        <a:pt x="13" y="107"/>
                        <a:pt x="14" y="106"/>
                      </a:cubicBezTo>
                      <a:cubicBezTo>
                        <a:pt x="13" y="108"/>
                        <a:pt x="14" y="112"/>
                        <a:pt x="12" y="111"/>
                      </a:cubicBezTo>
                      <a:cubicBezTo>
                        <a:pt x="9" y="109"/>
                        <a:pt x="9" y="117"/>
                        <a:pt x="7" y="114"/>
                      </a:cubicBezTo>
                      <a:cubicBezTo>
                        <a:pt x="7" y="114"/>
                        <a:pt x="7" y="114"/>
                        <a:pt x="7" y="114"/>
                      </a:cubicBezTo>
                      <a:cubicBezTo>
                        <a:pt x="3" y="113"/>
                        <a:pt x="4" y="118"/>
                        <a:pt x="0" y="117"/>
                      </a:cubicBezTo>
                      <a:cubicBezTo>
                        <a:pt x="0" y="117"/>
                        <a:pt x="0" y="117"/>
                        <a:pt x="0" y="117"/>
                      </a:cubicBezTo>
                      <a:cubicBezTo>
                        <a:pt x="1" y="121"/>
                        <a:pt x="1" y="126"/>
                        <a:pt x="2" y="130"/>
                      </a:cubicBezTo>
                      <a:cubicBezTo>
                        <a:pt x="10" y="141"/>
                        <a:pt x="10" y="141"/>
                        <a:pt x="10" y="141"/>
                      </a:cubicBezTo>
                      <a:cubicBezTo>
                        <a:pt x="20" y="148"/>
                        <a:pt x="20" y="148"/>
                        <a:pt x="20" y="148"/>
                      </a:cubicBezTo>
                      <a:cubicBezTo>
                        <a:pt x="23" y="145"/>
                        <a:pt x="27" y="142"/>
                        <a:pt x="30" y="139"/>
                      </a:cubicBezTo>
                      <a:cubicBezTo>
                        <a:pt x="42" y="137"/>
                        <a:pt x="42" y="137"/>
                        <a:pt x="42" y="137"/>
                      </a:cubicBezTo>
                      <a:cubicBezTo>
                        <a:pt x="49" y="132"/>
                        <a:pt x="56" y="127"/>
                        <a:pt x="63" y="121"/>
                      </a:cubicBezTo>
                      <a:cubicBezTo>
                        <a:pt x="62" y="117"/>
                        <a:pt x="62" y="117"/>
                        <a:pt x="62" y="117"/>
                      </a:cubicBezTo>
                      <a:cubicBezTo>
                        <a:pt x="70" y="119"/>
                        <a:pt x="72" y="110"/>
                        <a:pt x="78" y="109"/>
                      </a:cubicBezTo>
                      <a:cubicBezTo>
                        <a:pt x="77" y="107"/>
                        <a:pt x="77" y="107"/>
                        <a:pt x="77" y="107"/>
                      </a:cubicBezTo>
                      <a:cubicBezTo>
                        <a:pt x="78" y="106"/>
                        <a:pt x="79" y="108"/>
                        <a:pt x="79" y="108"/>
                      </a:cubicBezTo>
                      <a:cubicBezTo>
                        <a:pt x="82" y="105"/>
                        <a:pt x="85" y="103"/>
                        <a:pt x="87" y="101"/>
                      </a:cubicBezTo>
                      <a:cubicBezTo>
                        <a:pt x="87" y="121"/>
                        <a:pt x="87" y="141"/>
                        <a:pt x="88" y="160"/>
                      </a:cubicBezTo>
                      <a:cubicBezTo>
                        <a:pt x="82" y="209"/>
                        <a:pt x="82" y="209"/>
                        <a:pt x="82" y="209"/>
                      </a:cubicBezTo>
                      <a:cubicBezTo>
                        <a:pt x="82" y="249"/>
                        <a:pt x="82" y="288"/>
                        <a:pt x="83" y="328"/>
                      </a:cubicBezTo>
                      <a:cubicBezTo>
                        <a:pt x="87" y="336"/>
                        <a:pt x="87" y="336"/>
                        <a:pt x="87" y="336"/>
                      </a:cubicBezTo>
                      <a:cubicBezTo>
                        <a:pt x="81" y="359"/>
                        <a:pt x="88" y="389"/>
                        <a:pt x="85" y="415"/>
                      </a:cubicBezTo>
                      <a:cubicBezTo>
                        <a:pt x="88" y="415"/>
                        <a:pt x="88" y="415"/>
                        <a:pt x="88" y="415"/>
                      </a:cubicBezTo>
                      <a:cubicBezTo>
                        <a:pt x="89" y="422"/>
                        <a:pt x="87" y="422"/>
                        <a:pt x="86" y="423"/>
                      </a:cubicBezTo>
                      <a:cubicBezTo>
                        <a:pt x="88" y="456"/>
                        <a:pt x="91" y="490"/>
                        <a:pt x="96" y="523"/>
                      </a:cubicBezTo>
                      <a:cubicBezTo>
                        <a:pt x="98" y="539"/>
                        <a:pt x="100" y="556"/>
                        <a:pt x="103" y="572"/>
                      </a:cubicBezTo>
                      <a:cubicBezTo>
                        <a:pt x="105" y="580"/>
                        <a:pt x="107" y="588"/>
                        <a:pt x="109" y="597"/>
                      </a:cubicBezTo>
                      <a:cubicBezTo>
                        <a:pt x="112" y="605"/>
                        <a:pt x="114" y="613"/>
                        <a:pt x="120" y="623"/>
                      </a:cubicBezTo>
                      <a:cubicBezTo>
                        <a:pt x="121" y="625"/>
                        <a:pt x="123" y="628"/>
                        <a:pt x="126" y="632"/>
                      </a:cubicBezTo>
                      <a:cubicBezTo>
                        <a:pt x="129" y="635"/>
                        <a:pt x="133" y="638"/>
                        <a:pt x="136" y="640"/>
                      </a:cubicBezTo>
                      <a:cubicBezTo>
                        <a:pt x="143" y="644"/>
                        <a:pt x="149" y="647"/>
                        <a:pt x="151" y="649"/>
                      </a:cubicBezTo>
                      <a:cubicBezTo>
                        <a:pt x="163" y="652"/>
                        <a:pt x="173" y="654"/>
                        <a:pt x="184" y="655"/>
                      </a:cubicBezTo>
                      <a:cubicBezTo>
                        <a:pt x="194" y="657"/>
                        <a:pt x="204" y="659"/>
                        <a:pt x="214" y="661"/>
                      </a:cubicBezTo>
                      <a:cubicBezTo>
                        <a:pt x="213" y="661"/>
                        <a:pt x="213" y="661"/>
                        <a:pt x="213" y="661"/>
                      </a:cubicBezTo>
                      <a:cubicBezTo>
                        <a:pt x="223" y="662"/>
                        <a:pt x="223" y="662"/>
                        <a:pt x="223" y="662"/>
                      </a:cubicBezTo>
                      <a:cubicBezTo>
                        <a:pt x="223" y="662"/>
                        <a:pt x="223" y="662"/>
                        <a:pt x="223" y="663"/>
                      </a:cubicBezTo>
                      <a:cubicBezTo>
                        <a:pt x="233" y="662"/>
                        <a:pt x="249" y="666"/>
                        <a:pt x="262" y="668"/>
                      </a:cubicBezTo>
                      <a:cubicBezTo>
                        <a:pt x="261" y="668"/>
                        <a:pt x="261" y="668"/>
                        <a:pt x="261" y="668"/>
                      </a:cubicBezTo>
                      <a:cubicBezTo>
                        <a:pt x="298" y="671"/>
                        <a:pt x="334" y="672"/>
                        <a:pt x="369" y="672"/>
                      </a:cubicBezTo>
                      <a:cubicBezTo>
                        <a:pt x="404" y="672"/>
                        <a:pt x="439" y="672"/>
                        <a:pt x="476" y="673"/>
                      </a:cubicBezTo>
                      <a:cubicBezTo>
                        <a:pt x="509" y="677"/>
                        <a:pt x="549" y="671"/>
                        <a:pt x="587" y="673"/>
                      </a:cubicBezTo>
                      <a:cubicBezTo>
                        <a:pt x="594" y="676"/>
                        <a:pt x="672" y="671"/>
                        <a:pt x="679" y="669"/>
                      </a:cubicBezTo>
                      <a:cubicBezTo>
                        <a:pt x="670" y="666"/>
                        <a:pt x="670" y="666"/>
                        <a:pt x="670" y="666"/>
                      </a:cubicBezTo>
                      <a:cubicBezTo>
                        <a:pt x="699" y="664"/>
                        <a:pt x="713" y="666"/>
                        <a:pt x="738" y="662"/>
                      </a:cubicBezTo>
                      <a:cubicBezTo>
                        <a:pt x="736" y="663"/>
                        <a:pt x="736" y="663"/>
                        <a:pt x="736" y="663"/>
                      </a:cubicBezTo>
                      <a:cubicBezTo>
                        <a:pt x="739" y="663"/>
                        <a:pt x="738" y="662"/>
                        <a:pt x="739" y="661"/>
                      </a:cubicBezTo>
                      <a:cubicBezTo>
                        <a:pt x="740" y="660"/>
                        <a:pt x="742" y="661"/>
                        <a:pt x="747" y="665"/>
                      </a:cubicBezTo>
                      <a:cubicBezTo>
                        <a:pt x="747" y="665"/>
                        <a:pt x="747" y="665"/>
                        <a:pt x="747" y="665"/>
                      </a:cubicBezTo>
                      <a:cubicBezTo>
                        <a:pt x="747" y="665"/>
                        <a:pt x="747" y="665"/>
                        <a:pt x="747" y="665"/>
                      </a:cubicBezTo>
                      <a:cubicBezTo>
                        <a:pt x="746" y="663"/>
                        <a:pt x="746" y="663"/>
                        <a:pt x="746" y="663"/>
                      </a:cubicBezTo>
                      <a:cubicBezTo>
                        <a:pt x="747" y="663"/>
                        <a:pt x="747" y="661"/>
                        <a:pt x="748" y="661"/>
                      </a:cubicBezTo>
                      <a:cubicBezTo>
                        <a:pt x="749" y="661"/>
                        <a:pt x="749" y="662"/>
                        <a:pt x="749" y="662"/>
                      </a:cubicBezTo>
                      <a:cubicBezTo>
                        <a:pt x="751" y="662"/>
                        <a:pt x="751" y="662"/>
                        <a:pt x="751" y="662"/>
                      </a:cubicBezTo>
                      <a:cubicBezTo>
                        <a:pt x="752" y="664"/>
                        <a:pt x="752" y="664"/>
                        <a:pt x="752" y="664"/>
                      </a:cubicBezTo>
                      <a:cubicBezTo>
                        <a:pt x="753" y="662"/>
                        <a:pt x="753" y="658"/>
                        <a:pt x="755" y="660"/>
                      </a:cubicBezTo>
                      <a:cubicBezTo>
                        <a:pt x="754" y="657"/>
                        <a:pt x="756" y="658"/>
                        <a:pt x="755" y="657"/>
                      </a:cubicBezTo>
                      <a:cubicBezTo>
                        <a:pt x="756" y="657"/>
                        <a:pt x="756" y="658"/>
                        <a:pt x="756" y="658"/>
                      </a:cubicBezTo>
                      <a:cubicBezTo>
                        <a:pt x="757" y="658"/>
                        <a:pt x="760" y="657"/>
                        <a:pt x="760" y="655"/>
                      </a:cubicBezTo>
                      <a:close/>
                      <a:moveTo>
                        <a:pt x="749" y="662"/>
                      </a:moveTo>
                      <a:cubicBezTo>
                        <a:pt x="749" y="662"/>
                        <a:pt x="749" y="662"/>
                        <a:pt x="749" y="662"/>
                      </a:cubicBezTo>
                      <a:cubicBezTo>
                        <a:pt x="749" y="663"/>
                        <a:pt x="749" y="663"/>
                        <a:pt x="749" y="662"/>
                      </a:cubicBezTo>
                      <a:close/>
                      <a:moveTo>
                        <a:pt x="632" y="637"/>
                      </a:moveTo>
                      <a:cubicBezTo>
                        <a:pt x="632" y="637"/>
                        <a:pt x="632" y="637"/>
                        <a:pt x="632" y="637"/>
                      </a:cubicBezTo>
                      <a:cubicBezTo>
                        <a:pt x="630" y="635"/>
                        <a:pt x="630" y="635"/>
                        <a:pt x="630" y="635"/>
                      </a:cubicBezTo>
                      <a:lnTo>
                        <a:pt x="632" y="637"/>
                      </a:lnTo>
                      <a:close/>
                      <a:moveTo>
                        <a:pt x="730" y="632"/>
                      </a:moveTo>
                      <a:cubicBezTo>
                        <a:pt x="732" y="632"/>
                        <a:pt x="733" y="632"/>
                        <a:pt x="734" y="631"/>
                      </a:cubicBezTo>
                      <a:cubicBezTo>
                        <a:pt x="730" y="631"/>
                        <a:pt x="730" y="632"/>
                        <a:pt x="730" y="632"/>
                      </a:cubicBezTo>
                      <a:close/>
                      <a:moveTo>
                        <a:pt x="756" y="660"/>
                      </a:moveTo>
                      <a:cubicBezTo>
                        <a:pt x="757" y="660"/>
                        <a:pt x="756" y="659"/>
                        <a:pt x="756" y="658"/>
                      </a:cubicBezTo>
                      <a:cubicBezTo>
                        <a:pt x="755" y="659"/>
                        <a:pt x="755" y="659"/>
                        <a:pt x="755" y="659"/>
                      </a:cubicBezTo>
                      <a:cubicBezTo>
                        <a:pt x="756" y="659"/>
                        <a:pt x="756" y="659"/>
                        <a:pt x="756" y="660"/>
                      </a:cubicBezTo>
                      <a:close/>
                      <a:moveTo>
                        <a:pt x="753" y="645"/>
                      </a:moveTo>
                      <a:cubicBezTo>
                        <a:pt x="753" y="644"/>
                        <a:pt x="753" y="644"/>
                        <a:pt x="753" y="644"/>
                      </a:cubicBezTo>
                      <a:cubicBezTo>
                        <a:pt x="753" y="644"/>
                        <a:pt x="753" y="644"/>
                        <a:pt x="753" y="645"/>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8" name="TextBox 27"/>
              <p:cNvSpPr txBox="1"/>
              <p:nvPr/>
            </p:nvSpPr>
            <p:spPr>
              <a:xfrm>
                <a:off x="4876800" y="5197526"/>
                <a:ext cx="3372679" cy="954107"/>
              </a:xfrm>
              <a:prstGeom prst="rect">
                <a:avLst/>
              </a:prstGeom>
              <a:noFill/>
            </p:spPr>
            <p:txBody>
              <a:bodyPr wrap="square" rtlCol="0">
                <a:spAutoFit/>
              </a:bodyPr>
              <a:lstStyle/>
              <a:p>
                <a:pPr algn="ctr"/>
                <a:r>
                  <a:rPr lang="en-US" sz="2800" dirty="0" smtClean="0">
                    <a:latin typeface="Segoe UI" pitchFamily="34" charset="0"/>
                    <a:ea typeface="Segoe UI" pitchFamily="34" charset="0"/>
                    <a:cs typeface="Segoe UI" pitchFamily="34" charset="0"/>
                  </a:rPr>
                  <a:t>BAHAGIAN PENDIDIKAN ISLAM</a:t>
                </a:r>
                <a:endParaRPr lang="en-US" sz="2800" dirty="0">
                  <a:latin typeface="Segoe UI" pitchFamily="34" charset="0"/>
                  <a:ea typeface="Segoe UI" pitchFamily="34" charset="0"/>
                  <a:cs typeface="Segoe UI" pitchFamily="34" charset="0"/>
                </a:endParaRPr>
              </a:p>
            </p:txBody>
          </p:sp>
        </p:grpSp>
        <p:sp>
          <p:nvSpPr>
            <p:cNvPr id="40" name="Freeform 68"/>
            <p:cNvSpPr>
              <a:spLocks/>
            </p:cNvSpPr>
            <p:nvPr>
              <p:custDataLst>
                <p:tags r:id="rId1"/>
              </p:custDataLst>
            </p:nvPr>
          </p:nvSpPr>
          <p:spPr bwMode="gray">
            <a:xfrm rot="10800000" flipV="1">
              <a:off x="4876801" y="4914392"/>
              <a:ext cx="3372678" cy="139008"/>
            </a:xfrm>
            <a:custGeom>
              <a:avLst/>
              <a:gdLst>
                <a:gd name="T0" fmla="*/ 2147483647 w 2709"/>
                <a:gd name="T1" fmla="*/ 0 h 468"/>
                <a:gd name="T2" fmla="*/ 0 w 2709"/>
                <a:gd name="T3" fmla="*/ 0 h 468"/>
                <a:gd name="T4" fmla="*/ 2147483647 w 2709"/>
                <a:gd name="T5" fmla="*/ 0 h 468"/>
                <a:gd name="T6" fmla="*/ 2147483647 w 2709"/>
                <a:gd name="T7" fmla="*/ 2147483647 h 468"/>
                <a:gd name="T8" fmla="*/ 0 60000 65536"/>
                <a:gd name="T9" fmla="*/ 0 60000 65536"/>
                <a:gd name="T10" fmla="*/ 0 60000 65536"/>
                <a:gd name="T11" fmla="*/ 0 60000 65536"/>
                <a:gd name="T12" fmla="*/ 0 w 2709"/>
                <a:gd name="T13" fmla="*/ 0 h 468"/>
                <a:gd name="T14" fmla="*/ 2709 w 2709"/>
                <a:gd name="T15" fmla="*/ 468 h 468"/>
              </a:gdLst>
              <a:ahLst/>
              <a:cxnLst>
                <a:cxn ang="T8">
                  <a:pos x="T0" y="T1"/>
                </a:cxn>
                <a:cxn ang="T9">
                  <a:pos x="T2" y="T3"/>
                </a:cxn>
                <a:cxn ang="T10">
                  <a:pos x="T4" y="T5"/>
                </a:cxn>
                <a:cxn ang="T11">
                  <a:pos x="T6" y="T7"/>
                </a:cxn>
              </a:cxnLst>
              <a:rect l="T12" t="T13" r="T14" b="T15"/>
              <a:pathLst>
                <a:path w="2709" h="468">
                  <a:moveTo>
                    <a:pt x="2709" y="0"/>
                  </a:moveTo>
                  <a:lnTo>
                    <a:pt x="0" y="0"/>
                  </a:lnTo>
                  <a:lnTo>
                    <a:pt x="1356" y="0"/>
                  </a:lnTo>
                  <a:lnTo>
                    <a:pt x="1356" y="468"/>
                  </a:lnTo>
                </a:path>
              </a:pathLst>
            </a:custGeom>
            <a:noFill/>
            <a:ln w="19050" cap="flat" cmpd="sng">
              <a:solidFill>
                <a:srgbClr val="808080"/>
              </a:solidFill>
              <a:prstDash val="solid"/>
              <a:round/>
              <a:headEnd type="none" w="med" len="med"/>
              <a:tailEnd type="oval" w="med" len="med"/>
            </a:ln>
          </p:spPr>
          <p:txBody>
            <a:bodyPr wrap="none" lIns="73144" tIns="73144" rIns="73144" bIns="73144" anchor="ctr"/>
            <a:lstStyle/>
            <a:p>
              <a:endParaRPr lang="en-US">
                <a:latin typeface="Arial" pitchFamily="34" charset="0"/>
                <a:cs typeface="Arial"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ox(in)">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7" presetClass="entr" presetSubtype="1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p:cTn id="17" dur="500" fill="hold"/>
                                        <p:tgtEl>
                                          <p:spTgt spid="9"/>
                                        </p:tgtEl>
                                        <p:attrNameLst>
                                          <p:attrName>ppt_w</p:attrName>
                                        </p:attrNameLst>
                                      </p:cBhvr>
                                      <p:tavLst>
                                        <p:tav tm="0">
                                          <p:val>
                                            <p:fltVal val="0"/>
                                          </p:val>
                                        </p:tav>
                                        <p:tav tm="100000">
                                          <p:val>
                                            <p:strVal val="#ppt_w"/>
                                          </p:val>
                                        </p:tav>
                                      </p:tavLst>
                                    </p:anim>
                                    <p:anim calcmode="lin" valueType="num">
                                      <p:cBhvr>
                                        <p:cTn id="18" dur="500" fill="hold"/>
                                        <p:tgtEl>
                                          <p:spTgt spid="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e 123"/>
          <p:cNvGrpSpPr>
            <a:grpSpLocks/>
          </p:cNvGrpSpPr>
          <p:nvPr/>
        </p:nvGrpSpPr>
        <p:grpSpPr bwMode="auto">
          <a:xfrm>
            <a:off x="4609234" y="1331143"/>
            <a:ext cx="4556995" cy="5600337"/>
            <a:chOff x="1627505" y="1312545"/>
            <a:chExt cx="3950519" cy="5038090"/>
          </a:xfrm>
        </p:grpSpPr>
        <p:sp>
          <p:nvSpPr>
            <p:cNvPr id="28" name="Ellipse 86"/>
            <p:cNvSpPr/>
            <p:nvPr/>
          </p:nvSpPr>
          <p:spPr bwMode="auto">
            <a:xfrm>
              <a:off x="2235465" y="5367212"/>
              <a:ext cx="2836844" cy="573514"/>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400" fontAlgn="auto">
                <a:spcBef>
                  <a:spcPts val="0"/>
                </a:spcBef>
                <a:spcAft>
                  <a:spcPts val="0"/>
                </a:spcAft>
                <a:defRPr/>
              </a:pPr>
              <a:endParaRPr lang="en-US">
                <a:solidFill>
                  <a:srgbClr val="FFFFFF"/>
                </a:solidFill>
                <a:latin typeface="Calibri" charset="0"/>
                <a:ea typeface="ＭＳ Ｐゴシック" charset="-128"/>
                <a:cs typeface="ＭＳ Ｐゴシック" charset="-128"/>
              </a:endParaRPr>
            </a:p>
          </p:txBody>
        </p:sp>
        <p:sp>
          <p:nvSpPr>
            <p:cNvPr id="29" name="Ellipse 87"/>
            <p:cNvSpPr/>
            <p:nvPr/>
          </p:nvSpPr>
          <p:spPr bwMode="auto">
            <a:xfrm>
              <a:off x="3715201" y="5878509"/>
              <a:ext cx="1862823" cy="380685"/>
            </a:xfrm>
            <a:prstGeom prst="ellipse">
              <a:avLst/>
            </a:prstGeom>
            <a:gradFill flip="none" rotWithShape="1">
              <a:gsLst>
                <a:gs pos="24000">
                  <a:sysClr val="windowText" lastClr="000000">
                    <a:alpha val="2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400" fontAlgn="auto">
                <a:spcBef>
                  <a:spcPts val="0"/>
                </a:spcBef>
                <a:spcAft>
                  <a:spcPts val="0"/>
                </a:spcAft>
                <a:defRPr/>
              </a:pPr>
              <a:endParaRPr lang="en-US">
                <a:solidFill>
                  <a:srgbClr val="FFFFFF"/>
                </a:solidFill>
                <a:latin typeface="Calibri" charset="0"/>
                <a:ea typeface="ＭＳ Ｐゴシック" charset="-128"/>
                <a:cs typeface="ＭＳ Ｐゴシック" charset="-128"/>
              </a:endParaRPr>
            </a:p>
          </p:txBody>
        </p:sp>
        <p:sp>
          <p:nvSpPr>
            <p:cNvPr id="30" name="Ellipse 88"/>
            <p:cNvSpPr/>
            <p:nvPr/>
          </p:nvSpPr>
          <p:spPr bwMode="auto">
            <a:xfrm>
              <a:off x="1627505" y="5969950"/>
              <a:ext cx="1862823" cy="380685"/>
            </a:xfrm>
            <a:prstGeom prst="ellipse">
              <a:avLst/>
            </a:prstGeom>
            <a:gradFill flip="none" rotWithShape="1">
              <a:gsLst>
                <a:gs pos="24000">
                  <a:sysClr val="windowText" lastClr="000000">
                    <a:alpha val="2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400" fontAlgn="auto">
                <a:spcBef>
                  <a:spcPts val="0"/>
                </a:spcBef>
                <a:spcAft>
                  <a:spcPts val="0"/>
                </a:spcAft>
                <a:defRPr/>
              </a:pPr>
              <a:endParaRPr lang="en-US">
                <a:solidFill>
                  <a:srgbClr val="FFFFFF"/>
                </a:solidFill>
                <a:latin typeface="Calibri" charset="0"/>
                <a:ea typeface="ＭＳ Ｐゴシック" charset="-128"/>
                <a:cs typeface="ＭＳ Ｐゴシック" charset="-128"/>
              </a:endParaRPr>
            </a:p>
          </p:txBody>
        </p:sp>
        <p:grpSp>
          <p:nvGrpSpPr>
            <p:cNvPr id="3" name="Gruppe 92"/>
            <p:cNvGrpSpPr>
              <a:grpSpLocks/>
            </p:cNvGrpSpPr>
            <p:nvPr/>
          </p:nvGrpSpPr>
          <p:grpSpPr bwMode="auto">
            <a:xfrm>
              <a:off x="3200411" y="2301745"/>
              <a:ext cx="669795" cy="4021898"/>
              <a:chOff x="1989167" y="3459524"/>
              <a:chExt cx="1614229" cy="2879360"/>
            </a:xfrm>
          </p:grpSpPr>
          <p:sp>
            <p:nvSpPr>
              <p:cNvPr id="37" name="Afrundet rektangel 89"/>
              <p:cNvSpPr>
                <a:spLocks noChangeArrowheads="1"/>
              </p:cNvSpPr>
              <p:nvPr/>
            </p:nvSpPr>
            <p:spPr bwMode="auto">
              <a:xfrm rot="1320000">
                <a:off x="1989167" y="3924450"/>
                <a:ext cx="198910" cy="2414434"/>
              </a:xfrm>
              <a:prstGeom prst="roundRect">
                <a:avLst>
                  <a:gd name="adj" fmla="val 16667"/>
                </a:avLst>
              </a:prstGeom>
              <a:gradFill rotWithShape="1">
                <a:gsLst>
                  <a:gs pos="0">
                    <a:srgbClr val="151616"/>
                  </a:gs>
                  <a:gs pos="100000">
                    <a:srgbClr val="F3F3F3"/>
                  </a:gs>
                  <a:gs pos="100000">
                    <a:srgbClr val="A6A6A6"/>
                  </a:gs>
                </a:gsLst>
                <a:lin ang="10800000" scaled="1"/>
              </a:gradFill>
              <a:ln w="9525">
                <a:noFill/>
                <a:round/>
                <a:headEnd/>
                <a:tailEnd/>
              </a:ln>
              <a:effectLst>
                <a:outerShdw blurRad="63500" dist="23000" dir="5400000" rotWithShape="0">
                  <a:srgbClr val="000000">
                    <a:alpha val="34999"/>
                  </a:srgbClr>
                </a:outerShdw>
              </a:effectLst>
            </p:spPr>
            <p:txBody>
              <a:bodyPr anchor="ctr"/>
              <a:lstStyle/>
              <a:p>
                <a:pPr algn="ctr" defTabSz="914400" fontAlgn="auto">
                  <a:spcBef>
                    <a:spcPts val="0"/>
                  </a:spcBef>
                  <a:spcAft>
                    <a:spcPts val="0"/>
                  </a:spcAft>
                  <a:defRPr/>
                </a:pPr>
                <a:endParaRPr lang="en-US">
                  <a:solidFill>
                    <a:srgbClr val="FFFFFF"/>
                  </a:solidFill>
                  <a:latin typeface="Calibri" charset="0"/>
                  <a:ea typeface="ＭＳ Ｐゴシック" charset="-128"/>
                  <a:cs typeface="ＭＳ Ｐゴシック" charset="-128"/>
                </a:endParaRPr>
              </a:p>
            </p:txBody>
          </p:sp>
          <p:sp>
            <p:nvSpPr>
              <p:cNvPr id="38" name="Afrundet rektangel 90"/>
              <p:cNvSpPr>
                <a:spLocks noChangeArrowheads="1"/>
              </p:cNvSpPr>
              <p:nvPr/>
            </p:nvSpPr>
            <p:spPr bwMode="auto">
              <a:xfrm>
                <a:off x="2719779" y="3459524"/>
                <a:ext cx="175959" cy="2414434"/>
              </a:xfrm>
              <a:prstGeom prst="roundRect">
                <a:avLst>
                  <a:gd name="adj" fmla="val 16667"/>
                </a:avLst>
              </a:prstGeom>
              <a:gradFill rotWithShape="1">
                <a:gsLst>
                  <a:gs pos="0">
                    <a:srgbClr val="151616"/>
                  </a:gs>
                  <a:gs pos="100000">
                    <a:srgbClr val="F3F3F3"/>
                  </a:gs>
                  <a:gs pos="100000">
                    <a:srgbClr val="A6A6A6"/>
                  </a:gs>
                </a:gsLst>
                <a:lin ang="10800000" scaled="1"/>
              </a:gradFill>
              <a:ln w="9525">
                <a:noFill/>
                <a:round/>
                <a:headEnd/>
                <a:tailEnd/>
              </a:ln>
              <a:effectLst>
                <a:outerShdw blurRad="63500" dist="23000" dir="5400000" rotWithShape="0">
                  <a:srgbClr val="000000">
                    <a:alpha val="34999"/>
                  </a:srgbClr>
                </a:outerShdw>
              </a:effectLst>
            </p:spPr>
            <p:txBody>
              <a:bodyPr anchor="ctr"/>
              <a:lstStyle/>
              <a:p>
                <a:pPr algn="ctr" defTabSz="914400" fontAlgn="auto">
                  <a:spcBef>
                    <a:spcPts val="0"/>
                  </a:spcBef>
                  <a:spcAft>
                    <a:spcPts val="0"/>
                  </a:spcAft>
                  <a:defRPr/>
                </a:pPr>
                <a:endParaRPr lang="en-US">
                  <a:solidFill>
                    <a:srgbClr val="FFFFFF"/>
                  </a:solidFill>
                  <a:latin typeface="Calibri" charset="0"/>
                  <a:ea typeface="ＭＳ Ｐゴシック" charset="-128"/>
                  <a:cs typeface="ＭＳ Ｐゴシック" charset="-128"/>
                </a:endParaRPr>
              </a:p>
            </p:txBody>
          </p:sp>
          <p:sp>
            <p:nvSpPr>
              <p:cNvPr id="39" name="Afrundet rektangel 91"/>
              <p:cNvSpPr>
                <a:spLocks noChangeArrowheads="1"/>
              </p:cNvSpPr>
              <p:nvPr/>
            </p:nvSpPr>
            <p:spPr bwMode="auto">
              <a:xfrm rot="-1560000">
                <a:off x="3404486" y="3848289"/>
                <a:ext cx="198910" cy="2414434"/>
              </a:xfrm>
              <a:prstGeom prst="roundRect">
                <a:avLst>
                  <a:gd name="adj" fmla="val 16667"/>
                </a:avLst>
              </a:prstGeom>
              <a:gradFill rotWithShape="1">
                <a:gsLst>
                  <a:gs pos="0">
                    <a:srgbClr val="151616"/>
                  </a:gs>
                  <a:gs pos="100000">
                    <a:srgbClr val="F3F3F3"/>
                  </a:gs>
                  <a:gs pos="100000">
                    <a:srgbClr val="A6A6A6"/>
                  </a:gs>
                </a:gsLst>
                <a:lin ang="10800000" scaled="1"/>
              </a:gradFill>
              <a:ln w="9525">
                <a:noFill/>
                <a:round/>
                <a:headEnd/>
                <a:tailEnd/>
              </a:ln>
              <a:effectLst>
                <a:outerShdw blurRad="63500" dist="23000" dir="5400000" rotWithShape="0">
                  <a:srgbClr val="000000">
                    <a:alpha val="34999"/>
                  </a:srgbClr>
                </a:outerShdw>
              </a:effectLst>
            </p:spPr>
            <p:txBody>
              <a:bodyPr anchor="ctr"/>
              <a:lstStyle/>
              <a:p>
                <a:pPr algn="ctr" defTabSz="914400" fontAlgn="auto">
                  <a:spcBef>
                    <a:spcPts val="0"/>
                  </a:spcBef>
                  <a:spcAft>
                    <a:spcPts val="0"/>
                  </a:spcAft>
                  <a:defRPr/>
                </a:pPr>
                <a:endParaRPr lang="en-US">
                  <a:solidFill>
                    <a:srgbClr val="FFFFFF"/>
                  </a:solidFill>
                  <a:latin typeface="Calibri" charset="0"/>
                  <a:ea typeface="ＭＳ Ｐゴシック" charset="-128"/>
                  <a:cs typeface="ＭＳ Ｐゴシック" charset="-128"/>
                </a:endParaRPr>
              </a:p>
            </p:txBody>
          </p:sp>
        </p:grpSp>
        <p:grpSp>
          <p:nvGrpSpPr>
            <p:cNvPr id="4" name="Gruppe 157"/>
            <p:cNvGrpSpPr/>
            <p:nvPr/>
          </p:nvGrpSpPr>
          <p:grpSpPr bwMode="auto">
            <a:xfrm>
              <a:off x="2001839" y="1312545"/>
              <a:ext cx="2981643" cy="3701415"/>
              <a:chOff x="5158494" y="1088691"/>
              <a:chExt cx="3627368" cy="4759659"/>
            </a:xfrm>
            <a:effectLst>
              <a:outerShdw blurRad="50800" dist="38100" dir="2700000" algn="tl" rotWithShape="0">
                <a:prstClr val="black">
                  <a:alpha val="40000"/>
                </a:prstClr>
              </a:outerShdw>
            </a:effectLst>
          </p:grpSpPr>
          <p:sp>
            <p:nvSpPr>
              <p:cNvPr id="33" name="Rectangle 27"/>
              <p:cNvSpPr>
                <a:spLocks noChangeArrowheads="1"/>
              </p:cNvSpPr>
              <p:nvPr/>
            </p:nvSpPr>
            <p:spPr bwMode="auto">
              <a:xfrm>
                <a:off x="5162550" y="1823728"/>
                <a:ext cx="3608070" cy="4024622"/>
              </a:xfrm>
              <a:prstGeom prst="rect">
                <a:avLst/>
              </a:prstGeom>
              <a:gradFill flip="none" rotWithShape="1">
                <a:gsLst>
                  <a:gs pos="38000">
                    <a:sysClr val="window" lastClr="FFFFFF"/>
                  </a:gs>
                  <a:gs pos="100000">
                    <a:schemeClr val="bg1">
                      <a:lumMod val="75000"/>
                    </a:schemeClr>
                  </a:gs>
                  <a:gs pos="68000">
                    <a:schemeClr val="bg1">
                      <a:lumMod val="95000"/>
                    </a:schemeClr>
                  </a:gs>
                </a:gsLst>
                <a:lin ang="12300000" scaled="0"/>
                <a:tileRect/>
              </a:gradFill>
              <a:ln w="9525">
                <a:noFill/>
                <a:miter lim="800000"/>
                <a:headEnd/>
                <a:tailEnd/>
              </a:ln>
              <a:effectLst/>
            </p:spPr>
            <p:txBody>
              <a:bodyPr anchor="ctr"/>
              <a:lstStyle/>
              <a:p>
                <a:pPr marL="342900" indent="-342900" algn="ctr" defTabSz="914400" fontAlgn="auto">
                  <a:spcBef>
                    <a:spcPts val="0"/>
                  </a:spcBef>
                  <a:spcAft>
                    <a:spcPts val="0"/>
                  </a:spcAft>
                  <a:defRPr/>
                </a:pPr>
                <a:endParaRPr lang="de-DE" sz="1400" kern="0" dirty="0">
                  <a:solidFill>
                    <a:sysClr val="windowText" lastClr="000000"/>
                  </a:solidFill>
                  <a:latin typeface="Arial Narrow" pitchFamily="-97" charset="0"/>
                  <a:ea typeface="ＭＳ Ｐゴシック" pitchFamily="-97" charset="-128"/>
                </a:endParaRPr>
              </a:p>
            </p:txBody>
          </p:sp>
          <p:sp>
            <p:nvSpPr>
              <p:cNvPr id="34" name="Rectangle 39"/>
              <p:cNvSpPr>
                <a:spLocks noChangeArrowheads="1"/>
              </p:cNvSpPr>
              <p:nvPr/>
            </p:nvSpPr>
            <p:spPr bwMode="auto">
              <a:xfrm>
                <a:off x="5158494" y="1088691"/>
                <a:ext cx="3627368" cy="735037"/>
              </a:xfrm>
              <a:prstGeom prst="rect">
                <a:avLst/>
              </a:prstGeom>
              <a:gradFill flip="none" rotWithShape="1">
                <a:gsLst>
                  <a:gs pos="0">
                    <a:srgbClr val="25AFFF"/>
                  </a:gs>
                  <a:gs pos="50000">
                    <a:srgbClr val="74F4FF"/>
                  </a:gs>
                  <a:gs pos="100000">
                    <a:srgbClr val="208ECD"/>
                  </a:gs>
                </a:gsLst>
                <a:lin ang="5400000" scaled="1"/>
                <a:tileRect/>
              </a:gradFill>
              <a:ln w="25400" cap="flat" cmpd="sng" algn="ctr">
                <a:noFill/>
                <a:prstDash val="solid"/>
              </a:ln>
              <a:effectLst/>
            </p:spPr>
            <p:txBody>
              <a:bodyPr anchor="ctr"/>
              <a:lstStyle/>
              <a:p>
                <a:pPr defTabSz="914400" fontAlgn="auto">
                  <a:spcBef>
                    <a:spcPts val="0"/>
                  </a:spcBef>
                  <a:spcAft>
                    <a:spcPts val="0"/>
                  </a:spcAft>
                  <a:defRPr/>
                </a:pPr>
                <a:r>
                  <a:rPr lang="de-DE" sz="2500" b="1" kern="0" noProof="1" smtClean="0">
                    <a:solidFill>
                      <a:srgbClr val="000000"/>
                    </a:solidFill>
                    <a:latin typeface="Arial" pitchFamily="34" charset="0"/>
                    <a:ea typeface="ＭＳ Ｐゴシック" pitchFamily="-97" charset="-128"/>
                    <a:cs typeface="Arial" pitchFamily="34" charset="0"/>
                  </a:rPr>
                  <a:t>Guru :</a:t>
                </a:r>
                <a:endParaRPr lang="de-DE" sz="2500" b="1" kern="0" noProof="1">
                  <a:solidFill>
                    <a:srgbClr val="000000"/>
                  </a:solidFill>
                  <a:latin typeface="Arial" pitchFamily="34" charset="0"/>
                  <a:ea typeface="ＭＳ Ｐゴシック" pitchFamily="-97" charset="-128"/>
                  <a:cs typeface="Arial" pitchFamily="34" charset="0"/>
                </a:endParaRPr>
              </a:p>
            </p:txBody>
          </p:sp>
        </p:grpSp>
      </p:grpSp>
      <p:sp>
        <p:nvSpPr>
          <p:cNvPr id="40" name="Rectangle 39"/>
          <p:cNvSpPr/>
          <p:nvPr/>
        </p:nvSpPr>
        <p:spPr>
          <a:xfrm>
            <a:off x="5357818" y="2045524"/>
            <a:ext cx="3045432" cy="3139321"/>
          </a:xfrm>
          <a:prstGeom prst="rect">
            <a:avLst/>
          </a:prstGeom>
        </p:spPr>
        <p:txBody>
          <a:bodyPr wrap="square">
            <a:spAutoFit/>
          </a:bodyPr>
          <a:lstStyle/>
          <a:p>
            <a:pPr marL="355600" indent="-355600">
              <a:buClr>
                <a:srgbClr val="FF0000"/>
              </a:buClr>
              <a:buSzPct val="120000"/>
              <a:buFont typeface="Wingdings" pitchFamily="2" charset="2"/>
              <a:buChar char="ü"/>
              <a:tabLst>
                <a:tab pos="0" algn="l"/>
              </a:tabLst>
            </a:pPr>
            <a:r>
              <a:rPr lang="en-US" dirty="0" smtClean="0">
                <a:latin typeface="Arial" pitchFamily="34" charset="0"/>
                <a:cs typeface="Arial" pitchFamily="34" charset="0"/>
              </a:rPr>
              <a:t>Guru </a:t>
            </a:r>
            <a:r>
              <a:rPr lang="en-US" dirty="0" err="1" smtClean="0">
                <a:latin typeface="Arial" pitchFamily="34" charset="0"/>
                <a:cs typeface="Arial" pitchFamily="34" charset="0"/>
              </a:rPr>
              <a:t>Kanan</a:t>
            </a:r>
            <a:r>
              <a:rPr lang="en-US" dirty="0" smtClean="0">
                <a:latin typeface="Arial" pitchFamily="34" charset="0"/>
                <a:cs typeface="Arial" pitchFamily="34" charset="0"/>
              </a:rPr>
              <a:t> Mata </a:t>
            </a:r>
            <a:r>
              <a:rPr lang="en-US" dirty="0" err="1" smtClean="0">
                <a:latin typeface="Arial" pitchFamily="34" charset="0"/>
                <a:cs typeface="Arial" pitchFamily="34" charset="0"/>
              </a:rPr>
              <a:t>Pelajaran</a:t>
            </a:r>
            <a:r>
              <a:rPr lang="en-US" dirty="0" smtClean="0">
                <a:latin typeface="Arial" pitchFamily="34" charset="0"/>
                <a:cs typeface="Arial" pitchFamily="34" charset="0"/>
              </a:rPr>
              <a:t> (</a:t>
            </a:r>
            <a:r>
              <a:rPr lang="en-US" dirty="0" err="1" smtClean="0">
                <a:latin typeface="Arial" pitchFamily="34" charset="0"/>
                <a:cs typeface="Arial" pitchFamily="34" charset="0"/>
              </a:rPr>
              <a:t>Ketua</a:t>
            </a:r>
            <a:r>
              <a:rPr lang="en-US" dirty="0" smtClean="0">
                <a:latin typeface="Arial" pitchFamily="34" charset="0"/>
                <a:cs typeface="Arial" pitchFamily="34" charset="0"/>
              </a:rPr>
              <a:t> </a:t>
            </a:r>
            <a:r>
              <a:rPr lang="en-US" dirty="0" err="1" smtClean="0">
                <a:latin typeface="Arial" pitchFamily="34" charset="0"/>
                <a:cs typeface="Arial" pitchFamily="34" charset="0"/>
              </a:rPr>
              <a:t>Bidang</a:t>
            </a:r>
            <a:r>
              <a:rPr lang="en-US" dirty="0" smtClean="0">
                <a:latin typeface="Arial" pitchFamily="34" charset="0"/>
                <a:cs typeface="Arial" pitchFamily="34" charset="0"/>
              </a:rPr>
              <a:t> / </a:t>
            </a:r>
            <a:r>
              <a:rPr lang="en-US" dirty="0" err="1" smtClean="0">
                <a:latin typeface="Arial" pitchFamily="34" charset="0"/>
                <a:cs typeface="Arial" pitchFamily="34" charset="0"/>
              </a:rPr>
              <a:t>Ketua</a:t>
            </a:r>
            <a:r>
              <a:rPr lang="en-US" dirty="0" smtClean="0">
                <a:latin typeface="Arial" pitchFamily="34" charset="0"/>
                <a:cs typeface="Arial" pitchFamily="34" charset="0"/>
              </a:rPr>
              <a:t> </a:t>
            </a:r>
            <a:r>
              <a:rPr lang="en-US" dirty="0" err="1" smtClean="0">
                <a:latin typeface="Arial" pitchFamily="34" charset="0"/>
                <a:cs typeface="Arial" pitchFamily="34" charset="0"/>
              </a:rPr>
              <a:t>Panitia</a:t>
            </a:r>
            <a:r>
              <a:rPr lang="en-US" dirty="0" smtClean="0">
                <a:latin typeface="Arial" pitchFamily="34" charset="0"/>
                <a:cs typeface="Arial" pitchFamily="34" charset="0"/>
              </a:rPr>
              <a:t> </a:t>
            </a:r>
            <a:r>
              <a:rPr lang="en-US" dirty="0" err="1" smtClean="0">
                <a:latin typeface="Arial" pitchFamily="34" charset="0"/>
                <a:cs typeface="Arial" pitchFamily="34" charset="0"/>
              </a:rPr>
              <a:t>boleh</a:t>
            </a:r>
            <a:r>
              <a:rPr lang="en-US" dirty="0" smtClean="0">
                <a:latin typeface="Arial" pitchFamily="34" charset="0"/>
                <a:cs typeface="Arial" pitchFamily="34" charset="0"/>
              </a:rPr>
              <a:t> </a:t>
            </a:r>
            <a:r>
              <a:rPr lang="en-US" dirty="0" err="1" smtClean="0">
                <a:latin typeface="Arial" pitchFamily="34" charset="0"/>
                <a:cs typeface="Arial" pitchFamily="34" charset="0"/>
              </a:rPr>
              <a:t>menjadi</a:t>
            </a:r>
            <a:r>
              <a:rPr lang="en-US" dirty="0" smtClean="0">
                <a:latin typeface="Arial" pitchFamily="34" charset="0"/>
                <a:cs typeface="Arial" pitchFamily="34" charset="0"/>
              </a:rPr>
              <a:t> PP </a:t>
            </a:r>
            <a:r>
              <a:rPr lang="en-US" dirty="0" err="1" smtClean="0">
                <a:latin typeface="Arial" pitchFamily="34" charset="0"/>
                <a:cs typeface="Arial" pitchFamily="34" charset="0"/>
              </a:rPr>
              <a:t>bagi</a:t>
            </a:r>
            <a:r>
              <a:rPr lang="en-US" dirty="0" smtClean="0">
                <a:latin typeface="Arial" pitchFamily="34" charset="0"/>
                <a:cs typeface="Arial" pitchFamily="34" charset="0"/>
              </a:rPr>
              <a:t> PYD </a:t>
            </a:r>
            <a:r>
              <a:rPr lang="en-US" dirty="0" err="1" smtClean="0">
                <a:latin typeface="Arial" pitchFamily="34" charset="0"/>
                <a:cs typeface="Arial" pitchFamily="34" charset="0"/>
              </a:rPr>
              <a:t>mengikut</a:t>
            </a:r>
            <a:r>
              <a:rPr lang="en-US" dirty="0" smtClean="0">
                <a:latin typeface="Arial" pitchFamily="34" charset="0"/>
                <a:cs typeface="Arial" pitchFamily="34" charset="0"/>
              </a:rPr>
              <a:t> </a:t>
            </a:r>
            <a:r>
              <a:rPr lang="en-US" dirty="0" err="1" smtClean="0">
                <a:latin typeface="Arial" pitchFamily="34" charset="0"/>
                <a:cs typeface="Arial" pitchFamily="34" charset="0"/>
              </a:rPr>
              <a:t>syarat</a:t>
            </a:r>
            <a:r>
              <a:rPr lang="en-US" dirty="0" smtClean="0">
                <a:latin typeface="Arial" pitchFamily="34" charset="0"/>
                <a:cs typeface="Arial" pitchFamily="34" charset="0"/>
              </a:rPr>
              <a:t> </a:t>
            </a:r>
            <a:r>
              <a:rPr lang="en-US" dirty="0" err="1" smtClean="0">
                <a:latin typeface="Arial" pitchFamily="34" charset="0"/>
                <a:cs typeface="Arial" pitchFamily="34" charset="0"/>
              </a:rPr>
              <a:t>kekananan</a:t>
            </a:r>
            <a:r>
              <a:rPr lang="en-US" dirty="0" smtClean="0">
                <a:latin typeface="Arial" pitchFamily="34" charset="0"/>
                <a:cs typeface="Arial" pitchFamily="34" charset="0"/>
              </a:rPr>
              <a:t>/ </a:t>
            </a:r>
            <a:r>
              <a:rPr lang="en-US" dirty="0" err="1" smtClean="0">
                <a:latin typeface="Arial" pitchFamily="34" charset="0"/>
                <a:cs typeface="Arial" pitchFamily="34" charset="0"/>
              </a:rPr>
              <a:t>penyelia</a:t>
            </a:r>
            <a:r>
              <a:rPr lang="en-US" dirty="0" smtClean="0">
                <a:latin typeface="Arial" pitchFamily="34" charset="0"/>
                <a:cs typeface="Arial" pitchFamily="34" charset="0"/>
              </a:rPr>
              <a:t> </a:t>
            </a:r>
            <a:r>
              <a:rPr lang="en-US" dirty="0" err="1" smtClean="0">
                <a:latin typeface="Arial" pitchFamily="34" charset="0"/>
                <a:cs typeface="Arial" pitchFamily="34" charset="0"/>
              </a:rPr>
              <a:t>kepada</a:t>
            </a:r>
            <a:r>
              <a:rPr lang="en-US" dirty="0" smtClean="0">
                <a:latin typeface="Arial" pitchFamily="34" charset="0"/>
                <a:cs typeface="Arial" pitchFamily="34" charset="0"/>
              </a:rPr>
              <a:t> PYD.</a:t>
            </a:r>
          </a:p>
          <a:p>
            <a:pPr marL="355600" indent="-355600">
              <a:buClr>
                <a:srgbClr val="FF0000"/>
              </a:buClr>
              <a:buSzPct val="120000"/>
              <a:buFont typeface="Wingdings" pitchFamily="2" charset="2"/>
              <a:buChar char="ü"/>
              <a:tabLst>
                <a:tab pos="0" algn="l"/>
              </a:tabLst>
            </a:pPr>
            <a:endParaRPr lang="en-US" dirty="0" smtClean="0">
              <a:latin typeface="Arial" pitchFamily="34" charset="0"/>
              <a:cs typeface="Arial" pitchFamily="34" charset="0"/>
            </a:endParaRPr>
          </a:p>
          <a:p>
            <a:pPr marL="355600" indent="-355600">
              <a:buClr>
                <a:srgbClr val="FF0000"/>
              </a:buClr>
              <a:buSzPct val="120000"/>
              <a:buFont typeface="Wingdings" pitchFamily="2" charset="2"/>
              <a:buChar char="ü"/>
              <a:tabLst>
                <a:tab pos="0" algn="l"/>
              </a:tabLst>
            </a:pPr>
            <a:r>
              <a:rPr lang="en-US" dirty="0" err="1" smtClean="0">
                <a:latin typeface="Arial" pitchFamily="34" charset="0"/>
                <a:cs typeface="Arial" pitchFamily="34" charset="0"/>
              </a:rPr>
              <a:t>Bagi</a:t>
            </a:r>
            <a:r>
              <a:rPr lang="en-US" dirty="0" smtClean="0">
                <a:latin typeface="Arial" pitchFamily="34" charset="0"/>
                <a:cs typeface="Arial" pitchFamily="34" charset="0"/>
              </a:rPr>
              <a:t> </a:t>
            </a:r>
            <a:r>
              <a:rPr lang="en-US" dirty="0" err="1" smtClean="0">
                <a:latin typeface="Arial" pitchFamily="34" charset="0"/>
                <a:cs typeface="Arial" pitchFamily="34" charset="0"/>
              </a:rPr>
              <a:t>sekolah</a:t>
            </a:r>
            <a:r>
              <a:rPr lang="en-US" dirty="0" smtClean="0">
                <a:latin typeface="Arial" pitchFamily="34" charset="0"/>
                <a:cs typeface="Arial" pitchFamily="34" charset="0"/>
              </a:rPr>
              <a:t> </a:t>
            </a:r>
            <a:r>
              <a:rPr lang="en-US" dirty="0" err="1" smtClean="0">
                <a:latin typeface="Arial" pitchFamily="34" charset="0"/>
                <a:cs typeface="Arial" pitchFamily="34" charset="0"/>
              </a:rPr>
              <a:t>rendah</a:t>
            </a:r>
            <a:r>
              <a:rPr lang="en-US" dirty="0" smtClean="0">
                <a:latin typeface="Arial" pitchFamily="34" charset="0"/>
                <a:cs typeface="Arial" pitchFamily="34" charset="0"/>
              </a:rPr>
              <a:t> </a:t>
            </a:r>
            <a:r>
              <a:rPr lang="en-US" dirty="0" err="1" smtClean="0">
                <a:latin typeface="Arial" pitchFamily="34" charset="0"/>
                <a:cs typeface="Arial" pitchFamily="34" charset="0"/>
              </a:rPr>
              <a:t>Ketua</a:t>
            </a:r>
            <a:r>
              <a:rPr lang="en-US" dirty="0" smtClean="0">
                <a:latin typeface="Arial" pitchFamily="34" charset="0"/>
                <a:cs typeface="Arial" pitchFamily="34" charset="0"/>
              </a:rPr>
              <a:t> </a:t>
            </a:r>
            <a:r>
              <a:rPr lang="en-US" dirty="0" err="1" smtClean="0">
                <a:latin typeface="Arial" pitchFamily="34" charset="0"/>
                <a:cs typeface="Arial" pitchFamily="34" charset="0"/>
              </a:rPr>
              <a:t>Panitia</a:t>
            </a:r>
            <a:r>
              <a:rPr lang="en-US" dirty="0" smtClean="0">
                <a:latin typeface="Arial" pitchFamily="34" charset="0"/>
                <a:cs typeface="Arial" pitchFamily="34" charset="0"/>
              </a:rPr>
              <a:t> </a:t>
            </a:r>
            <a:r>
              <a:rPr lang="en-US" dirty="0" err="1" smtClean="0">
                <a:latin typeface="Arial" pitchFamily="34" charset="0"/>
                <a:cs typeface="Arial" pitchFamily="34" charset="0"/>
              </a:rPr>
              <a:t>boleh</a:t>
            </a:r>
            <a:r>
              <a:rPr lang="en-US" dirty="0" smtClean="0">
                <a:latin typeface="Arial" pitchFamily="34" charset="0"/>
                <a:cs typeface="Arial" pitchFamily="34" charset="0"/>
              </a:rPr>
              <a:t> </a:t>
            </a:r>
            <a:r>
              <a:rPr lang="en-US" dirty="0" err="1" smtClean="0">
                <a:latin typeface="Arial" pitchFamily="34" charset="0"/>
                <a:cs typeface="Arial" pitchFamily="34" charset="0"/>
              </a:rPr>
              <a:t>dilantik</a:t>
            </a:r>
            <a:r>
              <a:rPr lang="en-US" dirty="0" smtClean="0">
                <a:latin typeface="Arial" pitchFamily="34" charset="0"/>
                <a:cs typeface="Arial" pitchFamily="34" charset="0"/>
              </a:rPr>
              <a:t> </a:t>
            </a:r>
            <a:r>
              <a:rPr lang="en-US" dirty="0" err="1" smtClean="0">
                <a:latin typeface="Arial" pitchFamily="34" charset="0"/>
                <a:cs typeface="Arial" pitchFamily="34" charset="0"/>
              </a:rPr>
              <a:t>sebagai</a:t>
            </a:r>
            <a:r>
              <a:rPr lang="en-US" dirty="0" smtClean="0">
                <a:latin typeface="Arial" pitchFamily="34" charset="0"/>
                <a:cs typeface="Arial" pitchFamily="34" charset="0"/>
              </a:rPr>
              <a:t> PP</a:t>
            </a:r>
          </a:p>
        </p:txBody>
      </p:sp>
      <p:sp>
        <p:nvSpPr>
          <p:cNvPr id="7" name="Footer Placeholder 6"/>
          <p:cNvSpPr>
            <a:spLocks noGrp="1"/>
          </p:cNvSpPr>
          <p:nvPr>
            <p:ph type="ftr" sz="quarter" idx="11"/>
          </p:nvPr>
        </p:nvSpPr>
        <p:spPr/>
        <p:txBody>
          <a:bodyPr/>
          <a:lstStyle/>
          <a:p>
            <a:r>
              <a:rPr lang="en-US" smtClean="0"/>
              <a:t>GURU (SEKOLAH)</a:t>
            </a:r>
            <a:endParaRPr lang="en-US"/>
          </a:p>
        </p:txBody>
      </p:sp>
      <p:sp>
        <p:nvSpPr>
          <p:cNvPr id="8" name="Slide Number Placeholder 7"/>
          <p:cNvSpPr>
            <a:spLocks noGrp="1"/>
          </p:cNvSpPr>
          <p:nvPr>
            <p:ph type="sldNum" sz="quarter" idx="12"/>
          </p:nvPr>
        </p:nvSpPr>
        <p:spPr/>
        <p:txBody>
          <a:bodyPr/>
          <a:lstStyle/>
          <a:p>
            <a:fld id="{4D86EDED-B1AF-7E4B-94C9-3F0EAA36C7D5}" type="slidenum">
              <a:rPr lang="en-US" smtClean="0"/>
              <a:pPr/>
              <a:t>48</a:t>
            </a:fld>
            <a:endParaRPr lang="en-US"/>
          </a:p>
        </p:txBody>
      </p:sp>
      <p:sp>
        <p:nvSpPr>
          <p:cNvPr id="43" name="Rectangle 42"/>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CONTOH PP PADA PYD (GURU)</a:t>
            </a:r>
            <a:endParaRPr lang="en-US" sz="2800" b="1" dirty="0">
              <a:solidFill>
                <a:schemeClr val="bg1"/>
              </a:solidFill>
              <a:latin typeface="Segoe UI" pitchFamily="34" charset="0"/>
              <a:ea typeface="Segoe UI" pitchFamily="34" charset="0"/>
              <a:cs typeface="Segoe UI" pitchFamily="34" charset="0"/>
            </a:endParaRPr>
          </a:p>
        </p:txBody>
      </p:sp>
      <p:grpSp>
        <p:nvGrpSpPr>
          <p:cNvPr id="5" name="Group 9"/>
          <p:cNvGrpSpPr/>
          <p:nvPr/>
        </p:nvGrpSpPr>
        <p:grpSpPr>
          <a:xfrm>
            <a:off x="500034" y="1435262"/>
            <a:ext cx="3791703" cy="4424087"/>
            <a:chOff x="500034" y="1435262"/>
            <a:chExt cx="3791703" cy="4424087"/>
          </a:xfrm>
        </p:grpSpPr>
        <p:grpSp>
          <p:nvGrpSpPr>
            <p:cNvPr id="6" name="Group 8"/>
            <p:cNvGrpSpPr/>
            <p:nvPr/>
          </p:nvGrpSpPr>
          <p:grpSpPr>
            <a:xfrm>
              <a:off x="500034" y="3071810"/>
              <a:ext cx="1295123" cy="1608378"/>
              <a:chOff x="500034" y="3071810"/>
              <a:chExt cx="1295123" cy="1608378"/>
            </a:xfrm>
          </p:grpSpPr>
          <p:sp>
            <p:nvSpPr>
              <p:cNvPr id="64" name="milestoneshape"/>
              <p:cNvSpPr txBox="1"/>
              <p:nvPr>
                <p:custDataLst>
                  <p:tags r:id="rId1"/>
                </p:custDataLst>
              </p:nvPr>
            </p:nvSpPr>
            <p:spPr bwMode="auto">
              <a:xfrm>
                <a:off x="539552" y="4221088"/>
                <a:ext cx="1143008" cy="459100"/>
              </a:xfrm>
              <a:prstGeom prst="rect">
                <a:avLst/>
              </a:prstGeom>
              <a:noFill/>
            </p:spPr>
            <p:txBody>
              <a:bodyPr wrap="square" lIns="88900" tIns="44450" rIns="88900" bIns="44450">
                <a:spAutoFit/>
              </a:bodyPr>
              <a:lstStyle/>
              <a:p>
                <a:pPr algn="ctr">
                  <a:defRPr/>
                </a:pPr>
                <a:r>
                  <a:rPr lang="en-MY" sz="2400" b="1" dirty="0" smtClean="0">
                    <a:solidFill>
                      <a:schemeClr val="accent6">
                        <a:lumMod val="50000"/>
                      </a:schemeClr>
                    </a:solidFill>
                  </a:rPr>
                  <a:t>Guru</a:t>
                </a:r>
                <a:endParaRPr lang="en-MY" sz="2400" b="1" dirty="0">
                  <a:solidFill>
                    <a:schemeClr val="accent6">
                      <a:lumMod val="50000"/>
                    </a:schemeClr>
                  </a:solidFill>
                </a:endParaRPr>
              </a:p>
            </p:txBody>
          </p:sp>
          <p:pic>
            <p:nvPicPr>
              <p:cNvPr id="1026" name="Picture 2" descr="C:\Documents and Settings\dalida.nordin\My Documents\My Pictures\icon\Icon_Teaching.gif"/>
              <p:cNvPicPr>
                <a:picLocks noChangeAspect="1" noChangeArrowheads="1"/>
              </p:cNvPicPr>
              <p:nvPr/>
            </p:nvPicPr>
            <p:blipFill>
              <a:blip r:embed="rId4" cstate="print"/>
              <a:srcRect/>
              <a:stretch>
                <a:fillRect/>
              </a:stretch>
            </p:blipFill>
            <p:spPr bwMode="auto">
              <a:xfrm>
                <a:off x="500034" y="3071810"/>
                <a:ext cx="1295123" cy="1131074"/>
              </a:xfrm>
              <a:prstGeom prst="rect">
                <a:avLst/>
              </a:prstGeom>
              <a:noFill/>
            </p:spPr>
          </p:pic>
        </p:grpSp>
        <p:grpSp>
          <p:nvGrpSpPr>
            <p:cNvPr id="9" name="Group 43"/>
            <p:cNvGrpSpPr/>
            <p:nvPr/>
          </p:nvGrpSpPr>
          <p:grpSpPr>
            <a:xfrm>
              <a:off x="1231621" y="4016137"/>
              <a:ext cx="3060116" cy="1843212"/>
              <a:chOff x="1419754" y="4124066"/>
              <a:chExt cx="3060116" cy="1843212"/>
            </a:xfrm>
          </p:grpSpPr>
          <p:grpSp>
            <p:nvGrpSpPr>
              <p:cNvPr id="10" name="Group 44"/>
              <p:cNvGrpSpPr/>
              <p:nvPr/>
            </p:nvGrpSpPr>
            <p:grpSpPr>
              <a:xfrm>
                <a:off x="2744194" y="4124066"/>
                <a:ext cx="1735676" cy="1843212"/>
                <a:chOff x="2744194" y="4124066"/>
                <a:chExt cx="1735676" cy="1843212"/>
              </a:xfrm>
            </p:grpSpPr>
            <p:pic>
              <p:nvPicPr>
                <p:cNvPr id="47" name="Picture 5" descr="professional-man.png"/>
                <p:cNvPicPr>
                  <a:picLocks noChangeAspect="1"/>
                </p:cNvPicPr>
                <p:nvPr/>
              </p:nvPicPr>
              <p:blipFill>
                <a:blip r:embed="rId5" cstate="print"/>
                <a:srcRect/>
                <a:stretch>
                  <a:fillRect/>
                </a:stretch>
              </p:blipFill>
              <p:spPr bwMode="auto">
                <a:xfrm rot="21442773" flipH="1">
                  <a:off x="3837601" y="4124066"/>
                  <a:ext cx="642269" cy="969992"/>
                </a:xfrm>
                <a:prstGeom prst="rect">
                  <a:avLst/>
                </a:prstGeom>
                <a:noFill/>
                <a:ln w="9525">
                  <a:noFill/>
                  <a:miter lim="800000"/>
                  <a:headEnd/>
                  <a:tailEnd/>
                </a:ln>
              </p:spPr>
            </p:pic>
            <p:sp>
              <p:nvSpPr>
                <p:cNvPr id="48" name="Freeform 499"/>
                <p:cNvSpPr>
                  <a:spLocks noEditPoints="1"/>
                </p:cNvSpPr>
                <p:nvPr/>
              </p:nvSpPr>
              <p:spPr bwMode="auto">
                <a:xfrm>
                  <a:off x="2744194" y="4824270"/>
                  <a:ext cx="1714512" cy="1143008"/>
                </a:xfrm>
                <a:custGeom>
                  <a:avLst/>
                  <a:gdLst>
                    <a:gd name="T0" fmla="*/ 207 w 362"/>
                    <a:gd name="T1" fmla="*/ 1 h 362"/>
                    <a:gd name="T2" fmla="*/ 177 w 362"/>
                    <a:gd name="T3" fmla="*/ 5 h 362"/>
                    <a:gd name="T4" fmla="*/ 137 w 362"/>
                    <a:gd name="T5" fmla="*/ 19 h 362"/>
                    <a:gd name="T6" fmla="*/ 79 w 362"/>
                    <a:gd name="T7" fmla="*/ 24 h 362"/>
                    <a:gd name="T8" fmla="*/ 49 w 362"/>
                    <a:gd name="T9" fmla="*/ 33 h 362"/>
                    <a:gd name="T10" fmla="*/ 54 w 362"/>
                    <a:gd name="T11" fmla="*/ 32 h 362"/>
                    <a:gd name="T12" fmla="*/ 50 w 362"/>
                    <a:gd name="T13" fmla="*/ 30 h 362"/>
                    <a:gd name="T14" fmla="*/ 51 w 362"/>
                    <a:gd name="T15" fmla="*/ 36 h 362"/>
                    <a:gd name="T16" fmla="*/ 49 w 362"/>
                    <a:gd name="T17" fmla="*/ 30 h 362"/>
                    <a:gd name="T18" fmla="*/ 51 w 362"/>
                    <a:gd name="T19" fmla="*/ 36 h 362"/>
                    <a:gd name="T20" fmla="*/ 49 w 362"/>
                    <a:gd name="T21" fmla="*/ 33 h 362"/>
                    <a:gd name="T22" fmla="*/ 48 w 362"/>
                    <a:gd name="T23" fmla="*/ 32 h 362"/>
                    <a:gd name="T24" fmla="*/ 47 w 362"/>
                    <a:gd name="T25" fmla="*/ 38 h 362"/>
                    <a:gd name="T26" fmla="*/ 47 w 362"/>
                    <a:gd name="T27" fmla="*/ 41 h 362"/>
                    <a:gd name="T28" fmla="*/ 111 w 362"/>
                    <a:gd name="T29" fmla="*/ 27 h 362"/>
                    <a:gd name="T30" fmla="*/ 50 w 362"/>
                    <a:gd name="T31" fmla="*/ 35 h 362"/>
                    <a:gd name="T32" fmla="*/ 49 w 362"/>
                    <a:gd name="T33" fmla="*/ 31 h 362"/>
                    <a:gd name="T34" fmla="*/ 47 w 362"/>
                    <a:gd name="T35" fmla="*/ 32 h 362"/>
                    <a:gd name="T36" fmla="*/ 46 w 362"/>
                    <a:gd name="T37" fmla="*/ 32 h 362"/>
                    <a:gd name="T38" fmla="*/ 159 w 362"/>
                    <a:gd name="T39" fmla="*/ 18 h 362"/>
                    <a:gd name="T40" fmla="*/ 317 w 362"/>
                    <a:gd name="T41" fmla="*/ 14 h 362"/>
                    <a:gd name="T42" fmla="*/ 260 w 362"/>
                    <a:gd name="T43" fmla="*/ 1 h 362"/>
                    <a:gd name="T44" fmla="*/ 184 w 362"/>
                    <a:gd name="T45" fmla="*/ 5 h 362"/>
                    <a:gd name="T46" fmla="*/ 129 w 362"/>
                    <a:gd name="T47" fmla="*/ 13 h 362"/>
                    <a:gd name="T48" fmla="*/ 85 w 362"/>
                    <a:gd name="T49" fmla="*/ 22 h 362"/>
                    <a:gd name="T50" fmla="*/ 97 w 362"/>
                    <a:gd name="T51" fmla="*/ 20 h 362"/>
                    <a:gd name="T52" fmla="*/ 97 w 362"/>
                    <a:gd name="T53" fmla="*/ 21 h 362"/>
                    <a:gd name="T54" fmla="*/ 137 w 362"/>
                    <a:gd name="T55" fmla="*/ 14 h 362"/>
                    <a:gd name="T56" fmla="*/ 143 w 362"/>
                    <a:gd name="T57" fmla="*/ 14 h 362"/>
                    <a:gd name="T58" fmla="*/ 112 w 362"/>
                    <a:gd name="T59" fmla="*/ 20 h 362"/>
                    <a:gd name="T60" fmla="*/ 182 w 362"/>
                    <a:gd name="T61" fmla="*/ 12 h 362"/>
                    <a:gd name="T62" fmla="*/ 53 w 362"/>
                    <a:gd name="T63" fmla="*/ 36 h 362"/>
                    <a:gd name="T64" fmla="*/ 56 w 362"/>
                    <a:gd name="T65" fmla="*/ 36 h 362"/>
                    <a:gd name="T66" fmla="*/ 158 w 362"/>
                    <a:gd name="T67" fmla="*/ 18 h 362"/>
                    <a:gd name="T68" fmla="*/ 221 w 362"/>
                    <a:gd name="T69" fmla="*/ 12 h 362"/>
                    <a:gd name="T70" fmla="*/ 327 w 362"/>
                    <a:gd name="T71" fmla="*/ 43 h 362"/>
                    <a:gd name="T72" fmla="*/ 344 w 362"/>
                    <a:gd name="T73" fmla="*/ 235 h 362"/>
                    <a:gd name="T74" fmla="*/ 273 w 362"/>
                    <a:gd name="T75" fmla="*/ 333 h 362"/>
                    <a:gd name="T76" fmla="*/ 91 w 362"/>
                    <a:gd name="T77" fmla="*/ 339 h 362"/>
                    <a:gd name="T78" fmla="*/ 16 w 362"/>
                    <a:gd name="T79" fmla="*/ 244 h 362"/>
                    <a:gd name="T80" fmla="*/ 28 w 362"/>
                    <a:gd name="T81" fmla="*/ 84 h 362"/>
                    <a:gd name="T82" fmla="*/ 34 w 362"/>
                    <a:gd name="T83" fmla="*/ 56 h 362"/>
                    <a:gd name="T84" fmla="*/ 36 w 362"/>
                    <a:gd name="T85" fmla="*/ 50 h 362"/>
                    <a:gd name="T86" fmla="*/ 33 w 362"/>
                    <a:gd name="T87" fmla="*/ 41 h 362"/>
                    <a:gd name="T88" fmla="*/ 25 w 362"/>
                    <a:gd name="T89" fmla="*/ 39 h 362"/>
                    <a:gd name="T90" fmla="*/ 19 w 362"/>
                    <a:gd name="T91" fmla="*/ 43 h 362"/>
                    <a:gd name="T92" fmla="*/ 17 w 362"/>
                    <a:gd name="T93" fmla="*/ 49 h 362"/>
                    <a:gd name="T94" fmla="*/ 16 w 362"/>
                    <a:gd name="T95" fmla="*/ 56 h 362"/>
                    <a:gd name="T96" fmla="*/ 12 w 362"/>
                    <a:gd name="T97" fmla="*/ 82 h 362"/>
                    <a:gd name="T98" fmla="*/ 3 w 362"/>
                    <a:gd name="T99" fmla="*/ 154 h 362"/>
                    <a:gd name="T100" fmla="*/ 3 w 362"/>
                    <a:gd name="T101" fmla="*/ 259 h 362"/>
                    <a:gd name="T102" fmla="*/ 72 w 362"/>
                    <a:gd name="T103" fmla="*/ 349 h 362"/>
                    <a:gd name="T104" fmla="*/ 222 w 362"/>
                    <a:gd name="T105" fmla="*/ 358 h 362"/>
                    <a:gd name="T106" fmla="*/ 337 w 362"/>
                    <a:gd name="T107" fmla="*/ 31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2" h="362">
                      <a:moveTo>
                        <a:pt x="268" y="15"/>
                      </a:moveTo>
                      <a:cubicBezTo>
                        <a:pt x="267" y="15"/>
                        <a:pt x="265" y="14"/>
                        <a:pt x="264" y="14"/>
                      </a:cubicBezTo>
                      <a:cubicBezTo>
                        <a:pt x="264" y="14"/>
                        <a:pt x="266" y="14"/>
                        <a:pt x="268" y="15"/>
                      </a:cubicBezTo>
                      <a:close/>
                      <a:moveTo>
                        <a:pt x="207" y="1"/>
                      </a:moveTo>
                      <a:cubicBezTo>
                        <a:pt x="206" y="1"/>
                        <a:pt x="205" y="1"/>
                        <a:pt x="203" y="1"/>
                      </a:cubicBezTo>
                      <a:cubicBezTo>
                        <a:pt x="202" y="1"/>
                        <a:pt x="206" y="1"/>
                        <a:pt x="207" y="1"/>
                      </a:cubicBezTo>
                      <a:close/>
                      <a:moveTo>
                        <a:pt x="196" y="1"/>
                      </a:moveTo>
                      <a:cubicBezTo>
                        <a:pt x="197" y="1"/>
                        <a:pt x="200" y="1"/>
                        <a:pt x="201" y="1"/>
                      </a:cubicBezTo>
                      <a:cubicBezTo>
                        <a:pt x="200" y="1"/>
                        <a:pt x="196" y="1"/>
                        <a:pt x="196" y="1"/>
                      </a:cubicBezTo>
                      <a:close/>
                      <a:moveTo>
                        <a:pt x="177" y="5"/>
                      </a:moveTo>
                      <a:cubicBezTo>
                        <a:pt x="179" y="5"/>
                        <a:pt x="181" y="5"/>
                        <a:pt x="182" y="5"/>
                      </a:cubicBezTo>
                      <a:cubicBezTo>
                        <a:pt x="181" y="5"/>
                        <a:pt x="178" y="5"/>
                        <a:pt x="177" y="5"/>
                      </a:cubicBezTo>
                      <a:close/>
                      <a:moveTo>
                        <a:pt x="165" y="5"/>
                      </a:moveTo>
                      <a:cubicBezTo>
                        <a:pt x="169" y="4"/>
                        <a:pt x="172" y="4"/>
                        <a:pt x="173" y="4"/>
                      </a:cubicBezTo>
                      <a:cubicBezTo>
                        <a:pt x="171" y="4"/>
                        <a:pt x="167" y="4"/>
                        <a:pt x="165" y="5"/>
                      </a:cubicBezTo>
                      <a:close/>
                      <a:moveTo>
                        <a:pt x="137" y="19"/>
                      </a:moveTo>
                      <a:cubicBezTo>
                        <a:pt x="140" y="19"/>
                        <a:pt x="148" y="17"/>
                        <a:pt x="152" y="17"/>
                      </a:cubicBezTo>
                      <a:cubicBezTo>
                        <a:pt x="147" y="17"/>
                        <a:pt x="142" y="18"/>
                        <a:pt x="137" y="19"/>
                      </a:cubicBezTo>
                      <a:close/>
                      <a:moveTo>
                        <a:pt x="135" y="15"/>
                      </a:moveTo>
                      <a:cubicBezTo>
                        <a:pt x="131" y="15"/>
                        <a:pt x="131" y="15"/>
                        <a:pt x="131" y="15"/>
                      </a:cubicBezTo>
                      <a:cubicBezTo>
                        <a:pt x="129" y="16"/>
                        <a:pt x="119" y="17"/>
                        <a:pt x="120" y="17"/>
                      </a:cubicBezTo>
                      <a:cubicBezTo>
                        <a:pt x="126" y="16"/>
                        <a:pt x="135" y="15"/>
                        <a:pt x="140" y="14"/>
                      </a:cubicBezTo>
                      <a:cubicBezTo>
                        <a:pt x="138" y="14"/>
                        <a:pt x="137" y="14"/>
                        <a:pt x="135" y="15"/>
                      </a:cubicBezTo>
                      <a:close/>
                      <a:moveTo>
                        <a:pt x="79" y="24"/>
                      </a:moveTo>
                      <a:cubicBezTo>
                        <a:pt x="76" y="25"/>
                        <a:pt x="76" y="25"/>
                        <a:pt x="76" y="25"/>
                      </a:cubicBezTo>
                      <a:cubicBezTo>
                        <a:pt x="76" y="25"/>
                        <a:pt x="76" y="25"/>
                        <a:pt x="77" y="25"/>
                      </a:cubicBezTo>
                      <a:cubicBezTo>
                        <a:pt x="79" y="25"/>
                        <a:pt x="79" y="24"/>
                        <a:pt x="79" y="24"/>
                      </a:cubicBezTo>
                      <a:close/>
                      <a:moveTo>
                        <a:pt x="50" y="33"/>
                      </a:moveTo>
                      <a:cubicBezTo>
                        <a:pt x="50" y="33"/>
                        <a:pt x="50" y="33"/>
                        <a:pt x="50" y="33"/>
                      </a:cubicBezTo>
                      <a:cubicBezTo>
                        <a:pt x="50" y="33"/>
                        <a:pt x="49" y="33"/>
                        <a:pt x="49" y="33"/>
                      </a:cubicBezTo>
                      <a:cubicBezTo>
                        <a:pt x="49" y="33"/>
                        <a:pt x="49" y="33"/>
                        <a:pt x="50" y="33"/>
                      </a:cubicBezTo>
                      <a:close/>
                      <a:moveTo>
                        <a:pt x="50" y="32"/>
                      </a:moveTo>
                      <a:cubicBezTo>
                        <a:pt x="50" y="33"/>
                        <a:pt x="50" y="33"/>
                        <a:pt x="50" y="33"/>
                      </a:cubicBezTo>
                      <a:cubicBezTo>
                        <a:pt x="50" y="33"/>
                        <a:pt x="50" y="33"/>
                        <a:pt x="50" y="33"/>
                      </a:cubicBezTo>
                      <a:cubicBezTo>
                        <a:pt x="50" y="33"/>
                        <a:pt x="51" y="32"/>
                        <a:pt x="51" y="32"/>
                      </a:cubicBezTo>
                      <a:cubicBezTo>
                        <a:pt x="54" y="32"/>
                        <a:pt x="54" y="32"/>
                        <a:pt x="54" y="32"/>
                      </a:cubicBezTo>
                      <a:lnTo>
                        <a:pt x="50" y="32"/>
                      </a:lnTo>
                      <a:close/>
                      <a:moveTo>
                        <a:pt x="50" y="33"/>
                      </a:moveTo>
                      <a:cubicBezTo>
                        <a:pt x="50" y="33"/>
                        <a:pt x="50" y="33"/>
                        <a:pt x="50" y="33"/>
                      </a:cubicBezTo>
                      <a:cubicBezTo>
                        <a:pt x="50" y="33"/>
                        <a:pt x="50" y="33"/>
                        <a:pt x="50" y="33"/>
                      </a:cubicBezTo>
                      <a:cubicBezTo>
                        <a:pt x="50" y="33"/>
                        <a:pt x="50" y="33"/>
                        <a:pt x="50" y="33"/>
                      </a:cubicBezTo>
                      <a:close/>
                      <a:moveTo>
                        <a:pt x="50" y="30"/>
                      </a:move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lose/>
                      <a:moveTo>
                        <a:pt x="51" y="36"/>
                      </a:moveTo>
                      <a:cubicBezTo>
                        <a:pt x="51" y="36"/>
                        <a:pt x="51" y="36"/>
                        <a:pt x="51" y="36"/>
                      </a:cubicBezTo>
                      <a:cubicBezTo>
                        <a:pt x="51" y="36"/>
                        <a:pt x="51" y="36"/>
                        <a:pt x="51" y="36"/>
                      </a:cubicBezTo>
                      <a:close/>
                      <a:moveTo>
                        <a:pt x="50" y="31"/>
                      </a:moveTo>
                      <a:cubicBezTo>
                        <a:pt x="50" y="31"/>
                        <a:pt x="50" y="31"/>
                        <a:pt x="50" y="31"/>
                      </a:cubicBezTo>
                      <a:cubicBezTo>
                        <a:pt x="50" y="31"/>
                        <a:pt x="49" y="31"/>
                        <a:pt x="50" y="31"/>
                      </a:cubicBezTo>
                      <a:close/>
                      <a:moveTo>
                        <a:pt x="49" y="30"/>
                      </a:moveTo>
                      <a:cubicBezTo>
                        <a:pt x="49" y="30"/>
                        <a:pt x="50" y="30"/>
                        <a:pt x="50" y="30"/>
                      </a:cubicBezTo>
                      <a:cubicBezTo>
                        <a:pt x="49" y="30"/>
                        <a:pt x="49" y="30"/>
                        <a:pt x="49" y="30"/>
                      </a:cubicBezTo>
                      <a:close/>
                      <a:moveTo>
                        <a:pt x="51" y="38"/>
                      </a:moveTo>
                      <a:cubicBezTo>
                        <a:pt x="51" y="38"/>
                        <a:pt x="51" y="38"/>
                        <a:pt x="51" y="37"/>
                      </a:cubicBezTo>
                      <a:cubicBezTo>
                        <a:pt x="51" y="37"/>
                        <a:pt x="51" y="37"/>
                        <a:pt x="51" y="38"/>
                      </a:cubicBezTo>
                      <a:close/>
                      <a:moveTo>
                        <a:pt x="51" y="36"/>
                      </a:moveTo>
                      <a:cubicBezTo>
                        <a:pt x="50" y="36"/>
                        <a:pt x="50" y="36"/>
                        <a:pt x="50" y="37"/>
                      </a:cubicBezTo>
                      <a:cubicBezTo>
                        <a:pt x="50" y="37"/>
                        <a:pt x="50" y="36"/>
                        <a:pt x="51" y="36"/>
                      </a:cubicBezTo>
                      <a:close/>
                      <a:moveTo>
                        <a:pt x="48" y="31"/>
                      </a:moveTo>
                      <a:cubicBezTo>
                        <a:pt x="48" y="31"/>
                        <a:pt x="49" y="31"/>
                        <a:pt x="49" y="30"/>
                      </a:cubicBezTo>
                      <a:cubicBezTo>
                        <a:pt x="49" y="31"/>
                        <a:pt x="48" y="31"/>
                        <a:pt x="48" y="31"/>
                      </a:cubicBezTo>
                      <a:close/>
                      <a:moveTo>
                        <a:pt x="49" y="33"/>
                      </a:moveTo>
                      <a:cubicBezTo>
                        <a:pt x="49" y="33"/>
                        <a:pt x="49" y="33"/>
                        <a:pt x="49" y="33"/>
                      </a:cubicBezTo>
                      <a:cubicBezTo>
                        <a:pt x="49" y="33"/>
                        <a:pt x="48" y="33"/>
                        <a:pt x="49" y="33"/>
                      </a:cubicBezTo>
                      <a:close/>
                      <a:moveTo>
                        <a:pt x="48" y="33"/>
                      </a:moveTo>
                      <a:cubicBezTo>
                        <a:pt x="48" y="33"/>
                        <a:pt x="48" y="33"/>
                        <a:pt x="48" y="32"/>
                      </a:cubicBezTo>
                      <a:cubicBezTo>
                        <a:pt x="48" y="32"/>
                        <a:pt x="48" y="32"/>
                        <a:pt x="48" y="33"/>
                      </a:cubicBezTo>
                      <a:close/>
                      <a:moveTo>
                        <a:pt x="48" y="32"/>
                      </a:moveTo>
                      <a:cubicBezTo>
                        <a:pt x="48" y="32"/>
                        <a:pt x="48" y="32"/>
                        <a:pt x="48" y="32"/>
                      </a:cubicBezTo>
                      <a:cubicBezTo>
                        <a:pt x="47" y="32"/>
                        <a:pt x="48" y="32"/>
                        <a:pt x="48" y="32"/>
                      </a:cubicBezTo>
                      <a:cubicBezTo>
                        <a:pt x="48" y="32"/>
                        <a:pt x="48" y="32"/>
                        <a:pt x="48" y="32"/>
                      </a:cubicBezTo>
                      <a:close/>
                      <a:moveTo>
                        <a:pt x="48" y="36"/>
                      </a:moveTo>
                      <a:cubicBezTo>
                        <a:pt x="48" y="36"/>
                        <a:pt x="48" y="36"/>
                        <a:pt x="48" y="36"/>
                      </a:cubicBezTo>
                      <a:close/>
                      <a:moveTo>
                        <a:pt x="47" y="38"/>
                      </a:moveTo>
                      <a:cubicBezTo>
                        <a:pt x="47" y="38"/>
                        <a:pt x="47" y="38"/>
                        <a:pt x="48" y="38"/>
                      </a:cubicBezTo>
                      <a:cubicBezTo>
                        <a:pt x="48" y="38"/>
                        <a:pt x="47" y="38"/>
                        <a:pt x="47" y="38"/>
                      </a:cubicBezTo>
                      <a:close/>
                      <a:moveTo>
                        <a:pt x="48" y="38"/>
                      </a:moveTo>
                      <a:cubicBezTo>
                        <a:pt x="47" y="38"/>
                        <a:pt x="47" y="38"/>
                        <a:pt x="47" y="38"/>
                      </a:cubicBezTo>
                      <a:cubicBezTo>
                        <a:pt x="47" y="38"/>
                        <a:pt x="48" y="38"/>
                        <a:pt x="48" y="38"/>
                      </a:cubicBezTo>
                      <a:close/>
                      <a:moveTo>
                        <a:pt x="47" y="41"/>
                      </a:moveTo>
                      <a:cubicBezTo>
                        <a:pt x="48" y="41"/>
                        <a:pt x="48" y="41"/>
                        <a:pt x="48" y="40"/>
                      </a:cubicBezTo>
                      <a:cubicBezTo>
                        <a:pt x="48" y="40"/>
                        <a:pt x="47" y="41"/>
                        <a:pt x="47" y="41"/>
                      </a:cubicBezTo>
                      <a:close/>
                      <a:moveTo>
                        <a:pt x="46" y="41"/>
                      </a:moveTo>
                      <a:cubicBezTo>
                        <a:pt x="46" y="41"/>
                        <a:pt x="46" y="41"/>
                        <a:pt x="46" y="41"/>
                      </a:cubicBezTo>
                      <a:close/>
                      <a:moveTo>
                        <a:pt x="103" y="29"/>
                      </a:moveTo>
                      <a:cubicBezTo>
                        <a:pt x="106" y="28"/>
                        <a:pt x="109" y="27"/>
                        <a:pt x="111" y="27"/>
                      </a:cubicBezTo>
                      <a:cubicBezTo>
                        <a:pt x="112" y="27"/>
                        <a:pt x="113" y="27"/>
                        <a:pt x="114" y="26"/>
                      </a:cubicBezTo>
                      <a:cubicBezTo>
                        <a:pt x="110" y="27"/>
                        <a:pt x="106" y="28"/>
                        <a:pt x="103" y="29"/>
                      </a:cubicBezTo>
                      <a:close/>
                      <a:moveTo>
                        <a:pt x="49" y="35"/>
                      </a:moveTo>
                      <a:cubicBezTo>
                        <a:pt x="49" y="35"/>
                        <a:pt x="50" y="36"/>
                        <a:pt x="50" y="35"/>
                      </a:cubicBezTo>
                      <a:cubicBezTo>
                        <a:pt x="50" y="35"/>
                        <a:pt x="50" y="35"/>
                        <a:pt x="50" y="35"/>
                      </a:cubicBezTo>
                      <a:cubicBezTo>
                        <a:pt x="50" y="35"/>
                        <a:pt x="50" y="35"/>
                        <a:pt x="50" y="35"/>
                      </a:cubicBezTo>
                      <a:cubicBezTo>
                        <a:pt x="50" y="35"/>
                        <a:pt x="50" y="35"/>
                        <a:pt x="50" y="35"/>
                      </a:cubicBezTo>
                      <a:cubicBezTo>
                        <a:pt x="51" y="35"/>
                        <a:pt x="51" y="35"/>
                        <a:pt x="51" y="35"/>
                      </a:cubicBezTo>
                      <a:cubicBezTo>
                        <a:pt x="51" y="35"/>
                        <a:pt x="50" y="35"/>
                        <a:pt x="50" y="35"/>
                      </a:cubicBezTo>
                      <a:cubicBezTo>
                        <a:pt x="50" y="35"/>
                        <a:pt x="51" y="35"/>
                        <a:pt x="51" y="35"/>
                      </a:cubicBezTo>
                      <a:cubicBezTo>
                        <a:pt x="50" y="35"/>
                        <a:pt x="49" y="35"/>
                        <a:pt x="49" y="35"/>
                      </a:cubicBezTo>
                      <a:close/>
                      <a:moveTo>
                        <a:pt x="49" y="31"/>
                      </a:moveTo>
                      <a:cubicBezTo>
                        <a:pt x="49" y="31"/>
                        <a:pt x="49" y="31"/>
                        <a:pt x="49" y="31"/>
                      </a:cubicBezTo>
                      <a:cubicBezTo>
                        <a:pt x="49" y="31"/>
                        <a:pt x="49" y="31"/>
                        <a:pt x="49" y="31"/>
                      </a:cubicBezTo>
                      <a:cubicBezTo>
                        <a:pt x="50" y="31"/>
                        <a:pt x="49" y="31"/>
                        <a:pt x="49" y="31"/>
                      </a:cubicBezTo>
                      <a:close/>
                      <a:moveTo>
                        <a:pt x="46" y="32"/>
                      </a:moveTo>
                      <a:cubicBezTo>
                        <a:pt x="46" y="32"/>
                        <a:pt x="46" y="32"/>
                        <a:pt x="46" y="32"/>
                      </a:cubicBezTo>
                      <a:cubicBezTo>
                        <a:pt x="46" y="32"/>
                        <a:pt x="47" y="32"/>
                        <a:pt x="47" y="32"/>
                      </a:cubicBezTo>
                      <a:cubicBezTo>
                        <a:pt x="47" y="32"/>
                        <a:pt x="47" y="32"/>
                        <a:pt x="47" y="32"/>
                      </a:cubicBezTo>
                      <a:cubicBezTo>
                        <a:pt x="48" y="31"/>
                        <a:pt x="49" y="32"/>
                        <a:pt x="49" y="31"/>
                      </a:cubicBezTo>
                      <a:cubicBezTo>
                        <a:pt x="48" y="32"/>
                        <a:pt x="47" y="32"/>
                        <a:pt x="46" y="32"/>
                      </a:cubicBezTo>
                      <a:cubicBezTo>
                        <a:pt x="46" y="32"/>
                        <a:pt x="46" y="32"/>
                        <a:pt x="46" y="32"/>
                      </a:cubicBezTo>
                      <a:cubicBezTo>
                        <a:pt x="46" y="32"/>
                        <a:pt x="45" y="32"/>
                        <a:pt x="45" y="32"/>
                      </a:cubicBezTo>
                      <a:cubicBezTo>
                        <a:pt x="45" y="33"/>
                        <a:pt x="45" y="32"/>
                        <a:pt x="46" y="32"/>
                      </a:cubicBezTo>
                      <a:close/>
                      <a:moveTo>
                        <a:pt x="47" y="39"/>
                      </a:moveTo>
                      <a:cubicBezTo>
                        <a:pt x="47" y="38"/>
                        <a:pt x="48" y="38"/>
                        <a:pt x="48" y="38"/>
                      </a:cubicBezTo>
                      <a:cubicBezTo>
                        <a:pt x="47" y="38"/>
                        <a:pt x="47" y="39"/>
                        <a:pt x="47" y="39"/>
                      </a:cubicBezTo>
                      <a:close/>
                      <a:moveTo>
                        <a:pt x="159" y="18"/>
                      </a:moveTo>
                      <a:cubicBezTo>
                        <a:pt x="159" y="18"/>
                        <a:pt x="159" y="18"/>
                        <a:pt x="159" y="18"/>
                      </a:cubicBezTo>
                      <a:cubicBezTo>
                        <a:pt x="159" y="18"/>
                        <a:pt x="159" y="18"/>
                        <a:pt x="159" y="18"/>
                      </a:cubicBezTo>
                      <a:close/>
                      <a:moveTo>
                        <a:pt x="361" y="152"/>
                      </a:moveTo>
                      <a:cubicBezTo>
                        <a:pt x="360" y="120"/>
                        <a:pt x="356" y="87"/>
                        <a:pt x="347" y="57"/>
                      </a:cubicBezTo>
                      <a:cubicBezTo>
                        <a:pt x="345" y="52"/>
                        <a:pt x="343" y="45"/>
                        <a:pt x="341" y="41"/>
                      </a:cubicBezTo>
                      <a:cubicBezTo>
                        <a:pt x="340" y="40"/>
                        <a:pt x="339" y="37"/>
                        <a:pt x="338" y="35"/>
                      </a:cubicBezTo>
                      <a:cubicBezTo>
                        <a:pt x="336" y="31"/>
                        <a:pt x="333" y="27"/>
                        <a:pt x="330" y="23"/>
                      </a:cubicBezTo>
                      <a:cubicBezTo>
                        <a:pt x="326" y="19"/>
                        <a:pt x="322" y="16"/>
                        <a:pt x="317" y="14"/>
                      </a:cubicBezTo>
                      <a:cubicBezTo>
                        <a:pt x="314" y="13"/>
                        <a:pt x="309" y="10"/>
                        <a:pt x="305" y="9"/>
                      </a:cubicBezTo>
                      <a:cubicBezTo>
                        <a:pt x="303" y="8"/>
                        <a:pt x="307" y="9"/>
                        <a:pt x="304" y="8"/>
                      </a:cubicBezTo>
                      <a:cubicBezTo>
                        <a:pt x="301" y="7"/>
                        <a:pt x="294" y="5"/>
                        <a:pt x="287" y="4"/>
                      </a:cubicBezTo>
                      <a:cubicBezTo>
                        <a:pt x="279" y="3"/>
                        <a:pt x="271" y="2"/>
                        <a:pt x="266" y="1"/>
                      </a:cubicBezTo>
                      <a:cubicBezTo>
                        <a:pt x="267" y="1"/>
                        <a:pt x="267" y="1"/>
                        <a:pt x="266" y="1"/>
                      </a:cubicBezTo>
                      <a:cubicBezTo>
                        <a:pt x="264" y="1"/>
                        <a:pt x="263" y="1"/>
                        <a:pt x="260" y="1"/>
                      </a:cubicBezTo>
                      <a:cubicBezTo>
                        <a:pt x="243" y="0"/>
                        <a:pt x="230" y="1"/>
                        <a:pt x="215" y="2"/>
                      </a:cubicBezTo>
                      <a:cubicBezTo>
                        <a:pt x="213" y="2"/>
                        <a:pt x="208" y="2"/>
                        <a:pt x="206" y="2"/>
                      </a:cubicBezTo>
                      <a:cubicBezTo>
                        <a:pt x="209" y="2"/>
                        <a:pt x="212" y="2"/>
                        <a:pt x="212" y="2"/>
                      </a:cubicBezTo>
                      <a:cubicBezTo>
                        <a:pt x="208" y="2"/>
                        <a:pt x="202" y="3"/>
                        <a:pt x="199" y="3"/>
                      </a:cubicBezTo>
                      <a:cubicBezTo>
                        <a:pt x="193" y="4"/>
                        <a:pt x="190" y="4"/>
                        <a:pt x="185" y="4"/>
                      </a:cubicBezTo>
                      <a:cubicBezTo>
                        <a:pt x="184" y="4"/>
                        <a:pt x="187" y="5"/>
                        <a:pt x="184" y="5"/>
                      </a:cubicBezTo>
                      <a:cubicBezTo>
                        <a:pt x="176" y="5"/>
                        <a:pt x="172" y="6"/>
                        <a:pt x="166" y="7"/>
                      </a:cubicBezTo>
                      <a:cubicBezTo>
                        <a:pt x="164" y="7"/>
                        <a:pt x="155" y="8"/>
                        <a:pt x="153" y="9"/>
                      </a:cubicBezTo>
                      <a:cubicBezTo>
                        <a:pt x="151" y="9"/>
                        <a:pt x="155" y="8"/>
                        <a:pt x="154" y="9"/>
                      </a:cubicBezTo>
                      <a:cubicBezTo>
                        <a:pt x="147" y="10"/>
                        <a:pt x="141" y="11"/>
                        <a:pt x="136" y="11"/>
                      </a:cubicBezTo>
                      <a:cubicBezTo>
                        <a:pt x="134" y="12"/>
                        <a:pt x="133" y="12"/>
                        <a:pt x="131" y="12"/>
                      </a:cubicBezTo>
                      <a:cubicBezTo>
                        <a:pt x="129" y="13"/>
                        <a:pt x="131" y="12"/>
                        <a:pt x="129" y="13"/>
                      </a:cubicBezTo>
                      <a:cubicBezTo>
                        <a:pt x="127" y="13"/>
                        <a:pt x="131" y="13"/>
                        <a:pt x="130" y="13"/>
                      </a:cubicBezTo>
                      <a:cubicBezTo>
                        <a:pt x="127" y="13"/>
                        <a:pt x="128" y="13"/>
                        <a:pt x="126" y="14"/>
                      </a:cubicBezTo>
                      <a:cubicBezTo>
                        <a:pt x="122" y="14"/>
                        <a:pt x="119" y="15"/>
                        <a:pt x="115" y="16"/>
                      </a:cubicBezTo>
                      <a:cubicBezTo>
                        <a:pt x="103" y="18"/>
                        <a:pt x="103" y="18"/>
                        <a:pt x="103" y="18"/>
                      </a:cubicBezTo>
                      <a:cubicBezTo>
                        <a:pt x="99" y="19"/>
                        <a:pt x="98" y="19"/>
                        <a:pt x="94" y="20"/>
                      </a:cubicBezTo>
                      <a:cubicBezTo>
                        <a:pt x="91" y="21"/>
                        <a:pt x="88" y="21"/>
                        <a:pt x="85" y="22"/>
                      </a:cubicBezTo>
                      <a:cubicBezTo>
                        <a:pt x="83" y="22"/>
                        <a:pt x="86" y="22"/>
                        <a:pt x="84" y="22"/>
                      </a:cubicBezTo>
                      <a:cubicBezTo>
                        <a:pt x="72" y="25"/>
                        <a:pt x="60" y="27"/>
                        <a:pt x="51" y="30"/>
                      </a:cubicBezTo>
                      <a:cubicBezTo>
                        <a:pt x="64" y="26"/>
                        <a:pt x="74" y="25"/>
                        <a:pt x="86" y="22"/>
                      </a:cubicBezTo>
                      <a:cubicBezTo>
                        <a:pt x="88" y="22"/>
                        <a:pt x="92" y="21"/>
                        <a:pt x="93" y="21"/>
                      </a:cubicBezTo>
                      <a:cubicBezTo>
                        <a:pt x="94" y="20"/>
                        <a:pt x="91" y="21"/>
                        <a:pt x="94" y="20"/>
                      </a:cubicBezTo>
                      <a:cubicBezTo>
                        <a:pt x="95" y="20"/>
                        <a:pt x="95" y="20"/>
                        <a:pt x="97" y="20"/>
                      </a:cubicBezTo>
                      <a:cubicBezTo>
                        <a:pt x="95" y="20"/>
                        <a:pt x="98" y="20"/>
                        <a:pt x="99" y="20"/>
                      </a:cubicBezTo>
                      <a:cubicBezTo>
                        <a:pt x="109" y="18"/>
                        <a:pt x="117" y="16"/>
                        <a:pt x="125" y="15"/>
                      </a:cubicBezTo>
                      <a:cubicBezTo>
                        <a:pt x="127" y="15"/>
                        <a:pt x="124" y="15"/>
                        <a:pt x="126" y="15"/>
                      </a:cubicBezTo>
                      <a:cubicBezTo>
                        <a:pt x="136" y="13"/>
                        <a:pt x="136" y="13"/>
                        <a:pt x="136" y="13"/>
                      </a:cubicBezTo>
                      <a:cubicBezTo>
                        <a:pt x="137" y="13"/>
                        <a:pt x="140" y="13"/>
                        <a:pt x="139" y="13"/>
                      </a:cubicBezTo>
                      <a:cubicBezTo>
                        <a:pt x="127" y="15"/>
                        <a:pt x="111" y="18"/>
                        <a:pt x="97" y="21"/>
                      </a:cubicBezTo>
                      <a:cubicBezTo>
                        <a:pt x="92" y="22"/>
                        <a:pt x="88" y="22"/>
                        <a:pt x="85" y="23"/>
                      </a:cubicBezTo>
                      <a:cubicBezTo>
                        <a:pt x="92" y="22"/>
                        <a:pt x="97" y="21"/>
                        <a:pt x="102" y="20"/>
                      </a:cubicBezTo>
                      <a:cubicBezTo>
                        <a:pt x="109" y="19"/>
                        <a:pt x="117" y="17"/>
                        <a:pt x="124" y="16"/>
                      </a:cubicBezTo>
                      <a:cubicBezTo>
                        <a:pt x="129" y="15"/>
                        <a:pt x="129" y="15"/>
                        <a:pt x="129" y="15"/>
                      </a:cubicBezTo>
                      <a:cubicBezTo>
                        <a:pt x="134" y="14"/>
                        <a:pt x="134" y="14"/>
                        <a:pt x="134" y="14"/>
                      </a:cubicBezTo>
                      <a:cubicBezTo>
                        <a:pt x="136" y="14"/>
                        <a:pt x="136" y="14"/>
                        <a:pt x="137" y="14"/>
                      </a:cubicBezTo>
                      <a:cubicBezTo>
                        <a:pt x="140" y="14"/>
                        <a:pt x="142" y="13"/>
                        <a:pt x="146" y="13"/>
                      </a:cubicBezTo>
                      <a:cubicBezTo>
                        <a:pt x="163" y="10"/>
                        <a:pt x="163" y="10"/>
                        <a:pt x="163" y="10"/>
                      </a:cubicBezTo>
                      <a:cubicBezTo>
                        <a:pt x="164" y="10"/>
                        <a:pt x="163" y="11"/>
                        <a:pt x="162" y="11"/>
                      </a:cubicBezTo>
                      <a:cubicBezTo>
                        <a:pt x="155" y="12"/>
                        <a:pt x="154" y="12"/>
                        <a:pt x="146" y="13"/>
                      </a:cubicBezTo>
                      <a:cubicBezTo>
                        <a:pt x="147" y="13"/>
                        <a:pt x="148" y="13"/>
                        <a:pt x="148" y="13"/>
                      </a:cubicBezTo>
                      <a:cubicBezTo>
                        <a:pt x="145" y="13"/>
                        <a:pt x="144" y="13"/>
                        <a:pt x="143" y="14"/>
                      </a:cubicBezTo>
                      <a:cubicBezTo>
                        <a:pt x="148" y="13"/>
                        <a:pt x="148" y="13"/>
                        <a:pt x="146" y="14"/>
                      </a:cubicBezTo>
                      <a:cubicBezTo>
                        <a:pt x="132" y="16"/>
                        <a:pt x="116" y="19"/>
                        <a:pt x="105" y="21"/>
                      </a:cubicBezTo>
                      <a:cubicBezTo>
                        <a:pt x="104" y="21"/>
                        <a:pt x="103" y="21"/>
                        <a:pt x="101" y="22"/>
                      </a:cubicBezTo>
                      <a:cubicBezTo>
                        <a:pt x="88" y="24"/>
                        <a:pt x="74" y="27"/>
                        <a:pt x="61" y="30"/>
                      </a:cubicBezTo>
                      <a:cubicBezTo>
                        <a:pt x="76" y="27"/>
                        <a:pt x="92" y="23"/>
                        <a:pt x="110" y="20"/>
                      </a:cubicBezTo>
                      <a:cubicBezTo>
                        <a:pt x="111" y="20"/>
                        <a:pt x="110" y="20"/>
                        <a:pt x="112" y="20"/>
                      </a:cubicBezTo>
                      <a:cubicBezTo>
                        <a:pt x="119" y="18"/>
                        <a:pt x="128" y="17"/>
                        <a:pt x="134" y="16"/>
                      </a:cubicBezTo>
                      <a:cubicBezTo>
                        <a:pt x="142" y="15"/>
                        <a:pt x="142" y="15"/>
                        <a:pt x="142" y="15"/>
                      </a:cubicBezTo>
                      <a:cubicBezTo>
                        <a:pt x="161" y="12"/>
                        <a:pt x="174" y="11"/>
                        <a:pt x="192" y="10"/>
                      </a:cubicBezTo>
                      <a:cubicBezTo>
                        <a:pt x="192" y="10"/>
                        <a:pt x="194" y="10"/>
                        <a:pt x="194" y="10"/>
                      </a:cubicBezTo>
                      <a:cubicBezTo>
                        <a:pt x="190" y="11"/>
                        <a:pt x="190" y="11"/>
                        <a:pt x="190" y="11"/>
                      </a:cubicBezTo>
                      <a:cubicBezTo>
                        <a:pt x="187" y="11"/>
                        <a:pt x="184" y="11"/>
                        <a:pt x="182" y="12"/>
                      </a:cubicBezTo>
                      <a:cubicBezTo>
                        <a:pt x="167" y="13"/>
                        <a:pt x="145" y="16"/>
                        <a:pt x="126" y="19"/>
                      </a:cubicBezTo>
                      <a:cubicBezTo>
                        <a:pt x="124" y="20"/>
                        <a:pt x="126" y="20"/>
                        <a:pt x="128" y="20"/>
                      </a:cubicBezTo>
                      <a:cubicBezTo>
                        <a:pt x="137" y="19"/>
                        <a:pt x="145" y="17"/>
                        <a:pt x="154" y="16"/>
                      </a:cubicBezTo>
                      <a:cubicBezTo>
                        <a:pt x="158" y="16"/>
                        <a:pt x="154" y="17"/>
                        <a:pt x="147" y="18"/>
                      </a:cubicBezTo>
                      <a:cubicBezTo>
                        <a:pt x="135" y="20"/>
                        <a:pt x="114" y="23"/>
                        <a:pt x="106" y="25"/>
                      </a:cubicBezTo>
                      <a:cubicBezTo>
                        <a:pt x="88" y="28"/>
                        <a:pt x="70" y="32"/>
                        <a:pt x="53" y="36"/>
                      </a:cubicBezTo>
                      <a:cubicBezTo>
                        <a:pt x="51" y="37"/>
                        <a:pt x="51" y="37"/>
                        <a:pt x="51" y="37"/>
                      </a:cubicBezTo>
                      <a:cubicBezTo>
                        <a:pt x="50" y="37"/>
                        <a:pt x="50" y="37"/>
                        <a:pt x="50" y="37"/>
                      </a:cubicBezTo>
                      <a:cubicBezTo>
                        <a:pt x="49" y="37"/>
                        <a:pt x="49" y="37"/>
                        <a:pt x="48" y="38"/>
                      </a:cubicBezTo>
                      <a:cubicBezTo>
                        <a:pt x="49" y="37"/>
                        <a:pt x="49" y="37"/>
                        <a:pt x="50" y="37"/>
                      </a:cubicBezTo>
                      <a:cubicBezTo>
                        <a:pt x="51" y="37"/>
                        <a:pt x="51" y="37"/>
                        <a:pt x="51" y="37"/>
                      </a:cubicBezTo>
                      <a:cubicBezTo>
                        <a:pt x="56" y="36"/>
                        <a:pt x="56" y="36"/>
                        <a:pt x="56" y="36"/>
                      </a:cubicBezTo>
                      <a:cubicBezTo>
                        <a:pt x="56" y="36"/>
                        <a:pt x="57" y="35"/>
                        <a:pt x="58" y="35"/>
                      </a:cubicBezTo>
                      <a:cubicBezTo>
                        <a:pt x="76" y="31"/>
                        <a:pt x="95" y="27"/>
                        <a:pt x="111" y="24"/>
                      </a:cubicBezTo>
                      <a:cubicBezTo>
                        <a:pt x="118" y="23"/>
                        <a:pt x="130" y="21"/>
                        <a:pt x="137" y="20"/>
                      </a:cubicBezTo>
                      <a:cubicBezTo>
                        <a:pt x="136" y="21"/>
                        <a:pt x="130" y="22"/>
                        <a:pt x="123" y="23"/>
                      </a:cubicBezTo>
                      <a:cubicBezTo>
                        <a:pt x="130" y="22"/>
                        <a:pt x="137" y="21"/>
                        <a:pt x="143" y="20"/>
                      </a:cubicBezTo>
                      <a:cubicBezTo>
                        <a:pt x="148" y="19"/>
                        <a:pt x="156" y="18"/>
                        <a:pt x="158" y="18"/>
                      </a:cubicBezTo>
                      <a:cubicBezTo>
                        <a:pt x="159" y="18"/>
                        <a:pt x="158" y="18"/>
                        <a:pt x="159" y="18"/>
                      </a:cubicBezTo>
                      <a:cubicBezTo>
                        <a:pt x="160" y="18"/>
                        <a:pt x="163" y="17"/>
                        <a:pt x="163" y="17"/>
                      </a:cubicBezTo>
                      <a:cubicBezTo>
                        <a:pt x="166" y="17"/>
                        <a:pt x="165" y="17"/>
                        <a:pt x="168" y="17"/>
                      </a:cubicBezTo>
                      <a:cubicBezTo>
                        <a:pt x="172" y="16"/>
                        <a:pt x="172" y="16"/>
                        <a:pt x="175" y="16"/>
                      </a:cubicBezTo>
                      <a:cubicBezTo>
                        <a:pt x="189" y="15"/>
                        <a:pt x="202" y="13"/>
                        <a:pt x="216" y="13"/>
                      </a:cubicBezTo>
                      <a:cubicBezTo>
                        <a:pt x="221" y="12"/>
                        <a:pt x="221" y="12"/>
                        <a:pt x="221" y="12"/>
                      </a:cubicBezTo>
                      <a:cubicBezTo>
                        <a:pt x="222" y="12"/>
                        <a:pt x="221" y="13"/>
                        <a:pt x="223" y="13"/>
                      </a:cubicBezTo>
                      <a:cubicBezTo>
                        <a:pt x="224" y="13"/>
                        <a:pt x="223" y="12"/>
                        <a:pt x="225" y="12"/>
                      </a:cubicBezTo>
                      <a:cubicBezTo>
                        <a:pt x="230" y="12"/>
                        <a:pt x="236" y="12"/>
                        <a:pt x="242" y="12"/>
                      </a:cubicBezTo>
                      <a:cubicBezTo>
                        <a:pt x="255" y="12"/>
                        <a:pt x="271" y="14"/>
                        <a:pt x="281" y="16"/>
                      </a:cubicBezTo>
                      <a:cubicBezTo>
                        <a:pt x="284" y="16"/>
                        <a:pt x="281" y="16"/>
                        <a:pt x="284" y="16"/>
                      </a:cubicBezTo>
                      <a:cubicBezTo>
                        <a:pt x="301" y="20"/>
                        <a:pt x="321" y="26"/>
                        <a:pt x="327" y="43"/>
                      </a:cubicBezTo>
                      <a:cubicBezTo>
                        <a:pt x="328" y="44"/>
                        <a:pt x="327" y="43"/>
                        <a:pt x="328" y="45"/>
                      </a:cubicBezTo>
                      <a:cubicBezTo>
                        <a:pt x="329" y="48"/>
                        <a:pt x="329" y="47"/>
                        <a:pt x="330" y="49"/>
                      </a:cubicBezTo>
                      <a:cubicBezTo>
                        <a:pt x="330" y="51"/>
                        <a:pt x="331" y="52"/>
                        <a:pt x="331" y="53"/>
                      </a:cubicBezTo>
                      <a:cubicBezTo>
                        <a:pt x="339" y="74"/>
                        <a:pt x="343" y="98"/>
                        <a:pt x="345" y="122"/>
                      </a:cubicBezTo>
                      <a:cubicBezTo>
                        <a:pt x="347" y="144"/>
                        <a:pt x="348" y="166"/>
                        <a:pt x="347" y="188"/>
                      </a:cubicBezTo>
                      <a:cubicBezTo>
                        <a:pt x="347" y="205"/>
                        <a:pt x="346" y="221"/>
                        <a:pt x="344" y="235"/>
                      </a:cubicBezTo>
                      <a:cubicBezTo>
                        <a:pt x="342" y="255"/>
                        <a:pt x="339" y="273"/>
                        <a:pt x="333" y="290"/>
                      </a:cubicBezTo>
                      <a:cubicBezTo>
                        <a:pt x="331" y="296"/>
                        <a:pt x="329" y="303"/>
                        <a:pt x="326" y="308"/>
                      </a:cubicBezTo>
                      <a:cubicBezTo>
                        <a:pt x="323" y="311"/>
                        <a:pt x="318" y="315"/>
                        <a:pt x="314" y="318"/>
                      </a:cubicBezTo>
                      <a:cubicBezTo>
                        <a:pt x="312" y="319"/>
                        <a:pt x="310" y="320"/>
                        <a:pt x="308" y="321"/>
                      </a:cubicBezTo>
                      <a:cubicBezTo>
                        <a:pt x="305" y="322"/>
                        <a:pt x="302" y="323"/>
                        <a:pt x="299" y="325"/>
                      </a:cubicBezTo>
                      <a:cubicBezTo>
                        <a:pt x="291" y="328"/>
                        <a:pt x="282" y="331"/>
                        <a:pt x="273" y="333"/>
                      </a:cubicBezTo>
                      <a:cubicBezTo>
                        <a:pt x="263" y="336"/>
                        <a:pt x="253" y="338"/>
                        <a:pt x="243" y="340"/>
                      </a:cubicBezTo>
                      <a:cubicBezTo>
                        <a:pt x="237" y="341"/>
                        <a:pt x="232" y="342"/>
                        <a:pt x="226" y="343"/>
                      </a:cubicBezTo>
                      <a:cubicBezTo>
                        <a:pt x="222" y="343"/>
                        <a:pt x="218" y="344"/>
                        <a:pt x="214" y="344"/>
                      </a:cubicBezTo>
                      <a:cubicBezTo>
                        <a:pt x="203" y="345"/>
                        <a:pt x="192" y="346"/>
                        <a:pt x="182" y="347"/>
                      </a:cubicBezTo>
                      <a:cubicBezTo>
                        <a:pt x="168" y="347"/>
                        <a:pt x="153" y="347"/>
                        <a:pt x="139" y="346"/>
                      </a:cubicBezTo>
                      <a:cubicBezTo>
                        <a:pt x="124" y="345"/>
                        <a:pt x="105" y="343"/>
                        <a:pt x="91" y="339"/>
                      </a:cubicBezTo>
                      <a:cubicBezTo>
                        <a:pt x="79" y="336"/>
                        <a:pt x="67" y="332"/>
                        <a:pt x="56" y="326"/>
                      </a:cubicBezTo>
                      <a:cubicBezTo>
                        <a:pt x="55" y="325"/>
                        <a:pt x="54" y="325"/>
                        <a:pt x="53" y="324"/>
                      </a:cubicBezTo>
                      <a:cubicBezTo>
                        <a:pt x="44" y="319"/>
                        <a:pt x="37" y="312"/>
                        <a:pt x="32" y="304"/>
                      </a:cubicBezTo>
                      <a:cubicBezTo>
                        <a:pt x="27" y="296"/>
                        <a:pt x="24" y="287"/>
                        <a:pt x="22" y="279"/>
                      </a:cubicBezTo>
                      <a:cubicBezTo>
                        <a:pt x="20" y="273"/>
                        <a:pt x="19" y="268"/>
                        <a:pt x="18" y="262"/>
                      </a:cubicBezTo>
                      <a:cubicBezTo>
                        <a:pt x="18" y="256"/>
                        <a:pt x="17" y="250"/>
                        <a:pt x="16" y="244"/>
                      </a:cubicBezTo>
                      <a:cubicBezTo>
                        <a:pt x="16" y="242"/>
                        <a:pt x="16" y="241"/>
                        <a:pt x="16" y="239"/>
                      </a:cubicBezTo>
                      <a:cubicBezTo>
                        <a:pt x="16" y="232"/>
                        <a:pt x="15" y="226"/>
                        <a:pt x="15" y="220"/>
                      </a:cubicBezTo>
                      <a:cubicBezTo>
                        <a:pt x="15" y="209"/>
                        <a:pt x="16" y="199"/>
                        <a:pt x="16" y="187"/>
                      </a:cubicBezTo>
                      <a:cubicBezTo>
                        <a:pt x="19" y="154"/>
                        <a:pt x="19" y="154"/>
                        <a:pt x="19" y="154"/>
                      </a:cubicBezTo>
                      <a:cubicBezTo>
                        <a:pt x="21" y="137"/>
                        <a:pt x="22" y="119"/>
                        <a:pt x="25" y="101"/>
                      </a:cubicBezTo>
                      <a:cubicBezTo>
                        <a:pt x="26" y="95"/>
                        <a:pt x="27" y="90"/>
                        <a:pt x="28" y="84"/>
                      </a:cubicBezTo>
                      <a:cubicBezTo>
                        <a:pt x="29" y="77"/>
                        <a:pt x="31" y="70"/>
                        <a:pt x="32" y="62"/>
                      </a:cubicBezTo>
                      <a:cubicBezTo>
                        <a:pt x="33" y="60"/>
                        <a:pt x="33" y="60"/>
                        <a:pt x="33" y="60"/>
                      </a:cubicBezTo>
                      <a:cubicBezTo>
                        <a:pt x="33" y="60"/>
                        <a:pt x="33" y="60"/>
                        <a:pt x="33" y="60"/>
                      </a:cubicBezTo>
                      <a:cubicBezTo>
                        <a:pt x="33" y="59"/>
                        <a:pt x="33" y="59"/>
                        <a:pt x="33" y="59"/>
                      </a:cubicBezTo>
                      <a:cubicBezTo>
                        <a:pt x="33" y="58"/>
                        <a:pt x="33" y="58"/>
                        <a:pt x="33" y="58"/>
                      </a:cubicBezTo>
                      <a:cubicBezTo>
                        <a:pt x="33" y="58"/>
                        <a:pt x="33" y="57"/>
                        <a:pt x="34" y="56"/>
                      </a:cubicBezTo>
                      <a:cubicBezTo>
                        <a:pt x="35" y="56"/>
                        <a:pt x="34" y="55"/>
                        <a:pt x="34" y="55"/>
                      </a:cubicBezTo>
                      <a:cubicBezTo>
                        <a:pt x="34" y="54"/>
                        <a:pt x="34" y="54"/>
                        <a:pt x="35" y="54"/>
                      </a:cubicBezTo>
                      <a:cubicBezTo>
                        <a:pt x="35" y="54"/>
                        <a:pt x="35" y="54"/>
                        <a:pt x="35" y="53"/>
                      </a:cubicBezTo>
                      <a:cubicBezTo>
                        <a:pt x="35" y="53"/>
                        <a:pt x="36" y="53"/>
                        <a:pt x="36" y="52"/>
                      </a:cubicBezTo>
                      <a:cubicBezTo>
                        <a:pt x="36" y="52"/>
                        <a:pt x="36" y="52"/>
                        <a:pt x="36" y="52"/>
                      </a:cubicBezTo>
                      <a:cubicBezTo>
                        <a:pt x="36" y="51"/>
                        <a:pt x="36" y="51"/>
                        <a:pt x="36" y="50"/>
                      </a:cubicBezTo>
                      <a:cubicBezTo>
                        <a:pt x="36" y="50"/>
                        <a:pt x="36" y="49"/>
                        <a:pt x="36" y="49"/>
                      </a:cubicBezTo>
                      <a:cubicBezTo>
                        <a:pt x="36" y="48"/>
                        <a:pt x="36" y="48"/>
                        <a:pt x="36" y="48"/>
                      </a:cubicBezTo>
                      <a:cubicBezTo>
                        <a:pt x="36" y="47"/>
                        <a:pt x="36" y="47"/>
                        <a:pt x="36" y="46"/>
                      </a:cubicBezTo>
                      <a:cubicBezTo>
                        <a:pt x="36" y="46"/>
                        <a:pt x="35" y="45"/>
                        <a:pt x="35" y="45"/>
                      </a:cubicBezTo>
                      <a:cubicBezTo>
                        <a:pt x="35" y="45"/>
                        <a:pt x="35" y="45"/>
                        <a:pt x="35" y="44"/>
                      </a:cubicBezTo>
                      <a:cubicBezTo>
                        <a:pt x="35" y="43"/>
                        <a:pt x="34" y="42"/>
                        <a:pt x="33" y="41"/>
                      </a:cubicBezTo>
                      <a:cubicBezTo>
                        <a:pt x="33" y="41"/>
                        <a:pt x="33" y="41"/>
                        <a:pt x="32" y="40"/>
                      </a:cubicBezTo>
                      <a:cubicBezTo>
                        <a:pt x="32" y="40"/>
                        <a:pt x="32" y="40"/>
                        <a:pt x="32" y="40"/>
                      </a:cubicBezTo>
                      <a:cubicBezTo>
                        <a:pt x="32" y="40"/>
                        <a:pt x="31" y="40"/>
                        <a:pt x="30" y="39"/>
                      </a:cubicBezTo>
                      <a:cubicBezTo>
                        <a:pt x="30" y="39"/>
                        <a:pt x="30" y="39"/>
                        <a:pt x="30" y="39"/>
                      </a:cubicBezTo>
                      <a:cubicBezTo>
                        <a:pt x="29" y="39"/>
                        <a:pt x="28" y="39"/>
                        <a:pt x="27" y="38"/>
                      </a:cubicBezTo>
                      <a:cubicBezTo>
                        <a:pt x="26" y="39"/>
                        <a:pt x="26" y="38"/>
                        <a:pt x="25" y="39"/>
                      </a:cubicBezTo>
                      <a:cubicBezTo>
                        <a:pt x="25" y="39"/>
                        <a:pt x="25" y="39"/>
                        <a:pt x="24" y="39"/>
                      </a:cubicBezTo>
                      <a:cubicBezTo>
                        <a:pt x="24" y="39"/>
                        <a:pt x="24" y="39"/>
                        <a:pt x="23" y="40"/>
                      </a:cubicBezTo>
                      <a:cubicBezTo>
                        <a:pt x="23" y="39"/>
                        <a:pt x="23" y="40"/>
                        <a:pt x="22" y="40"/>
                      </a:cubicBezTo>
                      <a:cubicBezTo>
                        <a:pt x="22" y="40"/>
                        <a:pt x="22" y="40"/>
                        <a:pt x="21" y="41"/>
                      </a:cubicBezTo>
                      <a:cubicBezTo>
                        <a:pt x="21" y="41"/>
                        <a:pt x="21" y="41"/>
                        <a:pt x="21" y="41"/>
                      </a:cubicBezTo>
                      <a:cubicBezTo>
                        <a:pt x="20" y="41"/>
                        <a:pt x="19" y="42"/>
                        <a:pt x="19" y="43"/>
                      </a:cubicBezTo>
                      <a:cubicBezTo>
                        <a:pt x="19" y="43"/>
                        <a:pt x="19" y="43"/>
                        <a:pt x="19" y="43"/>
                      </a:cubicBezTo>
                      <a:cubicBezTo>
                        <a:pt x="19" y="44"/>
                        <a:pt x="18" y="45"/>
                        <a:pt x="18" y="46"/>
                      </a:cubicBezTo>
                      <a:cubicBezTo>
                        <a:pt x="18" y="46"/>
                        <a:pt x="18" y="46"/>
                        <a:pt x="18" y="46"/>
                      </a:cubicBezTo>
                      <a:cubicBezTo>
                        <a:pt x="17" y="46"/>
                        <a:pt x="17" y="46"/>
                        <a:pt x="17" y="47"/>
                      </a:cubicBezTo>
                      <a:cubicBezTo>
                        <a:pt x="17" y="47"/>
                        <a:pt x="17" y="47"/>
                        <a:pt x="17" y="48"/>
                      </a:cubicBezTo>
                      <a:cubicBezTo>
                        <a:pt x="17" y="48"/>
                        <a:pt x="17" y="48"/>
                        <a:pt x="17" y="49"/>
                      </a:cubicBezTo>
                      <a:cubicBezTo>
                        <a:pt x="17" y="49"/>
                        <a:pt x="17" y="49"/>
                        <a:pt x="17" y="49"/>
                      </a:cubicBezTo>
                      <a:cubicBezTo>
                        <a:pt x="17" y="50"/>
                        <a:pt x="17" y="51"/>
                        <a:pt x="16" y="51"/>
                      </a:cubicBezTo>
                      <a:cubicBezTo>
                        <a:pt x="16" y="51"/>
                        <a:pt x="16" y="51"/>
                        <a:pt x="16" y="52"/>
                      </a:cubicBezTo>
                      <a:cubicBezTo>
                        <a:pt x="16" y="52"/>
                        <a:pt x="16" y="52"/>
                        <a:pt x="17" y="52"/>
                      </a:cubicBezTo>
                      <a:cubicBezTo>
                        <a:pt x="17" y="53"/>
                        <a:pt x="16" y="54"/>
                        <a:pt x="17" y="55"/>
                      </a:cubicBezTo>
                      <a:cubicBezTo>
                        <a:pt x="16" y="56"/>
                        <a:pt x="16" y="56"/>
                        <a:pt x="16" y="56"/>
                      </a:cubicBezTo>
                      <a:cubicBezTo>
                        <a:pt x="16" y="57"/>
                        <a:pt x="16" y="57"/>
                        <a:pt x="16" y="57"/>
                      </a:cubicBezTo>
                      <a:cubicBezTo>
                        <a:pt x="16" y="57"/>
                        <a:pt x="16" y="57"/>
                        <a:pt x="16" y="57"/>
                      </a:cubicBezTo>
                      <a:cubicBezTo>
                        <a:pt x="16" y="58"/>
                        <a:pt x="16" y="58"/>
                        <a:pt x="16" y="58"/>
                      </a:cubicBezTo>
                      <a:cubicBezTo>
                        <a:pt x="15" y="65"/>
                        <a:pt x="15" y="65"/>
                        <a:pt x="15" y="65"/>
                      </a:cubicBezTo>
                      <a:cubicBezTo>
                        <a:pt x="14" y="71"/>
                        <a:pt x="14" y="71"/>
                        <a:pt x="14" y="71"/>
                      </a:cubicBezTo>
                      <a:cubicBezTo>
                        <a:pt x="13" y="74"/>
                        <a:pt x="13" y="78"/>
                        <a:pt x="12" y="82"/>
                      </a:cubicBezTo>
                      <a:cubicBezTo>
                        <a:pt x="11" y="89"/>
                        <a:pt x="10" y="95"/>
                        <a:pt x="9" y="101"/>
                      </a:cubicBezTo>
                      <a:cubicBezTo>
                        <a:pt x="8" y="110"/>
                        <a:pt x="7" y="116"/>
                        <a:pt x="6" y="124"/>
                      </a:cubicBezTo>
                      <a:cubicBezTo>
                        <a:pt x="5" y="132"/>
                        <a:pt x="5" y="132"/>
                        <a:pt x="5" y="132"/>
                      </a:cubicBezTo>
                      <a:cubicBezTo>
                        <a:pt x="4" y="140"/>
                        <a:pt x="4" y="140"/>
                        <a:pt x="4" y="140"/>
                      </a:cubicBezTo>
                      <a:cubicBezTo>
                        <a:pt x="3" y="149"/>
                        <a:pt x="3" y="149"/>
                        <a:pt x="3" y="149"/>
                      </a:cubicBezTo>
                      <a:cubicBezTo>
                        <a:pt x="3" y="154"/>
                        <a:pt x="3" y="154"/>
                        <a:pt x="3" y="154"/>
                      </a:cubicBezTo>
                      <a:cubicBezTo>
                        <a:pt x="3" y="156"/>
                        <a:pt x="2" y="158"/>
                        <a:pt x="2" y="160"/>
                      </a:cubicBezTo>
                      <a:cubicBezTo>
                        <a:pt x="2" y="168"/>
                        <a:pt x="2" y="168"/>
                        <a:pt x="2" y="168"/>
                      </a:cubicBezTo>
                      <a:cubicBezTo>
                        <a:pt x="1" y="177"/>
                        <a:pt x="0" y="187"/>
                        <a:pt x="0" y="195"/>
                      </a:cubicBezTo>
                      <a:cubicBezTo>
                        <a:pt x="0" y="211"/>
                        <a:pt x="0" y="225"/>
                        <a:pt x="1" y="243"/>
                      </a:cubicBezTo>
                      <a:cubicBezTo>
                        <a:pt x="2" y="256"/>
                        <a:pt x="2" y="256"/>
                        <a:pt x="2" y="256"/>
                      </a:cubicBezTo>
                      <a:cubicBezTo>
                        <a:pt x="2" y="257"/>
                        <a:pt x="2" y="257"/>
                        <a:pt x="3" y="259"/>
                      </a:cubicBezTo>
                      <a:cubicBezTo>
                        <a:pt x="4" y="269"/>
                        <a:pt x="6" y="279"/>
                        <a:pt x="9" y="289"/>
                      </a:cubicBezTo>
                      <a:cubicBezTo>
                        <a:pt x="9" y="289"/>
                        <a:pt x="9" y="290"/>
                        <a:pt x="9" y="290"/>
                      </a:cubicBezTo>
                      <a:cubicBezTo>
                        <a:pt x="11" y="297"/>
                        <a:pt x="14" y="305"/>
                        <a:pt x="19" y="312"/>
                      </a:cubicBezTo>
                      <a:cubicBezTo>
                        <a:pt x="23" y="319"/>
                        <a:pt x="29" y="324"/>
                        <a:pt x="33" y="328"/>
                      </a:cubicBezTo>
                      <a:cubicBezTo>
                        <a:pt x="40" y="334"/>
                        <a:pt x="49" y="339"/>
                        <a:pt x="59" y="344"/>
                      </a:cubicBezTo>
                      <a:cubicBezTo>
                        <a:pt x="63" y="346"/>
                        <a:pt x="68" y="348"/>
                        <a:pt x="72" y="349"/>
                      </a:cubicBezTo>
                      <a:cubicBezTo>
                        <a:pt x="81" y="352"/>
                        <a:pt x="93" y="355"/>
                        <a:pt x="101" y="356"/>
                      </a:cubicBezTo>
                      <a:cubicBezTo>
                        <a:pt x="104" y="357"/>
                        <a:pt x="106" y="357"/>
                        <a:pt x="109" y="357"/>
                      </a:cubicBezTo>
                      <a:cubicBezTo>
                        <a:pt x="113" y="358"/>
                        <a:pt x="118" y="359"/>
                        <a:pt x="123" y="359"/>
                      </a:cubicBezTo>
                      <a:cubicBezTo>
                        <a:pt x="141" y="361"/>
                        <a:pt x="163" y="362"/>
                        <a:pt x="179" y="361"/>
                      </a:cubicBezTo>
                      <a:cubicBezTo>
                        <a:pt x="184" y="361"/>
                        <a:pt x="188" y="361"/>
                        <a:pt x="194" y="360"/>
                      </a:cubicBezTo>
                      <a:cubicBezTo>
                        <a:pt x="203" y="359"/>
                        <a:pt x="213" y="359"/>
                        <a:pt x="222" y="358"/>
                      </a:cubicBezTo>
                      <a:cubicBezTo>
                        <a:pt x="229" y="357"/>
                        <a:pt x="229" y="357"/>
                        <a:pt x="229" y="357"/>
                      </a:cubicBezTo>
                      <a:cubicBezTo>
                        <a:pt x="234" y="356"/>
                        <a:pt x="240" y="355"/>
                        <a:pt x="245" y="354"/>
                      </a:cubicBezTo>
                      <a:cubicBezTo>
                        <a:pt x="260" y="351"/>
                        <a:pt x="274" y="348"/>
                        <a:pt x="287" y="344"/>
                      </a:cubicBezTo>
                      <a:cubicBezTo>
                        <a:pt x="295" y="341"/>
                        <a:pt x="306" y="338"/>
                        <a:pt x="316" y="333"/>
                      </a:cubicBezTo>
                      <a:cubicBezTo>
                        <a:pt x="321" y="330"/>
                        <a:pt x="326" y="327"/>
                        <a:pt x="331" y="323"/>
                      </a:cubicBezTo>
                      <a:cubicBezTo>
                        <a:pt x="333" y="321"/>
                        <a:pt x="335" y="319"/>
                        <a:pt x="337" y="316"/>
                      </a:cubicBezTo>
                      <a:cubicBezTo>
                        <a:pt x="339" y="313"/>
                        <a:pt x="340" y="311"/>
                        <a:pt x="341" y="308"/>
                      </a:cubicBezTo>
                      <a:cubicBezTo>
                        <a:pt x="343" y="304"/>
                        <a:pt x="345" y="300"/>
                        <a:pt x="347" y="295"/>
                      </a:cubicBezTo>
                      <a:cubicBezTo>
                        <a:pt x="351" y="281"/>
                        <a:pt x="354" y="263"/>
                        <a:pt x="357" y="248"/>
                      </a:cubicBezTo>
                      <a:cubicBezTo>
                        <a:pt x="361" y="216"/>
                        <a:pt x="362" y="184"/>
                        <a:pt x="361" y="152"/>
                      </a:cubicBezTo>
                      <a:close/>
                    </a:path>
                  </a:pathLst>
                </a:custGeom>
                <a:solidFill>
                  <a:srgbClr val="FF0000"/>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49" name="Rectangle 48"/>
                <p:cNvSpPr/>
                <p:nvPr/>
              </p:nvSpPr>
              <p:spPr>
                <a:xfrm>
                  <a:off x="2887070" y="4895708"/>
                  <a:ext cx="1391728" cy="1015663"/>
                </a:xfrm>
                <a:prstGeom prst="rect">
                  <a:avLst/>
                </a:prstGeom>
              </p:spPr>
              <p:txBody>
                <a:bodyPr wrap="none">
                  <a:spAutoFit/>
                </a:bodyPr>
                <a:lstStyle/>
                <a:p>
                  <a:pPr algn="ctr">
                    <a:defRPr/>
                  </a:pPr>
                  <a:r>
                    <a:rPr lang="de-DE" sz="6000" b="1" kern="0" noProof="1" smtClean="0">
                      <a:solidFill>
                        <a:srgbClr val="000000"/>
                      </a:solidFill>
                      <a:latin typeface="Bradley Hand ITC" pitchFamily="66" charset="0"/>
                      <a:ea typeface="ＭＳ Ｐゴシック" pitchFamily="-97" charset="-128"/>
                    </a:rPr>
                    <a:t>Pp2</a:t>
                  </a:r>
                  <a:endParaRPr lang="de-DE" sz="6000" b="1" kern="0" noProof="1">
                    <a:solidFill>
                      <a:srgbClr val="000000"/>
                    </a:solidFill>
                    <a:latin typeface="Bradley Hand ITC" pitchFamily="66" charset="0"/>
                    <a:ea typeface="ＭＳ Ｐゴシック" pitchFamily="-97" charset="-128"/>
                  </a:endParaRPr>
                </a:p>
              </p:txBody>
            </p:sp>
          </p:grpSp>
          <p:sp>
            <p:nvSpPr>
              <p:cNvPr id="46" name="Freeform 6"/>
              <p:cNvSpPr>
                <a:spLocks noEditPoints="1"/>
              </p:cNvSpPr>
              <p:nvPr/>
            </p:nvSpPr>
            <p:spPr bwMode="auto">
              <a:xfrm rot="10800000" flipH="1" flipV="1">
                <a:off x="1419754" y="4621629"/>
                <a:ext cx="1324440" cy="931933"/>
              </a:xfrm>
              <a:custGeom>
                <a:avLst/>
                <a:gdLst>
                  <a:gd name="T0" fmla="*/ 38 w 760"/>
                  <a:gd name="T1" fmla="*/ 89 h 677"/>
                  <a:gd name="T2" fmla="*/ 158 w 760"/>
                  <a:gd name="T3" fmla="*/ 77 h 677"/>
                  <a:gd name="T4" fmla="*/ 163 w 760"/>
                  <a:gd name="T5" fmla="*/ 95 h 677"/>
                  <a:gd name="T6" fmla="*/ 165 w 760"/>
                  <a:gd name="T7" fmla="*/ 105 h 677"/>
                  <a:gd name="T8" fmla="*/ 163 w 760"/>
                  <a:gd name="T9" fmla="*/ 154 h 677"/>
                  <a:gd name="T10" fmla="*/ 373 w 760"/>
                  <a:gd name="T11" fmla="*/ 627 h 677"/>
                  <a:gd name="T12" fmla="*/ 220 w 760"/>
                  <a:gd name="T13" fmla="*/ 622 h 677"/>
                  <a:gd name="T14" fmla="*/ 124 w 760"/>
                  <a:gd name="T15" fmla="*/ 320 h 677"/>
                  <a:gd name="T16" fmla="*/ 124 w 760"/>
                  <a:gd name="T17" fmla="*/ 132 h 677"/>
                  <a:gd name="T18" fmla="*/ 752 w 760"/>
                  <a:gd name="T19" fmla="*/ 643 h 677"/>
                  <a:gd name="T20" fmla="*/ 753 w 760"/>
                  <a:gd name="T21" fmla="*/ 645 h 677"/>
                  <a:gd name="T22" fmla="*/ 750 w 760"/>
                  <a:gd name="T23" fmla="*/ 644 h 677"/>
                  <a:gd name="T24" fmla="*/ 737 w 760"/>
                  <a:gd name="T25" fmla="*/ 636 h 677"/>
                  <a:gd name="T26" fmla="*/ 700 w 760"/>
                  <a:gd name="T27" fmla="*/ 632 h 677"/>
                  <a:gd name="T28" fmla="*/ 632 w 760"/>
                  <a:gd name="T29" fmla="*/ 637 h 677"/>
                  <a:gd name="T30" fmla="*/ 586 w 760"/>
                  <a:gd name="T31" fmla="*/ 635 h 677"/>
                  <a:gd name="T32" fmla="*/ 575 w 760"/>
                  <a:gd name="T33" fmla="*/ 634 h 677"/>
                  <a:gd name="T34" fmla="*/ 467 w 760"/>
                  <a:gd name="T35" fmla="*/ 628 h 677"/>
                  <a:gd name="T36" fmla="*/ 430 w 760"/>
                  <a:gd name="T37" fmla="*/ 632 h 677"/>
                  <a:gd name="T38" fmla="*/ 369 w 760"/>
                  <a:gd name="T39" fmla="*/ 633 h 677"/>
                  <a:gd name="T40" fmla="*/ 327 w 760"/>
                  <a:gd name="T41" fmla="*/ 632 h 677"/>
                  <a:gd name="T42" fmla="*/ 276 w 760"/>
                  <a:gd name="T43" fmla="*/ 628 h 677"/>
                  <a:gd name="T44" fmla="*/ 253 w 760"/>
                  <a:gd name="T45" fmla="*/ 625 h 677"/>
                  <a:gd name="T46" fmla="*/ 217 w 760"/>
                  <a:gd name="T47" fmla="*/ 621 h 677"/>
                  <a:gd name="T48" fmla="*/ 173 w 760"/>
                  <a:gd name="T49" fmla="*/ 607 h 677"/>
                  <a:gd name="T50" fmla="*/ 131 w 760"/>
                  <a:gd name="T51" fmla="*/ 479 h 677"/>
                  <a:gd name="T52" fmla="*/ 128 w 760"/>
                  <a:gd name="T53" fmla="*/ 414 h 677"/>
                  <a:gd name="T54" fmla="*/ 125 w 760"/>
                  <a:gd name="T55" fmla="*/ 224 h 677"/>
                  <a:gd name="T56" fmla="*/ 123 w 760"/>
                  <a:gd name="T57" fmla="*/ 102 h 677"/>
                  <a:gd name="T58" fmla="*/ 153 w 760"/>
                  <a:gd name="T59" fmla="*/ 149 h 677"/>
                  <a:gd name="T60" fmla="*/ 165 w 760"/>
                  <a:gd name="T61" fmla="*/ 153 h 677"/>
                  <a:gd name="T62" fmla="*/ 175 w 760"/>
                  <a:gd name="T63" fmla="*/ 142 h 677"/>
                  <a:gd name="T64" fmla="*/ 176 w 760"/>
                  <a:gd name="T65" fmla="*/ 125 h 677"/>
                  <a:gd name="T66" fmla="*/ 172 w 760"/>
                  <a:gd name="T67" fmla="*/ 110 h 677"/>
                  <a:gd name="T68" fmla="*/ 160 w 760"/>
                  <a:gd name="T69" fmla="*/ 105 h 677"/>
                  <a:gd name="T70" fmla="*/ 163 w 760"/>
                  <a:gd name="T71" fmla="*/ 95 h 677"/>
                  <a:gd name="T72" fmla="*/ 161 w 760"/>
                  <a:gd name="T73" fmla="*/ 89 h 677"/>
                  <a:gd name="T74" fmla="*/ 155 w 760"/>
                  <a:gd name="T75" fmla="*/ 68 h 677"/>
                  <a:gd name="T76" fmla="*/ 151 w 760"/>
                  <a:gd name="T77" fmla="*/ 63 h 677"/>
                  <a:gd name="T78" fmla="*/ 138 w 760"/>
                  <a:gd name="T79" fmla="*/ 45 h 677"/>
                  <a:gd name="T80" fmla="*/ 131 w 760"/>
                  <a:gd name="T81" fmla="*/ 32 h 677"/>
                  <a:gd name="T82" fmla="*/ 124 w 760"/>
                  <a:gd name="T83" fmla="*/ 16 h 677"/>
                  <a:gd name="T84" fmla="*/ 121 w 760"/>
                  <a:gd name="T85" fmla="*/ 4 h 677"/>
                  <a:gd name="T86" fmla="*/ 113 w 760"/>
                  <a:gd name="T87" fmla="*/ 19 h 677"/>
                  <a:gd name="T88" fmla="*/ 107 w 760"/>
                  <a:gd name="T89" fmla="*/ 25 h 677"/>
                  <a:gd name="T90" fmla="*/ 77 w 760"/>
                  <a:gd name="T91" fmla="*/ 49 h 677"/>
                  <a:gd name="T92" fmla="*/ 55 w 760"/>
                  <a:gd name="T93" fmla="*/ 72 h 677"/>
                  <a:gd name="T94" fmla="*/ 39 w 760"/>
                  <a:gd name="T95" fmla="*/ 89 h 677"/>
                  <a:gd name="T96" fmla="*/ 14 w 760"/>
                  <a:gd name="T97" fmla="*/ 106 h 677"/>
                  <a:gd name="T98" fmla="*/ 20 w 760"/>
                  <a:gd name="T99" fmla="*/ 148 h 677"/>
                  <a:gd name="T100" fmla="*/ 87 w 760"/>
                  <a:gd name="T101" fmla="*/ 101 h 677"/>
                  <a:gd name="T102" fmla="*/ 96 w 760"/>
                  <a:gd name="T103" fmla="*/ 523 h 677"/>
                  <a:gd name="T104" fmla="*/ 214 w 760"/>
                  <a:gd name="T105" fmla="*/ 661 h 677"/>
                  <a:gd name="T106" fmla="*/ 587 w 760"/>
                  <a:gd name="T107" fmla="*/ 673 h 677"/>
                  <a:gd name="T108" fmla="*/ 747 w 760"/>
                  <a:gd name="T109" fmla="*/ 665 h 677"/>
                  <a:gd name="T110" fmla="*/ 756 w 760"/>
                  <a:gd name="T111" fmla="*/ 658 h 677"/>
                  <a:gd name="T112" fmla="*/ 632 w 760"/>
                  <a:gd name="T113" fmla="*/ 637 h 677"/>
                  <a:gd name="T114" fmla="*/ 753 w 760"/>
                  <a:gd name="T115" fmla="*/ 645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0" h="677">
                    <a:moveTo>
                      <a:pt x="144" y="39"/>
                    </a:moveTo>
                    <a:cubicBezTo>
                      <a:pt x="144" y="39"/>
                      <a:pt x="144" y="40"/>
                      <a:pt x="143" y="40"/>
                    </a:cubicBezTo>
                    <a:cubicBezTo>
                      <a:pt x="143" y="40"/>
                      <a:pt x="143" y="40"/>
                      <a:pt x="143" y="40"/>
                    </a:cubicBezTo>
                    <a:lnTo>
                      <a:pt x="144" y="39"/>
                    </a:lnTo>
                    <a:close/>
                    <a:moveTo>
                      <a:pt x="153" y="65"/>
                    </a:moveTo>
                    <a:cubicBezTo>
                      <a:pt x="153" y="65"/>
                      <a:pt x="153" y="65"/>
                      <a:pt x="153" y="65"/>
                    </a:cubicBezTo>
                    <a:cubicBezTo>
                      <a:pt x="153" y="65"/>
                      <a:pt x="153" y="64"/>
                      <a:pt x="153" y="65"/>
                    </a:cubicBezTo>
                    <a:close/>
                    <a:moveTo>
                      <a:pt x="38" y="89"/>
                    </a:moveTo>
                    <a:cubicBezTo>
                      <a:pt x="38" y="89"/>
                      <a:pt x="38" y="89"/>
                      <a:pt x="38" y="89"/>
                    </a:cubicBezTo>
                    <a:cubicBezTo>
                      <a:pt x="38" y="89"/>
                      <a:pt x="38" y="89"/>
                      <a:pt x="38" y="89"/>
                    </a:cubicBezTo>
                    <a:close/>
                    <a:moveTo>
                      <a:pt x="38" y="89"/>
                    </a:moveTo>
                    <a:cubicBezTo>
                      <a:pt x="39" y="90"/>
                      <a:pt x="39" y="90"/>
                      <a:pt x="39" y="89"/>
                    </a:cubicBezTo>
                    <a:cubicBezTo>
                      <a:pt x="38" y="88"/>
                      <a:pt x="38" y="89"/>
                      <a:pt x="38" y="88"/>
                    </a:cubicBezTo>
                    <a:cubicBezTo>
                      <a:pt x="38" y="89"/>
                      <a:pt x="38" y="89"/>
                      <a:pt x="38" y="89"/>
                    </a:cubicBezTo>
                    <a:close/>
                    <a:moveTo>
                      <a:pt x="159" y="76"/>
                    </a:moveTo>
                    <a:cubicBezTo>
                      <a:pt x="158" y="77"/>
                      <a:pt x="158" y="77"/>
                      <a:pt x="158" y="77"/>
                    </a:cubicBezTo>
                    <a:cubicBezTo>
                      <a:pt x="158" y="77"/>
                      <a:pt x="158" y="77"/>
                      <a:pt x="158" y="77"/>
                    </a:cubicBezTo>
                    <a:lnTo>
                      <a:pt x="159" y="76"/>
                    </a:lnTo>
                    <a:close/>
                    <a:moveTo>
                      <a:pt x="175" y="142"/>
                    </a:moveTo>
                    <a:cubicBezTo>
                      <a:pt x="174" y="143"/>
                      <a:pt x="174" y="143"/>
                      <a:pt x="174" y="143"/>
                    </a:cubicBezTo>
                    <a:cubicBezTo>
                      <a:pt x="174" y="143"/>
                      <a:pt x="175" y="143"/>
                      <a:pt x="175" y="143"/>
                    </a:cubicBezTo>
                    <a:lnTo>
                      <a:pt x="175" y="142"/>
                    </a:lnTo>
                    <a:close/>
                    <a:moveTo>
                      <a:pt x="163" y="95"/>
                    </a:moveTo>
                    <a:cubicBezTo>
                      <a:pt x="163" y="95"/>
                      <a:pt x="163" y="95"/>
                      <a:pt x="163" y="95"/>
                    </a:cubicBezTo>
                    <a:cubicBezTo>
                      <a:pt x="163" y="94"/>
                      <a:pt x="163" y="93"/>
                      <a:pt x="162" y="93"/>
                    </a:cubicBezTo>
                    <a:cubicBezTo>
                      <a:pt x="161" y="93"/>
                      <a:pt x="161" y="93"/>
                      <a:pt x="161" y="93"/>
                    </a:cubicBezTo>
                    <a:lnTo>
                      <a:pt x="163" y="95"/>
                    </a:lnTo>
                    <a:close/>
                    <a:moveTo>
                      <a:pt x="157" y="150"/>
                    </a:moveTo>
                    <a:cubicBezTo>
                      <a:pt x="157" y="150"/>
                      <a:pt x="157" y="150"/>
                      <a:pt x="157" y="150"/>
                    </a:cubicBezTo>
                    <a:cubicBezTo>
                      <a:pt x="156" y="151"/>
                      <a:pt x="156" y="150"/>
                      <a:pt x="157" y="150"/>
                    </a:cubicBezTo>
                    <a:close/>
                    <a:moveTo>
                      <a:pt x="165" y="105"/>
                    </a:moveTo>
                    <a:cubicBezTo>
                      <a:pt x="165" y="105"/>
                      <a:pt x="165" y="105"/>
                      <a:pt x="165" y="105"/>
                    </a:cubicBezTo>
                    <a:cubicBezTo>
                      <a:pt x="166" y="104"/>
                      <a:pt x="166" y="104"/>
                      <a:pt x="166" y="104"/>
                    </a:cubicBezTo>
                    <a:lnTo>
                      <a:pt x="165" y="105"/>
                    </a:lnTo>
                    <a:close/>
                    <a:moveTo>
                      <a:pt x="177" y="123"/>
                    </a:moveTo>
                    <a:cubicBezTo>
                      <a:pt x="177" y="122"/>
                      <a:pt x="177" y="122"/>
                      <a:pt x="176" y="123"/>
                    </a:cubicBezTo>
                    <a:cubicBezTo>
                      <a:pt x="177" y="123"/>
                      <a:pt x="177" y="123"/>
                      <a:pt x="177" y="123"/>
                    </a:cubicBezTo>
                    <a:close/>
                    <a:moveTo>
                      <a:pt x="163" y="155"/>
                    </a:moveTo>
                    <a:cubicBezTo>
                      <a:pt x="163" y="155"/>
                      <a:pt x="164" y="155"/>
                      <a:pt x="164" y="154"/>
                    </a:cubicBezTo>
                    <a:cubicBezTo>
                      <a:pt x="163" y="154"/>
                      <a:pt x="163" y="154"/>
                      <a:pt x="163" y="154"/>
                    </a:cubicBezTo>
                    <a:cubicBezTo>
                      <a:pt x="163" y="154"/>
                      <a:pt x="163" y="155"/>
                      <a:pt x="163" y="155"/>
                    </a:cubicBezTo>
                    <a:close/>
                    <a:moveTo>
                      <a:pt x="175" y="145"/>
                    </a:moveTo>
                    <a:cubicBezTo>
                      <a:pt x="175" y="144"/>
                      <a:pt x="175" y="144"/>
                      <a:pt x="175" y="144"/>
                    </a:cubicBezTo>
                    <a:cubicBezTo>
                      <a:pt x="175" y="144"/>
                      <a:pt x="175" y="145"/>
                      <a:pt x="175" y="145"/>
                    </a:cubicBezTo>
                    <a:close/>
                    <a:moveTo>
                      <a:pt x="130" y="440"/>
                    </a:moveTo>
                    <a:cubicBezTo>
                      <a:pt x="130" y="439"/>
                      <a:pt x="129" y="439"/>
                      <a:pt x="130" y="440"/>
                    </a:cubicBezTo>
                    <a:close/>
                    <a:moveTo>
                      <a:pt x="373" y="627"/>
                    </a:moveTo>
                    <a:cubicBezTo>
                      <a:pt x="373" y="627"/>
                      <a:pt x="373" y="627"/>
                      <a:pt x="373" y="627"/>
                    </a:cubicBezTo>
                    <a:cubicBezTo>
                      <a:pt x="374" y="626"/>
                      <a:pt x="374" y="626"/>
                      <a:pt x="374" y="625"/>
                    </a:cubicBezTo>
                    <a:lnTo>
                      <a:pt x="373" y="627"/>
                    </a:lnTo>
                    <a:close/>
                    <a:moveTo>
                      <a:pt x="439" y="631"/>
                    </a:moveTo>
                    <a:cubicBezTo>
                      <a:pt x="440" y="631"/>
                      <a:pt x="440" y="631"/>
                      <a:pt x="440" y="631"/>
                    </a:cubicBezTo>
                    <a:cubicBezTo>
                      <a:pt x="440" y="631"/>
                      <a:pt x="440" y="630"/>
                      <a:pt x="439" y="631"/>
                    </a:cubicBezTo>
                    <a:close/>
                    <a:moveTo>
                      <a:pt x="220" y="622"/>
                    </a:moveTo>
                    <a:cubicBezTo>
                      <a:pt x="221" y="621"/>
                      <a:pt x="221" y="621"/>
                      <a:pt x="222" y="621"/>
                    </a:cubicBezTo>
                    <a:cubicBezTo>
                      <a:pt x="221" y="621"/>
                      <a:pt x="221" y="621"/>
                      <a:pt x="220" y="622"/>
                    </a:cubicBezTo>
                    <a:close/>
                    <a:moveTo>
                      <a:pt x="123" y="318"/>
                    </a:moveTo>
                    <a:cubicBezTo>
                      <a:pt x="123" y="319"/>
                      <a:pt x="123" y="319"/>
                      <a:pt x="123" y="319"/>
                    </a:cubicBezTo>
                    <a:cubicBezTo>
                      <a:pt x="124" y="318"/>
                      <a:pt x="124" y="318"/>
                      <a:pt x="124" y="318"/>
                    </a:cubicBezTo>
                    <a:lnTo>
                      <a:pt x="123" y="318"/>
                    </a:lnTo>
                    <a:close/>
                    <a:moveTo>
                      <a:pt x="124" y="320"/>
                    </a:moveTo>
                    <a:cubicBezTo>
                      <a:pt x="124" y="320"/>
                      <a:pt x="124" y="319"/>
                      <a:pt x="123" y="319"/>
                    </a:cubicBezTo>
                    <a:cubicBezTo>
                      <a:pt x="123" y="320"/>
                      <a:pt x="123" y="322"/>
                      <a:pt x="123" y="323"/>
                    </a:cubicBezTo>
                    <a:cubicBezTo>
                      <a:pt x="124" y="323"/>
                      <a:pt x="124" y="321"/>
                      <a:pt x="124" y="320"/>
                    </a:cubicBezTo>
                    <a:close/>
                    <a:moveTo>
                      <a:pt x="124" y="320"/>
                    </a:moveTo>
                    <a:cubicBezTo>
                      <a:pt x="124" y="320"/>
                      <a:pt x="124" y="320"/>
                      <a:pt x="124" y="320"/>
                    </a:cubicBezTo>
                    <a:cubicBezTo>
                      <a:pt x="124" y="320"/>
                      <a:pt x="124" y="320"/>
                      <a:pt x="124" y="320"/>
                    </a:cubicBezTo>
                    <a:close/>
                    <a:moveTo>
                      <a:pt x="223" y="663"/>
                    </a:moveTo>
                    <a:cubicBezTo>
                      <a:pt x="222" y="663"/>
                      <a:pt x="222" y="663"/>
                      <a:pt x="222" y="663"/>
                    </a:cubicBezTo>
                    <a:cubicBezTo>
                      <a:pt x="222" y="663"/>
                      <a:pt x="222" y="663"/>
                      <a:pt x="223" y="663"/>
                    </a:cubicBezTo>
                    <a:close/>
                    <a:moveTo>
                      <a:pt x="123" y="132"/>
                    </a:moveTo>
                    <a:cubicBezTo>
                      <a:pt x="124" y="132"/>
                      <a:pt x="124" y="132"/>
                      <a:pt x="124" y="132"/>
                    </a:cubicBezTo>
                    <a:cubicBezTo>
                      <a:pt x="123" y="132"/>
                      <a:pt x="123" y="132"/>
                      <a:pt x="123" y="132"/>
                    </a:cubicBezTo>
                    <a:close/>
                    <a:moveTo>
                      <a:pt x="501" y="631"/>
                    </a:moveTo>
                    <a:cubicBezTo>
                      <a:pt x="501" y="632"/>
                      <a:pt x="501" y="632"/>
                      <a:pt x="501" y="632"/>
                    </a:cubicBezTo>
                    <a:cubicBezTo>
                      <a:pt x="501" y="632"/>
                      <a:pt x="501" y="632"/>
                      <a:pt x="501" y="632"/>
                    </a:cubicBezTo>
                    <a:lnTo>
                      <a:pt x="501" y="631"/>
                    </a:lnTo>
                    <a:close/>
                    <a:moveTo>
                      <a:pt x="752" y="643"/>
                    </a:moveTo>
                    <a:cubicBezTo>
                      <a:pt x="751" y="644"/>
                      <a:pt x="751" y="644"/>
                      <a:pt x="751" y="644"/>
                    </a:cubicBezTo>
                    <a:cubicBezTo>
                      <a:pt x="751" y="644"/>
                      <a:pt x="752" y="643"/>
                      <a:pt x="752" y="643"/>
                    </a:cubicBezTo>
                    <a:close/>
                    <a:moveTo>
                      <a:pt x="585" y="635"/>
                    </a:moveTo>
                    <a:cubicBezTo>
                      <a:pt x="585" y="635"/>
                      <a:pt x="586" y="635"/>
                      <a:pt x="586" y="635"/>
                    </a:cubicBezTo>
                    <a:cubicBezTo>
                      <a:pt x="584" y="634"/>
                      <a:pt x="580" y="634"/>
                      <a:pt x="575" y="634"/>
                    </a:cubicBezTo>
                    <a:cubicBezTo>
                      <a:pt x="575" y="636"/>
                      <a:pt x="575" y="636"/>
                      <a:pt x="575" y="636"/>
                    </a:cubicBezTo>
                    <a:lnTo>
                      <a:pt x="585" y="635"/>
                    </a:lnTo>
                    <a:close/>
                    <a:moveTo>
                      <a:pt x="760" y="655"/>
                    </a:moveTo>
                    <a:cubicBezTo>
                      <a:pt x="760" y="655"/>
                      <a:pt x="755" y="649"/>
                      <a:pt x="753" y="646"/>
                    </a:cubicBezTo>
                    <a:cubicBezTo>
                      <a:pt x="755" y="647"/>
                      <a:pt x="754" y="646"/>
                      <a:pt x="753" y="645"/>
                    </a:cubicBezTo>
                    <a:cubicBezTo>
                      <a:pt x="753" y="645"/>
                      <a:pt x="753" y="645"/>
                      <a:pt x="753" y="645"/>
                    </a:cubicBezTo>
                    <a:cubicBezTo>
                      <a:pt x="752" y="645"/>
                      <a:pt x="752" y="643"/>
                      <a:pt x="751" y="642"/>
                    </a:cubicBezTo>
                    <a:cubicBezTo>
                      <a:pt x="752" y="643"/>
                      <a:pt x="752" y="643"/>
                      <a:pt x="752" y="643"/>
                    </a:cubicBezTo>
                    <a:cubicBezTo>
                      <a:pt x="752" y="642"/>
                      <a:pt x="752" y="642"/>
                      <a:pt x="752" y="642"/>
                    </a:cubicBezTo>
                    <a:cubicBezTo>
                      <a:pt x="752" y="643"/>
                      <a:pt x="752" y="643"/>
                      <a:pt x="752" y="643"/>
                    </a:cubicBezTo>
                    <a:cubicBezTo>
                      <a:pt x="752" y="644"/>
                      <a:pt x="752" y="644"/>
                      <a:pt x="751" y="644"/>
                    </a:cubicBezTo>
                    <a:cubicBezTo>
                      <a:pt x="751" y="644"/>
                      <a:pt x="751" y="644"/>
                      <a:pt x="751" y="644"/>
                    </a:cubicBezTo>
                    <a:cubicBezTo>
                      <a:pt x="751" y="644"/>
                      <a:pt x="750" y="644"/>
                      <a:pt x="750" y="644"/>
                    </a:cubicBezTo>
                    <a:cubicBezTo>
                      <a:pt x="750" y="642"/>
                      <a:pt x="750" y="642"/>
                      <a:pt x="750" y="642"/>
                    </a:cubicBezTo>
                    <a:cubicBezTo>
                      <a:pt x="749" y="645"/>
                      <a:pt x="744" y="638"/>
                      <a:pt x="743" y="638"/>
                    </a:cubicBezTo>
                    <a:cubicBezTo>
                      <a:pt x="742" y="636"/>
                      <a:pt x="741" y="638"/>
                      <a:pt x="739" y="637"/>
                    </a:cubicBezTo>
                    <a:cubicBezTo>
                      <a:pt x="737" y="637"/>
                      <a:pt x="738" y="635"/>
                      <a:pt x="737" y="634"/>
                    </a:cubicBezTo>
                    <a:cubicBezTo>
                      <a:pt x="737" y="634"/>
                      <a:pt x="737" y="633"/>
                      <a:pt x="736" y="633"/>
                    </a:cubicBezTo>
                    <a:cubicBezTo>
                      <a:pt x="736" y="633"/>
                      <a:pt x="736" y="633"/>
                      <a:pt x="736" y="634"/>
                    </a:cubicBezTo>
                    <a:cubicBezTo>
                      <a:pt x="736" y="634"/>
                      <a:pt x="736" y="634"/>
                      <a:pt x="736" y="634"/>
                    </a:cubicBezTo>
                    <a:cubicBezTo>
                      <a:pt x="737" y="635"/>
                      <a:pt x="737" y="636"/>
                      <a:pt x="737" y="636"/>
                    </a:cubicBezTo>
                    <a:cubicBezTo>
                      <a:pt x="737" y="636"/>
                      <a:pt x="737" y="635"/>
                      <a:pt x="736" y="635"/>
                    </a:cubicBezTo>
                    <a:cubicBezTo>
                      <a:pt x="735" y="635"/>
                      <a:pt x="735" y="635"/>
                      <a:pt x="735" y="635"/>
                    </a:cubicBezTo>
                    <a:cubicBezTo>
                      <a:pt x="733" y="635"/>
                      <a:pt x="733" y="635"/>
                      <a:pt x="733" y="635"/>
                    </a:cubicBezTo>
                    <a:cubicBezTo>
                      <a:pt x="729" y="634"/>
                      <a:pt x="729" y="634"/>
                      <a:pt x="729" y="634"/>
                    </a:cubicBezTo>
                    <a:cubicBezTo>
                      <a:pt x="734" y="633"/>
                      <a:pt x="731" y="633"/>
                      <a:pt x="730" y="632"/>
                    </a:cubicBezTo>
                    <a:cubicBezTo>
                      <a:pt x="723" y="632"/>
                      <a:pt x="712" y="630"/>
                      <a:pt x="710" y="633"/>
                    </a:cubicBezTo>
                    <a:cubicBezTo>
                      <a:pt x="700" y="632"/>
                      <a:pt x="700" y="631"/>
                      <a:pt x="696" y="631"/>
                    </a:cubicBezTo>
                    <a:cubicBezTo>
                      <a:pt x="697" y="631"/>
                      <a:pt x="700" y="632"/>
                      <a:pt x="700" y="632"/>
                    </a:cubicBezTo>
                    <a:cubicBezTo>
                      <a:pt x="696" y="631"/>
                      <a:pt x="698" y="633"/>
                      <a:pt x="700" y="633"/>
                    </a:cubicBezTo>
                    <a:cubicBezTo>
                      <a:pt x="694" y="635"/>
                      <a:pt x="669" y="628"/>
                      <a:pt x="668" y="632"/>
                    </a:cubicBezTo>
                    <a:cubicBezTo>
                      <a:pt x="668" y="631"/>
                      <a:pt x="668" y="631"/>
                      <a:pt x="668" y="631"/>
                    </a:cubicBezTo>
                    <a:cubicBezTo>
                      <a:pt x="667" y="634"/>
                      <a:pt x="669" y="636"/>
                      <a:pt x="665" y="638"/>
                    </a:cubicBezTo>
                    <a:cubicBezTo>
                      <a:pt x="662" y="637"/>
                      <a:pt x="662" y="637"/>
                      <a:pt x="662" y="637"/>
                    </a:cubicBezTo>
                    <a:cubicBezTo>
                      <a:pt x="658" y="638"/>
                      <a:pt x="658" y="638"/>
                      <a:pt x="658" y="638"/>
                    </a:cubicBezTo>
                    <a:cubicBezTo>
                      <a:pt x="655" y="638"/>
                      <a:pt x="656" y="637"/>
                      <a:pt x="656" y="637"/>
                    </a:cubicBezTo>
                    <a:cubicBezTo>
                      <a:pt x="650" y="638"/>
                      <a:pt x="640" y="637"/>
                      <a:pt x="632" y="637"/>
                    </a:cubicBezTo>
                    <a:cubicBezTo>
                      <a:pt x="641" y="644"/>
                      <a:pt x="641" y="644"/>
                      <a:pt x="641" y="644"/>
                    </a:cubicBezTo>
                    <a:cubicBezTo>
                      <a:pt x="634" y="642"/>
                      <a:pt x="622" y="639"/>
                      <a:pt x="620" y="642"/>
                    </a:cubicBezTo>
                    <a:cubicBezTo>
                      <a:pt x="616" y="639"/>
                      <a:pt x="616" y="639"/>
                      <a:pt x="616" y="639"/>
                    </a:cubicBezTo>
                    <a:cubicBezTo>
                      <a:pt x="602" y="635"/>
                      <a:pt x="607" y="642"/>
                      <a:pt x="601" y="641"/>
                    </a:cubicBezTo>
                    <a:cubicBezTo>
                      <a:pt x="594" y="638"/>
                      <a:pt x="594" y="638"/>
                      <a:pt x="594" y="638"/>
                    </a:cubicBezTo>
                    <a:cubicBezTo>
                      <a:pt x="601" y="638"/>
                      <a:pt x="601" y="638"/>
                      <a:pt x="601" y="638"/>
                    </a:cubicBezTo>
                    <a:cubicBezTo>
                      <a:pt x="594" y="637"/>
                      <a:pt x="591" y="636"/>
                      <a:pt x="586" y="635"/>
                    </a:cubicBezTo>
                    <a:cubicBezTo>
                      <a:pt x="586" y="635"/>
                      <a:pt x="586" y="635"/>
                      <a:pt x="586" y="635"/>
                    </a:cubicBezTo>
                    <a:cubicBezTo>
                      <a:pt x="586" y="635"/>
                      <a:pt x="586" y="635"/>
                      <a:pt x="586" y="635"/>
                    </a:cubicBezTo>
                    <a:cubicBezTo>
                      <a:pt x="585" y="635"/>
                      <a:pt x="585" y="635"/>
                      <a:pt x="585" y="635"/>
                    </a:cubicBezTo>
                    <a:cubicBezTo>
                      <a:pt x="585" y="636"/>
                      <a:pt x="581" y="637"/>
                      <a:pt x="576" y="637"/>
                    </a:cubicBezTo>
                    <a:cubicBezTo>
                      <a:pt x="569" y="637"/>
                      <a:pt x="564" y="639"/>
                      <a:pt x="553" y="637"/>
                    </a:cubicBezTo>
                    <a:cubicBezTo>
                      <a:pt x="550" y="640"/>
                      <a:pt x="550" y="640"/>
                      <a:pt x="550" y="640"/>
                    </a:cubicBezTo>
                    <a:cubicBezTo>
                      <a:pt x="542" y="638"/>
                      <a:pt x="542" y="638"/>
                      <a:pt x="542" y="638"/>
                    </a:cubicBezTo>
                    <a:cubicBezTo>
                      <a:pt x="542" y="636"/>
                      <a:pt x="542" y="636"/>
                      <a:pt x="542" y="636"/>
                    </a:cubicBezTo>
                    <a:cubicBezTo>
                      <a:pt x="550" y="636"/>
                      <a:pt x="565" y="635"/>
                      <a:pt x="575" y="634"/>
                    </a:cubicBezTo>
                    <a:cubicBezTo>
                      <a:pt x="576" y="633"/>
                      <a:pt x="576" y="633"/>
                      <a:pt x="576" y="633"/>
                    </a:cubicBezTo>
                    <a:cubicBezTo>
                      <a:pt x="569" y="634"/>
                      <a:pt x="562" y="635"/>
                      <a:pt x="558" y="635"/>
                    </a:cubicBezTo>
                    <a:cubicBezTo>
                      <a:pt x="556" y="634"/>
                      <a:pt x="551" y="632"/>
                      <a:pt x="555" y="631"/>
                    </a:cubicBezTo>
                    <a:cubicBezTo>
                      <a:pt x="551" y="633"/>
                      <a:pt x="551" y="633"/>
                      <a:pt x="551" y="633"/>
                    </a:cubicBezTo>
                    <a:cubicBezTo>
                      <a:pt x="531" y="634"/>
                      <a:pt x="530" y="634"/>
                      <a:pt x="509" y="632"/>
                    </a:cubicBezTo>
                    <a:cubicBezTo>
                      <a:pt x="511" y="633"/>
                      <a:pt x="511" y="633"/>
                      <a:pt x="511" y="633"/>
                    </a:cubicBezTo>
                    <a:cubicBezTo>
                      <a:pt x="507" y="633"/>
                      <a:pt x="502" y="634"/>
                      <a:pt x="501" y="632"/>
                    </a:cubicBezTo>
                    <a:cubicBezTo>
                      <a:pt x="488" y="632"/>
                      <a:pt x="475" y="631"/>
                      <a:pt x="467" y="628"/>
                    </a:cubicBezTo>
                    <a:cubicBezTo>
                      <a:pt x="465" y="631"/>
                      <a:pt x="465" y="631"/>
                      <a:pt x="465" y="631"/>
                    </a:cubicBezTo>
                    <a:cubicBezTo>
                      <a:pt x="462" y="631"/>
                      <a:pt x="458" y="627"/>
                      <a:pt x="457" y="630"/>
                    </a:cubicBezTo>
                    <a:cubicBezTo>
                      <a:pt x="451" y="631"/>
                      <a:pt x="451" y="631"/>
                      <a:pt x="451" y="631"/>
                    </a:cubicBezTo>
                    <a:cubicBezTo>
                      <a:pt x="447" y="631"/>
                      <a:pt x="445" y="633"/>
                      <a:pt x="441" y="631"/>
                    </a:cubicBezTo>
                    <a:cubicBezTo>
                      <a:pt x="441" y="631"/>
                      <a:pt x="441" y="631"/>
                      <a:pt x="441" y="631"/>
                    </a:cubicBezTo>
                    <a:cubicBezTo>
                      <a:pt x="440" y="631"/>
                      <a:pt x="440" y="631"/>
                      <a:pt x="440" y="631"/>
                    </a:cubicBezTo>
                    <a:cubicBezTo>
                      <a:pt x="440" y="631"/>
                      <a:pt x="440" y="631"/>
                      <a:pt x="440" y="631"/>
                    </a:cubicBezTo>
                    <a:cubicBezTo>
                      <a:pt x="431" y="630"/>
                      <a:pt x="440" y="633"/>
                      <a:pt x="430" y="632"/>
                    </a:cubicBezTo>
                    <a:cubicBezTo>
                      <a:pt x="427" y="630"/>
                      <a:pt x="427" y="635"/>
                      <a:pt x="422" y="634"/>
                    </a:cubicBezTo>
                    <a:cubicBezTo>
                      <a:pt x="417" y="631"/>
                      <a:pt x="417" y="631"/>
                      <a:pt x="417" y="631"/>
                    </a:cubicBezTo>
                    <a:cubicBezTo>
                      <a:pt x="409" y="629"/>
                      <a:pt x="407" y="632"/>
                      <a:pt x="395" y="632"/>
                    </a:cubicBezTo>
                    <a:cubicBezTo>
                      <a:pt x="389" y="631"/>
                      <a:pt x="387" y="628"/>
                      <a:pt x="390" y="625"/>
                    </a:cubicBezTo>
                    <a:cubicBezTo>
                      <a:pt x="385" y="628"/>
                      <a:pt x="388" y="627"/>
                      <a:pt x="381" y="629"/>
                    </a:cubicBezTo>
                    <a:cubicBezTo>
                      <a:pt x="380" y="627"/>
                      <a:pt x="381" y="627"/>
                      <a:pt x="382" y="626"/>
                    </a:cubicBezTo>
                    <a:cubicBezTo>
                      <a:pt x="376" y="624"/>
                      <a:pt x="378" y="627"/>
                      <a:pt x="373" y="627"/>
                    </a:cubicBezTo>
                    <a:cubicBezTo>
                      <a:pt x="372" y="629"/>
                      <a:pt x="370" y="633"/>
                      <a:pt x="369" y="633"/>
                    </a:cubicBezTo>
                    <a:cubicBezTo>
                      <a:pt x="371" y="634"/>
                      <a:pt x="371" y="634"/>
                      <a:pt x="371" y="634"/>
                    </a:cubicBezTo>
                    <a:cubicBezTo>
                      <a:pt x="365" y="635"/>
                      <a:pt x="360" y="636"/>
                      <a:pt x="354" y="635"/>
                    </a:cubicBezTo>
                    <a:cubicBezTo>
                      <a:pt x="354" y="633"/>
                      <a:pt x="354" y="633"/>
                      <a:pt x="354" y="633"/>
                    </a:cubicBezTo>
                    <a:cubicBezTo>
                      <a:pt x="348" y="634"/>
                      <a:pt x="348" y="634"/>
                      <a:pt x="348" y="634"/>
                    </a:cubicBezTo>
                    <a:cubicBezTo>
                      <a:pt x="348" y="632"/>
                      <a:pt x="348" y="632"/>
                      <a:pt x="348" y="632"/>
                    </a:cubicBezTo>
                    <a:cubicBezTo>
                      <a:pt x="339" y="632"/>
                      <a:pt x="339" y="632"/>
                      <a:pt x="339" y="632"/>
                    </a:cubicBezTo>
                    <a:cubicBezTo>
                      <a:pt x="340" y="633"/>
                      <a:pt x="340" y="633"/>
                      <a:pt x="340" y="633"/>
                    </a:cubicBezTo>
                    <a:cubicBezTo>
                      <a:pt x="338" y="633"/>
                      <a:pt x="331" y="633"/>
                      <a:pt x="327" y="632"/>
                    </a:cubicBezTo>
                    <a:cubicBezTo>
                      <a:pt x="327" y="631"/>
                      <a:pt x="327" y="631"/>
                      <a:pt x="327" y="631"/>
                    </a:cubicBezTo>
                    <a:cubicBezTo>
                      <a:pt x="316" y="628"/>
                      <a:pt x="307" y="631"/>
                      <a:pt x="294" y="631"/>
                    </a:cubicBezTo>
                    <a:cubicBezTo>
                      <a:pt x="296" y="629"/>
                      <a:pt x="296" y="629"/>
                      <a:pt x="296" y="629"/>
                    </a:cubicBezTo>
                    <a:cubicBezTo>
                      <a:pt x="292" y="627"/>
                      <a:pt x="295" y="632"/>
                      <a:pt x="289" y="630"/>
                    </a:cubicBezTo>
                    <a:cubicBezTo>
                      <a:pt x="289" y="628"/>
                      <a:pt x="289" y="628"/>
                      <a:pt x="289" y="628"/>
                    </a:cubicBezTo>
                    <a:cubicBezTo>
                      <a:pt x="284" y="631"/>
                      <a:pt x="283" y="627"/>
                      <a:pt x="280" y="626"/>
                    </a:cubicBezTo>
                    <a:cubicBezTo>
                      <a:pt x="282" y="629"/>
                      <a:pt x="282" y="629"/>
                      <a:pt x="282" y="629"/>
                    </a:cubicBezTo>
                    <a:cubicBezTo>
                      <a:pt x="276" y="628"/>
                      <a:pt x="276" y="628"/>
                      <a:pt x="276" y="628"/>
                    </a:cubicBezTo>
                    <a:cubicBezTo>
                      <a:pt x="269" y="626"/>
                      <a:pt x="272" y="624"/>
                      <a:pt x="273" y="622"/>
                    </a:cubicBezTo>
                    <a:cubicBezTo>
                      <a:pt x="268" y="624"/>
                      <a:pt x="268" y="624"/>
                      <a:pt x="268" y="624"/>
                    </a:cubicBezTo>
                    <a:cubicBezTo>
                      <a:pt x="268" y="621"/>
                      <a:pt x="268" y="621"/>
                      <a:pt x="268" y="621"/>
                    </a:cubicBezTo>
                    <a:cubicBezTo>
                      <a:pt x="264" y="624"/>
                      <a:pt x="264" y="621"/>
                      <a:pt x="259" y="622"/>
                    </a:cubicBezTo>
                    <a:cubicBezTo>
                      <a:pt x="258" y="621"/>
                      <a:pt x="260" y="620"/>
                      <a:pt x="258" y="620"/>
                    </a:cubicBezTo>
                    <a:cubicBezTo>
                      <a:pt x="248" y="622"/>
                      <a:pt x="248" y="622"/>
                      <a:pt x="248" y="622"/>
                    </a:cubicBezTo>
                    <a:cubicBezTo>
                      <a:pt x="254" y="621"/>
                      <a:pt x="254" y="621"/>
                      <a:pt x="254" y="621"/>
                    </a:cubicBezTo>
                    <a:cubicBezTo>
                      <a:pt x="253" y="625"/>
                      <a:pt x="253" y="625"/>
                      <a:pt x="253" y="625"/>
                    </a:cubicBezTo>
                    <a:cubicBezTo>
                      <a:pt x="247" y="628"/>
                      <a:pt x="245" y="624"/>
                      <a:pt x="241" y="625"/>
                    </a:cubicBezTo>
                    <a:cubicBezTo>
                      <a:pt x="244" y="624"/>
                      <a:pt x="244" y="624"/>
                      <a:pt x="244" y="624"/>
                    </a:cubicBezTo>
                    <a:cubicBezTo>
                      <a:pt x="237" y="624"/>
                      <a:pt x="237" y="622"/>
                      <a:pt x="233" y="621"/>
                    </a:cubicBezTo>
                    <a:cubicBezTo>
                      <a:pt x="234" y="622"/>
                      <a:pt x="236" y="623"/>
                      <a:pt x="233" y="623"/>
                    </a:cubicBezTo>
                    <a:cubicBezTo>
                      <a:pt x="231" y="623"/>
                      <a:pt x="232" y="622"/>
                      <a:pt x="230" y="621"/>
                    </a:cubicBezTo>
                    <a:cubicBezTo>
                      <a:pt x="229" y="624"/>
                      <a:pt x="224" y="624"/>
                      <a:pt x="220" y="622"/>
                    </a:cubicBezTo>
                    <a:cubicBezTo>
                      <a:pt x="220" y="622"/>
                      <a:pt x="220" y="622"/>
                      <a:pt x="220" y="622"/>
                    </a:cubicBezTo>
                    <a:cubicBezTo>
                      <a:pt x="219" y="622"/>
                      <a:pt x="219" y="622"/>
                      <a:pt x="217" y="621"/>
                    </a:cubicBezTo>
                    <a:cubicBezTo>
                      <a:pt x="218" y="619"/>
                      <a:pt x="218" y="619"/>
                      <a:pt x="218" y="619"/>
                    </a:cubicBezTo>
                    <a:cubicBezTo>
                      <a:pt x="214" y="621"/>
                      <a:pt x="214" y="621"/>
                      <a:pt x="214" y="621"/>
                    </a:cubicBezTo>
                    <a:cubicBezTo>
                      <a:pt x="212" y="620"/>
                      <a:pt x="208" y="621"/>
                      <a:pt x="209" y="619"/>
                    </a:cubicBezTo>
                    <a:cubicBezTo>
                      <a:pt x="210" y="619"/>
                      <a:pt x="210" y="619"/>
                      <a:pt x="210" y="619"/>
                    </a:cubicBezTo>
                    <a:cubicBezTo>
                      <a:pt x="204" y="618"/>
                      <a:pt x="198" y="616"/>
                      <a:pt x="192" y="615"/>
                    </a:cubicBezTo>
                    <a:cubicBezTo>
                      <a:pt x="192" y="612"/>
                      <a:pt x="192" y="612"/>
                      <a:pt x="192" y="612"/>
                    </a:cubicBezTo>
                    <a:cubicBezTo>
                      <a:pt x="189" y="615"/>
                      <a:pt x="183" y="609"/>
                      <a:pt x="182" y="613"/>
                    </a:cubicBezTo>
                    <a:cubicBezTo>
                      <a:pt x="180" y="610"/>
                      <a:pt x="169" y="611"/>
                      <a:pt x="173" y="607"/>
                    </a:cubicBezTo>
                    <a:cubicBezTo>
                      <a:pt x="168" y="605"/>
                      <a:pt x="164" y="604"/>
                      <a:pt x="160" y="603"/>
                    </a:cubicBezTo>
                    <a:cubicBezTo>
                      <a:pt x="159" y="603"/>
                      <a:pt x="157" y="602"/>
                      <a:pt x="156" y="602"/>
                    </a:cubicBezTo>
                    <a:cubicBezTo>
                      <a:pt x="156" y="601"/>
                      <a:pt x="155" y="601"/>
                      <a:pt x="154" y="598"/>
                    </a:cubicBezTo>
                    <a:cubicBezTo>
                      <a:pt x="155" y="596"/>
                      <a:pt x="154" y="592"/>
                      <a:pt x="153" y="588"/>
                    </a:cubicBezTo>
                    <a:cubicBezTo>
                      <a:pt x="151" y="583"/>
                      <a:pt x="150" y="578"/>
                      <a:pt x="149" y="573"/>
                    </a:cubicBezTo>
                    <a:cubicBezTo>
                      <a:pt x="143" y="556"/>
                      <a:pt x="140" y="544"/>
                      <a:pt x="136" y="525"/>
                    </a:cubicBezTo>
                    <a:cubicBezTo>
                      <a:pt x="140" y="512"/>
                      <a:pt x="131" y="495"/>
                      <a:pt x="133" y="482"/>
                    </a:cubicBezTo>
                    <a:cubicBezTo>
                      <a:pt x="131" y="479"/>
                      <a:pt x="131" y="479"/>
                      <a:pt x="131" y="479"/>
                    </a:cubicBezTo>
                    <a:cubicBezTo>
                      <a:pt x="133" y="470"/>
                      <a:pt x="128" y="457"/>
                      <a:pt x="131" y="445"/>
                    </a:cubicBezTo>
                    <a:cubicBezTo>
                      <a:pt x="130" y="442"/>
                      <a:pt x="130" y="440"/>
                      <a:pt x="130" y="440"/>
                    </a:cubicBezTo>
                    <a:cubicBezTo>
                      <a:pt x="129" y="440"/>
                      <a:pt x="129" y="441"/>
                      <a:pt x="128" y="442"/>
                    </a:cubicBezTo>
                    <a:cubicBezTo>
                      <a:pt x="129" y="438"/>
                      <a:pt x="127" y="431"/>
                      <a:pt x="130" y="431"/>
                    </a:cubicBezTo>
                    <a:cubicBezTo>
                      <a:pt x="130" y="432"/>
                      <a:pt x="130" y="432"/>
                      <a:pt x="130" y="432"/>
                    </a:cubicBezTo>
                    <a:cubicBezTo>
                      <a:pt x="133" y="433"/>
                      <a:pt x="128" y="422"/>
                      <a:pt x="130" y="418"/>
                    </a:cubicBezTo>
                    <a:cubicBezTo>
                      <a:pt x="128" y="420"/>
                      <a:pt x="128" y="420"/>
                      <a:pt x="128" y="420"/>
                    </a:cubicBezTo>
                    <a:cubicBezTo>
                      <a:pt x="128" y="414"/>
                      <a:pt x="128" y="414"/>
                      <a:pt x="128" y="414"/>
                    </a:cubicBezTo>
                    <a:cubicBezTo>
                      <a:pt x="129" y="415"/>
                      <a:pt x="129" y="415"/>
                      <a:pt x="129" y="415"/>
                    </a:cubicBezTo>
                    <a:cubicBezTo>
                      <a:pt x="121" y="387"/>
                      <a:pt x="130" y="374"/>
                      <a:pt x="124" y="347"/>
                    </a:cubicBezTo>
                    <a:cubicBezTo>
                      <a:pt x="127" y="351"/>
                      <a:pt x="122" y="342"/>
                      <a:pt x="125" y="342"/>
                    </a:cubicBezTo>
                    <a:cubicBezTo>
                      <a:pt x="130" y="335"/>
                      <a:pt x="124" y="329"/>
                      <a:pt x="123" y="323"/>
                    </a:cubicBezTo>
                    <a:cubicBezTo>
                      <a:pt x="123" y="323"/>
                      <a:pt x="123" y="323"/>
                      <a:pt x="122" y="323"/>
                    </a:cubicBezTo>
                    <a:cubicBezTo>
                      <a:pt x="123" y="313"/>
                      <a:pt x="123" y="313"/>
                      <a:pt x="123" y="313"/>
                    </a:cubicBezTo>
                    <a:cubicBezTo>
                      <a:pt x="127" y="319"/>
                      <a:pt x="119" y="306"/>
                      <a:pt x="123" y="312"/>
                    </a:cubicBezTo>
                    <a:cubicBezTo>
                      <a:pt x="126" y="286"/>
                      <a:pt x="123" y="253"/>
                      <a:pt x="125" y="224"/>
                    </a:cubicBezTo>
                    <a:cubicBezTo>
                      <a:pt x="124" y="225"/>
                      <a:pt x="124" y="225"/>
                      <a:pt x="124" y="225"/>
                    </a:cubicBezTo>
                    <a:cubicBezTo>
                      <a:pt x="124" y="218"/>
                      <a:pt x="123" y="209"/>
                      <a:pt x="124" y="203"/>
                    </a:cubicBezTo>
                    <a:cubicBezTo>
                      <a:pt x="126" y="197"/>
                      <a:pt x="122" y="190"/>
                      <a:pt x="122" y="188"/>
                    </a:cubicBezTo>
                    <a:cubicBezTo>
                      <a:pt x="120" y="182"/>
                      <a:pt x="124" y="177"/>
                      <a:pt x="124" y="179"/>
                    </a:cubicBezTo>
                    <a:cubicBezTo>
                      <a:pt x="123" y="173"/>
                      <a:pt x="119" y="166"/>
                      <a:pt x="121" y="157"/>
                    </a:cubicBezTo>
                    <a:cubicBezTo>
                      <a:pt x="125" y="154"/>
                      <a:pt x="118" y="132"/>
                      <a:pt x="123" y="132"/>
                    </a:cubicBezTo>
                    <a:cubicBezTo>
                      <a:pt x="122" y="132"/>
                      <a:pt x="122" y="132"/>
                      <a:pt x="122" y="132"/>
                    </a:cubicBezTo>
                    <a:cubicBezTo>
                      <a:pt x="125" y="122"/>
                      <a:pt x="122" y="112"/>
                      <a:pt x="123" y="102"/>
                    </a:cubicBezTo>
                    <a:cubicBezTo>
                      <a:pt x="126" y="105"/>
                      <a:pt x="129" y="109"/>
                      <a:pt x="130" y="114"/>
                    </a:cubicBezTo>
                    <a:cubicBezTo>
                      <a:pt x="128" y="117"/>
                      <a:pt x="139" y="131"/>
                      <a:pt x="141" y="131"/>
                    </a:cubicBezTo>
                    <a:cubicBezTo>
                      <a:pt x="143" y="128"/>
                      <a:pt x="143" y="128"/>
                      <a:pt x="143" y="128"/>
                    </a:cubicBezTo>
                    <a:cubicBezTo>
                      <a:pt x="147" y="133"/>
                      <a:pt x="146" y="137"/>
                      <a:pt x="151" y="140"/>
                    </a:cubicBezTo>
                    <a:cubicBezTo>
                      <a:pt x="150" y="140"/>
                      <a:pt x="150" y="140"/>
                      <a:pt x="150" y="140"/>
                    </a:cubicBezTo>
                    <a:cubicBezTo>
                      <a:pt x="150" y="140"/>
                      <a:pt x="151" y="141"/>
                      <a:pt x="151" y="141"/>
                    </a:cubicBezTo>
                    <a:cubicBezTo>
                      <a:pt x="152" y="141"/>
                      <a:pt x="156" y="140"/>
                      <a:pt x="154" y="149"/>
                    </a:cubicBezTo>
                    <a:cubicBezTo>
                      <a:pt x="153" y="149"/>
                      <a:pt x="153" y="149"/>
                      <a:pt x="153" y="149"/>
                    </a:cubicBezTo>
                    <a:cubicBezTo>
                      <a:pt x="153" y="150"/>
                      <a:pt x="154" y="149"/>
                      <a:pt x="154" y="150"/>
                    </a:cubicBezTo>
                    <a:cubicBezTo>
                      <a:pt x="154" y="148"/>
                      <a:pt x="154" y="148"/>
                      <a:pt x="154" y="148"/>
                    </a:cubicBezTo>
                    <a:cubicBezTo>
                      <a:pt x="156" y="148"/>
                      <a:pt x="157" y="148"/>
                      <a:pt x="158" y="149"/>
                    </a:cubicBezTo>
                    <a:cubicBezTo>
                      <a:pt x="158" y="149"/>
                      <a:pt x="157" y="150"/>
                      <a:pt x="157" y="150"/>
                    </a:cubicBezTo>
                    <a:cubicBezTo>
                      <a:pt x="159" y="152"/>
                      <a:pt x="159" y="152"/>
                      <a:pt x="159" y="152"/>
                    </a:cubicBezTo>
                    <a:cubicBezTo>
                      <a:pt x="158" y="154"/>
                      <a:pt x="158" y="154"/>
                      <a:pt x="158" y="154"/>
                    </a:cubicBezTo>
                    <a:cubicBezTo>
                      <a:pt x="159" y="154"/>
                      <a:pt x="163" y="151"/>
                      <a:pt x="162" y="154"/>
                    </a:cubicBezTo>
                    <a:cubicBezTo>
                      <a:pt x="164" y="152"/>
                      <a:pt x="164" y="154"/>
                      <a:pt x="165" y="153"/>
                    </a:cubicBezTo>
                    <a:cubicBezTo>
                      <a:pt x="165" y="153"/>
                      <a:pt x="164" y="154"/>
                      <a:pt x="164" y="154"/>
                    </a:cubicBezTo>
                    <a:cubicBezTo>
                      <a:pt x="165" y="155"/>
                      <a:pt x="167" y="157"/>
                      <a:pt x="169" y="156"/>
                    </a:cubicBezTo>
                    <a:cubicBezTo>
                      <a:pt x="169" y="156"/>
                      <a:pt x="171" y="148"/>
                      <a:pt x="173" y="146"/>
                    </a:cubicBezTo>
                    <a:cubicBezTo>
                      <a:pt x="174" y="147"/>
                      <a:pt x="174" y="146"/>
                      <a:pt x="175" y="145"/>
                    </a:cubicBezTo>
                    <a:cubicBezTo>
                      <a:pt x="174" y="145"/>
                      <a:pt x="174" y="145"/>
                      <a:pt x="174" y="145"/>
                    </a:cubicBezTo>
                    <a:cubicBezTo>
                      <a:pt x="174" y="144"/>
                      <a:pt x="175" y="143"/>
                      <a:pt x="176" y="142"/>
                    </a:cubicBezTo>
                    <a:cubicBezTo>
                      <a:pt x="175" y="142"/>
                      <a:pt x="175" y="142"/>
                      <a:pt x="175" y="142"/>
                    </a:cubicBezTo>
                    <a:cubicBezTo>
                      <a:pt x="175" y="142"/>
                      <a:pt x="175" y="142"/>
                      <a:pt x="175" y="142"/>
                    </a:cubicBezTo>
                    <a:cubicBezTo>
                      <a:pt x="175" y="142"/>
                      <a:pt x="175" y="143"/>
                      <a:pt x="175" y="143"/>
                    </a:cubicBezTo>
                    <a:cubicBezTo>
                      <a:pt x="174" y="143"/>
                      <a:pt x="174" y="143"/>
                      <a:pt x="174" y="143"/>
                    </a:cubicBezTo>
                    <a:cubicBezTo>
                      <a:pt x="174" y="143"/>
                      <a:pt x="174" y="143"/>
                      <a:pt x="174" y="143"/>
                    </a:cubicBezTo>
                    <a:cubicBezTo>
                      <a:pt x="174" y="142"/>
                      <a:pt x="174" y="142"/>
                      <a:pt x="174" y="141"/>
                    </a:cubicBezTo>
                    <a:cubicBezTo>
                      <a:pt x="175" y="140"/>
                      <a:pt x="175" y="140"/>
                      <a:pt x="175" y="140"/>
                    </a:cubicBezTo>
                    <a:cubicBezTo>
                      <a:pt x="172" y="141"/>
                      <a:pt x="176" y="133"/>
                      <a:pt x="175" y="132"/>
                    </a:cubicBezTo>
                    <a:cubicBezTo>
                      <a:pt x="176" y="130"/>
                      <a:pt x="174" y="131"/>
                      <a:pt x="174" y="129"/>
                    </a:cubicBezTo>
                    <a:cubicBezTo>
                      <a:pt x="173" y="127"/>
                      <a:pt x="175" y="127"/>
                      <a:pt x="176" y="125"/>
                    </a:cubicBezTo>
                    <a:cubicBezTo>
                      <a:pt x="176" y="123"/>
                      <a:pt x="174" y="126"/>
                      <a:pt x="174" y="126"/>
                    </a:cubicBezTo>
                    <a:cubicBezTo>
                      <a:pt x="175" y="123"/>
                      <a:pt x="175" y="123"/>
                      <a:pt x="175" y="123"/>
                    </a:cubicBezTo>
                    <a:cubicBezTo>
                      <a:pt x="176" y="124"/>
                      <a:pt x="176" y="123"/>
                      <a:pt x="176" y="123"/>
                    </a:cubicBezTo>
                    <a:cubicBezTo>
                      <a:pt x="176" y="121"/>
                      <a:pt x="177" y="117"/>
                      <a:pt x="174" y="119"/>
                    </a:cubicBezTo>
                    <a:cubicBezTo>
                      <a:pt x="174" y="116"/>
                      <a:pt x="175" y="116"/>
                      <a:pt x="175" y="115"/>
                    </a:cubicBezTo>
                    <a:cubicBezTo>
                      <a:pt x="175" y="115"/>
                      <a:pt x="175" y="116"/>
                      <a:pt x="174" y="116"/>
                    </a:cubicBezTo>
                    <a:cubicBezTo>
                      <a:pt x="175" y="115"/>
                      <a:pt x="174" y="116"/>
                      <a:pt x="173" y="117"/>
                    </a:cubicBezTo>
                    <a:cubicBezTo>
                      <a:pt x="172" y="116"/>
                      <a:pt x="175" y="108"/>
                      <a:pt x="172" y="110"/>
                    </a:cubicBezTo>
                    <a:cubicBezTo>
                      <a:pt x="172" y="109"/>
                      <a:pt x="172" y="109"/>
                      <a:pt x="172" y="109"/>
                    </a:cubicBezTo>
                    <a:cubicBezTo>
                      <a:pt x="170" y="111"/>
                      <a:pt x="168" y="112"/>
                      <a:pt x="166" y="112"/>
                    </a:cubicBezTo>
                    <a:cubicBezTo>
                      <a:pt x="167" y="111"/>
                      <a:pt x="167" y="111"/>
                      <a:pt x="167" y="111"/>
                    </a:cubicBezTo>
                    <a:cubicBezTo>
                      <a:pt x="166" y="111"/>
                      <a:pt x="166" y="111"/>
                      <a:pt x="166" y="111"/>
                    </a:cubicBezTo>
                    <a:cubicBezTo>
                      <a:pt x="166" y="110"/>
                      <a:pt x="167" y="110"/>
                      <a:pt x="167" y="110"/>
                    </a:cubicBezTo>
                    <a:cubicBezTo>
                      <a:pt x="165" y="109"/>
                      <a:pt x="166" y="107"/>
                      <a:pt x="165" y="105"/>
                    </a:cubicBezTo>
                    <a:cubicBezTo>
                      <a:pt x="160" y="110"/>
                      <a:pt x="160" y="110"/>
                      <a:pt x="160" y="110"/>
                    </a:cubicBezTo>
                    <a:cubicBezTo>
                      <a:pt x="160" y="108"/>
                      <a:pt x="162" y="104"/>
                      <a:pt x="160" y="105"/>
                    </a:cubicBezTo>
                    <a:cubicBezTo>
                      <a:pt x="161" y="103"/>
                      <a:pt x="161" y="103"/>
                      <a:pt x="161" y="103"/>
                    </a:cubicBezTo>
                    <a:cubicBezTo>
                      <a:pt x="164" y="98"/>
                      <a:pt x="159" y="102"/>
                      <a:pt x="159" y="101"/>
                    </a:cubicBezTo>
                    <a:cubicBezTo>
                      <a:pt x="161" y="98"/>
                      <a:pt x="161" y="98"/>
                      <a:pt x="161" y="98"/>
                    </a:cubicBezTo>
                    <a:cubicBezTo>
                      <a:pt x="161" y="99"/>
                      <a:pt x="161" y="99"/>
                      <a:pt x="161" y="99"/>
                    </a:cubicBezTo>
                    <a:cubicBezTo>
                      <a:pt x="162" y="97"/>
                      <a:pt x="162" y="96"/>
                      <a:pt x="163" y="95"/>
                    </a:cubicBezTo>
                    <a:cubicBezTo>
                      <a:pt x="163" y="95"/>
                      <a:pt x="163" y="95"/>
                      <a:pt x="163" y="95"/>
                    </a:cubicBezTo>
                    <a:cubicBezTo>
                      <a:pt x="163" y="95"/>
                      <a:pt x="163" y="95"/>
                      <a:pt x="163" y="95"/>
                    </a:cubicBezTo>
                    <a:cubicBezTo>
                      <a:pt x="163" y="95"/>
                      <a:pt x="163" y="95"/>
                      <a:pt x="163" y="95"/>
                    </a:cubicBezTo>
                    <a:cubicBezTo>
                      <a:pt x="161" y="95"/>
                      <a:pt x="160" y="95"/>
                      <a:pt x="160" y="94"/>
                    </a:cubicBezTo>
                    <a:cubicBezTo>
                      <a:pt x="159" y="93"/>
                      <a:pt x="157" y="93"/>
                      <a:pt x="158" y="89"/>
                    </a:cubicBezTo>
                    <a:cubicBezTo>
                      <a:pt x="156" y="90"/>
                      <a:pt x="156" y="90"/>
                      <a:pt x="156" y="90"/>
                    </a:cubicBezTo>
                    <a:cubicBezTo>
                      <a:pt x="156" y="88"/>
                      <a:pt x="156" y="88"/>
                      <a:pt x="156" y="88"/>
                    </a:cubicBezTo>
                    <a:cubicBezTo>
                      <a:pt x="158" y="87"/>
                      <a:pt x="158" y="87"/>
                      <a:pt x="158" y="87"/>
                    </a:cubicBezTo>
                    <a:cubicBezTo>
                      <a:pt x="159" y="88"/>
                      <a:pt x="161" y="91"/>
                      <a:pt x="162" y="93"/>
                    </a:cubicBezTo>
                    <a:cubicBezTo>
                      <a:pt x="163" y="92"/>
                      <a:pt x="163" y="92"/>
                      <a:pt x="163" y="92"/>
                    </a:cubicBezTo>
                    <a:cubicBezTo>
                      <a:pt x="163" y="91"/>
                      <a:pt x="161" y="90"/>
                      <a:pt x="161" y="89"/>
                    </a:cubicBezTo>
                    <a:cubicBezTo>
                      <a:pt x="161" y="89"/>
                      <a:pt x="162" y="87"/>
                      <a:pt x="164" y="87"/>
                    </a:cubicBezTo>
                    <a:cubicBezTo>
                      <a:pt x="162" y="87"/>
                      <a:pt x="162" y="87"/>
                      <a:pt x="162" y="87"/>
                    </a:cubicBezTo>
                    <a:cubicBezTo>
                      <a:pt x="159" y="83"/>
                      <a:pt x="159" y="83"/>
                      <a:pt x="159" y="78"/>
                    </a:cubicBezTo>
                    <a:cubicBezTo>
                      <a:pt x="158" y="79"/>
                      <a:pt x="158" y="79"/>
                      <a:pt x="158" y="79"/>
                    </a:cubicBezTo>
                    <a:cubicBezTo>
                      <a:pt x="157" y="78"/>
                      <a:pt x="156" y="78"/>
                      <a:pt x="158" y="77"/>
                    </a:cubicBezTo>
                    <a:cubicBezTo>
                      <a:pt x="157" y="74"/>
                      <a:pt x="156" y="71"/>
                      <a:pt x="158" y="68"/>
                    </a:cubicBezTo>
                    <a:cubicBezTo>
                      <a:pt x="156" y="69"/>
                      <a:pt x="156" y="69"/>
                      <a:pt x="156" y="69"/>
                    </a:cubicBezTo>
                    <a:cubicBezTo>
                      <a:pt x="155" y="69"/>
                      <a:pt x="158" y="66"/>
                      <a:pt x="155" y="68"/>
                    </a:cubicBezTo>
                    <a:cubicBezTo>
                      <a:pt x="153" y="67"/>
                      <a:pt x="153" y="67"/>
                      <a:pt x="153" y="67"/>
                    </a:cubicBezTo>
                    <a:cubicBezTo>
                      <a:pt x="153" y="66"/>
                      <a:pt x="152" y="66"/>
                      <a:pt x="153" y="65"/>
                    </a:cubicBezTo>
                    <a:cubicBezTo>
                      <a:pt x="153" y="65"/>
                      <a:pt x="153" y="65"/>
                      <a:pt x="153" y="65"/>
                    </a:cubicBezTo>
                    <a:cubicBezTo>
                      <a:pt x="153" y="65"/>
                      <a:pt x="153" y="65"/>
                      <a:pt x="153" y="65"/>
                    </a:cubicBezTo>
                    <a:cubicBezTo>
                      <a:pt x="153" y="65"/>
                      <a:pt x="153" y="65"/>
                      <a:pt x="153" y="65"/>
                    </a:cubicBezTo>
                    <a:cubicBezTo>
                      <a:pt x="153" y="65"/>
                      <a:pt x="153" y="65"/>
                      <a:pt x="153" y="65"/>
                    </a:cubicBezTo>
                    <a:cubicBezTo>
                      <a:pt x="153" y="64"/>
                      <a:pt x="152" y="64"/>
                      <a:pt x="152" y="64"/>
                    </a:cubicBezTo>
                    <a:cubicBezTo>
                      <a:pt x="151" y="64"/>
                      <a:pt x="151" y="65"/>
                      <a:pt x="151" y="63"/>
                    </a:cubicBezTo>
                    <a:cubicBezTo>
                      <a:pt x="151" y="61"/>
                      <a:pt x="147" y="63"/>
                      <a:pt x="147" y="62"/>
                    </a:cubicBezTo>
                    <a:cubicBezTo>
                      <a:pt x="148" y="60"/>
                      <a:pt x="148" y="59"/>
                      <a:pt x="149" y="58"/>
                    </a:cubicBezTo>
                    <a:cubicBezTo>
                      <a:pt x="149" y="54"/>
                      <a:pt x="146" y="56"/>
                      <a:pt x="144" y="52"/>
                    </a:cubicBezTo>
                    <a:cubicBezTo>
                      <a:pt x="144" y="49"/>
                      <a:pt x="145" y="45"/>
                      <a:pt x="148" y="44"/>
                    </a:cubicBezTo>
                    <a:cubicBezTo>
                      <a:pt x="145" y="45"/>
                      <a:pt x="146" y="45"/>
                      <a:pt x="144" y="44"/>
                    </a:cubicBezTo>
                    <a:cubicBezTo>
                      <a:pt x="144" y="43"/>
                      <a:pt x="145" y="43"/>
                      <a:pt x="146" y="42"/>
                    </a:cubicBezTo>
                    <a:cubicBezTo>
                      <a:pt x="146" y="38"/>
                      <a:pt x="144" y="42"/>
                      <a:pt x="143" y="40"/>
                    </a:cubicBezTo>
                    <a:cubicBezTo>
                      <a:pt x="141" y="42"/>
                      <a:pt x="139" y="45"/>
                      <a:pt x="138" y="45"/>
                    </a:cubicBezTo>
                    <a:cubicBezTo>
                      <a:pt x="138" y="46"/>
                      <a:pt x="138" y="46"/>
                      <a:pt x="138" y="46"/>
                    </a:cubicBezTo>
                    <a:cubicBezTo>
                      <a:pt x="136" y="46"/>
                      <a:pt x="135" y="45"/>
                      <a:pt x="135" y="42"/>
                    </a:cubicBezTo>
                    <a:cubicBezTo>
                      <a:pt x="136" y="40"/>
                      <a:pt x="136" y="40"/>
                      <a:pt x="136" y="40"/>
                    </a:cubicBezTo>
                    <a:cubicBezTo>
                      <a:pt x="134" y="39"/>
                      <a:pt x="134" y="39"/>
                      <a:pt x="134" y="39"/>
                    </a:cubicBezTo>
                    <a:cubicBezTo>
                      <a:pt x="135" y="37"/>
                      <a:pt x="135" y="37"/>
                      <a:pt x="135" y="37"/>
                    </a:cubicBezTo>
                    <a:cubicBezTo>
                      <a:pt x="133" y="35"/>
                      <a:pt x="133" y="35"/>
                      <a:pt x="133" y="35"/>
                    </a:cubicBezTo>
                    <a:cubicBezTo>
                      <a:pt x="133" y="36"/>
                      <a:pt x="133" y="36"/>
                      <a:pt x="133" y="36"/>
                    </a:cubicBezTo>
                    <a:cubicBezTo>
                      <a:pt x="133" y="35"/>
                      <a:pt x="132" y="34"/>
                      <a:pt x="131" y="32"/>
                    </a:cubicBezTo>
                    <a:cubicBezTo>
                      <a:pt x="132" y="31"/>
                      <a:pt x="132" y="31"/>
                      <a:pt x="132" y="31"/>
                    </a:cubicBezTo>
                    <a:cubicBezTo>
                      <a:pt x="132" y="27"/>
                      <a:pt x="131" y="25"/>
                      <a:pt x="129" y="24"/>
                    </a:cubicBezTo>
                    <a:cubicBezTo>
                      <a:pt x="128" y="24"/>
                      <a:pt x="127" y="23"/>
                      <a:pt x="126" y="21"/>
                    </a:cubicBezTo>
                    <a:cubicBezTo>
                      <a:pt x="127" y="19"/>
                      <a:pt x="127" y="19"/>
                      <a:pt x="127" y="19"/>
                    </a:cubicBezTo>
                    <a:cubicBezTo>
                      <a:pt x="127" y="15"/>
                      <a:pt x="126" y="23"/>
                      <a:pt x="125" y="20"/>
                    </a:cubicBezTo>
                    <a:cubicBezTo>
                      <a:pt x="126" y="16"/>
                      <a:pt x="126" y="16"/>
                      <a:pt x="126" y="16"/>
                    </a:cubicBezTo>
                    <a:cubicBezTo>
                      <a:pt x="124" y="20"/>
                      <a:pt x="125" y="13"/>
                      <a:pt x="125" y="10"/>
                    </a:cubicBezTo>
                    <a:cubicBezTo>
                      <a:pt x="124" y="16"/>
                      <a:pt x="124" y="16"/>
                      <a:pt x="124" y="16"/>
                    </a:cubicBezTo>
                    <a:cubicBezTo>
                      <a:pt x="123" y="13"/>
                      <a:pt x="123" y="13"/>
                      <a:pt x="123" y="13"/>
                    </a:cubicBezTo>
                    <a:cubicBezTo>
                      <a:pt x="122" y="9"/>
                      <a:pt x="124" y="5"/>
                      <a:pt x="124" y="3"/>
                    </a:cubicBezTo>
                    <a:cubicBezTo>
                      <a:pt x="124" y="3"/>
                      <a:pt x="123" y="4"/>
                      <a:pt x="123" y="5"/>
                    </a:cubicBezTo>
                    <a:cubicBezTo>
                      <a:pt x="123" y="0"/>
                      <a:pt x="123" y="0"/>
                      <a:pt x="123" y="0"/>
                    </a:cubicBezTo>
                    <a:cubicBezTo>
                      <a:pt x="123" y="1"/>
                      <a:pt x="123" y="1"/>
                      <a:pt x="123" y="1"/>
                    </a:cubicBezTo>
                    <a:cubicBezTo>
                      <a:pt x="123" y="2"/>
                      <a:pt x="123" y="2"/>
                      <a:pt x="122" y="2"/>
                    </a:cubicBezTo>
                    <a:cubicBezTo>
                      <a:pt x="122" y="3"/>
                      <a:pt x="122" y="3"/>
                      <a:pt x="122" y="3"/>
                    </a:cubicBezTo>
                    <a:cubicBezTo>
                      <a:pt x="122" y="2"/>
                      <a:pt x="121" y="2"/>
                      <a:pt x="121" y="4"/>
                    </a:cubicBezTo>
                    <a:cubicBezTo>
                      <a:pt x="121" y="3"/>
                      <a:pt x="121" y="1"/>
                      <a:pt x="121" y="1"/>
                    </a:cubicBezTo>
                    <a:cubicBezTo>
                      <a:pt x="117" y="11"/>
                      <a:pt x="117" y="11"/>
                      <a:pt x="117" y="11"/>
                    </a:cubicBezTo>
                    <a:cubicBezTo>
                      <a:pt x="119" y="6"/>
                      <a:pt x="119" y="6"/>
                      <a:pt x="119" y="6"/>
                    </a:cubicBezTo>
                    <a:cubicBezTo>
                      <a:pt x="118" y="13"/>
                      <a:pt x="118" y="13"/>
                      <a:pt x="118" y="13"/>
                    </a:cubicBezTo>
                    <a:cubicBezTo>
                      <a:pt x="116" y="20"/>
                      <a:pt x="116" y="14"/>
                      <a:pt x="115" y="17"/>
                    </a:cubicBezTo>
                    <a:cubicBezTo>
                      <a:pt x="116" y="15"/>
                      <a:pt x="116" y="15"/>
                      <a:pt x="116" y="15"/>
                    </a:cubicBezTo>
                    <a:cubicBezTo>
                      <a:pt x="114" y="18"/>
                      <a:pt x="114" y="16"/>
                      <a:pt x="113" y="16"/>
                    </a:cubicBezTo>
                    <a:cubicBezTo>
                      <a:pt x="113" y="16"/>
                      <a:pt x="114" y="18"/>
                      <a:pt x="113" y="19"/>
                    </a:cubicBezTo>
                    <a:cubicBezTo>
                      <a:pt x="113" y="20"/>
                      <a:pt x="113" y="17"/>
                      <a:pt x="112" y="17"/>
                    </a:cubicBezTo>
                    <a:cubicBezTo>
                      <a:pt x="112" y="21"/>
                      <a:pt x="111" y="25"/>
                      <a:pt x="110" y="24"/>
                    </a:cubicBezTo>
                    <a:cubicBezTo>
                      <a:pt x="110" y="24"/>
                      <a:pt x="110" y="23"/>
                      <a:pt x="110" y="23"/>
                    </a:cubicBezTo>
                    <a:cubicBezTo>
                      <a:pt x="110" y="24"/>
                      <a:pt x="109" y="25"/>
                      <a:pt x="109" y="25"/>
                    </a:cubicBezTo>
                    <a:cubicBezTo>
                      <a:pt x="109" y="20"/>
                      <a:pt x="109" y="20"/>
                      <a:pt x="109" y="20"/>
                    </a:cubicBezTo>
                    <a:cubicBezTo>
                      <a:pt x="108" y="25"/>
                      <a:pt x="108" y="25"/>
                      <a:pt x="108" y="25"/>
                    </a:cubicBezTo>
                    <a:cubicBezTo>
                      <a:pt x="107" y="25"/>
                      <a:pt x="107" y="29"/>
                      <a:pt x="107" y="26"/>
                    </a:cubicBezTo>
                    <a:cubicBezTo>
                      <a:pt x="107" y="25"/>
                      <a:pt x="107" y="25"/>
                      <a:pt x="107" y="25"/>
                    </a:cubicBezTo>
                    <a:cubicBezTo>
                      <a:pt x="102" y="30"/>
                      <a:pt x="102" y="30"/>
                      <a:pt x="102" y="30"/>
                    </a:cubicBezTo>
                    <a:cubicBezTo>
                      <a:pt x="101" y="27"/>
                      <a:pt x="101" y="27"/>
                      <a:pt x="101" y="27"/>
                    </a:cubicBezTo>
                    <a:cubicBezTo>
                      <a:pt x="101" y="31"/>
                      <a:pt x="98" y="29"/>
                      <a:pt x="99" y="33"/>
                    </a:cubicBezTo>
                    <a:cubicBezTo>
                      <a:pt x="97" y="32"/>
                      <a:pt x="96" y="39"/>
                      <a:pt x="95" y="34"/>
                    </a:cubicBezTo>
                    <a:cubicBezTo>
                      <a:pt x="93" y="35"/>
                      <a:pt x="92" y="38"/>
                      <a:pt x="91" y="40"/>
                    </a:cubicBezTo>
                    <a:cubicBezTo>
                      <a:pt x="89" y="42"/>
                      <a:pt x="88" y="44"/>
                      <a:pt x="85" y="46"/>
                    </a:cubicBezTo>
                    <a:cubicBezTo>
                      <a:pt x="84" y="45"/>
                      <a:pt x="82" y="46"/>
                      <a:pt x="80" y="47"/>
                    </a:cubicBezTo>
                    <a:cubicBezTo>
                      <a:pt x="79" y="48"/>
                      <a:pt x="78" y="49"/>
                      <a:pt x="77" y="49"/>
                    </a:cubicBezTo>
                    <a:cubicBezTo>
                      <a:pt x="77" y="50"/>
                      <a:pt x="76" y="50"/>
                      <a:pt x="76" y="50"/>
                    </a:cubicBezTo>
                    <a:cubicBezTo>
                      <a:pt x="74" y="54"/>
                      <a:pt x="73" y="57"/>
                      <a:pt x="71" y="61"/>
                    </a:cubicBezTo>
                    <a:cubicBezTo>
                      <a:pt x="65" y="58"/>
                      <a:pt x="67" y="66"/>
                      <a:pt x="63" y="66"/>
                    </a:cubicBezTo>
                    <a:cubicBezTo>
                      <a:pt x="64" y="68"/>
                      <a:pt x="64" y="68"/>
                      <a:pt x="64" y="68"/>
                    </a:cubicBezTo>
                    <a:cubicBezTo>
                      <a:pt x="60" y="66"/>
                      <a:pt x="61" y="71"/>
                      <a:pt x="57" y="70"/>
                    </a:cubicBezTo>
                    <a:cubicBezTo>
                      <a:pt x="57" y="71"/>
                      <a:pt x="57" y="72"/>
                      <a:pt x="57" y="72"/>
                    </a:cubicBezTo>
                    <a:cubicBezTo>
                      <a:pt x="57" y="72"/>
                      <a:pt x="57" y="72"/>
                      <a:pt x="58" y="73"/>
                    </a:cubicBezTo>
                    <a:cubicBezTo>
                      <a:pt x="57" y="73"/>
                      <a:pt x="56" y="75"/>
                      <a:pt x="55" y="72"/>
                    </a:cubicBezTo>
                    <a:cubicBezTo>
                      <a:pt x="55" y="72"/>
                      <a:pt x="55" y="72"/>
                      <a:pt x="55" y="72"/>
                    </a:cubicBezTo>
                    <a:cubicBezTo>
                      <a:pt x="53" y="70"/>
                      <a:pt x="54" y="74"/>
                      <a:pt x="52" y="73"/>
                    </a:cubicBezTo>
                    <a:cubicBezTo>
                      <a:pt x="54" y="75"/>
                      <a:pt x="54" y="75"/>
                      <a:pt x="54" y="75"/>
                    </a:cubicBezTo>
                    <a:cubicBezTo>
                      <a:pt x="53" y="76"/>
                      <a:pt x="53" y="76"/>
                      <a:pt x="53" y="76"/>
                    </a:cubicBezTo>
                    <a:cubicBezTo>
                      <a:pt x="52" y="75"/>
                      <a:pt x="52" y="75"/>
                      <a:pt x="52" y="75"/>
                    </a:cubicBezTo>
                    <a:cubicBezTo>
                      <a:pt x="52" y="84"/>
                      <a:pt x="44" y="78"/>
                      <a:pt x="43" y="86"/>
                    </a:cubicBezTo>
                    <a:cubicBezTo>
                      <a:pt x="42" y="83"/>
                      <a:pt x="43" y="88"/>
                      <a:pt x="41" y="85"/>
                    </a:cubicBezTo>
                    <a:cubicBezTo>
                      <a:pt x="37" y="83"/>
                      <a:pt x="39" y="87"/>
                      <a:pt x="39" y="89"/>
                    </a:cubicBezTo>
                    <a:cubicBezTo>
                      <a:pt x="39" y="89"/>
                      <a:pt x="39" y="89"/>
                      <a:pt x="39" y="90"/>
                    </a:cubicBezTo>
                    <a:cubicBezTo>
                      <a:pt x="37" y="91"/>
                      <a:pt x="37" y="91"/>
                      <a:pt x="37" y="91"/>
                    </a:cubicBezTo>
                    <a:cubicBezTo>
                      <a:pt x="36" y="86"/>
                      <a:pt x="38" y="94"/>
                      <a:pt x="37" y="91"/>
                    </a:cubicBezTo>
                    <a:cubicBezTo>
                      <a:pt x="31" y="91"/>
                      <a:pt x="27" y="98"/>
                      <a:pt x="21" y="100"/>
                    </a:cubicBezTo>
                    <a:cubicBezTo>
                      <a:pt x="22" y="101"/>
                      <a:pt x="22" y="101"/>
                      <a:pt x="22" y="101"/>
                    </a:cubicBezTo>
                    <a:cubicBezTo>
                      <a:pt x="20" y="101"/>
                      <a:pt x="19" y="104"/>
                      <a:pt x="18" y="103"/>
                    </a:cubicBezTo>
                    <a:cubicBezTo>
                      <a:pt x="16" y="102"/>
                      <a:pt x="17" y="106"/>
                      <a:pt x="17" y="107"/>
                    </a:cubicBezTo>
                    <a:cubicBezTo>
                      <a:pt x="16" y="109"/>
                      <a:pt x="13" y="107"/>
                      <a:pt x="14" y="106"/>
                    </a:cubicBezTo>
                    <a:cubicBezTo>
                      <a:pt x="13" y="108"/>
                      <a:pt x="14" y="112"/>
                      <a:pt x="12" y="111"/>
                    </a:cubicBezTo>
                    <a:cubicBezTo>
                      <a:pt x="9" y="109"/>
                      <a:pt x="9" y="117"/>
                      <a:pt x="7" y="114"/>
                    </a:cubicBezTo>
                    <a:cubicBezTo>
                      <a:pt x="7" y="114"/>
                      <a:pt x="7" y="114"/>
                      <a:pt x="7" y="114"/>
                    </a:cubicBezTo>
                    <a:cubicBezTo>
                      <a:pt x="3" y="113"/>
                      <a:pt x="4" y="118"/>
                      <a:pt x="0" y="117"/>
                    </a:cubicBezTo>
                    <a:cubicBezTo>
                      <a:pt x="0" y="117"/>
                      <a:pt x="0" y="117"/>
                      <a:pt x="0" y="117"/>
                    </a:cubicBezTo>
                    <a:cubicBezTo>
                      <a:pt x="1" y="121"/>
                      <a:pt x="1" y="126"/>
                      <a:pt x="2" y="130"/>
                    </a:cubicBezTo>
                    <a:cubicBezTo>
                      <a:pt x="10" y="141"/>
                      <a:pt x="10" y="141"/>
                      <a:pt x="10" y="141"/>
                    </a:cubicBezTo>
                    <a:cubicBezTo>
                      <a:pt x="20" y="148"/>
                      <a:pt x="20" y="148"/>
                      <a:pt x="20" y="148"/>
                    </a:cubicBezTo>
                    <a:cubicBezTo>
                      <a:pt x="23" y="145"/>
                      <a:pt x="27" y="142"/>
                      <a:pt x="30" y="139"/>
                    </a:cubicBezTo>
                    <a:cubicBezTo>
                      <a:pt x="42" y="137"/>
                      <a:pt x="42" y="137"/>
                      <a:pt x="42" y="137"/>
                    </a:cubicBezTo>
                    <a:cubicBezTo>
                      <a:pt x="49" y="132"/>
                      <a:pt x="56" y="127"/>
                      <a:pt x="63" y="121"/>
                    </a:cubicBezTo>
                    <a:cubicBezTo>
                      <a:pt x="62" y="117"/>
                      <a:pt x="62" y="117"/>
                      <a:pt x="62" y="117"/>
                    </a:cubicBezTo>
                    <a:cubicBezTo>
                      <a:pt x="70" y="119"/>
                      <a:pt x="72" y="110"/>
                      <a:pt x="78" y="109"/>
                    </a:cubicBezTo>
                    <a:cubicBezTo>
                      <a:pt x="77" y="107"/>
                      <a:pt x="77" y="107"/>
                      <a:pt x="77" y="107"/>
                    </a:cubicBezTo>
                    <a:cubicBezTo>
                      <a:pt x="78" y="106"/>
                      <a:pt x="79" y="108"/>
                      <a:pt x="79" y="108"/>
                    </a:cubicBezTo>
                    <a:cubicBezTo>
                      <a:pt x="82" y="105"/>
                      <a:pt x="85" y="103"/>
                      <a:pt x="87" y="101"/>
                    </a:cubicBezTo>
                    <a:cubicBezTo>
                      <a:pt x="87" y="121"/>
                      <a:pt x="87" y="141"/>
                      <a:pt x="88" y="160"/>
                    </a:cubicBezTo>
                    <a:cubicBezTo>
                      <a:pt x="82" y="209"/>
                      <a:pt x="82" y="209"/>
                      <a:pt x="82" y="209"/>
                    </a:cubicBezTo>
                    <a:cubicBezTo>
                      <a:pt x="82" y="249"/>
                      <a:pt x="82" y="288"/>
                      <a:pt x="83" y="328"/>
                    </a:cubicBezTo>
                    <a:cubicBezTo>
                      <a:pt x="87" y="336"/>
                      <a:pt x="87" y="336"/>
                      <a:pt x="87" y="336"/>
                    </a:cubicBezTo>
                    <a:cubicBezTo>
                      <a:pt x="81" y="359"/>
                      <a:pt x="88" y="389"/>
                      <a:pt x="85" y="415"/>
                    </a:cubicBezTo>
                    <a:cubicBezTo>
                      <a:pt x="88" y="415"/>
                      <a:pt x="88" y="415"/>
                      <a:pt x="88" y="415"/>
                    </a:cubicBezTo>
                    <a:cubicBezTo>
                      <a:pt x="89" y="422"/>
                      <a:pt x="87" y="422"/>
                      <a:pt x="86" y="423"/>
                    </a:cubicBezTo>
                    <a:cubicBezTo>
                      <a:pt x="88" y="456"/>
                      <a:pt x="91" y="490"/>
                      <a:pt x="96" y="523"/>
                    </a:cubicBezTo>
                    <a:cubicBezTo>
                      <a:pt x="98" y="539"/>
                      <a:pt x="100" y="556"/>
                      <a:pt x="103" y="572"/>
                    </a:cubicBezTo>
                    <a:cubicBezTo>
                      <a:pt x="105" y="580"/>
                      <a:pt x="107" y="588"/>
                      <a:pt x="109" y="597"/>
                    </a:cubicBezTo>
                    <a:cubicBezTo>
                      <a:pt x="112" y="605"/>
                      <a:pt x="114" y="613"/>
                      <a:pt x="120" y="623"/>
                    </a:cubicBezTo>
                    <a:cubicBezTo>
                      <a:pt x="121" y="625"/>
                      <a:pt x="123" y="628"/>
                      <a:pt x="126" y="632"/>
                    </a:cubicBezTo>
                    <a:cubicBezTo>
                      <a:pt x="129" y="635"/>
                      <a:pt x="133" y="638"/>
                      <a:pt x="136" y="640"/>
                    </a:cubicBezTo>
                    <a:cubicBezTo>
                      <a:pt x="143" y="644"/>
                      <a:pt x="149" y="647"/>
                      <a:pt x="151" y="649"/>
                    </a:cubicBezTo>
                    <a:cubicBezTo>
                      <a:pt x="163" y="652"/>
                      <a:pt x="173" y="654"/>
                      <a:pt x="184" y="655"/>
                    </a:cubicBezTo>
                    <a:cubicBezTo>
                      <a:pt x="194" y="657"/>
                      <a:pt x="204" y="659"/>
                      <a:pt x="214" y="661"/>
                    </a:cubicBezTo>
                    <a:cubicBezTo>
                      <a:pt x="213" y="661"/>
                      <a:pt x="213" y="661"/>
                      <a:pt x="213" y="661"/>
                    </a:cubicBezTo>
                    <a:cubicBezTo>
                      <a:pt x="223" y="662"/>
                      <a:pt x="223" y="662"/>
                      <a:pt x="223" y="662"/>
                    </a:cubicBezTo>
                    <a:cubicBezTo>
                      <a:pt x="223" y="662"/>
                      <a:pt x="223" y="662"/>
                      <a:pt x="223" y="663"/>
                    </a:cubicBezTo>
                    <a:cubicBezTo>
                      <a:pt x="233" y="662"/>
                      <a:pt x="249" y="666"/>
                      <a:pt x="262" y="668"/>
                    </a:cubicBezTo>
                    <a:cubicBezTo>
                      <a:pt x="261" y="668"/>
                      <a:pt x="261" y="668"/>
                      <a:pt x="261" y="668"/>
                    </a:cubicBezTo>
                    <a:cubicBezTo>
                      <a:pt x="298" y="671"/>
                      <a:pt x="334" y="672"/>
                      <a:pt x="369" y="672"/>
                    </a:cubicBezTo>
                    <a:cubicBezTo>
                      <a:pt x="404" y="672"/>
                      <a:pt x="439" y="672"/>
                      <a:pt x="476" y="673"/>
                    </a:cubicBezTo>
                    <a:cubicBezTo>
                      <a:pt x="509" y="677"/>
                      <a:pt x="549" y="671"/>
                      <a:pt x="587" y="673"/>
                    </a:cubicBezTo>
                    <a:cubicBezTo>
                      <a:pt x="594" y="676"/>
                      <a:pt x="672" y="671"/>
                      <a:pt x="679" y="669"/>
                    </a:cubicBezTo>
                    <a:cubicBezTo>
                      <a:pt x="670" y="666"/>
                      <a:pt x="670" y="666"/>
                      <a:pt x="670" y="666"/>
                    </a:cubicBezTo>
                    <a:cubicBezTo>
                      <a:pt x="699" y="664"/>
                      <a:pt x="713" y="666"/>
                      <a:pt x="738" y="662"/>
                    </a:cubicBezTo>
                    <a:cubicBezTo>
                      <a:pt x="736" y="663"/>
                      <a:pt x="736" y="663"/>
                      <a:pt x="736" y="663"/>
                    </a:cubicBezTo>
                    <a:cubicBezTo>
                      <a:pt x="739" y="663"/>
                      <a:pt x="738" y="662"/>
                      <a:pt x="739" y="661"/>
                    </a:cubicBezTo>
                    <a:cubicBezTo>
                      <a:pt x="740" y="660"/>
                      <a:pt x="742" y="661"/>
                      <a:pt x="747" y="665"/>
                    </a:cubicBezTo>
                    <a:cubicBezTo>
                      <a:pt x="747" y="665"/>
                      <a:pt x="747" y="665"/>
                      <a:pt x="747" y="665"/>
                    </a:cubicBezTo>
                    <a:cubicBezTo>
                      <a:pt x="747" y="665"/>
                      <a:pt x="747" y="665"/>
                      <a:pt x="747" y="665"/>
                    </a:cubicBezTo>
                    <a:cubicBezTo>
                      <a:pt x="746" y="663"/>
                      <a:pt x="746" y="663"/>
                      <a:pt x="746" y="663"/>
                    </a:cubicBezTo>
                    <a:cubicBezTo>
                      <a:pt x="747" y="663"/>
                      <a:pt x="747" y="661"/>
                      <a:pt x="748" y="661"/>
                    </a:cubicBezTo>
                    <a:cubicBezTo>
                      <a:pt x="749" y="661"/>
                      <a:pt x="749" y="662"/>
                      <a:pt x="749" y="662"/>
                    </a:cubicBezTo>
                    <a:cubicBezTo>
                      <a:pt x="751" y="662"/>
                      <a:pt x="751" y="662"/>
                      <a:pt x="751" y="662"/>
                    </a:cubicBezTo>
                    <a:cubicBezTo>
                      <a:pt x="752" y="664"/>
                      <a:pt x="752" y="664"/>
                      <a:pt x="752" y="664"/>
                    </a:cubicBezTo>
                    <a:cubicBezTo>
                      <a:pt x="753" y="662"/>
                      <a:pt x="753" y="658"/>
                      <a:pt x="755" y="660"/>
                    </a:cubicBezTo>
                    <a:cubicBezTo>
                      <a:pt x="754" y="657"/>
                      <a:pt x="756" y="658"/>
                      <a:pt x="755" y="657"/>
                    </a:cubicBezTo>
                    <a:cubicBezTo>
                      <a:pt x="756" y="657"/>
                      <a:pt x="756" y="658"/>
                      <a:pt x="756" y="658"/>
                    </a:cubicBezTo>
                    <a:cubicBezTo>
                      <a:pt x="757" y="658"/>
                      <a:pt x="760" y="657"/>
                      <a:pt x="760" y="655"/>
                    </a:cubicBezTo>
                    <a:close/>
                    <a:moveTo>
                      <a:pt x="749" y="662"/>
                    </a:moveTo>
                    <a:cubicBezTo>
                      <a:pt x="749" y="662"/>
                      <a:pt x="749" y="662"/>
                      <a:pt x="749" y="662"/>
                    </a:cubicBezTo>
                    <a:cubicBezTo>
                      <a:pt x="749" y="663"/>
                      <a:pt x="749" y="663"/>
                      <a:pt x="749" y="662"/>
                    </a:cubicBezTo>
                    <a:close/>
                    <a:moveTo>
                      <a:pt x="632" y="637"/>
                    </a:moveTo>
                    <a:cubicBezTo>
                      <a:pt x="632" y="637"/>
                      <a:pt x="632" y="637"/>
                      <a:pt x="632" y="637"/>
                    </a:cubicBezTo>
                    <a:cubicBezTo>
                      <a:pt x="630" y="635"/>
                      <a:pt x="630" y="635"/>
                      <a:pt x="630" y="635"/>
                    </a:cubicBezTo>
                    <a:lnTo>
                      <a:pt x="632" y="637"/>
                    </a:lnTo>
                    <a:close/>
                    <a:moveTo>
                      <a:pt x="730" y="632"/>
                    </a:moveTo>
                    <a:cubicBezTo>
                      <a:pt x="732" y="632"/>
                      <a:pt x="733" y="632"/>
                      <a:pt x="734" y="631"/>
                    </a:cubicBezTo>
                    <a:cubicBezTo>
                      <a:pt x="730" y="631"/>
                      <a:pt x="730" y="632"/>
                      <a:pt x="730" y="632"/>
                    </a:cubicBezTo>
                    <a:close/>
                    <a:moveTo>
                      <a:pt x="756" y="660"/>
                    </a:moveTo>
                    <a:cubicBezTo>
                      <a:pt x="757" y="660"/>
                      <a:pt x="756" y="659"/>
                      <a:pt x="756" y="658"/>
                    </a:cubicBezTo>
                    <a:cubicBezTo>
                      <a:pt x="755" y="659"/>
                      <a:pt x="755" y="659"/>
                      <a:pt x="755" y="659"/>
                    </a:cubicBezTo>
                    <a:cubicBezTo>
                      <a:pt x="756" y="659"/>
                      <a:pt x="756" y="659"/>
                      <a:pt x="756" y="660"/>
                    </a:cubicBezTo>
                    <a:close/>
                    <a:moveTo>
                      <a:pt x="753" y="645"/>
                    </a:moveTo>
                    <a:cubicBezTo>
                      <a:pt x="753" y="644"/>
                      <a:pt x="753" y="644"/>
                      <a:pt x="753" y="644"/>
                    </a:cubicBezTo>
                    <a:cubicBezTo>
                      <a:pt x="753" y="644"/>
                      <a:pt x="753" y="644"/>
                      <a:pt x="753" y="645"/>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 name="Group 49"/>
            <p:cNvGrpSpPr/>
            <p:nvPr/>
          </p:nvGrpSpPr>
          <p:grpSpPr>
            <a:xfrm>
              <a:off x="1223603" y="1435262"/>
              <a:ext cx="3017388" cy="1913657"/>
              <a:chOff x="1411736" y="1229591"/>
              <a:chExt cx="3017388" cy="1913657"/>
            </a:xfrm>
          </p:grpSpPr>
          <p:grpSp>
            <p:nvGrpSpPr>
              <p:cNvPr id="12" name="Group 50"/>
              <p:cNvGrpSpPr/>
              <p:nvPr/>
            </p:nvGrpSpPr>
            <p:grpSpPr>
              <a:xfrm>
                <a:off x="2664989" y="1229591"/>
                <a:ext cx="1764135" cy="1913657"/>
                <a:chOff x="2664989" y="1229591"/>
                <a:chExt cx="1764135" cy="1913657"/>
              </a:xfrm>
            </p:grpSpPr>
            <p:pic>
              <p:nvPicPr>
                <p:cNvPr id="53" name="Picture 5" descr="professional-man.png"/>
                <p:cNvPicPr>
                  <a:picLocks noChangeAspect="1"/>
                </p:cNvPicPr>
                <p:nvPr/>
              </p:nvPicPr>
              <p:blipFill>
                <a:blip r:embed="rId5" cstate="print"/>
                <a:srcRect/>
                <a:stretch>
                  <a:fillRect/>
                </a:stretch>
              </p:blipFill>
              <p:spPr bwMode="auto">
                <a:xfrm rot="21442773">
                  <a:off x="2664989" y="1229591"/>
                  <a:ext cx="685800" cy="969992"/>
                </a:xfrm>
                <a:prstGeom prst="rect">
                  <a:avLst/>
                </a:prstGeom>
                <a:noFill/>
                <a:ln w="9525">
                  <a:noFill/>
                  <a:miter lim="800000"/>
                  <a:headEnd/>
                  <a:tailEnd/>
                </a:ln>
              </p:spPr>
            </p:pic>
            <p:sp>
              <p:nvSpPr>
                <p:cNvPr id="54" name="Freeform 499"/>
                <p:cNvSpPr>
                  <a:spLocks noEditPoints="1"/>
                </p:cNvSpPr>
                <p:nvPr/>
              </p:nvSpPr>
              <p:spPr bwMode="auto">
                <a:xfrm>
                  <a:off x="2714612" y="2000240"/>
                  <a:ext cx="1714512" cy="1143008"/>
                </a:xfrm>
                <a:custGeom>
                  <a:avLst/>
                  <a:gdLst>
                    <a:gd name="T0" fmla="*/ 207 w 362"/>
                    <a:gd name="T1" fmla="*/ 1 h 362"/>
                    <a:gd name="T2" fmla="*/ 177 w 362"/>
                    <a:gd name="T3" fmla="*/ 5 h 362"/>
                    <a:gd name="T4" fmla="*/ 137 w 362"/>
                    <a:gd name="T5" fmla="*/ 19 h 362"/>
                    <a:gd name="T6" fmla="*/ 79 w 362"/>
                    <a:gd name="T7" fmla="*/ 24 h 362"/>
                    <a:gd name="T8" fmla="*/ 49 w 362"/>
                    <a:gd name="T9" fmla="*/ 33 h 362"/>
                    <a:gd name="T10" fmla="*/ 54 w 362"/>
                    <a:gd name="T11" fmla="*/ 32 h 362"/>
                    <a:gd name="T12" fmla="*/ 50 w 362"/>
                    <a:gd name="T13" fmla="*/ 30 h 362"/>
                    <a:gd name="T14" fmla="*/ 51 w 362"/>
                    <a:gd name="T15" fmla="*/ 36 h 362"/>
                    <a:gd name="T16" fmla="*/ 49 w 362"/>
                    <a:gd name="T17" fmla="*/ 30 h 362"/>
                    <a:gd name="T18" fmla="*/ 51 w 362"/>
                    <a:gd name="T19" fmla="*/ 36 h 362"/>
                    <a:gd name="T20" fmla="*/ 49 w 362"/>
                    <a:gd name="T21" fmla="*/ 33 h 362"/>
                    <a:gd name="T22" fmla="*/ 48 w 362"/>
                    <a:gd name="T23" fmla="*/ 32 h 362"/>
                    <a:gd name="T24" fmla="*/ 47 w 362"/>
                    <a:gd name="T25" fmla="*/ 38 h 362"/>
                    <a:gd name="T26" fmla="*/ 47 w 362"/>
                    <a:gd name="T27" fmla="*/ 41 h 362"/>
                    <a:gd name="T28" fmla="*/ 111 w 362"/>
                    <a:gd name="T29" fmla="*/ 27 h 362"/>
                    <a:gd name="T30" fmla="*/ 50 w 362"/>
                    <a:gd name="T31" fmla="*/ 35 h 362"/>
                    <a:gd name="T32" fmla="*/ 49 w 362"/>
                    <a:gd name="T33" fmla="*/ 31 h 362"/>
                    <a:gd name="T34" fmla="*/ 47 w 362"/>
                    <a:gd name="T35" fmla="*/ 32 h 362"/>
                    <a:gd name="T36" fmla="*/ 46 w 362"/>
                    <a:gd name="T37" fmla="*/ 32 h 362"/>
                    <a:gd name="T38" fmla="*/ 159 w 362"/>
                    <a:gd name="T39" fmla="*/ 18 h 362"/>
                    <a:gd name="T40" fmla="*/ 317 w 362"/>
                    <a:gd name="T41" fmla="*/ 14 h 362"/>
                    <a:gd name="T42" fmla="*/ 260 w 362"/>
                    <a:gd name="T43" fmla="*/ 1 h 362"/>
                    <a:gd name="T44" fmla="*/ 184 w 362"/>
                    <a:gd name="T45" fmla="*/ 5 h 362"/>
                    <a:gd name="T46" fmla="*/ 129 w 362"/>
                    <a:gd name="T47" fmla="*/ 13 h 362"/>
                    <a:gd name="T48" fmla="*/ 85 w 362"/>
                    <a:gd name="T49" fmla="*/ 22 h 362"/>
                    <a:gd name="T50" fmla="*/ 97 w 362"/>
                    <a:gd name="T51" fmla="*/ 20 h 362"/>
                    <a:gd name="T52" fmla="*/ 97 w 362"/>
                    <a:gd name="T53" fmla="*/ 21 h 362"/>
                    <a:gd name="T54" fmla="*/ 137 w 362"/>
                    <a:gd name="T55" fmla="*/ 14 h 362"/>
                    <a:gd name="T56" fmla="*/ 143 w 362"/>
                    <a:gd name="T57" fmla="*/ 14 h 362"/>
                    <a:gd name="T58" fmla="*/ 112 w 362"/>
                    <a:gd name="T59" fmla="*/ 20 h 362"/>
                    <a:gd name="T60" fmla="*/ 182 w 362"/>
                    <a:gd name="T61" fmla="*/ 12 h 362"/>
                    <a:gd name="T62" fmla="*/ 53 w 362"/>
                    <a:gd name="T63" fmla="*/ 36 h 362"/>
                    <a:gd name="T64" fmla="*/ 56 w 362"/>
                    <a:gd name="T65" fmla="*/ 36 h 362"/>
                    <a:gd name="T66" fmla="*/ 158 w 362"/>
                    <a:gd name="T67" fmla="*/ 18 h 362"/>
                    <a:gd name="T68" fmla="*/ 221 w 362"/>
                    <a:gd name="T69" fmla="*/ 12 h 362"/>
                    <a:gd name="T70" fmla="*/ 327 w 362"/>
                    <a:gd name="T71" fmla="*/ 43 h 362"/>
                    <a:gd name="T72" fmla="*/ 344 w 362"/>
                    <a:gd name="T73" fmla="*/ 235 h 362"/>
                    <a:gd name="T74" fmla="*/ 273 w 362"/>
                    <a:gd name="T75" fmla="*/ 333 h 362"/>
                    <a:gd name="T76" fmla="*/ 91 w 362"/>
                    <a:gd name="T77" fmla="*/ 339 h 362"/>
                    <a:gd name="T78" fmla="*/ 16 w 362"/>
                    <a:gd name="T79" fmla="*/ 244 h 362"/>
                    <a:gd name="T80" fmla="*/ 28 w 362"/>
                    <a:gd name="T81" fmla="*/ 84 h 362"/>
                    <a:gd name="T82" fmla="*/ 34 w 362"/>
                    <a:gd name="T83" fmla="*/ 56 h 362"/>
                    <a:gd name="T84" fmla="*/ 36 w 362"/>
                    <a:gd name="T85" fmla="*/ 50 h 362"/>
                    <a:gd name="T86" fmla="*/ 33 w 362"/>
                    <a:gd name="T87" fmla="*/ 41 h 362"/>
                    <a:gd name="T88" fmla="*/ 25 w 362"/>
                    <a:gd name="T89" fmla="*/ 39 h 362"/>
                    <a:gd name="T90" fmla="*/ 19 w 362"/>
                    <a:gd name="T91" fmla="*/ 43 h 362"/>
                    <a:gd name="T92" fmla="*/ 17 w 362"/>
                    <a:gd name="T93" fmla="*/ 49 h 362"/>
                    <a:gd name="T94" fmla="*/ 16 w 362"/>
                    <a:gd name="T95" fmla="*/ 56 h 362"/>
                    <a:gd name="T96" fmla="*/ 12 w 362"/>
                    <a:gd name="T97" fmla="*/ 82 h 362"/>
                    <a:gd name="T98" fmla="*/ 3 w 362"/>
                    <a:gd name="T99" fmla="*/ 154 h 362"/>
                    <a:gd name="T100" fmla="*/ 3 w 362"/>
                    <a:gd name="T101" fmla="*/ 259 h 362"/>
                    <a:gd name="T102" fmla="*/ 72 w 362"/>
                    <a:gd name="T103" fmla="*/ 349 h 362"/>
                    <a:gd name="T104" fmla="*/ 222 w 362"/>
                    <a:gd name="T105" fmla="*/ 358 h 362"/>
                    <a:gd name="T106" fmla="*/ 337 w 362"/>
                    <a:gd name="T107" fmla="*/ 31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2" h="362">
                      <a:moveTo>
                        <a:pt x="268" y="15"/>
                      </a:moveTo>
                      <a:cubicBezTo>
                        <a:pt x="267" y="15"/>
                        <a:pt x="265" y="14"/>
                        <a:pt x="264" y="14"/>
                      </a:cubicBezTo>
                      <a:cubicBezTo>
                        <a:pt x="264" y="14"/>
                        <a:pt x="266" y="14"/>
                        <a:pt x="268" y="15"/>
                      </a:cubicBezTo>
                      <a:close/>
                      <a:moveTo>
                        <a:pt x="207" y="1"/>
                      </a:moveTo>
                      <a:cubicBezTo>
                        <a:pt x="206" y="1"/>
                        <a:pt x="205" y="1"/>
                        <a:pt x="203" y="1"/>
                      </a:cubicBezTo>
                      <a:cubicBezTo>
                        <a:pt x="202" y="1"/>
                        <a:pt x="206" y="1"/>
                        <a:pt x="207" y="1"/>
                      </a:cubicBezTo>
                      <a:close/>
                      <a:moveTo>
                        <a:pt x="196" y="1"/>
                      </a:moveTo>
                      <a:cubicBezTo>
                        <a:pt x="197" y="1"/>
                        <a:pt x="200" y="1"/>
                        <a:pt x="201" y="1"/>
                      </a:cubicBezTo>
                      <a:cubicBezTo>
                        <a:pt x="200" y="1"/>
                        <a:pt x="196" y="1"/>
                        <a:pt x="196" y="1"/>
                      </a:cubicBezTo>
                      <a:close/>
                      <a:moveTo>
                        <a:pt x="177" y="5"/>
                      </a:moveTo>
                      <a:cubicBezTo>
                        <a:pt x="179" y="5"/>
                        <a:pt x="181" y="5"/>
                        <a:pt x="182" y="5"/>
                      </a:cubicBezTo>
                      <a:cubicBezTo>
                        <a:pt x="181" y="5"/>
                        <a:pt x="178" y="5"/>
                        <a:pt x="177" y="5"/>
                      </a:cubicBezTo>
                      <a:close/>
                      <a:moveTo>
                        <a:pt x="165" y="5"/>
                      </a:moveTo>
                      <a:cubicBezTo>
                        <a:pt x="169" y="4"/>
                        <a:pt x="172" y="4"/>
                        <a:pt x="173" y="4"/>
                      </a:cubicBezTo>
                      <a:cubicBezTo>
                        <a:pt x="171" y="4"/>
                        <a:pt x="167" y="4"/>
                        <a:pt x="165" y="5"/>
                      </a:cubicBezTo>
                      <a:close/>
                      <a:moveTo>
                        <a:pt x="137" y="19"/>
                      </a:moveTo>
                      <a:cubicBezTo>
                        <a:pt x="140" y="19"/>
                        <a:pt x="148" y="17"/>
                        <a:pt x="152" y="17"/>
                      </a:cubicBezTo>
                      <a:cubicBezTo>
                        <a:pt x="147" y="17"/>
                        <a:pt x="142" y="18"/>
                        <a:pt x="137" y="19"/>
                      </a:cubicBezTo>
                      <a:close/>
                      <a:moveTo>
                        <a:pt x="135" y="15"/>
                      </a:moveTo>
                      <a:cubicBezTo>
                        <a:pt x="131" y="15"/>
                        <a:pt x="131" y="15"/>
                        <a:pt x="131" y="15"/>
                      </a:cubicBezTo>
                      <a:cubicBezTo>
                        <a:pt x="129" y="16"/>
                        <a:pt x="119" y="17"/>
                        <a:pt x="120" y="17"/>
                      </a:cubicBezTo>
                      <a:cubicBezTo>
                        <a:pt x="126" y="16"/>
                        <a:pt x="135" y="15"/>
                        <a:pt x="140" y="14"/>
                      </a:cubicBezTo>
                      <a:cubicBezTo>
                        <a:pt x="138" y="14"/>
                        <a:pt x="137" y="14"/>
                        <a:pt x="135" y="15"/>
                      </a:cubicBezTo>
                      <a:close/>
                      <a:moveTo>
                        <a:pt x="79" y="24"/>
                      </a:moveTo>
                      <a:cubicBezTo>
                        <a:pt x="76" y="25"/>
                        <a:pt x="76" y="25"/>
                        <a:pt x="76" y="25"/>
                      </a:cubicBezTo>
                      <a:cubicBezTo>
                        <a:pt x="76" y="25"/>
                        <a:pt x="76" y="25"/>
                        <a:pt x="77" y="25"/>
                      </a:cubicBezTo>
                      <a:cubicBezTo>
                        <a:pt x="79" y="25"/>
                        <a:pt x="79" y="24"/>
                        <a:pt x="79" y="24"/>
                      </a:cubicBezTo>
                      <a:close/>
                      <a:moveTo>
                        <a:pt x="50" y="33"/>
                      </a:moveTo>
                      <a:cubicBezTo>
                        <a:pt x="50" y="33"/>
                        <a:pt x="50" y="33"/>
                        <a:pt x="50" y="33"/>
                      </a:cubicBezTo>
                      <a:cubicBezTo>
                        <a:pt x="50" y="33"/>
                        <a:pt x="49" y="33"/>
                        <a:pt x="49" y="33"/>
                      </a:cubicBezTo>
                      <a:cubicBezTo>
                        <a:pt x="49" y="33"/>
                        <a:pt x="49" y="33"/>
                        <a:pt x="50" y="33"/>
                      </a:cubicBezTo>
                      <a:close/>
                      <a:moveTo>
                        <a:pt x="50" y="32"/>
                      </a:moveTo>
                      <a:cubicBezTo>
                        <a:pt x="50" y="33"/>
                        <a:pt x="50" y="33"/>
                        <a:pt x="50" y="33"/>
                      </a:cubicBezTo>
                      <a:cubicBezTo>
                        <a:pt x="50" y="33"/>
                        <a:pt x="50" y="33"/>
                        <a:pt x="50" y="33"/>
                      </a:cubicBezTo>
                      <a:cubicBezTo>
                        <a:pt x="50" y="33"/>
                        <a:pt x="51" y="32"/>
                        <a:pt x="51" y="32"/>
                      </a:cubicBezTo>
                      <a:cubicBezTo>
                        <a:pt x="54" y="32"/>
                        <a:pt x="54" y="32"/>
                        <a:pt x="54" y="32"/>
                      </a:cubicBezTo>
                      <a:lnTo>
                        <a:pt x="50" y="32"/>
                      </a:lnTo>
                      <a:close/>
                      <a:moveTo>
                        <a:pt x="50" y="33"/>
                      </a:moveTo>
                      <a:cubicBezTo>
                        <a:pt x="50" y="33"/>
                        <a:pt x="50" y="33"/>
                        <a:pt x="50" y="33"/>
                      </a:cubicBezTo>
                      <a:cubicBezTo>
                        <a:pt x="50" y="33"/>
                        <a:pt x="50" y="33"/>
                        <a:pt x="50" y="33"/>
                      </a:cubicBezTo>
                      <a:cubicBezTo>
                        <a:pt x="50" y="33"/>
                        <a:pt x="50" y="33"/>
                        <a:pt x="50" y="33"/>
                      </a:cubicBezTo>
                      <a:close/>
                      <a:moveTo>
                        <a:pt x="50" y="30"/>
                      </a:move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lose/>
                      <a:moveTo>
                        <a:pt x="51" y="36"/>
                      </a:moveTo>
                      <a:cubicBezTo>
                        <a:pt x="51" y="36"/>
                        <a:pt x="51" y="36"/>
                        <a:pt x="51" y="36"/>
                      </a:cubicBezTo>
                      <a:cubicBezTo>
                        <a:pt x="51" y="36"/>
                        <a:pt x="51" y="36"/>
                        <a:pt x="51" y="36"/>
                      </a:cubicBezTo>
                      <a:close/>
                      <a:moveTo>
                        <a:pt x="50" y="31"/>
                      </a:moveTo>
                      <a:cubicBezTo>
                        <a:pt x="50" y="31"/>
                        <a:pt x="50" y="31"/>
                        <a:pt x="50" y="31"/>
                      </a:cubicBezTo>
                      <a:cubicBezTo>
                        <a:pt x="50" y="31"/>
                        <a:pt x="49" y="31"/>
                        <a:pt x="50" y="31"/>
                      </a:cubicBezTo>
                      <a:close/>
                      <a:moveTo>
                        <a:pt x="49" y="30"/>
                      </a:moveTo>
                      <a:cubicBezTo>
                        <a:pt x="49" y="30"/>
                        <a:pt x="50" y="30"/>
                        <a:pt x="50" y="30"/>
                      </a:cubicBezTo>
                      <a:cubicBezTo>
                        <a:pt x="49" y="30"/>
                        <a:pt x="49" y="30"/>
                        <a:pt x="49" y="30"/>
                      </a:cubicBezTo>
                      <a:close/>
                      <a:moveTo>
                        <a:pt x="51" y="38"/>
                      </a:moveTo>
                      <a:cubicBezTo>
                        <a:pt x="51" y="38"/>
                        <a:pt x="51" y="38"/>
                        <a:pt x="51" y="37"/>
                      </a:cubicBezTo>
                      <a:cubicBezTo>
                        <a:pt x="51" y="37"/>
                        <a:pt x="51" y="37"/>
                        <a:pt x="51" y="38"/>
                      </a:cubicBezTo>
                      <a:close/>
                      <a:moveTo>
                        <a:pt x="51" y="36"/>
                      </a:moveTo>
                      <a:cubicBezTo>
                        <a:pt x="50" y="36"/>
                        <a:pt x="50" y="36"/>
                        <a:pt x="50" y="37"/>
                      </a:cubicBezTo>
                      <a:cubicBezTo>
                        <a:pt x="50" y="37"/>
                        <a:pt x="50" y="36"/>
                        <a:pt x="51" y="36"/>
                      </a:cubicBezTo>
                      <a:close/>
                      <a:moveTo>
                        <a:pt x="48" y="31"/>
                      </a:moveTo>
                      <a:cubicBezTo>
                        <a:pt x="48" y="31"/>
                        <a:pt x="49" y="31"/>
                        <a:pt x="49" y="30"/>
                      </a:cubicBezTo>
                      <a:cubicBezTo>
                        <a:pt x="49" y="31"/>
                        <a:pt x="48" y="31"/>
                        <a:pt x="48" y="31"/>
                      </a:cubicBezTo>
                      <a:close/>
                      <a:moveTo>
                        <a:pt x="49" y="33"/>
                      </a:moveTo>
                      <a:cubicBezTo>
                        <a:pt x="49" y="33"/>
                        <a:pt x="49" y="33"/>
                        <a:pt x="49" y="33"/>
                      </a:cubicBezTo>
                      <a:cubicBezTo>
                        <a:pt x="49" y="33"/>
                        <a:pt x="48" y="33"/>
                        <a:pt x="49" y="33"/>
                      </a:cubicBezTo>
                      <a:close/>
                      <a:moveTo>
                        <a:pt x="48" y="33"/>
                      </a:moveTo>
                      <a:cubicBezTo>
                        <a:pt x="48" y="33"/>
                        <a:pt x="48" y="33"/>
                        <a:pt x="48" y="32"/>
                      </a:cubicBezTo>
                      <a:cubicBezTo>
                        <a:pt x="48" y="32"/>
                        <a:pt x="48" y="32"/>
                        <a:pt x="48" y="33"/>
                      </a:cubicBezTo>
                      <a:close/>
                      <a:moveTo>
                        <a:pt x="48" y="32"/>
                      </a:moveTo>
                      <a:cubicBezTo>
                        <a:pt x="48" y="32"/>
                        <a:pt x="48" y="32"/>
                        <a:pt x="48" y="32"/>
                      </a:cubicBezTo>
                      <a:cubicBezTo>
                        <a:pt x="47" y="32"/>
                        <a:pt x="48" y="32"/>
                        <a:pt x="48" y="32"/>
                      </a:cubicBezTo>
                      <a:cubicBezTo>
                        <a:pt x="48" y="32"/>
                        <a:pt x="48" y="32"/>
                        <a:pt x="48" y="32"/>
                      </a:cubicBezTo>
                      <a:close/>
                      <a:moveTo>
                        <a:pt x="48" y="36"/>
                      </a:moveTo>
                      <a:cubicBezTo>
                        <a:pt x="48" y="36"/>
                        <a:pt x="48" y="36"/>
                        <a:pt x="48" y="36"/>
                      </a:cubicBezTo>
                      <a:close/>
                      <a:moveTo>
                        <a:pt x="47" y="38"/>
                      </a:moveTo>
                      <a:cubicBezTo>
                        <a:pt x="47" y="38"/>
                        <a:pt x="47" y="38"/>
                        <a:pt x="48" y="38"/>
                      </a:cubicBezTo>
                      <a:cubicBezTo>
                        <a:pt x="48" y="38"/>
                        <a:pt x="47" y="38"/>
                        <a:pt x="47" y="38"/>
                      </a:cubicBezTo>
                      <a:close/>
                      <a:moveTo>
                        <a:pt x="48" y="38"/>
                      </a:moveTo>
                      <a:cubicBezTo>
                        <a:pt x="47" y="38"/>
                        <a:pt x="47" y="38"/>
                        <a:pt x="47" y="38"/>
                      </a:cubicBezTo>
                      <a:cubicBezTo>
                        <a:pt x="47" y="38"/>
                        <a:pt x="48" y="38"/>
                        <a:pt x="48" y="38"/>
                      </a:cubicBezTo>
                      <a:close/>
                      <a:moveTo>
                        <a:pt x="47" y="41"/>
                      </a:moveTo>
                      <a:cubicBezTo>
                        <a:pt x="48" y="41"/>
                        <a:pt x="48" y="41"/>
                        <a:pt x="48" y="40"/>
                      </a:cubicBezTo>
                      <a:cubicBezTo>
                        <a:pt x="48" y="40"/>
                        <a:pt x="47" y="41"/>
                        <a:pt x="47" y="41"/>
                      </a:cubicBezTo>
                      <a:close/>
                      <a:moveTo>
                        <a:pt x="46" y="41"/>
                      </a:moveTo>
                      <a:cubicBezTo>
                        <a:pt x="46" y="41"/>
                        <a:pt x="46" y="41"/>
                        <a:pt x="46" y="41"/>
                      </a:cubicBezTo>
                      <a:close/>
                      <a:moveTo>
                        <a:pt x="103" y="29"/>
                      </a:moveTo>
                      <a:cubicBezTo>
                        <a:pt x="106" y="28"/>
                        <a:pt x="109" y="27"/>
                        <a:pt x="111" y="27"/>
                      </a:cubicBezTo>
                      <a:cubicBezTo>
                        <a:pt x="112" y="27"/>
                        <a:pt x="113" y="27"/>
                        <a:pt x="114" y="26"/>
                      </a:cubicBezTo>
                      <a:cubicBezTo>
                        <a:pt x="110" y="27"/>
                        <a:pt x="106" y="28"/>
                        <a:pt x="103" y="29"/>
                      </a:cubicBezTo>
                      <a:close/>
                      <a:moveTo>
                        <a:pt x="49" y="35"/>
                      </a:moveTo>
                      <a:cubicBezTo>
                        <a:pt x="49" y="35"/>
                        <a:pt x="50" y="36"/>
                        <a:pt x="50" y="35"/>
                      </a:cubicBezTo>
                      <a:cubicBezTo>
                        <a:pt x="50" y="35"/>
                        <a:pt x="50" y="35"/>
                        <a:pt x="50" y="35"/>
                      </a:cubicBezTo>
                      <a:cubicBezTo>
                        <a:pt x="50" y="35"/>
                        <a:pt x="50" y="35"/>
                        <a:pt x="50" y="35"/>
                      </a:cubicBezTo>
                      <a:cubicBezTo>
                        <a:pt x="50" y="35"/>
                        <a:pt x="50" y="35"/>
                        <a:pt x="50" y="35"/>
                      </a:cubicBezTo>
                      <a:cubicBezTo>
                        <a:pt x="51" y="35"/>
                        <a:pt x="51" y="35"/>
                        <a:pt x="51" y="35"/>
                      </a:cubicBezTo>
                      <a:cubicBezTo>
                        <a:pt x="51" y="35"/>
                        <a:pt x="50" y="35"/>
                        <a:pt x="50" y="35"/>
                      </a:cubicBezTo>
                      <a:cubicBezTo>
                        <a:pt x="50" y="35"/>
                        <a:pt x="51" y="35"/>
                        <a:pt x="51" y="35"/>
                      </a:cubicBezTo>
                      <a:cubicBezTo>
                        <a:pt x="50" y="35"/>
                        <a:pt x="49" y="35"/>
                        <a:pt x="49" y="35"/>
                      </a:cubicBezTo>
                      <a:close/>
                      <a:moveTo>
                        <a:pt x="49" y="31"/>
                      </a:moveTo>
                      <a:cubicBezTo>
                        <a:pt x="49" y="31"/>
                        <a:pt x="49" y="31"/>
                        <a:pt x="49" y="31"/>
                      </a:cubicBezTo>
                      <a:cubicBezTo>
                        <a:pt x="49" y="31"/>
                        <a:pt x="49" y="31"/>
                        <a:pt x="49" y="31"/>
                      </a:cubicBezTo>
                      <a:cubicBezTo>
                        <a:pt x="50" y="31"/>
                        <a:pt x="49" y="31"/>
                        <a:pt x="49" y="31"/>
                      </a:cubicBezTo>
                      <a:close/>
                      <a:moveTo>
                        <a:pt x="46" y="32"/>
                      </a:moveTo>
                      <a:cubicBezTo>
                        <a:pt x="46" y="32"/>
                        <a:pt x="46" y="32"/>
                        <a:pt x="46" y="32"/>
                      </a:cubicBezTo>
                      <a:cubicBezTo>
                        <a:pt x="46" y="32"/>
                        <a:pt x="47" y="32"/>
                        <a:pt x="47" y="32"/>
                      </a:cubicBezTo>
                      <a:cubicBezTo>
                        <a:pt x="47" y="32"/>
                        <a:pt x="47" y="32"/>
                        <a:pt x="47" y="32"/>
                      </a:cubicBezTo>
                      <a:cubicBezTo>
                        <a:pt x="48" y="31"/>
                        <a:pt x="49" y="32"/>
                        <a:pt x="49" y="31"/>
                      </a:cubicBezTo>
                      <a:cubicBezTo>
                        <a:pt x="48" y="32"/>
                        <a:pt x="47" y="32"/>
                        <a:pt x="46" y="32"/>
                      </a:cubicBezTo>
                      <a:cubicBezTo>
                        <a:pt x="46" y="32"/>
                        <a:pt x="46" y="32"/>
                        <a:pt x="46" y="32"/>
                      </a:cubicBezTo>
                      <a:cubicBezTo>
                        <a:pt x="46" y="32"/>
                        <a:pt x="45" y="32"/>
                        <a:pt x="45" y="32"/>
                      </a:cubicBezTo>
                      <a:cubicBezTo>
                        <a:pt x="45" y="33"/>
                        <a:pt x="45" y="32"/>
                        <a:pt x="46" y="32"/>
                      </a:cubicBezTo>
                      <a:close/>
                      <a:moveTo>
                        <a:pt x="47" y="39"/>
                      </a:moveTo>
                      <a:cubicBezTo>
                        <a:pt x="47" y="38"/>
                        <a:pt x="48" y="38"/>
                        <a:pt x="48" y="38"/>
                      </a:cubicBezTo>
                      <a:cubicBezTo>
                        <a:pt x="47" y="38"/>
                        <a:pt x="47" y="39"/>
                        <a:pt x="47" y="39"/>
                      </a:cubicBezTo>
                      <a:close/>
                      <a:moveTo>
                        <a:pt x="159" y="18"/>
                      </a:moveTo>
                      <a:cubicBezTo>
                        <a:pt x="159" y="18"/>
                        <a:pt x="159" y="18"/>
                        <a:pt x="159" y="18"/>
                      </a:cubicBezTo>
                      <a:cubicBezTo>
                        <a:pt x="159" y="18"/>
                        <a:pt x="159" y="18"/>
                        <a:pt x="159" y="18"/>
                      </a:cubicBezTo>
                      <a:close/>
                      <a:moveTo>
                        <a:pt x="361" y="152"/>
                      </a:moveTo>
                      <a:cubicBezTo>
                        <a:pt x="360" y="120"/>
                        <a:pt x="356" y="87"/>
                        <a:pt x="347" y="57"/>
                      </a:cubicBezTo>
                      <a:cubicBezTo>
                        <a:pt x="345" y="52"/>
                        <a:pt x="343" y="45"/>
                        <a:pt x="341" y="41"/>
                      </a:cubicBezTo>
                      <a:cubicBezTo>
                        <a:pt x="340" y="40"/>
                        <a:pt x="339" y="37"/>
                        <a:pt x="338" y="35"/>
                      </a:cubicBezTo>
                      <a:cubicBezTo>
                        <a:pt x="336" y="31"/>
                        <a:pt x="333" y="27"/>
                        <a:pt x="330" y="23"/>
                      </a:cubicBezTo>
                      <a:cubicBezTo>
                        <a:pt x="326" y="19"/>
                        <a:pt x="322" y="16"/>
                        <a:pt x="317" y="14"/>
                      </a:cubicBezTo>
                      <a:cubicBezTo>
                        <a:pt x="314" y="13"/>
                        <a:pt x="309" y="10"/>
                        <a:pt x="305" y="9"/>
                      </a:cubicBezTo>
                      <a:cubicBezTo>
                        <a:pt x="303" y="8"/>
                        <a:pt x="307" y="9"/>
                        <a:pt x="304" y="8"/>
                      </a:cubicBezTo>
                      <a:cubicBezTo>
                        <a:pt x="301" y="7"/>
                        <a:pt x="294" y="5"/>
                        <a:pt x="287" y="4"/>
                      </a:cubicBezTo>
                      <a:cubicBezTo>
                        <a:pt x="279" y="3"/>
                        <a:pt x="271" y="2"/>
                        <a:pt x="266" y="1"/>
                      </a:cubicBezTo>
                      <a:cubicBezTo>
                        <a:pt x="267" y="1"/>
                        <a:pt x="267" y="1"/>
                        <a:pt x="266" y="1"/>
                      </a:cubicBezTo>
                      <a:cubicBezTo>
                        <a:pt x="264" y="1"/>
                        <a:pt x="263" y="1"/>
                        <a:pt x="260" y="1"/>
                      </a:cubicBezTo>
                      <a:cubicBezTo>
                        <a:pt x="243" y="0"/>
                        <a:pt x="230" y="1"/>
                        <a:pt x="215" y="2"/>
                      </a:cubicBezTo>
                      <a:cubicBezTo>
                        <a:pt x="213" y="2"/>
                        <a:pt x="208" y="2"/>
                        <a:pt x="206" y="2"/>
                      </a:cubicBezTo>
                      <a:cubicBezTo>
                        <a:pt x="209" y="2"/>
                        <a:pt x="212" y="2"/>
                        <a:pt x="212" y="2"/>
                      </a:cubicBezTo>
                      <a:cubicBezTo>
                        <a:pt x="208" y="2"/>
                        <a:pt x="202" y="3"/>
                        <a:pt x="199" y="3"/>
                      </a:cubicBezTo>
                      <a:cubicBezTo>
                        <a:pt x="193" y="4"/>
                        <a:pt x="190" y="4"/>
                        <a:pt x="185" y="4"/>
                      </a:cubicBezTo>
                      <a:cubicBezTo>
                        <a:pt x="184" y="4"/>
                        <a:pt x="187" y="5"/>
                        <a:pt x="184" y="5"/>
                      </a:cubicBezTo>
                      <a:cubicBezTo>
                        <a:pt x="176" y="5"/>
                        <a:pt x="172" y="6"/>
                        <a:pt x="166" y="7"/>
                      </a:cubicBezTo>
                      <a:cubicBezTo>
                        <a:pt x="164" y="7"/>
                        <a:pt x="155" y="8"/>
                        <a:pt x="153" y="9"/>
                      </a:cubicBezTo>
                      <a:cubicBezTo>
                        <a:pt x="151" y="9"/>
                        <a:pt x="155" y="8"/>
                        <a:pt x="154" y="9"/>
                      </a:cubicBezTo>
                      <a:cubicBezTo>
                        <a:pt x="147" y="10"/>
                        <a:pt x="141" y="11"/>
                        <a:pt x="136" y="11"/>
                      </a:cubicBezTo>
                      <a:cubicBezTo>
                        <a:pt x="134" y="12"/>
                        <a:pt x="133" y="12"/>
                        <a:pt x="131" y="12"/>
                      </a:cubicBezTo>
                      <a:cubicBezTo>
                        <a:pt x="129" y="13"/>
                        <a:pt x="131" y="12"/>
                        <a:pt x="129" y="13"/>
                      </a:cubicBezTo>
                      <a:cubicBezTo>
                        <a:pt x="127" y="13"/>
                        <a:pt x="131" y="13"/>
                        <a:pt x="130" y="13"/>
                      </a:cubicBezTo>
                      <a:cubicBezTo>
                        <a:pt x="127" y="13"/>
                        <a:pt x="128" y="13"/>
                        <a:pt x="126" y="14"/>
                      </a:cubicBezTo>
                      <a:cubicBezTo>
                        <a:pt x="122" y="14"/>
                        <a:pt x="119" y="15"/>
                        <a:pt x="115" y="16"/>
                      </a:cubicBezTo>
                      <a:cubicBezTo>
                        <a:pt x="103" y="18"/>
                        <a:pt x="103" y="18"/>
                        <a:pt x="103" y="18"/>
                      </a:cubicBezTo>
                      <a:cubicBezTo>
                        <a:pt x="99" y="19"/>
                        <a:pt x="98" y="19"/>
                        <a:pt x="94" y="20"/>
                      </a:cubicBezTo>
                      <a:cubicBezTo>
                        <a:pt x="91" y="21"/>
                        <a:pt x="88" y="21"/>
                        <a:pt x="85" y="22"/>
                      </a:cubicBezTo>
                      <a:cubicBezTo>
                        <a:pt x="83" y="22"/>
                        <a:pt x="86" y="22"/>
                        <a:pt x="84" y="22"/>
                      </a:cubicBezTo>
                      <a:cubicBezTo>
                        <a:pt x="72" y="25"/>
                        <a:pt x="60" y="27"/>
                        <a:pt x="51" y="30"/>
                      </a:cubicBezTo>
                      <a:cubicBezTo>
                        <a:pt x="64" y="26"/>
                        <a:pt x="74" y="25"/>
                        <a:pt x="86" y="22"/>
                      </a:cubicBezTo>
                      <a:cubicBezTo>
                        <a:pt x="88" y="22"/>
                        <a:pt x="92" y="21"/>
                        <a:pt x="93" y="21"/>
                      </a:cubicBezTo>
                      <a:cubicBezTo>
                        <a:pt x="94" y="20"/>
                        <a:pt x="91" y="21"/>
                        <a:pt x="94" y="20"/>
                      </a:cubicBezTo>
                      <a:cubicBezTo>
                        <a:pt x="95" y="20"/>
                        <a:pt x="95" y="20"/>
                        <a:pt x="97" y="20"/>
                      </a:cubicBezTo>
                      <a:cubicBezTo>
                        <a:pt x="95" y="20"/>
                        <a:pt x="98" y="20"/>
                        <a:pt x="99" y="20"/>
                      </a:cubicBezTo>
                      <a:cubicBezTo>
                        <a:pt x="109" y="18"/>
                        <a:pt x="117" y="16"/>
                        <a:pt x="125" y="15"/>
                      </a:cubicBezTo>
                      <a:cubicBezTo>
                        <a:pt x="127" y="15"/>
                        <a:pt x="124" y="15"/>
                        <a:pt x="126" y="15"/>
                      </a:cubicBezTo>
                      <a:cubicBezTo>
                        <a:pt x="136" y="13"/>
                        <a:pt x="136" y="13"/>
                        <a:pt x="136" y="13"/>
                      </a:cubicBezTo>
                      <a:cubicBezTo>
                        <a:pt x="137" y="13"/>
                        <a:pt x="140" y="13"/>
                        <a:pt x="139" y="13"/>
                      </a:cubicBezTo>
                      <a:cubicBezTo>
                        <a:pt x="127" y="15"/>
                        <a:pt x="111" y="18"/>
                        <a:pt x="97" y="21"/>
                      </a:cubicBezTo>
                      <a:cubicBezTo>
                        <a:pt x="92" y="22"/>
                        <a:pt x="88" y="22"/>
                        <a:pt x="85" y="23"/>
                      </a:cubicBezTo>
                      <a:cubicBezTo>
                        <a:pt x="92" y="22"/>
                        <a:pt x="97" y="21"/>
                        <a:pt x="102" y="20"/>
                      </a:cubicBezTo>
                      <a:cubicBezTo>
                        <a:pt x="109" y="19"/>
                        <a:pt x="117" y="17"/>
                        <a:pt x="124" y="16"/>
                      </a:cubicBezTo>
                      <a:cubicBezTo>
                        <a:pt x="129" y="15"/>
                        <a:pt x="129" y="15"/>
                        <a:pt x="129" y="15"/>
                      </a:cubicBezTo>
                      <a:cubicBezTo>
                        <a:pt x="134" y="14"/>
                        <a:pt x="134" y="14"/>
                        <a:pt x="134" y="14"/>
                      </a:cubicBezTo>
                      <a:cubicBezTo>
                        <a:pt x="136" y="14"/>
                        <a:pt x="136" y="14"/>
                        <a:pt x="137" y="14"/>
                      </a:cubicBezTo>
                      <a:cubicBezTo>
                        <a:pt x="140" y="14"/>
                        <a:pt x="142" y="13"/>
                        <a:pt x="146" y="13"/>
                      </a:cubicBezTo>
                      <a:cubicBezTo>
                        <a:pt x="163" y="10"/>
                        <a:pt x="163" y="10"/>
                        <a:pt x="163" y="10"/>
                      </a:cubicBezTo>
                      <a:cubicBezTo>
                        <a:pt x="164" y="10"/>
                        <a:pt x="163" y="11"/>
                        <a:pt x="162" y="11"/>
                      </a:cubicBezTo>
                      <a:cubicBezTo>
                        <a:pt x="155" y="12"/>
                        <a:pt x="154" y="12"/>
                        <a:pt x="146" y="13"/>
                      </a:cubicBezTo>
                      <a:cubicBezTo>
                        <a:pt x="147" y="13"/>
                        <a:pt x="148" y="13"/>
                        <a:pt x="148" y="13"/>
                      </a:cubicBezTo>
                      <a:cubicBezTo>
                        <a:pt x="145" y="13"/>
                        <a:pt x="144" y="13"/>
                        <a:pt x="143" y="14"/>
                      </a:cubicBezTo>
                      <a:cubicBezTo>
                        <a:pt x="148" y="13"/>
                        <a:pt x="148" y="13"/>
                        <a:pt x="146" y="14"/>
                      </a:cubicBezTo>
                      <a:cubicBezTo>
                        <a:pt x="132" y="16"/>
                        <a:pt x="116" y="19"/>
                        <a:pt x="105" y="21"/>
                      </a:cubicBezTo>
                      <a:cubicBezTo>
                        <a:pt x="104" y="21"/>
                        <a:pt x="103" y="21"/>
                        <a:pt x="101" y="22"/>
                      </a:cubicBezTo>
                      <a:cubicBezTo>
                        <a:pt x="88" y="24"/>
                        <a:pt x="74" y="27"/>
                        <a:pt x="61" y="30"/>
                      </a:cubicBezTo>
                      <a:cubicBezTo>
                        <a:pt x="76" y="27"/>
                        <a:pt x="92" y="23"/>
                        <a:pt x="110" y="20"/>
                      </a:cubicBezTo>
                      <a:cubicBezTo>
                        <a:pt x="111" y="20"/>
                        <a:pt x="110" y="20"/>
                        <a:pt x="112" y="20"/>
                      </a:cubicBezTo>
                      <a:cubicBezTo>
                        <a:pt x="119" y="18"/>
                        <a:pt x="128" y="17"/>
                        <a:pt x="134" y="16"/>
                      </a:cubicBezTo>
                      <a:cubicBezTo>
                        <a:pt x="142" y="15"/>
                        <a:pt x="142" y="15"/>
                        <a:pt x="142" y="15"/>
                      </a:cubicBezTo>
                      <a:cubicBezTo>
                        <a:pt x="161" y="12"/>
                        <a:pt x="174" y="11"/>
                        <a:pt x="192" y="10"/>
                      </a:cubicBezTo>
                      <a:cubicBezTo>
                        <a:pt x="192" y="10"/>
                        <a:pt x="194" y="10"/>
                        <a:pt x="194" y="10"/>
                      </a:cubicBezTo>
                      <a:cubicBezTo>
                        <a:pt x="190" y="11"/>
                        <a:pt x="190" y="11"/>
                        <a:pt x="190" y="11"/>
                      </a:cubicBezTo>
                      <a:cubicBezTo>
                        <a:pt x="187" y="11"/>
                        <a:pt x="184" y="11"/>
                        <a:pt x="182" y="12"/>
                      </a:cubicBezTo>
                      <a:cubicBezTo>
                        <a:pt x="167" y="13"/>
                        <a:pt x="145" y="16"/>
                        <a:pt x="126" y="19"/>
                      </a:cubicBezTo>
                      <a:cubicBezTo>
                        <a:pt x="124" y="20"/>
                        <a:pt x="126" y="20"/>
                        <a:pt x="128" y="20"/>
                      </a:cubicBezTo>
                      <a:cubicBezTo>
                        <a:pt x="137" y="19"/>
                        <a:pt x="145" y="17"/>
                        <a:pt x="154" y="16"/>
                      </a:cubicBezTo>
                      <a:cubicBezTo>
                        <a:pt x="158" y="16"/>
                        <a:pt x="154" y="17"/>
                        <a:pt x="147" y="18"/>
                      </a:cubicBezTo>
                      <a:cubicBezTo>
                        <a:pt x="135" y="20"/>
                        <a:pt x="114" y="23"/>
                        <a:pt x="106" y="25"/>
                      </a:cubicBezTo>
                      <a:cubicBezTo>
                        <a:pt x="88" y="28"/>
                        <a:pt x="70" y="32"/>
                        <a:pt x="53" y="36"/>
                      </a:cubicBezTo>
                      <a:cubicBezTo>
                        <a:pt x="51" y="37"/>
                        <a:pt x="51" y="37"/>
                        <a:pt x="51" y="37"/>
                      </a:cubicBezTo>
                      <a:cubicBezTo>
                        <a:pt x="50" y="37"/>
                        <a:pt x="50" y="37"/>
                        <a:pt x="50" y="37"/>
                      </a:cubicBezTo>
                      <a:cubicBezTo>
                        <a:pt x="49" y="37"/>
                        <a:pt x="49" y="37"/>
                        <a:pt x="48" y="38"/>
                      </a:cubicBezTo>
                      <a:cubicBezTo>
                        <a:pt x="49" y="37"/>
                        <a:pt x="49" y="37"/>
                        <a:pt x="50" y="37"/>
                      </a:cubicBezTo>
                      <a:cubicBezTo>
                        <a:pt x="51" y="37"/>
                        <a:pt x="51" y="37"/>
                        <a:pt x="51" y="37"/>
                      </a:cubicBezTo>
                      <a:cubicBezTo>
                        <a:pt x="56" y="36"/>
                        <a:pt x="56" y="36"/>
                        <a:pt x="56" y="36"/>
                      </a:cubicBezTo>
                      <a:cubicBezTo>
                        <a:pt x="56" y="36"/>
                        <a:pt x="57" y="35"/>
                        <a:pt x="58" y="35"/>
                      </a:cubicBezTo>
                      <a:cubicBezTo>
                        <a:pt x="76" y="31"/>
                        <a:pt x="95" y="27"/>
                        <a:pt x="111" y="24"/>
                      </a:cubicBezTo>
                      <a:cubicBezTo>
                        <a:pt x="118" y="23"/>
                        <a:pt x="130" y="21"/>
                        <a:pt x="137" y="20"/>
                      </a:cubicBezTo>
                      <a:cubicBezTo>
                        <a:pt x="136" y="21"/>
                        <a:pt x="130" y="22"/>
                        <a:pt x="123" y="23"/>
                      </a:cubicBezTo>
                      <a:cubicBezTo>
                        <a:pt x="130" y="22"/>
                        <a:pt x="137" y="21"/>
                        <a:pt x="143" y="20"/>
                      </a:cubicBezTo>
                      <a:cubicBezTo>
                        <a:pt x="148" y="19"/>
                        <a:pt x="156" y="18"/>
                        <a:pt x="158" y="18"/>
                      </a:cubicBezTo>
                      <a:cubicBezTo>
                        <a:pt x="159" y="18"/>
                        <a:pt x="158" y="18"/>
                        <a:pt x="159" y="18"/>
                      </a:cubicBezTo>
                      <a:cubicBezTo>
                        <a:pt x="160" y="18"/>
                        <a:pt x="163" y="17"/>
                        <a:pt x="163" y="17"/>
                      </a:cubicBezTo>
                      <a:cubicBezTo>
                        <a:pt x="166" y="17"/>
                        <a:pt x="165" y="17"/>
                        <a:pt x="168" y="17"/>
                      </a:cubicBezTo>
                      <a:cubicBezTo>
                        <a:pt x="172" y="16"/>
                        <a:pt x="172" y="16"/>
                        <a:pt x="175" y="16"/>
                      </a:cubicBezTo>
                      <a:cubicBezTo>
                        <a:pt x="189" y="15"/>
                        <a:pt x="202" y="13"/>
                        <a:pt x="216" y="13"/>
                      </a:cubicBezTo>
                      <a:cubicBezTo>
                        <a:pt x="221" y="12"/>
                        <a:pt x="221" y="12"/>
                        <a:pt x="221" y="12"/>
                      </a:cubicBezTo>
                      <a:cubicBezTo>
                        <a:pt x="222" y="12"/>
                        <a:pt x="221" y="13"/>
                        <a:pt x="223" y="13"/>
                      </a:cubicBezTo>
                      <a:cubicBezTo>
                        <a:pt x="224" y="13"/>
                        <a:pt x="223" y="12"/>
                        <a:pt x="225" y="12"/>
                      </a:cubicBezTo>
                      <a:cubicBezTo>
                        <a:pt x="230" y="12"/>
                        <a:pt x="236" y="12"/>
                        <a:pt x="242" y="12"/>
                      </a:cubicBezTo>
                      <a:cubicBezTo>
                        <a:pt x="255" y="12"/>
                        <a:pt x="271" y="14"/>
                        <a:pt x="281" y="16"/>
                      </a:cubicBezTo>
                      <a:cubicBezTo>
                        <a:pt x="284" y="16"/>
                        <a:pt x="281" y="16"/>
                        <a:pt x="284" y="16"/>
                      </a:cubicBezTo>
                      <a:cubicBezTo>
                        <a:pt x="301" y="20"/>
                        <a:pt x="321" y="26"/>
                        <a:pt x="327" y="43"/>
                      </a:cubicBezTo>
                      <a:cubicBezTo>
                        <a:pt x="328" y="44"/>
                        <a:pt x="327" y="43"/>
                        <a:pt x="328" y="45"/>
                      </a:cubicBezTo>
                      <a:cubicBezTo>
                        <a:pt x="329" y="48"/>
                        <a:pt x="329" y="47"/>
                        <a:pt x="330" y="49"/>
                      </a:cubicBezTo>
                      <a:cubicBezTo>
                        <a:pt x="330" y="51"/>
                        <a:pt x="331" y="52"/>
                        <a:pt x="331" y="53"/>
                      </a:cubicBezTo>
                      <a:cubicBezTo>
                        <a:pt x="339" y="74"/>
                        <a:pt x="343" y="98"/>
                        <a:pt x="345" y="122"/>
                      </a:cubicBezTo>
                      <a:cubicBezTo>
                        <a:pt x="347" y="144"/>
                        <a:pt x="348" y="166"/>
                        <a:pt x="347" y="188"/>
                      </a:cubicBezTo>
                      <a:cubicBezTo>
                        <a:pt x="347" y="205"/>
                        <a:pt x="346" y="221"/>
                        <a:pt x="344" y="235"/>
                      </a:cubicBezTo>
                      <a:cubicBezTo>
                        <a:pt x="342" y="255"/>
                        <a:pt x="339" y="273"/>
                        <a:pt x="333" y="290"/>
                      </a:cubicBezTo>
                      <a:cubicBezTo>
                        <a:pt x="331" y="296"/>
                        <a:pt x="329" y="303"/>
                        <a:pt x="326" y="308"/>
                      </a:cubicBezTo>
                      <a:cubicBezTo>
                        <a:pt x="323" y="311"/>
                        <a:pt x="318" y="315"/>
                        <a:pt x="314" y="318"/>
                      </a:cubicBezTo>
                      <a:cubicBezTo>
                        <a:pt x="312" y="319"/>
                        <a:pt x="310" y="320"/>
                        <a:pt x="308" y="321"/>
                      </a:cubicBezTo>
                      <a:cubicBezTo>
                        <a:pt x="305" y="322"/>
                        <a:pt x="302" y="323"/>
                        <a:pt x="299" y="325"/>
                      </a:cubicBezTo>
                      <a:cubicBezTo>
                        <a:pt x="291" y="328"/>
                        <a:pt x="282" y="331"/>
                        <a:pt x="273" y="333"/>
                      </a:cubicBezTo>
                      <a:cubicBezTo>
                        <a:pt x="263" y="336"/>
                        <a:pt x="253" y="338"/>
                        <a:pt x="243" y="340"/>
                      </a:cubicBezTo>
                      <a:cubicBezTo>
                        <a:pt x="237" y="341"/>
                        <a:pt x="232" y="342"/>
                        <a:pt x="226" y="343"/>
                      </a:cubicBezTo>
                      <a:cubicBezTo>
                        <a:pt x="222" y="343"/>
                        <a:pt x="218" y="344"/>
                        <a:pt x="214" y="344"/>
                      </a:cubicBezTo>
                      <a:cubicBezTo>
                        <a:pt x="203" y="345"/>
                        <a:pt x="192" y="346"/>
                        <a:pt x="182" y="347"/>
                      </a:cubicBezTo>
                      <a:cubicBezTo>
                        <a:pt x="168" y="347"/>
                        <a:pt x="153" y="347"/>
                        <a:pt x="139" y="346"/>
                      </a:cubicBezTo>
                      <a:cubicBezTo>
                        <a:pt x="124" y="345"/>
                        <a:pt x="105" y="343"/>
                        <a:pt x="91" y="339"/>
                      </a:cubicBezTo>
                      <a:cubicBezTo>
                        <a:pt x="79" y="336"/>
                        <a:pt x="67" y="332"/>
                        <a:pt x="56" y="326"/>
                      </a:cubicBezTo>
                      <a:cubicBezTo>
                        <a:pt x="55" y="325"/>
                        <a:pt x="54" y="325"/>
                        <a:pt x="53" y="324"/>
                      </a:cubicBezTo>
                      <a:cubicBezTo>
                        <a:pt x="44" y="319"/>
                        <a:pt x="37" y="312"/>
                        <a:pt x="32" y="304"/>
                      </a:cubicBezTo>
                      <a:cubicBezTo>
                        <a:pt x="27" y="296"/>
                        <a:pt x="24" y="287"/>
                        <a:pt x="22" y="279"/>
                      </a:cubicBezTo>
                      <a:cubicBezTo>
                        <a:pt x="20" y="273"/>
                        <a:pt x="19" y="268"/>
                        <a:pt x="18" y="262"/>
                      </a:cubicBezTo>
                      <a:cubicBezTo>
                        <a:pt x="18" y="256"/>
                        <a:pt x="17" y="250"/>
                        <a:pt x="16" y="244"/>
                      </a:cubicBezTo>
                      <a:cubicBezTo>
                        <a:pt x="16" y="242"/>
                        <a:pt x="16" y="241"/>
                        <a:pt x="16" y="239"/>
                      </a:cubicBezTo>
                      <a:cubicBezTo>
                        <a:pt x="16" y="232"/>
                        <a:pt x="15" y="226"/>
                        <a:pt x="15" y="220"/>
                      </a:cubicBezTo>
                      <a:cubicBezTo>
                        <a:pt x="15" y="209"/>
                        <a:pt x="16" y="199"/>
                        <a:pt x="16" y="187"/>
                      </a:cubicBezTo>
                      <a:cubicBezTo>
                        <a:pt x="19" y="154"/>
                        <a:pt x="19" y="154"/>
                        <a:pt x="19" y="154"/>
                      </a:cubicBezTo>
                      <a:cubicBezTo>
                        <a:pt x="21" y="137"/>
                        <a:pt x="22" y="119"/>
                        <a:pt x="25" y="101"/>
                      </a:cubicBezTo>
                      <a:cubicBezTo>
                        <a:pt x="26" y="95"/>
                        <a:pt x="27" y="90"/>
                        <a:pt x="28" y="84"/>
                      </a:cubicBezTo>
                      <a:cubicBezTo>
                        <a:pt x="29" y="77"/>
                        <a:pt x="31" y="70"/>
                        <a:pt x="32" y="62"/>
                      </a:cubicBezTo>
                      <a:cubicBezTo>
                        <a:pt x="33" y="60"/>
                        <a:pt x="33" y="60"/>
                        <a:pt x="33" y="60"/>
                      </a:cubicBezTo>
                      <a:cubicBezTo>
                        <a:pt x="33" y="60"/>
                        <a:pt x="33" y="60"/>
                        <a:pt x="33" y="60"/>
                      </a:cubicBezTo>
                      <a:cubicBezTo>
                        <a:pt x="33" y="59"/>
                        <a:pt x="33" y="59"/>
                        <a:pt x="33" y="59"/>
                      </a:cubicBezTo>
                      <a:cubicBezTo>
                        <a:pt x="33" y="58"/>
                        <a:pt x="33" y="58"/>
                        <a:pt x="33" y="58"/>
                      </a:cubicBezTo>
                      <a:cubicBezTo>
                        <a:pt x="33" y="58"/>
                        <a:pt x="33" y="57"/>
                        <a:pt x="34" y="56"/>
                      </a:cubicBezTo>
                      <a:cubicBezTo>
                        <a:pt x="35" y="56"/>
                        <a:pt x="34" y="55"/>
                        <a:pt x="34" y="55"/>
                      </a:cubicBezTo>
                      <a:cubicBezTo>
                        <a:pt x="34" y="54"/>
                        <a:pt x="34" y="54"/>
                        <a:pt x="35" y="54"/>
                      </a:cubicBezTo>
                      <a:cubicBezTo>
                        <a:pt x="35" y="54"/>
                        <a:pt x="35" y="54"/>
                        <a:pt x="35" y="53"/>
                      </a:cubicBezTo>
                      <a:cubicBezTo>
                        <a:pt x="35" y="53"/>
                        <a:pt x="36" y="53"/>
                        <a:pt x="36" y="52"/>
                      </a:cubicBezTo>
                      <a:cubicBezTo>
                        <a:pt x="36" y="52"/>
                        <a:pt x="36" y="52"/>
                        <a:pt x="36" y="52"/>
                      </a:cubicBezTo>
                      <a:cubicBezTo>
                        <a:pt x="36" y="51"/>
                        <a:pt x="36" y="51"/>
                        <a:pt x="36" y="50"/>
                      </a:cubicBezTo>
                      <a:cubicBezTo>
                        <a:pt x="36" y="50"/>
                        <a:pt x="36" y="49"/>
                        <a:pt x="36" y="49"/>
                      </a:cubicBezTo>
                      <a:cubicBezTo>
                        <a:pt x="36" y="48"/>
                        <a:pt x="36" y="48"/>
                        <a:pt x="36" y="48"/>
                      </a:cubicBezTo>
                      <a:cubicBezTo>
                        <a:pt x="36" y="47"/>
                        <a:pt x="36" y="47"/>
                        <a:pt x="36" y="46"/>
                      </a:cubicBezTo>
                      <a:cubicBezTo>
                        <a:pt x="36" y="46"/>
                        <a:pt x="35" y="45"/>
                        <a:pt x="35" y="45"/>
                      </a:cubicBezTo>
                      <a:cubicBezTo>
                        <a:pt x="35" y="45"/>
                        <a:pt x="35" y="45"/>
                        <a:pt x="35" y="44"/>
                      </a:cubicBezTo>
                      <a:cubicBezTo>
                        <a:pt x="35" y="43"/>
                        <a:pt x="34" y="42"/>
                        <a:pt x="33" y="41"/>
                      </a:cubicBezTo>
                      <a:cubicBezTo>
                        <a:pt x="33" y="41"/>
                        <a:pt x="33" y="41"/>
                        <a:pt x="32" y="40"/>
                      </a:cubicBezTo>
                      <a:cubicBezTo>
                        <a:pt x="32" y="40"/>
                        <a:pt x="32" y="40"/>
                        <a:pt x="32" y="40"/>
                      </a:cubicBezTo>
                      <a:cubicBezTo>
                        <a:pt x="32" y="40"/>
                        <a:pt x="31" y="40"/>
                        <a:pt x="30" y="39"/>
                      </a:cubicBezTo>
                      <a:cubicBezTo>
                        <a:pt x="30" y="39"/>
                        <a:pt x="30" y="39"/>
                        <a:pt x="30" y="39"/>
                      </a:cubicBezTo>
                      <a:cubicBezTo>
                        <a:pt x="29" y="39"/>
                        <a:pt x="28" y="39"/>
                        <a:pt x="27" y="38"/>
                      </a:cubicBezTo>
                      <a:cubicBezTo>
                        <a:pt x="26" y="39"/>
                        <a:pt x="26" y="38"/>
                        <a:pt x="25" y="39"/>
                      </a:cubicBezTo>
                      <a:cubicBezTo>
                        <a:pt x="25" y="39"/>
                        <a:pt x="25" y="39"/>
                        <a:pt x="24" y="39"/>
                      </a:cubicBezTo>
                      <a:cubicBezTo>
                        <a:pt x="24" y="39"/>
                        <a:pt x="24" y="39"/>
                        <a:pt x="23" y="40"/>
                      </a:cubicBezTo>
                      <a:cubicBezTo>
                        <a:pt x="23" y="39"/>
                        <a:pt x="23" y="40"/>
                        <a:pt x="22" y="40"/>
                      </a:cubicBezTo>
                      <a:cubicBezTo>
                        <a:pt x="22" y="40"/>
                        <a:pt x="22" y="40"/>
                        <a:pt x="21" y="41"/>
                      </a:cubicBezTo>
                      <a:cubicBezTo>
                        <a:pt x="21" y="41"/>
                        <a:pt x="21" y="41"/>
                        <a:pt x="21" y="41"/>
                      </a:cubicBezTo>
                      <a:cubicBezTo>
                        <a:pt x="20" y="41"/>
                        <a:pt x="19" y="42"/>
                        <a:pt x="19" y="43"/>
                      </a:cubicBezTo>
                      <a:cubicBezTo>
                        <a:pt x="19" y="43"/>
                        <a:pt x="19" y="43"/>
                        <a:pt x="19" y="43"/>
                      </a:cubicBezTo>
                      <a:cubicBezTo>
                        <a:pt x="19" y="44"/>
                        <a:pt x="18" y="45"/>
                        <a:pt x="18" y="46"/>
                      </a:cubicBezTo>
                      <a:cubicBezTo>
                        <a:pt x="18" y="46"/>
                        <a:pt x="18" y="46"/>
                        <a:pt x="18" y="46"/>
                      </a:cubicBezTo>
                      <a:cubicBezTo>
                        <a:pt x="17" y="46"/>
                        <a:pt x="17" y="46"/>
                        <a:pt x="17" y="47"/>
                      </a:cubicBezTo>
                      <a:cubicBezTo>
                        <a:pt x="17" y="47"/>
                        <a:pt x="17" y="47"/>
                        <a:pt x="17" y="48"/>
                      </a:cubicBezTo>
                      <a:cubicBezTo>
                        <a:pt x="17" y="48"/>
                        <a:pt x="17" y="48"/>
                        <a:pt x="17" y="49"/>
                      </a:cubicBezTo>
                      <a:cubicBezTo>
                        <a:pt x="17" y="49"/>
                        <a:pt x="17" y="49"/>
                        <a:pt x="17" y="49"/>
                      </a:cubicBezTo>
                      <a:cubicBezTo>
                        <a:pt x="17" y="50"/>
                        <a:pt x="17" y="51"/>
                        <a:pt x="16" y="51"/>
                      </a:cubicBezTo>
                      <a:cubicBezTo>
                        <a:pt x="16" y="51"/>
                        <a:pt x="16" y="51"/>
                        <a:pt x="16" y="52"/>
                      </a:cubicBezTo>
                      <a:cubicBezTo>
                        <a:pt x="16" y="52"/>
                        <a:pt x="16" y="52"/>
                        <a:pt x="17" y="52"/>
                      </a:cubicBezTo>
                      <a:cubicBezTo>
                        <a:pt x="17" y="53"/>
                        <a:pt x="16" y="54"/>
                        <a:pt x="17" y="55"/>
                      </a:cubicBezTo>
                      <a:cubicBezTo>
                        <a:pt x="16" y="56"/>
                        <a:pt x="16" y="56"/>
                        <a:pt x="16" y="56"/>
                      </a:cubicBezTo>
                      <a:cubicBezTo>
                        <a:pt x="16" y="57"/>
                        <a:pt x="16" y="57"/>
                        <a:pt x="16" y="57"/>
                      </a:cubicBezTo>
                      <a:cubicBezTo>
                        <a:pt x="16" y="57"/>
                        <a:pt x="16" y="57"/>
                        <a:pt x="16" y="57"/>
                      </a:cubicBezTo>
                      <a:cubicBezTo>
                        <a:pt x="16" y="58"/>
                        <a:pt x="16" y="58"/>
                        <a:pt x="16" y="58"/>
                      </a:cubicBezTo>
                      <a:cubicBezTo>
                        <a:pt x="15" y="65"/>
                        <a:pt x="15" y="65"/>
                        <a:pt x="15" y="65"/>
                      </a:cubicBezTo>
                      <a:cubicBezTo>
                        <a:pt x="14" y="71"/>
                        <a:pt x="14" y="71"/>
                        <a:pt x="14" y="71"/>
                      </a:cubicBezTo>
                      <a:cubicBezTo>
                        <a:pt x="13" y="74"/>
                        <a:pt x="13" y="78"/>
                        <a:pt x="12" y="82"/>
                      </a:cubicBezTo>
                      <a:cubicBezTo>
                        <a:pt x="11" y="89"/>
                        <a:pt x="10" y="95"/>
                        <a:pt x="9" y="101"/>
                      </a:cubicBezTo>
                      <a:cubicBezTo>
                        <a:pt x="8" y="110"/>
                        <a:pt x="7" y="116"/>
                        <a:pt x="6" y="124"/>
                      </a:cubicBezTo>
                      <a:cubicBezTo>
                        <a:pt x="5" y="132"/>
                        <a:pt x="5" y="132"/>
                        <a:pt x="5" y="132"/>
                      </a:cubicBezTo>
                      <a:cubicBezTo>
                        <a:pt x="4" y="140"/>
                        <a:pt x="4" y="140"/>
                        <a:pt x="4" y="140"/>
                      </a:cubicBezTo>
                      <a:cubicBezTo>
                        <a:pt x="3" y="149"/>
                        <a:pt x="3" y="149"/>
                        <a:pt x="3" y="149"/>
                      </a:cubicBezTo>
                      <a:cubicBezTo>
                        <a:pt x="3" y="154"/>
                        <a:pt x="3" y="154"/>
                        <a:pt x="3" y="154"/>
                      </a:cubicBezTo>
                      <a:cubicBezTo>
                        <a:pt x="3" y="156"/>
                        <a:pt x="2" y="158"/>
                        <a:pt x="2" y="160"/>
                      </a:cubicBezTo>
                      <a:cubicBezTo>
                        <a:pt x="2" y="168"/>
                        <a:pt x="2" y="168"/>
                        <a:pt x="2" y="168"/>
                      </a:cubicBezTo>
                      <a:cubicBezTo>
                        <a:pt x="1" y="177"/>
                        <a:pt x="0" y="187"/>
                        <a:pt x="0" y="195"/>
                      </a:cubicBezTo>
                      <a:cubicBezTo>
                        <a:pt x="0" y="211"/>
                        <a:pt x="0" y="225"/>
                        <a:pt x="1" y="243"/>
                      </a:cubicBezTo>
                      <a:cubicBezTo>
                        <a:pt x="2" y="256"/>
                        <a:pt x="2" y="256"/>
                        <a:pt x="2" y="256"/>
                      </a:cubicBezTo>
                      <a:cubicBezTo>
                        <a:pt x="2" y="257"/>
                        <a:pt x="2" y="257"/>
                        <a:pt x="3" y="259"/>
                      </a:cubicBezTo>
                      <a:cubicBezTo>
                        <a:pt x="4" y="269"/>
                        <a:pt x="6" y="279"/>
                        <a:pt x="9" y="289"/>
                      </a:cubicBezTo>
                      <a:cubicBezTo>
                        <a:pt x="9" y="289"/>
                        <a:pt x="9" y="290"/>
                        <a:pt x="9" y="290"/>
                      </a:cubicBezTo>
                      <a:cubicBezTo>
                        <a:pt x="11" y="297"/>
                        <a:pt x="14" y="305"/>
                        <a:pt x="19" y="312"/>
                      </a:cubicBezTo>
                      <a:cubicBezTo>
                        <a:pt x="23" y="319"/>
                        <a:pt x="29" y="324"/>
                        <a:pt x="33" y="328"/>
                      </a:cubicBezTo>
                      <a:cubicBezTo>
                        <a:pt x="40" y="334"/>
                        <a:pt x="49" y="339"/>
                        <a:pt x="59" y="344"/>
                      </a:cubicBezTo>
                      <a:cubicBezTo>
                        <a:pt x="63" y="346"/>
                        <a:pt x="68" y="348"/>
                        <a:pt x="72" y="349"/>
                      </a:cubicBezTo>
                      <a:cubicBezTo>
                        <a:pt x="81" y="352"/>
                        <a:pt x="93" y="355"/>
                        <a:pt x="101" y="356"/>
                      </a:cubicBezTo>
                      <a:cubicBezTo>
                        <a:pt x="104" y="357"/>
                        <a:pt x="106" y="357"/>
                        <a:pt x="109" y="357"/>
                      </a:cubicBezTo>
                      <a:cubicBezTo>
                        <a:pt x="113" y="358"/>
                        <a:pt x="118" y="359"/>
                        <a:pt x="123" y="359"/>
                      </a:cubicBezTo>
                      <a:cubicBezTo>
                        <a:pt x="141" y="361"/>
                        <a:pt x="163" y="362"/>
                        <a:pt x="179" y="361"/>
                      </a:cubicBezTo>
                      <a:cubicBezTo>
                        <a:pt x="184" y="361"/>
                        <a:pt x="188" y="361"/>
                        <a:pt x="194" y="360"/>
                      </a:cubicBezTo>
                      <a:cubicBezTo>
                        <a:pt x="203" y="359"/>
                        <a:pt x="213" y="359"/>
                        <a:pt x="222" y="358"/>
                      </a:cubicBezTo>
                      <a:cubicBezTo>
                        <a:pt x="229" y="357"/>
                        <a:pt x="229" y="357"/>
                        <a:pt x="229" y="357"/>
                      </a:cubicBezTo>
                      <a:cubicBezTo>
                        <a:pt x="234" y="356"/>
                        <a:pt x="240" y="355"/>
                        <a:pt x="245" y="354"/>
                      </a:cubicBezTo>
                      <a:cubicBezTo>
                        <a:pt x="260" y="351"/>
                        <a:pt x="274" y="348"/>
                        <a:pt x="287" y="344"/>
                      </a:cubicBezTo>
                      <a:cubicBezTo>
                        <a:pt x="295" y="341"/>
                        <a:pt x="306" y="338"/>
                        <a:pt x="316" y="333"/>
                      </a:cubicBezTo>
                      <a:cubicBezTo>
                        <a:pt x="321" y="330"/>
                        <a:pt x="326" y="327"/>
                        <a:pt x="331" y="323"/>
                      </a:cubicBezTo>
                      <a:cubicBezTo>
                        <a:pt x="333" y="321"/>
                        <a:pt x="335" y="319"/>
                        <a:pt x="337" y="316"/>
                      </a:cubicBezTo>
                      <a:cubicBezTo>
                        <a:pt x="339" y="313"/>
                        <a:pt x="340" y="311"/>
                        <a:pt x="341" y="308"/>
                      </a:cubicBezTo>
                      <a:cubicBezTo>
                        <a:pt x="343" y="304"/>
                        <a:pt x="345" y="300"/>
                        <a:pt x="347" y="295"/>
                      </a:cubicBezTo>
                      <a:cubicBezTo>
                        <a:pt x="351" y="281"/>
                        <a:pt x="354" y="263"/>
                        <a:pt x="357" y="248"/>
                      </a:cubicBezTo>
                      <a:cubicBezTo>
                        <a:pt x="361" y="216"/>
                        <a:pt x="362" y="184"/>
                        <a:pt x="361" y="152"/>
                      </a:cubicBezTo>
                      <a:close/>
                    </a:path>
                  </a:pathLst>
                </a:custGeom>
                <a:solidFill>
                  <a:srgbClr val="FF0000"/>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55" name="Rectangle 54"/>
                <p:cNvSpPr/>
                <p:nvPr/>
              </p:nvSpPr>
              <p:spPr>
                <a:xfrm>
                  <a:off x="2857488" y="2071678"/>
                  <a:ext cx="1332416" cy="1015663"/>
                </a:xfrm>
                <a:prstGeom prst="rect">
                  <a:avLst/>
                </a:prstGeom>
              </p:spPr>
              <p:txBody>
                <a:bodyPr wrap="none">
                  <a:spAutoFit/>
                </a:bodyPr>
                <a:lstStyle/>
                <a:p>
                  <a:pPr algn="ctr">
                    <a:defRPr/>
                  </a:pPr>
                  <a:r>
                    <a:rPr lang="de-DE" sz="6000" b="1" kern="0" noProof="1" smtClean="0">
                      <a:solidFill>
                        <a:srgbClr val="000000"/>
                      </a:solidFill>
                      <a:latin typeface="Bradley Hand ITC" pitchFamily="66" charset="0"/>
                      <a:ea typeface="ＭＳ Ｐゴシック" pitchFamily="-97" charset="-128"/>
                    </a:rPr>
                    <a:t>Pp1</a:t>
                  </a:r>
                  <a:endParaRPr lang="de-DE" sz="6000" b="1" kern="0" noProof="1">
                    <a:solidFill>
                      <a:srgbClr val="000000"/>
                    </a:solidFill>
                    <a:latin typeface="Bradley Hand ITC" pitchFamily="66" charset="0"/>
                    <a:ea typeface="ＭＳ Ｐゴシック" pitchFamily="-97" charset="-128"/>
                  </a:endParaRPr>
                </a:p>
              </p:txBody>
            </p:sp>
          </p:grpSp>
          <p:sp>
            <p:nvSpPr>
              <p:cNvPr id="52" name="Freeform 6"/>
              <p:cNvSpPr>
                <a:spLocks noEditPoints="1"/>
              </p:cNvSpPr>
              <p:nvPr/>
            </p:nvSpPr>
            <p:spPr bwMode="auto">
              <a:xfrm rot="10800000" flipH="1">
                <a:off x="1411736" y="1839853"/>
                <a:ext cx="1332458" cy="1140595"/>
              </a:xfrm>
              <a:custGeom>
                <a:avLst/>
                <a:gdLst>
                  <a:gd name="T0" fmla="*/ 38 w 760"/>
                  <a:gd name="T1" fmla="*/ 89 h 677"/>
                  <a:gd name="T2" fmla="*/ 158 w 760"/>
                  <a:gd name="T3" fmla="*/ 77 h 677"/>
                  <a:gd name="T4" fmla="*/ 163 w 760"/>
                  <a:gd name="T5" fmla="*/ 95 h 677"/>
                  <a:gd name="T6" fmla="*/ 165 w 760"/>
                  <a:gd name="T7" fmla="*/ 105 h 677"/>
                  <a:gd name="T8" fmla="*/ 163 w 760"/>
                  <a:gd name="T9" fmla="*/ 154 h 677"/>
                  <a:gd name="T10" fmla="*/ 373 w 760"/>
                  <a:gd name="T11" fmla="*/ 627 h 677"/>
                  <a:gd name="T12" fmla="*/ 220 w 760"/>
                  <a:gd name="T13" fmla="*/ 622 h 677"/>
                  <a:gd name="T14" fmla="*/ 124 w 760"/>
                  <a:gd name="T15" fmla="*/ 320 h 677"/>
                  <a:gd name="T16" fmla="*/ 124 w 760"/>
                  <a:gd name="T17" fmla="*/ 132 h 677"/>
                  <a:gd name="T18" fmla="*/ 752 w 760"/>
                  <a:gd name="T19" fmla="*/ 643 h 677"/>
                  <a:gd name="T20" fmla="*/ 753 w 760"/>
                  <a:gd name="T21" fmla="*/ 645 h 677"/>
                  <a:gd name="T22" fmla="*/ 750 w 760"/>
                  <a:gd name="T23" fmla="*/ 644 h 677"/>
                  <a:gd name="T24" fmla="*/ 737 w 760"/>
                  <a:gd name="T25" fmla="*/ 636 h 677"/>
                  <a:gd name="T26" fmla="*/ 700 w 760"/>
                  <a:gd name="T27" fmla="*/ 632 h 677"/>
                  <a:gd name="T28" fmla="*/ 632 w 760"/>
                  <a:gd name="T29" fmla="*/ 637 h 677"/>
                  <a:gd name="T30" fmla="*/ 586 w 760"/>
                  <a:gd name="T31" fmla="*/ 635 h 677"/>
                  <a:gd name="T32" fmla="*/ 575 w 760"/>
                  <a:gd name="T33" fmla="*/ 634 h 677"/>
                  <a:gd name="T34" fmla="*/ 467 w 760"/>
                  <a:gd name="T35" fmla="*/ 628 h 677"/>
                  <a:gd name="T36" fmla="*/ 430 w 760"/>
                  <a:gd name="T37" fmla="*/ 632 h 677"/>
                  <a:gd name="T38" fmla="*/ 369 w 760"/>
                  <a:gd name="T39" fmla="*/ 633 h 677"/>
                  <a:gd name="T40" fmla="*/ 327 w 760"/>
                  <a:gd name="T41" fmla="*/ 632 h 677"/>
                  <a:gd name="T42" fmla="*/ 276 w 760"/>
                  <a:gd name="T43" fmla="*/ 628 h 677"/>
                  <a:gd name="T44" fmla="*/ 253 w 760"/>
                  <a:gd name="T45" fmla="*/ 625 h 677"/>
                  <a:gd name="T46" fmla="*/ 217 w 760"/>
                  <a:gd name="T47" fmla="*/ 621 h 677"/>
                  <a:gd name="T48" fmla="*/ 173 w 760"/>
                  <a:gd name="T49" fmla="*/ 607 h 677"/>
                  <a:gd name="T50" fmla="*/ 131 w 760"/>
                  <a:gd name="T51" fmla="*/ 479 h 677"/>
                  <a:gd name="T52" fmla="*/ 128 w 760"/>
                  <a:gd name="T53" fmla="*/ 414 h 677"/>
                  <a:gd name="T54" fmla="*/ 125 w 760"/>
                  <a:gd name="T55" fmla="*/ 224 h 677"/>
                  <a:gd name="T56" fmla="*/ 123 w 760"/>
                  <a:gd name="T57" fmla="*/ 102 h 677"/>
                  <a:gd name="T58" fmla="*/ 153 w 760"/>
                  <a:gd name="T59" fmla="*/ 149 h 677"/>
                  <a:gd name="T60" fmla="*/ 165 w 760"/>
                  <a:gd name="T61" fmla="*/ 153 h 677"/>
                  <a:gd name="T62" fmla="*/ 175 w 760"/>
                  <a:gd name="T63" fmla="*/ 142 h 677"/>
                  <a:gd name="T64" fmla="*/ 176 w 760"/>
                  <a:gd name="T65" fmla="*/ 125 h 677"/>
                  <a:gd name="T66" fmla="*/ 172 w 760"/>
                  <a:gd name="T67" fmla="*/ 110 h 677"/>
                  <a:gd name="T68" fmla="*/ 160 w 760"/>
                  <a:gd name="T69" fmla="*/ 105 h 677"/>
                  <a:gd name="T70" fmla="*/ 163 w 760"/>
                  <a:gd name="T71" fmla="*/ 95 h 677"/>
                  <a:gd name="T72" fmla="*/ 161 w 760"/>
                  <a:gd name="T73" fmla="*/ 89 h 677"/>
                  <a:gd name="T74" fmla="*/ 155 w 760"/>
                  <a:gd name="T75" fmla="*/ 68 h 677"/>
                  <a:gd name="T76" fmla="*/ 151 w 760"/>
                  <a:gd name="T77" fmla="*/ 63 h 677"/>
                  <a:gd name="T78" fmla="*/ 138 w 760"/>
                  <a:gd name="T79" fmla="*/ 45 h 677"/>
                  <a:gd name="T80" fmla="*/ 131 w 760"/>
                  <a:gd name="T81" fmla="*/ 32 h 677"/>
                  <a:gd name="T82" fmla="*/ 124 w 760"/>
                  <a:gd name="T83" fmla="*/ 16 h 677"/>
                  <a:gd name="T84" fmla="*/ 121 w 760"/>
                  <a:gd name="T85" fmla="*/ 4 h 677"/>
                  <a:gd name="T86" fmla="*/ 113 w 760"/>
                  <a:gd name="T87" fmla="*/ 19 h 677"/>
                  <a:gd name="T88" fmla="*/ 107 w 760"/>
                  <a:gd name="T89" fmla="*/ 25 h 677"/>
                  <a:gd name="T90" fmla="*/ 77 w 760"/>
                  <a:gd name="T91" fmla="*/ 49 h 677"/>
                  <a:gd name="T92" fmla="*/ 55 w 760"/>
                  <a:gd name="T93" fmla="*/ 72 h 677"/>
                  <a:gd name="T94" fmla="*/ 39 w 760"/>
                  <a:gd name="T95" fmla="*/ 89 h 677"/>
                  <a:gd name="T96" fmla="*/ 14 w 760"/>
                  <a:gd name="T97" fmla="*/ 106 h 677"/>
                  <a:gd name="T98" fmla="*/ 20 w 760"/>
                  <a:gd name="T99" fmla="*/ 148 h 677"/>
                  <a:gd name="T100" fmla="*/ 87 w 760"/>
                  <a:gd name="T101" fmla="*/ 101 h 677"/>
                  <a:gd name="T102" fmla="*/ 96 w 760"/>
                  <a:gd name="T103" fmla="*/ 523 h 677"/>
                  <a:gd name="T104" fmla="*/ 214 w 760"/>
                  <a:gd name="T105" fmla="*/ 661 h 677"/>
                  <a:gd name="T106" fmla="*/ 587 w 760"/>
                  <a:gd name="T107" fmla="*/ 673 h 677"/>
                  <a:gd name="T108" fmla="*/ 747 w 760"/>
                  <a:gd name="T109" fmla="*/ 665 h 677"/>
                  <a:gd name="T110" fmla="*/ 756 w 760"/>
                  <a:gd name="T111" fmla="*/ 658 h 677"/>
                  <a:gd name="T112" fmla="*/ 632 w 760"/>
                  <a:gd name="T113" fmla="*/ 637 h 677"/>
                  <a:gd name="T114" fmla="*/ 753 w 760"/>
                  <a:gd name="T115" fmla="*/ 645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0" h="677">
                    <a:moveTo>
                      <a:pt x="144" y="39"/>
                    </a:moveTo>
                    <a:cubicBezTo>
                      <a:pt x="144" y="39"/>
                      <a:pt x="144" y="40"/>
                      <a:pt x="143" y="40"/>
                    </a:cubicBezTo>
                    <a:cubicBezTo>
                      <a:pt x="143" y="40"/>
                      <a:pt x="143" y="40"/>
                      <a:pt x="143" y="40"/>
                    </a:cubicBezTo>
                    <a:lnTo>
                      <a:pt x="144" y="39"/>
                    </a:lnTo>
                    <a:close/>
                    <a:moveTo>
                      <a:pt x="153" y="65"/>
                    </a:moveTo>
                    <a:cubicBezTo>
                      <a:pt x="153" y="65"/>
                      <a:pt x="153" y="65"/>
                      <a:pt x="153" y="65"/>
                    </a:cubicBezTo>
                    <a:cubicBezTo>
                      <a:pt x="153" y="65"/>
                      <a:pt x="153" y="64"/>
                      <a:pt x="153" y="65"/>
                    </a:cubicBezTo>
                    <a:close/>
                    <a:moveTo>
                      <a:pt x="38" y="89"/>
                    </a:moveTo>
                    <a:cubicBezTo>
                      <a:pt x="38" y="89"/>
                      <a:pt x="38" y="89"/>
                      <a:pt x="38" y="89"/>
                    </a:cubicBezTo>
                    <a:cubicBezTo>
                      <a:pt x="38" y="89"/>
                      <a:pt x="38" y="89"/>
                      <a:pt x="38" y="89"/>
                    </a:cubicBezTo>
                    <a:close/>
                    <a:moveTo>
                      <a:pt x="38" y="89"/>
                    </a:moveTo>
                    <a:cubicBezTo>
                      <a:pt x="39" y="90"/>
                      <a:pt x="39" y="90"/>
                      <a:pt x="39" y="89"/>
                    </a:cubicBezTo>
                    <a:cubicBezTo>
                      <a:pt x="38" y="88"/>
                      <a:pt x="38" y="89"/>
                      <a:pt x="38" y="88"/>
                    </a:cubicBezTo>
                    <a:cubicBezTo>
                      <a:pt x="38" y="89"/>
                      <a:pt x="38" y="89"/>
                      <a:pt x="38" y="89"/>
                    </a:cubicBezTo>
                    <a:close/>
                    <a:moveTo>
                      <a:pt x="159" y="76"/>
                    </a:moveTo>
                    <a:cubicBezTo>
                      <a:pt x="158" y="77"/>
                      <a:pt x="158" y="77"/>
                      <a:pt x="158" y="77"/>
                    </a:cubicBezTo>
                    <a:cubicBezTo>
                      <a:pt x="158" y="77"/>
                      <a:pt x="158" y="77"/>
                      <a:pt x="158" y="77"/>
                    </a:cubicBezTo>
                    <a:lnTo>
                      <a:pt x="159" y="76"/>
                    </a:lnTo>
                    <a:close/>
                    <a:moveTo>
                      <a:pt x="175" y="142"/>
                    </a:moveTo>
                    <a:cubicBezTo>
                      <a:pt x="174" y="143"/>
                      <a:pt x="174" y="143"/>
                      <a:pt x="174" y="143"/>
                    </a:cubicBezTo>
                    <a:cubicBezTo>
                      <a:pt x="174" y="143"/>
                      <a:pt x="175" y="143"/>
                      <a:pt x="175" y="143"/>
                    </a:cubicBezTo>
                    <a:lnTo>
                      <a:pt x="175" y="142"/>
                    </a:lnTo>
                    <a:close/>
                    <a:moveTo>
                      <a:pt x="163" y="95"/>
                    </a:moveTo>
                    <a:cubicBezTo>
                      <a:pt x="163" y="95"/>
                      <a:pt x="163" y="95"/>
                      <a:pt x="163" y="95"/>
                    </a:cubicBezTo>
                    <a:cubicBezTo>
                      <a:pt x="163" y="94"/>
                      <a:pt x="163" y="93"/>
                      <a:pt x="162" y="93"/>
                    </a:cubicBezTo>
                    <a:cubicBezTo>
                      <a:pt x="161" y="93"/>
                      <a:pt x="161" y="93"/>
                      <a:pt x="161" y="93"/>
                    </a:cubicBezTo>
                    <a:lnTo>
                      <a:pt x="163" y="95"/>
                    </a:lnTo>
                    <a:close/>
                    <a:moveTo>
                      <a:pt x="157" y="150"/>
                    </a:moveTo>
                    <a:cubicBezTo>
                      <a:pt x="157" y="150"/>
                      <a:pt x="157" y="150"/>
                      <a:pt x="157" y="150"/>
                    </a:cubicBezTo>
                    <a:cubicBezTo>
                      <a:pt x="156" y="151"/>
                      <a:pt x="156" y="150"/>
                      <a:pt x="157" y="150"/>
                    </a:cubicBezTo>
                    <a:close/>
                    <a:moveTo>
                      <a:pt x="165" y="105"/>
                    </a:moveTo>
                    <a:cubicBezTo>
                      <a:pt x="165" y="105"/>
                      <a:pt x="165" y="105"/>
                      <a:pt x="165" y="105"/>
                    </a:cubicBezTo>
                    <a:cubicBezTo>
                      <a:pt x="166" y="104"/>
                      <a:pt x="166" y="104"/>
                      <a:pt x="166" y="104"/>
                    </a:cubicBezTo>
                    <a:lnTo>
                      <a:pt x="165" y="105"/>
                    </a:lnTo>
                    <a:close/>
                    <a:moveTo>
                      <a:pt x="177" y="123"/>
                    </a:moveTo>
                    <a:cubicBezTo>
                      <a:pt x="177" y="122"/>
                      <a:pt x="177" y="122"/>
                      <a:pt x="176" y="123"/>
                    </a:cubicBezTo>
                    <a:cubicBezTo>
                      <a:pt x="177" y="123"/>
                      <a:pt x="177" y="123"/>
                      <a:pt x="177" y="123"/>
                    </a:cubicBezTo>
                    <a:close/>
                    <a:moveTo>
                      <a:pt x="163" y="155"/>
                    </a:moveTo>
                    <a:cubicBezTo>
                      <a:pt x="163" y="155"/>
                      <a:pt x="164" y="155"/>
                      <a:pt x="164" y="154"/>
                    </a:cubicBezTo>
                    <a:cubicBezTo>
                      <a:pt x="163" y="154"/>
                      <a:pt x="163" y="154"/>
                      <a:pt x="163" y="154"/>
                    </a:cubicBezTo>
                    <a:cubicBezTo>
                      <a:pt x="163" y="154"/>
                      <a:pt x="163" y="155"/>
                      <a:pt x="163" y="155"/>
                    </a:cubicBezTo>
                    <a:close/>
                    <a:moveTo>
                      <a:pt x="175" y="145"/>
                    </a:moveTo>
                    <a:cubicBezTo>
                      <a:pt x="175" y="144"/>
                      <a:pt x="175" y="144"/>
                      <a:pt x="175" y="144"/>
                    </a:cubicBezTo>
                    <a:cubicBezTo>
                      <a:pt x="175" y="144"/>
                      <a:pt x="175" y="145"/>
                      <a:pt x="175" y="145"/>
                    </a:cubicBezTo>
                    <a:close/>
                    <a:moveTo>
                      <a:pt x="130" y="440"/>
                    </a:moveTo>
                    <a:cubicBezTo>
                      <a:pt x="130" y="439"/>
                      <a:pt x="129" y="439"/>
                      <a:pt x="130" y="440"/>
                    </a:cubicBezTo>
                    <a:close/>
                    <a:moveTo>
                      <a:pt x="373" y="627"/>
                    </a:moveTo>
                    <a:cubicBezTo>
                      <a:pt x="373" y="627"/>
                      <a:pt x="373" y="627"/>
                      <a:pt x="373" y="627"/>
                    </a:cubicBezTo>
                    <a:cubicBezTo>
                      <a:pt x="374" y="626"/>
                      <a:pt x="374" y="626"/>
                      <a:pt x="374" y="625"/>
                    </a:cubicBezTo>
                    <a:lnTo>
                      <a:pt x="373" y="627"/>
                    </a:lnTo>
                    <a:close/>
                    <a:moveTo>
                      <a:pt x="439" y="631"/>
                    </a:moveTo>
                    <a:cubicBezTo>
                      <a:pt x="440" y="631"/>
                      <a:pt x="440" y="631"/>
                      <a:pt x="440" y="631"/>
                    </a:cubicBezTo>
                    <a:cubicBezTo>
                      <a:pt x="440" y="631"/>
                      <a:pt x="440" y="630"/>
                      <a:pt x="439" y="631"/>
                    </a:cubicBezTo>
                    <a:close/>
                    <a:moveTo>
                      <a:pt x="220" y="622"/>
                    </a:moveTo>
                    <a:cubicBezTo>
                      <a:pt x="221" y="621"/>
                      <a:pt x="221" y="621"/>
                      <a:pt x="222" y="621"/>
                    </a:cubicBezTo>
                    <a:cubicBezTo>
                      <a:pt x="221" y="621"/>
                      <a:pt x="221" y="621"/>
                      <a:pt x="220" y="622"/>
                    </a:cubicBezTo>
                    <a:close/>
                    <a:moveTo>
                      <a:pt x="123" y="318"/>
                    </a:moveTo>
                    <a:cubicBezTo>
                      <a:pt x="123" y="319"/>
                      <a:pt x="123" y="319"/>
                      <a:pt x="123" y="319"/>
                    </a:cubicBezTo>
                    <a:cubicBezTo>
                      <a:pt x="124" y="318"/>
                      <a:pt x="124" y="318"/>
                      <a:pt x="124" y="318"/>
                    </a:cubicBezTo>
                    <a:lnTo>
                      <a:pt x="123" y="318"/>
                    </a:lnTo>
                    <a:close/>
                    <a:moveTo>
                      <a:pt x="124" y="320"/>
                    </a:moveTo>
                    <a:cubicBezTo>
                      <a:pt x="124" y="320"/>
                      <a:pt x="124" y="319"/>
                      <a:pt x="123" y="319"/>
                    </a:cubicBezTo>
                    <a:cubicBezTo>
                      <a:pt x="123" y="320"/>
                      <a:pt x="123" y="322"/>
                      <a:pt x="123" y="323"/>
                    </a:cubicBezTo>
                    <a:cubicBezTo>
                      <a:pt x="124" y="323"/>
                      <a:pt x="124" y="321"/>
                      <a:pt x="124" y="320"/>
                    </a:cubicBezTo>
                    <a:close/>
                    <a:moveTo>
                      <a:pt x="124" y="320"/>
                    </a:moveTo>
                    <a:cubicBezTo>
                      <a:pt x="124" y="320"/>
                      <a:pt x="124" y="320"/>
                      <a:pt x="124" y="320"/>
                    </a:cubicBezTo>
                    <a:cubicBezTo>
                      <a:pt x="124" y="320"/>
                      <a:pt x="124" y="320"/>
                      <a:pt x="124" y="320"/>
                    </a:cubicBezTo>
                    <a:close/>
                    <a:moveTo>
                      <a:pt x="223" y="663"/>
                    </a:moveTo>
                    <a:cubicBezTo>
                      <a:pt x="222" y="663"/>
                      <a:pt x="222" y="663"/>
                      <a:pt x="222" y="663"/>
                    </a:cubicBezTo>
                    <a:cubicBezTo>
                      <a:pt x="222" y="663"/>
                      <a:pt x="222" y="663"/>
                      <a:pt x="223" y="663"/>
                    </a:cubicBezTo>
                    <a:close/>
                    <a:moveTo>
                      <a:pt x="123" y="132"/>
                    </a:moveTo>
                    <a:cubicBezTo>
                      <a:pt x="124" y="132"/>
                      <a:pt x="124" y="132"/>
                      <a:pt x="124" y="132"/>
                    </a:cubicBezTo>
                    <a:cubicBezTo>
                      <a:pt x="123" y="132"/>
                      <a:pt x="123" y="132"/>
                      <a:pt x="123" y="132"/>
                    </a:cubicBezTo>
                    <a:close/>
                    <a:moveTo>
                      <a:pt x="501" y="631"/>
                    </a:moveTo>
                    <a:cubicBezTo>
                      <a:pt x="501" y="632"/>
                      <a:pt x="501" y="632"/>
                      <a:pt x="501" y="632"/>
                    </a:cubicBezTo>
                    <a:cubicBezTo>
                      <a:pt x="501" y="632"/>
                      <a:pt x="501" y="632"/>
                      <a:pt x="501" y="632"/>
                    </a:cubicBezTo>
                    <a:lnTo>
                      <a:pt x="501" y="631"/>
                    </a:lnTo>
                    <a:close/>
                    <a:moveTo>
                      <a:pt x="752" y="643"/>
                    </a:moveTo>
                    <a:cubicBezTo>
                      <a:pt x="751" y="644"/>
                      <a:pt x="751" y="644"/>
                      <a:pt x="751" y="644"/>
                    </a:cubicBezTo>
                    <a:cubicBezTo>
                      <a:pt x="751" y="644"/>
                      <a:pt x="752" y="643"/>
                      <a:pt x="752" y="643"/>
                    </a:cubicBezTo>
                    <a:close/>
                    <a:moveTo>
                      <a:pt x="585" y="635"/>
                    </a:moveTo>
                    <a:cubicBezTo>
                      <a:pt x="585" y="635"/>
                      <a:pt x="586" y="635"/>
                      <a:pt x="586" y="635"/>
                    </a:cubicBezTo>
                    <a:cubicBezTo>
                      <a:pt x="584" y="634"/>
                      <a:pt x="580" y="634"/>
                      <a:pt x="575" y="634"/>
                    </a:cubicBezTo>
                    <a:cubicBezTo>
                      <a:pt x="575" y="636"/>
                      <a:pt x="575" y="636"/>
                      <a:pt x="575" y="636"/>
                    </a:cubicBezTo>
                    <a:lnTo>
                      <a:pt x="585" y="635"/>
                    </a:lnTo>
                    <a:close/>
                    <a:moveTo>
                      <a:pt x="760" y="655"/>
                    </a:moveTo>
                    <a:cubicBezTo>
                      <a:pt x="760" y="655"/>
                      <a:pt x="755" y="649"/>
                      <a:pt x="753" y="646"/>
                    </a:cubicBezTo>
                    <a:cubicBezTo>
                      <a:pt x="755" y="647"/>
                      <a:pt x="754" y="646"/>
                      <a:pt x="753" y="645"/>
                    </a:cubicBezTo>
                    <a:cubicBezTo>
                      <a:pt x="753" y="645"/>
                      <a:pt x="753" y="645"/>
                      <a:pt x="753" y="645"/>
                    </a:cubicBezTo>
                    <a:cubicBezTo>
                      <a:pt x="752" y="645"/>
                      <a:pt x="752" y="643"/>
                      <a:pt x="751" y="642"/>
                    </a:cubicBezTo>
                    <a:cubicBezTo>
                      <a:pt x="752" y="643"/>
                      <a:pt x="752" y="643"/>
                      <a:pt x="752" y="643"/>
                    </a:cubicBezTo>
                    <a:cubicBezTo>
                      <a:pt x="752" y="642"/>
                      <a:pt x="752" y="642"/>
                      <a:pt x="752" y="642"/>
                    </a:cubicBezTo>
                    <a:cubicBezTo>
                      <a:pt x="752" y="643"/>
                      <a:pt x="752" y="643"/>
                      <a:pt x="752" y="643"/>
                    </a:cubicBezTo>
                    <a:cubicBezTo>
                      <a:pt x="752" y="644"/>
                      <a:pt x="752" y="644"/>
                      <a:pt x="751" y="644"/>
                    </a:cubicBezTo>
                    <a:cubicBezTo>
                      <a:pt x="751" y="644"/>
                      <a:pt x="751" y="644"/>
                      <a:pt x="751" y="644"/>
                    </a:cubicBezTo>
                    <a:cubicBezTo>
                      <a:pt x="751" y="644"/>
                      <a:pt x="750" y="644"/>
                      <a:pt x="750" y="644"/>
                    </a:cubicBezTo>
                    <a:cubicBezTo>
                      <a:pt x="750" y="642"/>
                      <a:pt x="750" y="642"/>
                      <a:pt x="750" y="642"/>
                    </a:cubicBezTo>
                    <a:cubicBezTo>
                      <a:pt x="749" y="645"/>
                      <a:pt x="744" y="638"/>
                      <a:pt x="743" y="638"/>
                    </a:cubicBezTo>
                    <a:cubicBezTo>
                      <a:pt x="742" y="636"/>
                      <a:pt x="741" y="638"/>
                      <a:pt x="739" y="637"/>
                    </a:cubicBezTo>
                    <a:cubicBezTo>
                      <a:pt x="737" y="637"/>
                      <a:pt x="738" y="635"/>
                      <a:pt x="737" y="634"/>
                    </a:cubicBezTo>
                    <a:cubicBezTo>
                      <a:pt x="737" y="634"/>
                      <a:pt x="737" y="633"/>
                      <a:pt x="736" y="633"/>
                    </a:cubicBezTo>
                    <a:cubicBezTo>
                      <a:pt x="736" y="633"/>
                      <a:pt x="736" y="633"/>
                      <a:pt x="736" y="634"/>
                    </a:cubicBezTo>
                    <a:cubicBezTo>
                      <a:pt x="736" y="634"/>
                      <a:pt x="736" y="634"/>
                      <a:pt x="736" y="634"/>
                    </a:cubicBezTo>
                    <a:cubicBezTo>
                      <a:pt x="737" y="635"/>
                      <a:pt x="737" y="636"/>
                      <a:pt x="737" y="636"/>
                    </a:cubicBezTo>
                    <a:cubicBezTo>
                      <a:pt x="737" y="636"/>
                      <a:pt x="737" y="635"/>
                      <a:pt x="736" y="635"/>
                    </a:cubicBezTo>
                    <a:cubicBezTo>
                      <a:pt x="735" y="635"/>
                      <a:pt x="735" y="635"/>
                      <a:pt x="735" y="635"/>
                    </a:cubicBezTo>
                    <a:cubicBezTo>
                      <a:pt x="733" y="635"/>
                      <a:pt x="733" y="635"/>
                      <a:pt x="733" y="635"/>
                    </a:cubicBezTo>
                    <a:cubicBezTo>
                      <a:pt x="729" y="634"/>
                      <a:pt x="729" y="634"/>
                      <a:pt x="729" y="634"/>
                    </a:cubicBezTo>
                    <a:cubicBezTo>
                      <a:pt x="734" y="633"/>
                      <a:pt x="731" y="633"/>
                      <a:pt x="730" y="632"/>
                    </a:cubicBezTo>
                    <a:cubicBezTo>
                      <a:pt x="723" y="632"/>
                      <a:pt x="712" y="630"/>
                      <a:pt x="710" y="633"/>
                    </a:cubicBezTo>
                    <a:cubicBezTo>
                      <a:pt x="700" y="632"/>
                      <a:pt x="700" y="631"/>
                      <a:pt x="696" y="631"/>
                    </a:cubicBezTo>
                    <a:cubicBezTo>
                      <a:pt x="697" y="631"/>
                      <a:pt x="700" y="632"/>
                      <a:pt x="700" y="632"/>
                    </a:cubicBezTo>
                    <a:cubicBezTo>
                      <a:pt x="696" y="631"/>
                      <a:pt x="698" y="633"/>
                      <a:pt x="700" y="633"/>
                    </a:cubicBezTo>
                    <a:cubicBezTo>
                      <a:pt x="694" y="635"/>
                      <a:pt x="669" y="628"/>
                      <a:pt x="668" y="632"/>
                    </a:cubicBezTo>
                    <a:cubicBezTo>
                      <a:pt x="668" y="631"/>
                      <a:pt x="668" y="631"/>
                      <a:pt x="668" y="631"/>
                    </a:cubicBezTo>
                    <a:cubicBezTo>
                      <a:pt x="667" y="634"/>
                      <a:pt x="669" y="636"/>
                      <a:pt x="665" y="638"/>
                    </a:cubicBezTo>
                    <a:cubicBezTo>
                      <a:pt x="662" y="637"/>
                      <a:pt x="662" y="637"/>
                      <a:pt x="662" y="637"/>
                    </a:cubicBezTo>
                    <a:cubicBezTo>
                      <a:pt x="658" y="638"/>
                      <a:pt x="658" y="638"/>
                      <a:pt x="658" y="638"/>
                    </a:cubicBezTo>
                    <a:cubicBezTo>
                      <a:pt x="655" y="638"/>
                      <a:pt x="656" y="637"/>
                      <a:pt x="656" y="637"/>
                    </a:cubicBezTo>
                    <a:cubicBezTo>
                      <a:pt x="650" y="638"/>
                      <a:pt x="640" y="637"/>
                      <a:pt x="632" y="637"/>
                    </a:cubicBezTo>
                    <a:cubicBezTo>
                      <a:pt x="641" y="644"/>
                      <a:pt x="641" y="644"/>
                      <a:pt x="641" y="644"/>
                    </a:cubicBezTo>
                    <a:cubicBezTo>
                      <a:pt x="634" y="642"/>
                      <a:pt x="622" y="639"/>
                      <a:pt x="620" y="642"/>
                    </a:cubicBezTo>
                    <a:cubicBezTo>
                      <a:pt x="616" y="639"/>
                      <a:pt x="616" y="639"/>
                      <a:pt x="616" y="639"/>
                    </a:cubicBezTo>
                    <a:cubicBezTo>
                      <a:pt x="602" y="635"/>
                      <a:pt x="607" y="642"/>
                      <a:pt x="601" y="641"/>
                    </a:cubicBezTo>
                    <a:cubicBezTo>
                      <a:pt x="594" y="638"/>
                      <a:pt x="594" y="638"/>
                      <a:pt x="594" y="638"/>
                    </a:cubicBezTo>
                    <a:cubicBezTo>
                      <a:pt x="601" y="638"/>
                      <a:pt x="601" y="638"/>
                      <a:pt x="601" y="638"/>
                    </a:cubicBezTo>
                    <a:cubicBezTo>
                      <a:pt x="594" y="637"/>
                      <a:pt x="591" y="636"/>
                      <a:pt x="586" y="635"/>
                    </a:cubicBezTo>
                    <a:cubicBezTo>
                      <a:pt x="586" y="635"/>
                      <a:pt x="586" y="635"/>
                      <a:pt x="586" y="635"/>
                    </a:cubicBezTo>
                    <a:cubicBezTo>
                      <a:pt x="586" y="635"/>
                      <a:pt x="586" y="635"/>
                      <a:pt x="586" y="635"/>
                    </a:cubicBezTo>
                    <a:cubicBezTo>
                      <a:pt x="585" y="635"/>
                      <a:pt x="585" y="635"/>
                      <a:pt x="585" y="635"/>
                    </a:cubicBezTo>
                    <a:cubicBezTo>
                      <a:pt x="585" y="636"/>
                      <a:pt x="581" y="637"/>
                      <a:pt x="576" y="637"/>
                    </a:cubicBezTo>
                    <a:cubicBezTo>
                      <a:pt x="569" y="637"/>
                      <a:pt x="564" y="639"/>
                      <a:pt x="553" y="637"/>
                    </a:cubicBezTo>
                    <a:cubicBezTo>
                      <a:pt x="550" y="640"/>
                      <a:pt x="550" y="640"/>
                      <a:pt x="550" y="640"/>
                    </a:cubicBezTo>
                    <a:cubicBezTo>
                      <a:pt x="542" y="638"/>
                      <a:pt x="542" y="638"/>
                      <a:pt x="542" y="638"/>
                    </a:cubicBezTo>
                    <a:cubicBezTo>
                      <a:pt x="542" y="636"/>
                      <a:pt x="542" y="636"/>
                      <a:pt x="542" y="636"/>
                    </a:cubicBezTo>
                    <a:cubicBezTo>
                      <a:pt x="550" y="636"/>
                      <a:pt x="565" y="635"/>
                      <a:pt x="575" y="634"/>
                    </a:cubicBezTo>
                    <a:cubicBezTo>
                      <a:pt x="576" y="633"/>
                      <a:pt x="576" y="633"/>
                      <a:pt x="576" y="633"/>
                    </a:cubicBezTo>
                    <a:cubicBezTo>
                      <a:pt x="569" y="634"/>
                      <a:pt x="562" y="635"/>
                      <a:pt x="558" y="635"/>
                    </a:cubicBezTo>
                    <a:cubicBezTo>
                      <a:pt x="556" y="634"/>
                      <a:pt x="551" y="632"/>
                      <a:pt x="555" y="631"/>
                    </a:cubicBezTo>
                    <a:cubicBezTo>
                      <a:pt x="551" y="633"/>
                      <a:pt x="551" y="633"/>
                      <a:pt x="551" y="633"/>
                    </a:cubicBezTo>
                    <a:cubicBezTo>
                      <a:pt x="531" y="634"/>
                      <a:pt x="530" y="634"/>
                      <a:pt x="509" y="632"/>
                    </a:cubicBezTo>
                    <a:cubicBezTo>
                      <a:pt x="511" y="633"/>
                      <a:pt x="511" y="633"/>
                      <a:pt x="511" y="633"/>
                    </a:cubicBezTo>
                    <a:cubicBezTo>
                      <a:pt x="507" y="633"/>
                      <a:pt x="502" y="634"/>
                      <a:pt x="501" y="632"/>
                    </a:cubicBezTo>
                    <a:cubicBezTo>
                      <a:pt x="488" y="632"/>
                      <a:pt x="475" y="631"/>
                      <a:pt x="467" y="628"/>
                    </a:cubicBezTo>
                    <a:cubicBezTo>
                      <a:pt x="465" y="631"/>
                      <a:pt x="465" y="631"/>
                      <a:pt x="465" y="631"/>
                    </a:cubicBezTo>
                    <a:cubicBezTo>
                      <a:pt x="462" y="631"/>
                      <a:pt x="458" y="627"/>
                      <a:pt x="457" y="630"/>
                    </a:cubicBezTo>
                    <a:cubicBezTo>
                      <a:pt x="451" y="631"/>
                      <a:pt x="451" y="631"/>
                      <a:pt x="451" y="631"/>
                    </a:cubicBezTo>
                    <a:cubicBezTo>
                      <a:pt x="447" y="631"/>
                      <a:pt x="445" y="633"/>
                      <a:pt x="441" y="631"/>
                    </a:cubicBezTo>
                    <a:cubicBezTo>
                      <a:pt x="441" y="631"/>
                      <a:pt x="441" y="631"/>
                      <a:pt x="441" y="631"/>
                    </a:cubicBezTo>
                    <a:cubicBezTo>
                      <a:pt x="440" y="631"/>
                      <a:pt x="440" y="631"/>
                      <a:pt x="440" y="631"/>
                    </a:cubicBezTo>
                    <a:cubicBezTo>
                      <a:pt x="440" y="631"/>
                      <a:pt x="440" y="631"/>
                      <a:pt x="440" y="631"/>
                    </a:cubicBezTo>
                    <a:cubicBezTo>
                      <a:pt x="431" y="630"/>
                      <a:pt x="440" y="633"/>
                      <a:pt x="430" y="632"/>
                    </a:cubicBezTo>
                    <a:cubicBezTo>
                      <a:pt x="427" y="630"/>
                      <a:pt x="427" y="635"/>
                      <a:pt x="422" y="634"/>
                    </a:cubicBezTo>
                    <a:cubicBezTo>
                      <a:pt x="417" y="631"/>
                      <a:pt x="417" y="631"/>
                      <a:pt x="417" y="631"/>
                    </a:cubicBezTo>
                    <a:cubicBezTo>
                      <a:pt x="409" y="629"/>
                      <a:pt x="407" y="632"/>
                      <a:pt x="395" y="632"/>
                    </a:cubicBezTo>
                    <a:cubicBezTo>
                      <a:pt x="389" y="631"/>
                      <a:pt x="387" y="628"/>
                      <a:pt x="390" y="625"/>
                    </a:cubicBezTo>
                    <a:cubicBezTo>
                      <a:pt x="385" y="628"/>
                      <a:pt x="388" y="627"/>
                      <a:pt x="381" y="629"/>
                    </a:cubicBezTo>
                    <a:cubicBezTo>
                      <a:pt x="380" y="627"/>
                      <a:pt x="381" y="627"/>
                      <a:pt x="382" y="626"/>
                    </a:cubicBezTo>
                    <a:cubicBezTo>
                      <a:pt x="376" y="624"/>
                      <a:pt x="378" y="627"/>
                      <a:pt x="373" y="627"/>
                    </a:cubicBezTo>
                    <a:cubicBezTo>
                      <a:pt x="372" y="629"/>
                      <a:pt x="370" y="633"/>
                      <a:pt x="369" y="633"/>
                    </a:cubicBezTo>
                    <a:cubicBezTo>
                      <a:pt x="371" y="634"/>
                      <a:pt x="371" y="634"/>
                      <a:pt x="371" y="634"/>
                    </a:cubicBezTo>
                    <a:cubicBezTo>
                      <a:pt x="365" y="635"/>
                      <a:pt x="360" y="636"/>
                      <a:pt x="354" y="635"/>
                    </a:cubicBezTo>
                    <a:cubicBezTo>
                      <a:pt x="354" y="633"/>
                      <a:pt x="354" y="633"/>
                      <a:pt x="354" y="633"/>
                    </a:cubicBezTo>
                    <a:cubicBezTo>
                      <a:pt x="348" y="634"/>
                      <a:pt x="348" y="634"/>
                      <a:pt x="348" y="634"/>
                    </a:cubicBezTo>
                    <a:cubicBezTo>
                      <a:pt x="348" y="632"/>
                      <a:pt x="348" y="632"/>
                      <a:pt x="348" y="632"/>
                    </a:cubicBezTo>
                    <a:cubicBezTo>
                      <a:pt x="339" y="632"/>
                      <a:pt x="339" y="632"/>
                      <a:pt x="339" y="632"/>
                    </a:cubicBezTo>
                    <a:cubicBezTo>
                      <a:pt x="340" y="633"/>
                      <a:pt x="340" y="633"/>
                      <a:pt x="340" y="633"/>
                    </a:cubicBezTo>
                    <a:cubicBezTo>
                      <a:pt x="338" y="633"/>
                      <a:pt x="331" y="633"/>
                      <a:pt x="327" y="632"/>
                    </a:cubicBezTo>
                    <a:cubicBezTo>
                      <a:pt x="327" y="631"/>
                      <a:pt x="327" y="631"/>
                      <a:pt x="327" y="631"/>
                    </a:cubicBezTo>
                    <a:cubicBezTo>
                      <a:pt x="316" y="628"/>
                      <a:pt x="307" y="631"/>
                      <a:pt x="294" y="631"/>
                    </a:cubicBezTo>
                    <a:cubicBezTo>
                      <a:pt x="296" y="629"/>
                      <a:pt x="296" y="629"/>
                      <a:pt x="296" y="629"/>
                    </a:cubicBezTo>
                    <a:cubicBezTo>
                      <a:pt x="292" y="627"/>
                      <a:pt x="295" y="632"/>
                      <a:pt x="289" y="630"/>
                    </a:cubicBezTo>
                    <a:cubicBezTo>
                      <a:pt x="289" y="628"/>
                      <a:pt x="289" y="628"/>
                      <a:pt x="289" y="628"/>
                    </a:cubicBezTo>
                    <a:cubicBezTo>
                      <a:pt x="284" y="631"/>
                      <a:pt x="283" y="627"/>
                      <a:pt x="280" y="626"/>
                    </a:cubicBezTo>
                    <a:cubicBezTo>
                      <a:pt x="282" y="629"/>
                      <a:pt x="282" y="629"/>
                      <a:pt x="282" y="629"/>
                    </a:cubicBezTo>
                    <a:cubicBezTo>
                      <a:pt x="276" y="628"/>
                      <a:pt x="276" y="628"/>
                      <a:pt x="276" y="628"/>
                    </a:cubicBezTo>
                    <a:cubicBezTo>
                      <a:pt x="269" y="626"/>
                      <a:pt x="272" y="624"/>
                      <a:pt x="273" y="622"/>
                    </a:cubicBezTo>
                    <a:cubicBezTo>
                      <a:pt x="268" y="624"/>
                      <a:pt x="268" y="624"/>
                      <a:pt x="268" y="624"/>
                    </a:cubicBezTo>
                    <a:cubicBezTo>
                      <a:pt x="268" y="621"/>
                      <a:pt x="268" y="621"/>
                      <a:pt x="268" y="621"/>
                    </a:cubicBezTo>
                    <a:cubicBezTo>
                      <a:pt x="264" y="624"/>
                      <a:pt x="264" y="621"/>
                      <a:pt x="259" y="622"/>
                    </a:cubicBezTo>
                    <a:cubicBezTo>
                      <a:pt x="258" y="621"/>
                      <a:pt x="260" y="620"/>
                      <a:pt x="258" y="620"/>
                    </a:cubicBezTo>
                    <a:cubicBezTo>
                      <a:pt x="248" y="622"/>
                      <a:pt x="248" y="622"/>
                      <a:pt x="248" y="622"/>
                    </a:cubicBezTo>
                    <a:cubicBezTo>
                      <a:pt x="254" y="621"/>
                      <a:pt x="254" y="621"/>
                      <a:pt x="254" y="621"/>
                    </a:cubicBezTo>
                    <a:cubicBezTo>
                      <a:pt x="253" y="625"/>
                      <a:pt x="253" y="625"/>
                      <a:pt x="253" y="625"/>
                    </a:cubicBezTo>
                    <a:cubicBezTo>
                      <a:pt x="247" y="628"/>
                      <a:pt x="245" y="624"/>
                      <a:pt x="241" y="625"/>
                    </a:cubicBezTo>
                    <a:cubicBezTo>
                      <a:pt x="244" y="624"/>
                      <a:pt x="244" y="624"/>
                      <a:pt x="244" y="624"/>
                    </a:cubicBezTo>
                    <a:cubicBezTo>
                      <a:pt x="237" y="624"/>
                      <a:pt x="237" y="622"/>
                      <a:pt x="233" y="621"/>
                    </a:cubicBezTo>
                    <a:cubicBezTo>
                      <a:pt x="234" y="622"/>
                      <a:pt x="236" y="623"/>
                      <a:pt x="233" y="623"/>
                    </a:cubicBezTo>
                    <a:cubicBezTo>
                      <a:pt x="231" y="623"/>
                      <a:pt x="232" y="622"/>
                      <a:pt x="230" y="621"/>
                    </a:cubicBezTo>
                    <a:cubicBezTo>
                      <a:pt x="229" y="624"/>
                      <a:pt x="224" y="624"/>
                      <a:pt x="220" y="622"/>
                    </a:cubicBezTo>
                    <a:cubicBezTo>
                      <a:pt x="220" y="622"/>
                      <a:pt x="220" y="622"/>
                      <a:pt x="220" y="622"/>
                    </a:cubicBezTo>
                    <a:cubicBezTo>
                      <a:pt x="219" y="622"/>
                      <a:pt x="219" y="622"/>
                      <a:pt x="217" y="621"/>
                    </a:cubicBezTo>
                    <a:cubicBezTo>
                      <a:pt x="218" y="619"/>
                      <a:pt x="218" y="619"/>
                      <a:pt x="218" y="619"/>
                    </a:cubicBezTo>
                    <a:cubicBezTo>
                      <a:pt x="214" y="621"/>
                      <a:pt x="214" y="621"/>
                      <a:pt x="214" y="621"/>
                    </a:cubicBezTo>
                    <a:cubicBezTo>
                      <a:pt x="212" y="620"/>
                      <a:pt x="208" y="621"/>
                      <a:pt x="209" y="619"/>
                    </a:cubicBezTo>
                    <a:cubicBezTo>
                      <a:pt x="210" y="619"/>
                      <a:pt x="210" y="619"/>
                      <a:pt x="210" y="619"/>
                    </a:cubicBezTo>
                    <a:cubicBezTo>
                      <a:pt x="204" y="618"/>
                      <a:pt x="198" y="616"/>
                      <a:pt x="192" y="615"/>
                    </a:cubicBezTo>
                    <a:cubicBezTo>
                      <a:pt x="192" y="612"/>
                      <a:pt x="192" y="612"/>
                      <a:pt x="192" y="612"/>
                    </a:cubicBezTo>
                    <a:cubicBezTo>
                      <a:pt x="189" y="615"/>
                      <a:pt x="183" y="609"/>
                      <a:pt x="182" y="613"/>
                    </a:cubicBezTo>
                    <a:cubicBezTo>
                      <a:pt x="180" y="610"/>
                      <a:pt x="169" y="611"/>
                      <a:pt x="173" y="607"/>
                    </a:cubicBezTo>
                    <a:cubicBezTo>
                      <a:pt x="168" y="605"/>
                      <a:pt x="164" y="604"/>
                      <a:pt x="160" y="603"/>
                    </a:cubicBezTo>
                    <a:cubicBezTo>
                      <a:pt x="159" y="603"/>
                      <a:pt x="157" y="602"/>
                      <a:pt x="156" y="602"/>
                    </a:cubicBezTo>
                    <a:cubicBezTo>
                      <a:pt x="156" y="601"/>
                      <a:pt x="155" y="601"/>
                      <a:pt x="154" y="598"/>
                    </a:cubicBezTo>
                    <a:cubicBezTo>
                      <a:pt x="155" y="596"/>
                      <a:pt x="154" y="592"/>
                      <a:pt x="153" y="588"/>
                    </a:cubicBezTo>
                    <a:cubicBezTo>
                      <a:pt x="151" y="583"/>
                      <a:pt x="150" y="578"/>
                      <a:pt x="149" y="573"/>
                    </a:cubicBezTo>
                    <a:cubicBezTo>
                      <a:pt x="143" y="556"/>
                      <a:pt x="140" y="544"/>
                      <a:pt x="136" y="525"/>
                    </a:cubicBezTo>
                    <a:cubicBezTo>
                      <a:pt x="140" y="512"/>
                      <a:pt x="131" y="495"/>
                      <a:pt x="133" y="482"/>
                    </a:cubicBezTo>
                    <a:cubicBezTo>
                      <a:pt x="131" y="479"/>
                      <a:pt x="131" y="479"/>
                      <a:pt x="131" y="479"/>
                    </a:cubicBezTo>
                    <a:cubicBezTo>
                      <a:pt x="133" y="470"/>
                      <a:pt x="128" y="457"/>
                      <a:pt x="131" y="445"/>
                    </a:cubicBezTo>
                    <a:cubicBezTo>
                      <a:pt x="130" y="442"/>
                      <a:pt x="130" y="440"/>
                      <a:pt x="130" y="440"/>
                    </a:cubicBezTo>
                    <a:cubicBezTo>
                      <a:pt x="129" y="440"/>
                      <a:pt x="129" y="441"/>
                      <a:pt x="128" y="442"/>
                    </a:cubicBezTo>
                    <a:cubicBezTo>
                      <a:pt x="129" y="438"/>
                      <a:pt x="127" y="431"/>
                      <a:pt x="130" y="431"/>
                    </a:cubicBezTo>
                    <a:cubicBezTo>
                      <a:pt x="130" y="432"/>
                      <a:pt x="130" y="432"/>
                      <a:pt x="130" y="432"/>
                    </a:cubicBezTo>
                    <a:cubicBezTo>
                      <a:pt x="133" y="433"/>
                      <a:pt x="128" y="422"/>
                      <a:pt x="130" y="418"/>
                    </a:cubicBezTo>
                    <a:cubicBezTo>
                      <a:pt x="128" y="420"/>
                      <a:pt x="128" y="420"/>
                      <a:pt x="128" y="420"/>
                    </a:cubicBezTo>
                    <a:cubicBezTo>
                      <a:pt x="128" y="414"/>
                      <a:pt x="128" y="414"/>
                      <a:pt x="128" y="414"/>
                    </a:cubicBezTo>
                    <a:cubicBezTo>
                      <a:pt x="129" y="415"/>
                      <a:pt x="129" y="415"/>
                      <a:pt x="129" y="415"/>
                    </a:cubicBezTo>
                    <a:cubicBezTo>
                      <a:pt x="121" y="387"/>
                      <a:pt x="130" y="374"/>
                      <a:pt x="124" y="347"/>
                    </a:cubicBezTo>
                    <a:cubicBezTo>
                      <a:pt x="127" y="351"/>
                      <a:pt x="122" y="342"/>
                      <a:pt x="125" y="342"/>
                    </a:cubicBezTo>
                    <a:cubicBezTo>
                      <a:pt x="130" y="335"/>
                      <a:pt x="124" y="329"/>
                      <a:pt x="123" y="323"/>
                    </a:cubicBezTo>
                    <a:cubicBezTo>
                      <a:pt x="123" y="323"/>
                      <a:pt x="123" y="323"/>
                      <a:pt x="122" y="323"/>
                    </a:cubicBezTo>
                    <a:cubicBezTo>
                      <a:pt x="123" y="313"/>
                      <a:pt x="123" y="313"/>
                      <a:pt x="123" y="313"/>
                    </a:cubicBezTo>
                    <a:cubicBezTo>
                      <a:pt x="127" y="319"/>
                      <a:pt x="119" y="306"/>
                      <a:pt x="123" y="312"/>
                    </a:cubicBezTo>
                    <a:cubicBezTo>
                      <a:pt x="126" y="286"/>
                      <a:pt x="123" y="253"/>
                      <a:pt x="125" y="224"/>
                    </a:cubicBezTo>
                    <a:cubicBezTo>
                      <a:pt x="124" y="225"/>
                      <a:pt x="124" y="225"/>
                      <a:pt x="124" y="225"/>
                    </a:cubicBezTo>
                    <a:cubicBezTo>
                      <a:pt x="124" y="218"/>
                      <a:pt x="123" y="209"/>
                      <a:pt x="124" y="203"/>
                    </a:cubicBezTo>
                    <a:cubicBezTo>
                      <a:pt x="126" y="197"/>
                      <a:pt x="122" y="190"/>
                      <a:pt x="122" y="188"/>
                    </a:cubicBezTo>
                    <a:cubicBezTo>
                      <a:pt x="120" y="182"/>
                      <a:pt x="124" y="177"/>
                      <a:pt x="124" y="179"/>
                    </a:cubicBezTo>
                    <a:cubicBezTo>
                      <a:pt x="123" y="173"/>
                      <a:pt x="119" y="166"/>
                      <a:pt x="121" y="157"/>
                    </a:cubicBezTo>
                    <a:cubicBezTo>
                      <a:pt x="125" y="154"/>
                      <a:pt x="118" y="132"/>
                      <a:pt x="123" y="132"/>
                    </a:cubicBezTo>
                    <a:cubicBezTo>
                      <a:pt x="122" y="132"/>
                      <a:pt x="122" y="132"/>
                      <a:pt x="122" y="132"/>
                    </a:cubicBezTo>
                    <a:cubicBezTo>
                      <a:pt x="125" y="122"/>
                      <a:pt x="122" y="112"/>
                      <a:pt x="123" y="102"/>
                    </a:cubicBezTo>
                    <a:cubicBezTo>
                      <a:pt x="126" y="105"/>
                      <a:pt x="129" y="109"/>
                      <a:pt x="130" y="114"/>
                    </a:cubicBezTo>
                    <a:cubicBezTo>
                      <a:pt x="128" y="117"/>
                      <a:pt x="139" y="131"/>
                      <a:pt x="141" y="131"/>
                    </a:cubicBezTo>
                    <a:cubicBezTo>
                      <a:pt x="143" y="128"/>
                      <a:pt x="143" y="128"/>
                      <a:pt x="143" y="128"/>
                    </a:cubicBezTo>
                    <a:cubicBezTo>
                      <a:pt x="147" y="133"/>
                      <a:pt x="146" y="137"/>
                      <a:pt x="151" y="140"/>
                    </a:cubicBezTo>
                    <a:cubicBezTo>
                      <a:pt x="150" y="140"/>
                      <a:pt x="150" y="140"/>
                      <a:pt x="150" y="140"/>
                    </a:cubicBezTo>
                    <a:cubicBezTo>
                      <a:pt x="150" y="140"/>
                      <a:pt x="151" y="141"/>
                      <a:pt x="151" y="141"/>
                    </a:cubicBezTo>
                    <a:cubicBezTo>
                      <a:pt x="152" y="141"/>
                      <a:pt x="156" y="140"/>
                      <a:pt x="154" y="149"/>
                    </a:cubicBezTo>
                    <a:cubicBezTo>
                      <a:pt x="153" y="149"/>
                      <a:pt x="153" y="149"/>
                      <a:pt x="153" y="149"/>
                    </a:cubicBezTo>
                    <a:cubicBezTo>
                      <a:pt x="153" y="150"/>
                      <a:pt x="154" y="149"/>
                      <a:pt x="154" y="150"/>
                    </a:cubicBezTo>
                    <a:cubicBezTo>
                      <a:pt x="154" y="148"/>
                      <a:pt x="154" y="148"/>
                      <a:pt x="154" y="148"/>
                    </a:cubicBezTo>
                    <a:cubicBezTo>
                      <a:pt x="156" y="148"/>
                      <a:pt x="157" y="148"/>
                      <a:pt x="158" y="149"/>
                    </a:cubicBezTo>
                    <a:cubicBezTo>
                      <a:pt x="158" y="149"/>
                      <a:pt x="157" y="150"/>
                      <a:pt x="157" y="150"/>
                    </a:cubicBezTo>
                    <a:cubicBezTo>
                      <a:pt x="159" y="152"/>
                      <a:pt x="159" y="152"/>
                      <a:pt x="159" y="152"/>
                    </a:cubicBezTo>
                    <a:cubicBezTo>
                      <a:pt x="158" y="154"/>
                      <a:pt x="158" y="154"/>
                      <a:pt x="158" y="154"/>
                    </a:cubicBezTo>
                    <a:cubicBezTo>
                      <a:pt x="159" y="154"/>
                      <a:pt x="163" y="151"/>
                      <a:pt x="162" y="154"/>
                    </a:cubicBezTo>
                    <a:cubicBezTo>
                      <a:pt x="164" y="152"/>
                      <a:pt x="164" y="154"/>
                      <a:pt x="165" y="153"/>
                    </a:cubicBezTo>
                    <a:cubicBezTo>
                      <a:pt x="165" y="153"/>
                      <a:pt x="164" y="154"/>
                      <a:pt x="164" y="154"/>
                    </a:cubicBezTo>
                    <a:cubicBezTo>
                      <a:pt x="165" y="155"/>
                      <a:pt x="167" y="157"/>
                      <a:pt x="169" y="156"/>
                    </a:cubicBezTo>
                    <a:cubicBezTo>
                      <a:pt x="169" y="156"/>
                      <a:pt x="171" y="148"/>
                      <a:pt x="173" y="146"/>
                    </a:cubicBezTo>
                    <a:cubicBezTo>
                      <a:pt x="174" y="147"/>
                      <a:pt x="174" y="146"/>
                      <a:pt x="175" y="145"/>
                    </a:cubicBezTo>
                    <a:cubicBezTo>
                      <a:pt x="174" y="145"/>
                      <a:pt x="174" y="145"/>
                      <a:pt x="174" y="145"/>
                    </a:cubicBezTo>
                    <a:cubicBezTo>
                      <a:pt x="174" y="144"/>
                      <a:pt x="175" y="143"/>
                      <a:pt x="176" y="142"/>
                    </a:cubicBezTo>
                    <a:cubicBezTo>
                      <a:pt x="175" y="142"/>
                      <a:pt x="175" y="142"/>
                      <a:pt x="175" y="142"/>
                    </a:cubicBezTo>
                    <a:cubicBezTo>
                      <a:pt x="175" y="142"/>
                      <a:pt x="175" y="142"/>
                      <a:pt x="175" y="142"/>
                    </a:cubicBezTo>
                    <a:cubicBezTo>
                      <a:pt x="175" y="142"/>
                      <a:pt x="175" y="143"/>
                      <a:pt x="175" y="143"/>
                    </a:cubicBezTo>
                    <a:cubicBezTo>
                      <a:pt x="174" y="143"/>
                      <a:pt x="174" y="143"/>
                      <a:pt x="174" y="143"/>
                    </a:cubicBezTo>
                    <a:cubicBezTo>
                      <a:pt x="174" y="143"/>
                      <a:pt x="174" y="143"/>
                      <a:pt x="174" y="143"/>
                    </a:cubicBezTo>
                    <a:cubicBezTo>
                      <a:pt x="174" y="142"/>
                      <a:pt x="174" y="142"/>
                      <a:pt x="174" y="141"/>
                    </a:cubicBezTo>
                    <a:cubicBezTo>
                      <a:pt x="175" y="140"/>
                      <a:pt x="175" y="140"/>
                      <a:pt x="175" y="140"/>
                    </a:cubicBezTo>
                    <a:cubicBezTo>
                      <a:pt x="172" y="141"/>
                      <a:pt x="176" y="133"/>
                      <a:pt x="175" y="132"/>
                    </a:cubicBezTo>
                    <a:cubicBezTo>
                      <a:pt x="176" y="130"/>
                      <a:pt x="174" y="131"/>
                      <a:pt x="174" y="129"/>
                    </a:cubicBezTo>
                    <a:cubicBezTo>
                      <a:pt x="173" y="127"/>
                      <a:pt x="175" y="127"/>
                      <a:pt x="176" y="125"/>
                    </a:cubicBezTo>
                    <a:cubicBezTo>
                      <a:pt x="176" y="123"/>
                      <a:pt x="174" y="126"/>
                      <a:pt x="174" y="126"/>
                    </a:cubicBezTo>
                    <a:cubicBezTo>
                      <a:pt x="175" y="123"/>
                      <a:pt x="175" y="123"/>
                      <a:pt x="175" y="123"/>
                    </a:cubicBezTo>
                    <a:cubicBezTo>
                      <a:pt x="176" y="124"/>
                      <a:pt x="176" y="123"/>
                      <a:pt x="176" y="123"/>
                    </a:cubicBezTo>
                    <a:cubicBezTo>
                      <a:pt x="176" y="121"/>
                      <a:pt x="177" y="117"/>
                      <a:pt x="174" y="119"/>
                    </a:cubicBezTo>
                    <a:cubicBezTo>
                      <a:pt x="174" y="116"/>
                      <a:pt x="175" y="116"/>
                      <a:pt x="175" y="115"/>
                    </a:cubicBezTo>
                    <a:cubicBezTo>
                      <a:pt x="175" y="115"/>
                      <a:pt x="175" y="116"/>
                      <a:pt x="174" y="116"/>
                    </a:cubicBezTo>
                    <a:cubicBezTo>
                      <a:pt x="175" y="115"/>
                      <a:pt x="174" y="116"/>
                      <a:pt x="173" y="117"/>
                    </a:cubicBezTo>
                    <a:cubicBezTo>
                      <a:pt x="172" y="116"/>
                      <a:pt x="175" y="108"/>
                      <a:pt x="172" y="110"/>
                    </a:cubicBezTo>
                    <a:cubicBezTo>
                      <a:pt x="172" y="109"/>
                      <a:pt x="172" y="109"/>
                      <a:pt x="172" y="109"/>
                    </a:cubicBezTo>
                    <a:cubicBezTo>
                      <a:pt x="170" y="111"/>
                      <a:pt x="168" y="112"/>
                      <a:pt x="166" y="112"/>
                    </a:cubicBezTo>
                    <a:cubicBezTo>
                      <a:pt x="167" y="111"/>
                      <a:pt x="167" y="111"/>
                      <a:pt x="167" y="111"/>
                    </a:cubicBezTo>
                    <a:cubicBezTo>
                      <a:pt x="166" y="111"/>
                      <a:pt x="166" y="111"/>
                      <a:pt x="166" y="111"/>
                    </a:cubicBezTo>
                    <a:cubicBezTo>
                      <a:pt x="166" y="110"/>
                      <a:pt x="167" y="110"/>
                      <a:pt x="167" y="110"/>
                    </a:cubicBezTo>
                    <a:cubicBezTo>
                      <a:pt x="165" y="109"/>
                      <a:pt x="166" y="107"/>
                      <a:pt x="165" y="105"/>
                    </a:cubicBezTo>
                    <a:cubicBezTo>
                      <a:pt x="160" y="110"/>
                      <a:pt x="160" y="110"/>
                      <a:pt x="160" y="110"/>
                    </a:cubicBezTo>
                    <a:cubicBezTo>
                      <a:pt x="160" y="108"/>
                      <a:pt x="162" y="104"/>
                      <a:pt x="160" y="105"/>
                    </a:cubicBezTo>
                    <a:cubicBezTo>
                      <a:pt x="161" y="103"/>
                      <a:pt x="161" y="103"/>
                      <a:pt x="161" y="103"/>
                    </a:cubicBezTo>
                    <a:cubicBezTo>
                      <a:pt x="164" y="98"/>
                      <a:pt x="159" y="102"/>
                      <a:pt x="159" y="101"/>
                    </a:cubicBezTo>
                    <a:cubicBezTo>
                      <a:pt x="161" y="98"/>
                      <a:pt x="161" y="98"/>
                      <a:pt x="161" y="98"/>
                    </a:cubicBezTo>
                    <a:cubicBezTo>
                      <a:pt x="161" y="99"/>
                      <a:pt x="161" y="99"/>
                      <a:pt x="161" y="99"/>
                    </a:cubicBezTo>
                    <a:cubicBezTo>
                      <a:pt x="162" y="97"/>
                      <a:pt x="162" y="96"/>
                      <a:pt x="163" y="95"/>
                    </a:cubicBezTo>
                    <a:cubicBezTo>
                      <a:pt x="163" y="95"/>
                      <a:pt x="163" y="95"/>
                      <a:pt x="163" y="95"/>
                    </a:cubicBezTo>
                    <a:cubicBezTo>
                      <a:pt x="163" y="95"/>
                      <a:pt x="163" y="95"/>
                      <a:pt x="163" y="95"/>
                    </a:cubicBezTo>
                    <a:cubicBezTo>
                      <a:pt x="163" y="95"/>
                      <a:pt x="163" y="95"/>
                      <a:pt x="163" y="95"/>
                    </a:cubicBezTo>
                    <a:cubicBezTo>
                      <a:pt x="161" y="95"/>
                      <a:pt x="160" y="95"/>
                      <a:pt x="160" y="94"/>
                    </a:cubicBezTo>
                    <a:cubicBezTo>
                      <a:pt x="159" y="93"/>
                      <a:pt x="157" y="93"/>
                      <a:pt x="158" y="89"/>
                    </a:cubicBezTo>
                    <a:cubicBezTo>
                      <a:pt x="156" y="90"/>
                      <a:pt x="156" y="90"/>
                      <a:pt x="156" y="90"/>
                    </a:cubicBezTo>
                    <a:cubicBezTo>
                      <a:pt x="156" y="88"/>
                      <a:pt x="156" y="88"/>
                      <a:pt x="156" y="88"/>
                    </a:cubicBezTo>
                    <a:cubicBezTo>
                      <a:pt x="158" y="87"/>
                      <a:pt x="158" y="87"/>
                      <a:pt x="158" y="87"/>
                    </a:cubicBezTo>
                    <a:cubicBezTo>
                      <a:pt x="159" y="88"/>
                      <a:pt x="161" y="91"/>
                      <a:pt x="162" y="93"/>
                    </a:cubicBezTo>
                    <a:cubicBezTo>
                      <a:pt x="163" y="92"/>
                      <a:pt x="163" y="92"/>
                      <a:pt x="163" y="92"/>
                    </a:cubicBezTo>
                    <a:cubicBezTo>
                      <a:pt x="163" y="91"/>
                      <a:pt x="161" y="90"/>
                      <a:pt x="161" y="89"/>
                    </a:cubicBezTo>
                    <a:cubicBezTo>
                      <a:pt x="161" y="89"/>
                      <a:pt x="162" y="87"/>
                      <a:pt x="164" y="87"/>
                    </a:cubicBezTo>
                    <a:cubicBezTo>
                      <a:pt x="162" y="87"/>
                      <a:pt x="162" y="87"/>
                      <a:pt x="162" y="87"/>
                    </a:cubicBezTo>
                    <a:cubicBezTo>
                      <a:pt x="159" y="83"/>
                      <a:pt x="159" y="83"/>
                      <a:pt x="159" y="78"/>
                    </a:cubicBezTo>
                    <a:cubicBezTo>
                      <a:pt x="158" y="79"/>
                      <a:pt x="158" y="79"/>
                      <a:pt x="158" y="79"/>
                    </a:cubicBezTo>
                    <a:cubicBezTo>
                      <a:pt x="157" y="78"/>
                      <a:pt x="156" y="78"/>
                      <a:pt x="158" y="77"/>
                    </a:cubicBezTo>
                    <a:cubicBezTo>
                      <a:pt x="157" y="74"/>
                      <a:pt x="156" y="71"/>
                      <a:pt x="158" y="68"/>
                    </a:cubicBezTo>
                    <a:cubicBezTo>
                      <a:pt x="156" y="69"/>
                      <a:pt x="156" y="69"/>
                      <a:pt x="156" y="69"/>
                    </a:cubicBezTo>
                    <a:cubicBezTo>
                      <a:pt x="155" y="69"/>
                      <a:pt x="158" y="66"/>
                      <a:pt x="155" y="68"/>
                    </a:cubicBezTo>
                    <a:cubicBezTo>
                      <a:pt x="153" y="67"/>
                      <a:pt x="153" y="67"/>
                      <a:pt x="153" y="67"/>
                    </a:cubicBezTo>
                    <a:cubicBezTo>
                      <a:pt x="153" y="66"/>
                      <a:pt x="152" y="66"/>
                      <a:pt x="153" y="65"/>
                    </a:cubicBezTo>
                    <a:cubicBezTo>
                      <a:pt x="153" y="65"/>
                      <a:pt x="153" y="65"/>
                      <a:pt x="153" y="65"/>
                    </a:cubicBezTo>
                    <a:cubicBezTo>
                      <a:pt x="153" y="65"/>
                      <a:pt x="153" y="65"/>
                      <a:pt x="153" y="65"/>
                    </a:cubicBezTo>
                    <a:cubicBezTo>
                      <a:pt x="153" y="65"/>
                      <a:pt x="153" y="65"/>
                      <a:pt x="153" y="65"/>
                    </a:cubicBezTo>
                    <a:cubicBezTo>
                      <a:pt x="153" y="65"/>
                      <a:pt x="153" y="65"/>
                      <a:pt x="153" y="65"/>
                    </a:cubicBezTo>
                    <a:cubicBezTo>
                      <a:pt x="153" y="64"/>
                      <a:pt x="152" y="64"/>
                      <a:pt x="152" y="64"/>
                    </a:cubicBezTo>
                    <a:cubicBezTo>
                      <a:pt x="151" y="64"/>
                      <a:pt x="151" y="65"/>
                      <a:pt x="151" y="63"/>
                    </a:cubicBezTo>
                    <a:cubicBezTo>
                      <a:pt x="151" y="61"/>
                      <a:pt x="147" y="63"/>
                      <a:pt x="147" y="62"/>
                    </a:cubicBezTo>
                    <a:cubicBezTo>
                      <a:pt x="148" y="60"/>
                      <a:pt x="148" y="59"/>
                      <a:pt x="149" y="58"/>
                    </a:cubicBezTo>
                    <a:cubicBezTo>
                      <a:pt x="149" y="54"/>
                      <a:pt x="146" y="56"/>
                      <a:pt x="144" y="52"/>
                    </a:cubicBezTo>
                    <a:cubicBezTo>
                      <a:pt x="144" y="49"/>
                      <a:pt x="145" y="45"/>
                      <a:pt x="148" y="44"/>
                    </a:cubicBezTo>
                    <a:cubicBezTo>
                      <a:pt x="145" y="45"/>
                      <a:pt x="146" y="45"/>
                      <a:pt x="144" y="44"/>
                    </a:cubicBezTo>
                    <a:cubicBezTo>
                      <a:pt x="144" y="43"/>
                      <a:pt x="145" y="43"/>
                      <a:pt x="146" y="42"/>
                    </a:cubicBezTo>
                    <a:cubicBezTo>
                      <a:pt x="146" y="38"/>
                      <a:pt x="144" y="42"/>
                      <a:pt x="143" y="40"/>
                    </a:cubicBezTo>
                    <a:cubicBezTo>
                      <a:pt x="141" y="42"/>
                      <a:pt x="139" y="45"/>
                      <a:pt x="138" y="45"/>
                    </a:cubicBezTo>
                    <a:cubicBezTo>
                      <a:pt x="138" y="46"/>
                      <a:pt x="138" y="46"/>
                      <a:pt x="138" y="46"/>
                    </a:cubicBezTo>
                    <a:cubicBezTo>
                      <a:pt x="136" y="46"/>
                      <a:pt x="135" y="45"/>
                      <a:pt x="135" y="42"/>
                    </a:cubicBezTo>
                    <a:cubicBezTo>
                      <a:pt x="136" y="40"/>
                      <a:pt x="136" y="40"/>
                      <a:pt x="136" y="40"/>
                    </a:cubicBezTo>
                    <a:cubicBezTo>
                      <a:pt x="134" y="39"/>
                      <a:pt x="134" y="39"/>
                      <a:pt x="134" y="39"/>
                    </a:cubicBezTo>
                    <a:cubicBezTo>
                      <a:pt x="135" y="37"/>
                      <a:pt x="135" y="37"/>
                      <a:pt x="135" y="37"/>
                    </a:cubicBezTo>
                    <a:cubicBezTo>
                      <a:pt x="133" y="35"/>
                      <a:pt x="133" y="35"/>
                      <a:pt x="133" y="35"/>
                    </a:cubicBezTo>
                    <a:cubicBezTo>
                      <a:pt x="133" y="36"/>
                      <a:pt x="133" y="36"/>
                      <a:pt x="133" y="36"/>
                    </a:cubicBezTo>
                    <a:cubicBezTo>
                      <a:pt x="133" y="35"/>
                      <a:pt x="132" y="34"/>
                      <a:pt x="131" y="32"/>
                    </a:cubicBezTo>
                    <a:cubicBezTo>
                      <a:pt x="132" y="31"/>
                      <a:pt x="132" y="31"/>
                      <a:pt x="132" y="31"/>
                    </a:cubicBezTo>
                    <a:cubicBezTo>
                      <a:pt x="132" y="27"/>
                      <a:pt x="131" y="25"/>
                      <a:pt x="129" y="24"/>
                    </a:cubicBezTo>
                    <a:cubicBezTo>
                      <a:pt x="128" y="24"/>
                      <a:pt x="127" y="23"/>
                      <a:pt x="126" y="21"/>
                    </a:cubicBezTo>
                    <a:cubicBezTo>
                      <a:pt x="127" y="19"/>
                      <a:pt x="127" y="19"/>
                      <a:pt x="127" y="19"/>
                    </a:cubicBezTo>
                    <a:cubicBezTo>
                      <a:pt x="127" y="15"/>
                      <a:pt x="126" y="23"/>
                      <a:pt x="125" y="20"/>
                    </a:cubicBezTo>
                    <a:cubicBezTo>
                      <a:pt x="126" y="16"/>
                      <a:pt x="126" y="16"/>
                      <a:pt x="126" y="16"/>
                    </a:cubicBezTo>
                    <a:cubicBezTo>
                      <a:pt x="124" y="20"/>
                      <a:pt x="125" y="13"/>
                      <a:pt x="125" y="10"/>
                    </a:cubicBezTo>
                    <a:cubicBezTo>
                      <a:pt x="124" y="16"/>
                      <a:pt x="124" y="16"/>
                      <a:pt x="124" y="16"/>
                    </a:cubicBezTo>
                    <a:cubicBezTo>
                      <a:pt x="123" y="13"/>
                      <a:pt x="123" y="13"/>
                      <a:pt x="123" y="13"/>
                    </a:cubicBezTo>
                    <a:cubicBezTo>
                      <a:pt x="122" y="9"/>
                      <a:pt x="124" y="5"/>
                      <a:pt x="124" y="3"/>
                    </a:cubicBezTo>
                    <a:cubicBezTo>
                      <a:pt x="124" y="3"/>
                      <a:pt x="123" y="4"/>
                      <a:pt x="123" y="5"/>
                    </a:cubicBezTo>
                    <a:cubicBezTo>
                      <a:pt x="123" y="0"/>
                      <a:pt x="123" y="0"/>
                      <a:pt x="123" y="0"/>
                    </a:cubicBezTo>
                    <a:cubicBezTo>
                      <a:pt x="123" y="1"/>
                      <a:pt x="123" y="1"/>
                      <a:pt x="123" y="1"/>
                    </a:cubicBezTo>
                    <a:cubicBezTo>
                      <a:pt x="123" y="2"/>
                      <a:pt x="123" y="2"/>
                      <a:pt x="122" y="2"/>
                    </a:cubicBezTo>
                    <a:cubicBezTo>
                      <a:pt x="122" y="3"/>
                      <a:pt x="122" y="3"/>
                      <a:pt x="122" y="3"/>
                    </a:cubicBezTo>
                    <a:cubicBezTo>
                      <a:pt x="122" y="2"/>
                      <a:pt x="121" y="2"/>
                      <a:pt x="121" y="4"/>
                    </a:cubicBezTo>
                    <a:cubicBezTo>
                      <a:pt x="121" y="3"/>
                      <a:pt x="121" y="1"/>
                      <a:pt x="121" y="1"/>
                    </a:cubicBezTo>
                    <a:cubicBezTo>
                      <a:pt x="117" y="11"/>
                      <a:pt x="117" y="11"/>
                      <a:pt x="117" y="11"/>
                    </a:cubicBezTo>
                    <a:cubicBezTo>
                      <a:pt x="119" y="6"/>
                      <a:pt x="119" y="6"/>
                      <a:pt x="119" y="6"/>
                    </a:cubicBezTo>
                    <a:cubicBezTo>
                      <a:pt x="118" y="13"/>
                      <a:pt x="118" y="13"/>
                      <a:pt x="118" y="13"/>
                    </a:cubicBezTo>
                    <a:cubicBezTo>
                      <a:pt x="116" y="20"/>
                      <a:pt x="116" y="14"/>
                      <a:pt x="115" y="17"/>
                    </a:cubicBezTo>
                    <a:cubicBezTo>
                      <a:pt x="116" y="15"/>
                      <a:pt x="116" y="15"/>
                      <a:pt x="116" y="15"/>
                    </a:cubicBezTo>
                    <a:cubicBezTo>
                      <a:pt x="114" y="18"/>
                      <a:pt x="114" y="16"/>
                      <a:pt x="113" y="16"/>
                    </a:cubicBezTo>
                    <a:cubicBezTo>
                      <a:pt x="113" y="16"/>
                      <a:pt x="114" y="18"/>
                      <a:pt x="113" y="19"/>
                    </a:cubicBezTo>
                    <a:cubicBezTo>
                      <a:pt x="113" y="20"/>
                      <a:pt x="113" y="17"/>
                      <a:pt x="112" y="17"/>
                    </a:cubicBezTo>
                    <a:cubicBezTo>
                      <a:pt x="112" y="21"/>
                      <a:pt x="111" y="25"/>
                      <a:pt x="110" y="24"/>
                    </a:cubicBezTo>
                    <a:cubicBezTo>
                      <a:pt x="110" y="24"/>
                      <a:pt x="110" y="23"/>
                      <a:pt x="110" y="23"/>
                    </a:cubicBezTo>
                    <a:cubicBezTo>
                      <a:pt x="110" y="24"/>
                      <a:pt x="109" y="25"/>
                      <a:pt x="109" y="25"/>
                    </a:cubicBezTo>
                    <a:cubicBezTo>
                      <a:pt x="109" y="20"/>
                      <a:pt x="109" y="20"/>
                      <a:pt x="109" y="20"/>
                    </a:cubicBezTo>
                    <a:cubicBezTo>
                      <a:pt x="108" y="25"/>
                      <a:pt x="108" y="25"/>
                      <a:pt x="108" y="25"/>
                    </a:cubicBezTo>
                    <a:cubicBezTo>
                      <a:pt x="107" y="25"/>
                      <a:pt x="107" y="29"/>
                      <a:pt x="107" y="26"/>
                    </a:cubicBezTo>
                    <a:cubicBezTo>
                      <a:pt x="107" y="25"/>
                      <a:pt x="107" y="25"/>
                      <a:pt x="107" y="25"/>
                    </a:cubicBezTo>
                    <a:cubicBezTo>
                      <a:pt x="102" y="30"/>
                      <a:pt x="102" y="30"/>
                      <a:pt x="102" y="30"/>
                    </a:cubicBezTo>
                    <a:cubicBezTo>
                      <a:pt x="101" y="27"/>
                      <a:pt x="101" y="27"/>
                      <a:pt x="101" y="27"/>
                    </a:cubicBezTo>
                    <a:cubicBezTo>
                      <a:pt x="101" y="31"/>
                      <a:pt x="98" y="29"/>
                      <a:pt x="99" y="33"/>
                    </a:cubicBezTo>
                    <a:cubicBezTo>
                      <a:pt x="97" y="32"/>
                      <a:pt x="96" y="39"/>
                      <a:pt x="95" y="34"/>
                    </a:cubicBezTo>
                    <a:cubicBezTo>
                      <a:pt x="93" y="35"/>
                      <a:pt x="92" y="38"/>
                      <a:pt x="91" y="40"/>
                    </a:cubicBezTo>
                    <a:cubicBezTo>
                      <a:pt x="89" y="42"/>
                      <a:pt x="88" y="44"/>
                      <a:pt x="85" y="46"/>
                    </a:cubicBezTo>
                    <a:cubicBezTo>
                      <a:pt x="84" y="45"/>
                      <a:pt x="82" y="46"/>
                      <a:pt x="80" y="47"/>
                    </a:cubicBezTo>
                    <a:cubicBezTo>
                      <a:pt x="79" y="48"/>
                      <a:pt x="78" y="49"/>
                      <a:pt x="77" y="49"/>
                    </a:cubicBezTo>
                    <a:cubicBezTo>
                      <a:pt x="77" y="50"/>
                      <a:pt x="76" y="50"/>
                      <a:pt x="76" y="50"/>
                    </a:cubicBezTo>
                    <a:cubicBezTo>
                      <a:pt x="74" y="54"/>
                      <a:pt x="73" y="57"/>
                      <a:pt x="71" y="61"/>
                    </a:cubicBezTo>
                    <a:cubicBezTo>
                      <a:pt x="65" y="58"/>
                      <a:pt x="67" y="66"/>
                      <a:pt x="63" y="66"/>
                    </a:cubicBezTo>
                    <a:cubicBezTo>
                      <a:pt x="64" y="68"/>
                      <a:pt x="64" y="68"/>
                      <a:pt x="64" y="68"/>
                    </a:cubicBezTo>
                    <a:cubicBezTo>
                      <a:pt x="60" y="66"/>
                      <a:pt x="61" y="71"/>
                      <a:pt x="57" y="70"/>
                    </a:cubicBezTo>
                    <a:cubicBezTo>
                      <a:pt x="57" y="71"/>
                      <a:pt x="57" y="72"/>
                      <a:pt x="57" y="72"/>
                    </a:cubicBezTo>
                    <a:cubicBezTo>
                      <a:pt x="57" y="72"/>
                      <a:pt x="57" y="72"/>
                      <a:pt x="58" y="73"/>
                    </a:cubicBezTo>
                    <a:cubicBezTo>
                      <a:pt x="57" y="73"/>
                      <a:pt x="56" y="75"/>
                      <a:pt x="55" y="72"/>
                    </a:cubicBezTo>
                    <a:cubicBezTo>
                      <a:pt x="55" y="72"/>
                      <a:pt x="55" y="72"/>
                      <a:pt x="55" y="72"/>
                    </a:cubicBezTo>
                    <a:cubicBezTo>
                      <a:pt x="53" y="70"/>
                      <a:pt x="54" y="74"/>
                      <a:pt x="52" y="73"/>
                    </a:cubicBezTo>
                    <a:cubicBezTo>
                      <a:pt x="54" y="75"/>
                      <a:pt x="54" y="75"/>
                      <a:pt x="54" y="75"/>
                    </a:cubicBezTo>
                    <a:cubicBezTo>
                      <a:pt x="53" y="76"/>
                      <a:pt x="53" y="76"/>
                      <a:pt x="53" y="76"/>
                    </a:cubicBezTo>
                    <a:cubicBezTo>
                      <a:pt x="52" y="75"/>
                      <a:pt x="52" y="75"/>
                      <a:pt x="52" y="75"/>
                    </a:cubicBezTo>
                    <a:cubicBezTo>
                      <a:pt x="52" y="84"/>
                      <a:pt x="44" y="78"/>
                      <a:pt x="43" y="86"/>
                    </a:cubicBezTo>
                    <a:cubicBezTo>
                      <a:pt x="42" y="83"/>
                      <a:pt x="43" y="88"/>
                      <a:pt x="41" y="85"/>
                    </a:cubicBezTo>
                    <a:cubicBezTo>
                      <a:pt x="37" y="83"/>
                      <a:pt x="39" y="87"/>
                      <a:pt x="39" y="89"/>
                    </a:cubicBezTo>
                    <a:cubicBezTo>
                      <a:pt x="39" y="89"/>
                      <a:pt x="39" y="89"/>
                      <a:pt x="39" y="90"/>
                    </a:cubicBezTo>
                    <a:cubicBezTo>
                      <a:pt x="37" y="91"/>
                      <a:pt x="37" y="91"/>
                      <a:pt x="37" y="91"/>
                    </a:cubicBezTo>
                    <a:cubicBezTo>
                      <a:pt x="36" y="86"/>
                      <a:pt x="38" y="94"/>
                      <a:pt x="37" y="91"/>
                    </a:cubicBezTo>
                    <a:cubicBezTo>
                      <a:pt x="31" y="91"/>
                      <a:pt x="27" y="98"/>
                      <a:pt x="21" y="100"/>
                    </a:cubicBezTo>
                    <a:cubicBezTo>
                      <a:pt x="22" y="101"/>
                      <a:pt x="22" y="101"/>
                      <a:pt x="22" y="101"/>
                    </a:cubicBezTo>
                    <a:cubicBezTo>
                      <a:pt x="20" y="101"/>
                      <a:pt x="19" y="104"/>
                      <a:pt x="18" y="103"/>
                    </a:cubicBezTo>
                    <a:cubicBezTo>
                      <a:pt x="16" y="102"/>
                      <a:pt x="17" y="106"/>
                      <a:pt x="17" y="107"/>
                    </a:cubicBezTo>
                    <a:cubicBezTo>
                      <a:pt x="16" y="109"/>
                      <a:pt x="13" y="107"/>
                      <a:pt x="14" y="106"/>
                    </a:cubicBezTo>
                    <a:cubicBezTo>
                      <a:pt x="13" y="108"/>
                      <a:pt x="14" y="112"/>
                      <a:pt x="12" y="111"/>
                    </a:cubicBezTo>
                    <a:cubicBezTo>
                      <a:pt x="9" y="109"/>
                      <a:pt x="9" y="117"/>
                      <a:pt x="7" y="114"/>
                    </a:cubicBezTo>
                    <a:cubicBezTo>
                      <a:pt x="7" y="114"/>
                      <a:pt x="7" y="114"/>
                      <a:pt x="7" y="114"/>
                    </a:cubicBezTo>
                    <a:cubicBezTo>
                      <a:pt x="3" y="113"/>
                      <a:pt x="4" y="118"/>
                      <a:pt x="0" y="117"/>
                    </a:cubicBezTo>
                    <a:cubicBezTo>
                      <a:pt x="0" y="117"/>
                      <a:pt x="0" y="117"/>
                      <a:pt x="0" y="117"/>
                    </a:cubicBezTo>
                    <a:cubicBezTo>
                      <a:pt x="1" y="121"/>
                      <a:pt x="1" y="126"/>
                      <a:pt x="2" y="130"/>
                    </a:cubicBezTo>
                    <a:cubicBezTo>
                      <a:pt x="10" y="141"/>
                      <a:pt x="10" y="141"/>
                      <a:pt x="10" y="141"/>
                    </a:cubicBezTo>
                    <a:cubicBezTo>
                      <a:pt x="20" y="148"/>
                      <a:pt x="20" y="148"/>
                      <a:pt x="20" y="148"/>
                    </a:cubicBezTo>
                    <a:cubicBezTo>
                      <a:pt x="23" y="145"/>
                      <a:pt x="27" y="142"/>
                      <a:pt x="30" y="139"/>
                    </a:cubicBezTo>
                    <a:cubicBezTo>
                      <a:pt x="42" y="137"/>
                      <a:pt x="42" y="137"/>
                      <a:pt x="42" y="137"/>
                    </a:cubicBezTo>
                    <a:cubicBezTo>
                      <a:pt x="49" y="132"/>
                      <a:pt x="56" y="127"/>
                      <a:pt x="63" y="121"/>
                    </a:cubicBezTo>
                    <a:cubicBezTo>
                      <a:pt x="62" y="117"/>
                      <a:pt x="62" y="117"/>
                      <a:pt x="62" y="117"/>
                    </a:cubicBezTo>
                    <a:cubicBezTo>
                      <a:pt x="70" y="119"/>
                      <a:pt x="72" y="110"/>
                      <a:pt x="78" y="109"/>
                    </a:cubicBezTo>
                    <a:cubicBezTo>
                      <a:pt x="77" y="107"/>
                      <a:pt x="77" y="107"/>
                      <a:pt x="77" y="107"/>
                    </a:cubicBezTo>
                    <a:cubicBezTo>
                      <a:pt x="78" y="106"/>
                      <a:pt x="79" y="108"/>
                      <a:pt x="79" y="108"/>
                    </a:cubicBezTo>
                    <a:cubicBezTo>
                      <a:pt x="82" y="105"/>
                      <a:pt x="85" y="103"/>
                      <a:pt x="87" y="101"/>
                    </a:cubicBezTo>
                    <a:cubicBezTo>
                      <a:pt x="87" y="121"/>
                      <a:pt x="87" y="141"/>
                      <a:pt x="88" y="160"/>
                    </a:cubicBezTo>
                    <a:cubicBezTo>
                      <a:pt x="82" y="209"/>
                      <a:pt x="82" y="209"/>
                      <a:pt x="82" y="209"/>
                    </a:cubicBezTo>
                    <a:cubicBezTo>
                      <a:pt x="82" y="249"/>
                      <a:pt x="82" y="288"/>
                      <a:pt x="83" y="328"/>
                    </a:cubicBezTo>
                    <a:cubicBezTo>
                      <a:pt x="87" y="336"/>
                      <a:pt x="87" y="336"/>
                      <a:pt x="87" y="336"/>
                    </a:cubicBezTo>
                    <a:cubicBezTo>
                      <a:pt x="81" y="359"/>
                      <a:pt x="88" y="389"/>
                      <a:pt x="85" y="415"/>
                    </a:cubicBezTo>
                    <a:cubicBezTo>
                      <a:pt x="88" y="415"/>
                      <a:pt x="88" y="415"/>
                      <a:pt x="88" y="415"/>
                    </a:cubicBezTo>
                    <a:cubicBezTo>
                      <a:pt x="89" y="422"/>
                      <a:pt x="87" y="422"/>
                      <a:pt x="86" y="423"/>
                    </a:cubicBezTo>
                    <a:cubicBezTo>
                      <a:pt x="88" y="456"/>
                      <a:pt x="91" y="490"/>
                      <a:pt x="96" y="523"/>
                    </a:cubicBezTo>
                    <a:cubicBezTo>
                      <a:pt x="98" y="539"/>
                      <a:pt x="100" y="556"/>
                      <a:pt x="103" y="572"/>
                    </a:cubicBezTo>
                    <a:cubicBezTo>
                      <a:pt x="105" y="580"/>
                      <a:pt x="107" y="588"/>
                      <a:pt x="109" y="597"/>
                    </a:cubicBezTo>
                    <a:cubicBezTo>
                      <a:pt x="112" y="605"/>
                      <a:pt x="114" y="613"/>
                      <a:pt x="120" y="623"/>
                    </a:cubicBezTo>
                    <a:cubicBezTo>
                      <a:pt x="121" y="625"/>
                      <a:pt x="123" y="628"/>
                      <a:pt x="126" y="632"/>
                    </a:cubicBezTo>
                    <a:cubicBezTo>
                      <a:pt x="129" y="635"/>
                      <a:pt x="133" y="638"/>
                      <a:pt x="136" y="640"/>
                    </a:cubicBezTo>
                    <a:cubicBezTo>
                      <a:pt x="143" y="644"/>
                      <a:pt x="149" y="647"/>
                      <a:pt x="151" y="649"/>
                    </a:cubicBezTo>
                    <a:cubicBezTo>
                      <a:pt x="163" y="652"/>
                      <a:pt x="173" y="654"/>
                      <a:pt x="184" y="655"/>
                    </a:cubicBezTo>
                    <a:cubicBezTo>
                      <a:pt x="194" y="657"/>
                      <a:pt x="204" y="659"/>
                      <a:pt x="214" y="661"/>
                    </a:cubicBezTo>
                    <a:cubicBezTo>
                      <a:pt x="213" y="661"/>
                      <a:pt x="213" y="661"/>
                      <a:pt x="213" y="661"/>
                    </a:cubicBezTo>
                    <a:cubicBezTo>
                      <a:pt x="223" y="662"/>
                      <a:pt x="223" y="662"/>
                      <a:pt x="223" y="662"/>
                    </a:cubicBezTo>
                    <a:cubicBezTo>
                      <a:pt x="223" y="662"/>
                      <a:pt x="223" y="662"/>
                      <a:pt x="223" y="663"/>
                    </a:cubicBezTo>
                    <a:cubicBezTo>
                      <a:pt x="233" y="662"/>
                      <a:pt x="249" y="666"/>
                      <a:pt x="262" y="668"/>
                    </a:cubicBezTo>
                    <a:cubicBezTo>
                      <a:pt x="261" y="668"/>
                      <a:pt x="261" y="668"/>
                      <a:pt x="261" y="668"/>
                    </a:cubicBezTo>
                    <a:cubicBezTo>
                      <a:pt x="298" y="671"/>
                      <a:pt x="334" y="672"/>
                      <a:pt x="369" y="672"/>
                    </a:cubicBezTo>
                    <a:cubicBezTo>
                      <a:pt x="404" y="672"/>
                      <a:pt x="439" y="672"/>
                      <a:pt x="476" y="673"/>
                    </a:cubicBezTo>
                    <a:cubicBezTo>
                      <a:pt x="509" y="677"/>
                      <a:pt x="549" y="671"/>
                      <a:pt x="587" y="673"/>
                    </a:cubicBezTo>
                    <a:cubicBezTo>
                      <a:pt x="594" y="676"/>
                      <a:pt x="672" y="671"/>
                      <a:pt x="679" y="669"/>
                    </a:cubicBezTo>
                    <a:cubicBezTo>
                      <a:pt x="670" y="666"/>
                      <a:pt x="670" y="666"/>
                      <a:pt x="670" y="666"/>
                    </a:cubicBezTo>
                    <a:cubicBezTo>
                      <a:pt x="699" y="664"/>
                      <a:pt x="713" y="666"/>
                      <a:pt x="738" y="662"/>
                    </a:cubicBezTo>
                    <a:cubicBezTo>
                      <a:pt x="736" y="663"/>
                      <a:pt x="736" y="663"/>
                      <a:pt x="736" y="663"/>
                    </a:cubicBezTo>
                    <a:cubicBezTo>
                      <a:pt x="739" y="663"/>
                      <a:pt x="738" y="662"/>
                      <a:pt x="739" y="661"/>
                    </a:cubicBezTo>
                    <a:cubicBezTo>
                      <a:pt x="740" y="660"/>
                      <a:pt x="742" y="661"/>
                      <a:pt x="747" y="665"/>
                    </a:cubicBezTo>
                    <a:cubicBezTo>
                      <a:pt x="747" y="665"/>
                      <a:pt x="747" y="665"/>
                      <a:pt x="747" y="665"/>
                    </a:cubicBezTo>
                    <a:cubicBezTo>
                      <a:pt x="747" y="665"/>
                      <a:pt x="747" y="665"/>
                      <a:pt x="747" y="665"/>
                    </a:cubicBezTo>
                    <a:cubicBezTo>
                      <a:pt x="746" y="663"/>
                      <a:pt x="746" y="663"/>
                      <a:pt x="746" y="663"/>
                    </a:cubicBezTo>
                    <a:cubicBezTo>
                      <a:pt x="747" y="663"/>
                      <a:pt x="747" y="661"/>
                      <a:pt x="748" y="661"/>
                    </a:cubicBezTo>
                    <a:cubicBezTo>
                      <a:pt x="749" y="661"/>
                      <a:pt x="749" y="662"/>
                      <a:pt x="749" y="662"/>
                    </a:cubicBezTo>
                    <a:cubicBezTo>
                      <a:pt x="751" y="662"/>
                      <a:pt x="751" y="662"/>
                      <a:pt x="751" y="662"/>
                    </a:cubicBezTo>
                    <a:cubicBezTo>
                      <a:pt x="752" y="664"/>
                      <a:pt x="752" y="664"/>
                      <a:pt x="752" y="664"/>
                    </a:cubicBezTo>
                    <a:cubicBezTo>
                      <a:pt x="753" y="662"/>
                      <a:pt x="753" y="658"/>
                      <a:pt x="755" y="660"/>
                    </a:cubicBezTo>
                    <a:cubicBezTo>
                      <a:pt x="754" y="657"/>
                      <a:pt x="756" y="658"/>
                      <a:pt x="755" y="657"/>
                    </a:cubicBezTo>
                    <a:cubicBezTo>
                      <a:pt x="756" y="657"/>
                      <a:pt x="756" y="658"/>
                      <a:pt x="756" y="658"/>
                    </a:cubicBezTo>
                    <a:cubicBezTo>
                      <a:pt x="757" y="658"/>
                      <a:pt x="760" y="657"/>
                      <a:pt x="760" y="655"/>
                    </a:cubicBezTo>
                    <a:close/>
                    <a:moveTo>
                      <a:pt x="749" y="662"/>
                    </a:moveTo>
                    <a:cubicBezTo>
                      <a:pt x="749" y="662"/>
                      <a:pt x="749" y="662"/>
                      <a:pt x="749" y="662"/>
                    </a:cubicBezTo>
                    <a:cubicBezTo>
                      <a:pt x="749" y="663"/>
                      <a:pt x="749" y="663"/>
                      <a:pt x="749" y="662"/>
                    </a:cubicBezTo>
                    <a:close/>
                    <a:moveTo>
                      <a:pt x="632" y="637"/>
                    </a:moveTo>
                    <a:cubicBezTo>
                      <a:pt x="632" y="637"/>
                      <a:pt x="632" y="637"/>
                      <a:pt x="632" y="637"/>
                    </a:cubicBezTo>
                    <a:cubicBezTo>
                      <a:pt x="630" y="635"/>
                      <a:pt x="630" y="635"/>
                      <a:pt x="630" y="635"/>
                    </a:cubicBezTo>
                    <a:lnTo>
                      <a:pt x="632" y="637"/>
                    </a:lnTo>
                    <a:close/>
                    <a:moveTo>
                      <a:pt x="730" y="632"/>
                    </a:moveTo>
                    <a:cubicBezTo>
                      <a:pt x="732" y="632"/>
                      <a:pt x="733" y="632"/>
                      <a:pt x="734" y="631"/>
                    </a:cubicBezTo>
                    <a:cubicBezTo>
                      <a:pt x="730" y="631"/>
                      <a:pt x="730" y="632"/>
                      <a:pt x="730" y="632"/>
                    </a:cubicBezTo>
                    <a:close/>
                    <a:moveTo>
                      <a:pt x="756" y="660"/>
                    </a:moveTo>
                    <a:cubicBezTo>
                      <a:pt x="757" y="660"/>
                      <a:pt x="756" y="659"/>
                      <a:pt x="756" y="658"/>
                    </a:cubicBezTo>
                    <a:cubicBezTo>
                      <a:pt x="755" y="659"/>
                      <a:pt x="755" y="659"/>
                      <a:pt x="755" y="659"/>
                    </a:cubicBezTo>
                    <a:cubicBezTo>
                      <a:pt x="756" y="659"/>
                      <a:pt x="756" y="659"/>
                      <a:pt x="756" y="660"/>
                    </a:cubicBezTo>
                    <a:close/>
                    <a:moveTo>
                      <a:pt x="753" y="645"/>
                    </a:moveTo>
                    <a:cubicBezTo>
                      <a:pt x="753" y="644"/>
                      <a:pt x="753" y="644"/>
                      <a:pt x="753" y="644"/>
                    </a:cubicBezTo>
                    <a:cubicBezTo>
                      <a:pt x="753" y="644"/>
                      <a:pt x="753" y="644"/>
                      <a:pt x="753" y="645"/>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box(in)">
                                      <p:cBhvr>
                                        <p:cTn id="7" dur="500"/>
                                        <p:tgtEl>
                                          <p:spTgt spid="40"/>
                                        </p:tgtEl>
                                      </p:cBhvr>
                                    </p:animEffect>
                                  </p:childTnLst>
                                </p:cTn>
                              </p:par>
                              <p:par>
                                <p:cTn id="8" presetID="4" presetClass="entr" presetSubtype="16"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ox(in)">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49</a:t>
            </a:fld>
            <a:endParaRPr lang="en-US"/>
          </a:p>
        </p:txBody>
      </p:sp>
      <p:sp>
        <p:nvSpPr>
          <p:cNvPr id="9" name="Ellipse 15"/>
          <p:cNvSpPr/>
          <p:nvPr/>
        </p:nvSpPr>
        <p:spPr bwMode="auto">
          <a:xfrm rot="2481755">
            <a:off x="2838610" y="449868"/>
            <a:ext cx="1596636" cy="6271608"/>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FF00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r>
              <a:rPr lang="en-US" sz="3200" b="1" dirty="0" err="1" smtClean="0">
                <a:solidFill>
                  <a:schemeClr val="bg1"/>
                </a:solidFill>
                <a:effectLst>
                  <a:outerShdw blurRad="38100" dist="38100" dir="2700000" algn="tl">
                    <a:srgbClr val="000000">
                      <a:alpha val="43137"/>
                    </a:srgbClr>
                  </a:outerShdw>
                </a:effectLst>
                <a:latin typeface="Lucida Sans Unicode" pitchFamily="34" charset="0"/>
              </a:rPr>
              <a:t>Instrumen</a:t>
            </a:r>
            <a:r>
              <a:rPr lang="en-US" sz="3200" b="1" dirty="0" smtClean="0">
                <a:solidFill>
                  <a:schemeClr val="bg1"/>
                </a:solidFill>
                <a:effectLst>
                  <a:outerShdw blurRad="38100" dist="38100" dir="2700000" algn="tl">
                    <a:srgbClr val="000000">
                      <a:alpha val="43137"/>
                    </a:srgbClr>
                  </a:outerShdw>
                </a:effectLst>
                <a:latin typeface="Lucida Sans Unicode" pitchFamily="34" charset="0"/>
              </a:rPr>
              <a:t> </a:t>
            </a:r>
            <a:r>
              <a:rPr lang="en-US" sz="3200" b="1" dirty="0" err="1" smtClean="0">
                <a:solidFill>
                  <a:schemeClr val="bg1"/>
                </a:solidFill>
                <a:effectLst>
                  <a:outerShdw blurRad="38100" dist="38100" dir="2700000" algn="tl">
                    <a:srgbClr val="000000">
                      <a:alpha val="43137"/>
                    </a:srgbClr>
                  </a:outerShdw>
                </a:effectLst>
                <a:latin typeface="Lucida Sans Unicode" pitchFamily="34" charset="0"/>
              </a:rPr>
              <a:t>dan</a:t>
            </a:r>
            <a:r>
              <a:rPr lang="en-US" sz="3200" b="1" dirty="0" smtClean="0">
                <a:solidFill>
                  <a:schemeClr val="bg1"/>
                </a:solidFill>
                <a:effectLst>
                  <a:outerShdw blurRad="38100" dist="38100" dir="2700000" algn="tl">
                    <a:srgbClr val="000000">
                      <a:alpha val="43137"/>
                    </a:srgbClr>
                  </a:outerShdw>
                </a:effectLst>
                <a:latin typeface="Lucida Sans Unicode" pitchFamily="34" charset="0"/>
              </a:rPr>
              <a:t> </a:t>
            </a:r>
            <a:r>
              <a:rPr lang="en-US" sz="3200" b="1" dirty="0" err="1" smtClean="0">
                <a:solidFill>
                  <a:schemeClr val="bg1"/>
                </a:solidFill>
                <a:effectLst>
                  <a:outerShdw blurRad="38100" dist="38100" dir="2700000" algn="tl">
                    <a:srgbClr val="000000">
                      <a:alpha val="43137"/>
                    </a:srgbClr>
                  </a:outerShdw>
                </a:effectLst>
                <a:latin typeface="Lucida Sans Unicode" pitchFamily="34" charset="0"/>
              </a:rPr>
              <a:t>Skor</a:t>
            </a:r>
            <a:endParaRPr lang="en-US"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0" name="Ellipse 15"/>
          <p:cNvSpPr/>
          <p:nvPr/>
        </p:nvSpPr>
        <p:spPr bwMode="auto">
          <a:xfrm rot="4401100">
            <a:off x="3798383" y="1119380"/>
            <a:ext cx="1367211" cy="7324018"/>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0080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2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1" name="Ellipse 15"/>
          <p:cNvSpPr/>
          <p:nvPr/>
        </p:nvSpPr>
        <p:spPr bwMode="auto">
          <a:xfrm rot="4936605">
            <a:off x="3903865" y="1454704"/>
            <a:ext cx="1367211" cy="7324018"/>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FF990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1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2" name="Ellipse 15"/>
          <p:cNvSpPr/>
          <p:nvPr/>
        </p:nvSpPr>
        <p:spPr bwMode="auto">
          <a:xfrm rot="5400000">
            <a:off x="3903865" y="1787486"/>
            <a:ext cx="1367211" cy="7324018"/>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rgbClr val="002060"/>
          </a:solidFill>
          <a:ln w="9525" cap="flat" cmpd="sng" algn="ctr">
            <a:noFill/>
            <a:prstDash val="solid"/>
            <a:round/>
            <a:headEnd type="none" w="med" len="med"/>
            <a:tailEnd type="none" w="med" len="med"/>
          </a:ln>
          <a:effectLst/>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endParaRPr lang="en-US" sz="1400" b="1" dirty="0">
              <a:solidFill>
                <a:schemeClr val="bg1"/>
              </a:solidFill>
              <a:effectLst>
                <a:outerShdw blurRad="38100" dist="38100" dir="2700000" algn="tl">
                  <a:srgbClr val="000000">
                    <a:alpha val="43137"/>
                  </a:srgbClr>
                </a:outerShdw>
              </a:effectLst>
              <a:latin typeface="Lucida Sans Unicode" pitchFamily="34" charset="0"/>
            </a:endParaRPr>
          </a:p>
        </p:txBody>
      </p:sp>
      <p:sp>
        <p:nvSpPr>
          <p:cNvPr id="13" name="Ellipse 10"/>
          <p:cNvSpPr/>
          <p:nvPr/>
        </p:nvSpPr>
        <p:spPr bwMode="auto">
          <a:xfrm>
            <a:off x="1330756" y="5104557"/>
            <a:ext cx="805642" cy="689877"/>
          </a:xfrm>
          <a:prstGeom prst="ellipse">
            <a:avLst/>
          </a:prstGeom>
          <a:gradFill>
            <a:gsLst>
              <a:gs pos="0">
                <a:schemeClr val="bg1">
                  <a:lumMod val="85000"/>
                </a:schemeClr>
              </a:gs>
              <a:gs pos="80000">
                <a:schemeClr val="bg1">
                  <a:lumMod val="95000"/>
                </a:schemeClr>
              </a:gs>
              <a:gs pos="100000">
                <a:schemeClr val="bg1"/>
              </a:gs>
            </a:gsLst>
          </a:gradFill>
          <a:ln>
            <a:no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fr-FR" sz="1400" b="1">
              <a:solidFill>
                <a:schemeClr val="tx1"/>
              </a:solidFill>
              <a:latin typeface="Lucida Sans Unicode" pitchFamily="34" charset="0"/>
            </a:endParaRPr>
          </a:p>
        </p:txBody>
      </p:sp>
      <p:sp>
        <p:nvSpPr>
          <p:cNvPr id="15" name="TextBox 14"/>
          <p:cNvSpPr txBox="1"/>
          <p:nvPr/>
        </p:nvSpPr>
        <p:spPr>
          <a:xfrm>
            <a:off x="405143" y="906979"/>
            <a:ext cx="1000132" cy="1862048"/>
          </a:xfrm>
          <a:prstGeom prst="rect">
            <a:avLst/>
          </a:prstGeom>
          <a:noFill/>
        </p:spPr>
        <p:txBody>
          <a:bodyPr wrap="square" rtlCol="0">
            <a:spAutoFit/>
          </a:bodyPr>
          <a:lstStyle/>
          <a:p>
            <a:r>
              <a:rPr lang="en-US" sz="11500" b="1" dirty="0" smtClean="0">
                <a:ln w="19050">
                  <a:solidFill>
                    <a:schemeClr val="tx2">
                      <a:tint val="1000"/>
                    </a:schemeClr>
                  </a:solidFill>
                  <a:prstDash val="solid"/>
                </a:ln>
                <a:solidFill>
                  <a:srgbClr val="FF0000"/>
                </a:solidFill>
                <a:effectLst>
                  <a:outerShdw blurRad="50000" dist="50800" dir="7500000" algn="tl">
                    <a:srgbClr val="000000">
                      <a:shade val="5000"/>
                      <a:alpha val="35000"/>
                    </a:srgbClr>
                  </a:outerShdw>
                </a:effectLst>
                <a:latin typeface="Rockwell"/>
                <a:cs typeface="Rockwell"/>
              </a:rPr>
              <a:t>4</a:t>
            </a:r>
            <a:endParaRPr lang="en-US" sz="11500" b="1" dirty="0">
              <a:ln w="19050">
                <a:solidFill>
                  <a:schemeClr val="tx2">
                    <a:tint val="1000"/>
                  </a:schemeClr>
                </a:solidFill>
                <a:prstDash val="solid"/>
              </a:ln>
              <a:solidFill>
                <a:srgbClr val="FF0000"/>
              </a:solidFill>
              <a:effectLst>
                <a:outerShdw blurRad="50000" dist="50800" dir="7500000" algn="tl">
                  <a:srgbClr val="000000">
                    <a:shade val="5000"/>
                    <a:alpha val="35000"/>
                  </a:srgbClr>
                </a:outerShdw>
              </a:effectLst>
              <a:latin typeface="Rockwell"/>
              <a:cs typeface="Rockwe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9"/>
                                        </p:tgtEl>
                                      </p:cBhvr>
                                    </p:animEffect>
                                    <p:animScale>
                                      <p:cBhvr>
                                        <p:cTn id="7" dur="250" autoRev="1" fill="hold"/>
                                        <p:tgtEl>
                                          <p:spTgt spid="9"/>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15"/>
                                        </p:tgtEl>
                                      </p:cBhvr>
                                    </p:animEffect>
                                    <p:animScale>
                                      <p:cBhvr>
                                        <p:cTn id="10" dur="250" autoRev="1" fill="hold"/>
                                        <p:tgtEl>
                                          <p:spTgt spid="1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D:\Tumpang Kejap Je\XMMM.png"/>
          <p:cNvPicPr>
            <a:picLocks noChangeAspect="1" noChangeArrowheads="1"/>
          </p:cNvPicPr>
          <p:nvPr/>
        </p:nvPicPr>
        <p:blipFill>
          <a:blip r:embed="rId3"/>
          <a:srcRect/>
          <a:stretch>
            <a:fillRect/>
          </a:stretch>
        </p:blipFill>
        <p:spPr bwMode="auto">
          <a:xfrm flipH="1">
            <a:off x="-225863" y="2038619"/>
            <a:ext cx="6553200" cy="4682857"/>
          </a:xfrm>
          <a:prstGeom prst="rect">
            <a:avLst/>
          </a:prstGeom>
          <a:noFill/>
        </p:spPr>
      </p:pic>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5</a:t>
            </a:fld>
            <a:endParaRPr lang="en-US"/>
          </a:p>
        </p:txBody>
      </p:sp>
      <p:grpSp>
        <p:nvGrpSpPr>
          <p:cNvPr id="2" name="Group 20"/>
          <p:cNvGrpSpPr/>
          <p:nvPr/>
        </p:nvGrpSpPr>
        <p:grpSpPr>
          <a:xfrm rot="7675398">
            <a:off x="3064279" y="1512343"/>
            <a:ext cx="6731060" cy="4049577"/>
            <a:chOff x="619568" y="446868"/>
            <a:chExt cx="7929208" cy="4497373"/>
          </a:xfrm>
        </p:grpSpPr>
        <p:grpSp>
          <p:nvGrpSpPr>
            <p:cNvPr id="3" name="Group 54"/>
            <p:cNvGrpSpPr/>
            <p:nvPr/>
          </p:nvGrpSpPr>
          <p:grpSpPr>
            <a:xfrm>
              <a:off x="619568" y="446868"/>
              <a:ext cx="7929208" cy="4497373"/>
              <a:chOff x="771944" y="-17799"/>
              <a:chExt cx="7929208" cy="4497373"/>
            </a:xfrm>
          </p:grpSpPr>
          <p:grpSp>
            <p:nvGrpSpPr>
              <p:cNvPr id="6" name="Group 94"/>
              <p:cNvGrpSpPr/>
              <p:nvPr/>
            </p:nvGrpSpPr>
            <p:grpSpPr>
              <a:xfrm>
                <a:off x="4687843" y="553147"/>
                <a:ext cx="4013309" cy="3714686"/>
                <a:chOff x="4519164" y="1946875"/>
                <a:chExt cx="2970109" cy="2795459"/>
              </a:xfrm>
            </p:grpSpPr>
            <p:sp>
              <p:nvSpPr>
                <p:cNvPr id="34" name="Teardrop 33"/>
                <p:cNvSpPr/>
                <p:nvPr/>
              </p:nvSpPr>
              <p:spPr>
                <a:xfrm rot="12510808">
                  <a:off x="4519164" y="1946875"/>
                  <a:ext cx="2970109" cy="2795459"/>
                </a:xfrm>
                <a:prstGeom prst="teardrop">
                  <a:avLst/>
                </a:prstGeom>
                <a:solidFill>
                  <a:srgbClr val="002060"/>
                </a:solidFill>
                <a:ln>
                  <a:noFill/>
                </a:ln>
                <a:effectLst/>
                <a:scene3d>
                  <a:camera prst="orthographicFront">
                    <a:rot lat="0" lon="0" rev="0"/>
                  </a:camera>
                  <a:lightRig rig="contrasting" dir="t">
                    <a:rot lat="0" lon="0" rev="7800000"/>
                  </a:lightRig>
                </a:scene3d>
                <a:sp3d>
                  <a:bevelT w="139700" h="139700"/>
                </a:sp3d>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35" name="Oval 34"/>
                <p:cNvSpPr/>
                <p:nvPr/>
              </p:nvSpPr>
              <p:spPr>
                <a:xfrm>
                  <a:off x="4862261" y="2229888"/>
                  <a:ext cx="2345437" cy="2251181"/>
                </a:xfrm>
                <a:prstGeom prst="ellipse">
                  <a:avLst/>
                </a:prstGeom>
                <a:solidFill>
                  <a:schemeClr val="bg1"/>
                </a:solidFill>
                <a:ln>
                  <a:noFill/>
                </a:ln>
                <a:effectLst>
                  <a:innerShdw blurRad="203200" dist="76200" dir="13500000">
                    <a:schemeClr val="tx1">
                      <a:lumMod val="75000"/>
                      <a:lumOff val="2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22"/>
              <p:cNvGrpSpPr/>
              <p:nvPr/>
            </p:nvGrpSpPr>
            <p:grpSpPr>
              <a:xfrm>
                <a:off x="771944" y="918459"/>
                <a:ext cx="5386153" cy="3561115"/>
                <a:chOff x="1621145" y="2221788"/>
                <a:chExt cx="3986102" cy="2679890"/>
              </a:xfrm>
            </p:grpSpPr>
            <p:sp>
              <p:nvSpPr>
                <p:cNvPr id="30" name="Down Arrow 29"/>
                <p:cNvSpPr/>
                <p:nvPr/>
              </p:nvSpPr>
              <p:spPr>
                <a:xfrm rot="17541293">
                  <a:off x="4296327" y="2649495"/>
                  <a:ext cx="871414" cy="1750427"/>
                </a:xfrm>
                <a:prstGeom prst="downArrow">
                  <a:avLst>
                    <a:gd name="adj1" fmla="val 50000"/>
                    <a:gd name="adj2" fmla="val 64297"/>
                  </a:avLst>
                </a:prstGeom>
                <a:solidFill>
                  <a:srgbClr val="FFC000"/>
                </a:solidFill>
                <a:ln>
                  <a:noFill/>
                </a:ln>
                <a:effectLst/>
                <a:scene3d>
                  <a:camera prst="orthographicFront">
                    <a:rot lat="0" lon="0" rev="0"/>
                  </a:camera>
                  <a:lightRig rig="contrasting" dir="t">
                    <a:rot lat="0" lon="0" rev="7800000"/>
                  </a:lightRig>
                </a:scene3d>
                <a:sp3d>
                  <a:bevelT w="139700" h="139700"/>
                </a:sp3d>
              </p:spPr>
              <p:style>
                <a:lnRef idx="3">
                  <a:schemeClr val="lt1"/>
                </a:lnRef>
                <a:fillRef idx="1">
                  <a:schemeClr val="accent6"/>
                </a:fillRef>
                <a:effectRef idx="1">
                  <a:schemeClr val="accent6"/>
                </a:effectRef>
                <a:fontRef idx="minor">
                  <a:schemeClr val="lt1"/>
                </a:fontRef>
              </p:style>
              <p:txBody>
                <a:bodyPr rtlCol="0" anchor="ctr"/>
                <a:lstStyle/>
                <a:p>
                  <a:pPr algn="ctr"/>
                  <a:endParaRPr lang="en-US"/>
                </a:p>
              </p:txBody>
            </p:sp>
            <p:grpSp>
              <p:nvGrpSpPr>
                <p:cNvPr id="8" name="Group 87"/>
                <p:cNvGrpSpPr/>
                <p:nvPr/>
              </p:nvGrpSpPr>
              <p:grpSpPr>
                <a:xfrm>
                  <a:off x="1621145" y="2221788"/>
                  <a:ext cx="2916010" cy="2679890"/>
                  <a:chOff x="1621145" y="2189988"/>
                  <a:chExt cx="2916010" cy="2679890"/>
                </a:xfrm>
              </p:grpSpPr>
              <p:sp>
                <p:nvSpPr>
                  <p:cNvPr id="32" name="Teardrop 31"/>
                  <p:cNvSpPr/>
                  <p:nvPr/>
                </p:nvSpPr>
                <p:spPr>
                  <a:xfrm rot="2909917">
                    <a:off x="1739205" y="2071928"/>
                    <a:ext cx="2679890" cy="2916010"/>
                  </a:xfrm>
                  <a:prstGeom prst="teardrop">
                    <a:avLst/>
                  </a:prstGeom>
                  <a:solidFill>
                    <a:srgbClr val="FFC000"/>
                  </a:solidFill>
                  <a:ln>
                    <a:noFill/>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33" name="Oval 32"/>
                  <p:cNvSpPr/>
                  <p:nvPr/>
                </p:nvSpPr>
                <p:spPr>
                  <a:xfrm>
                    <a:off x="1988951" y="2428428"/>
                    <a:ext cx="2282269" cy="2134713"/>
                  </a:xfrm>
                  <a:prstGeom prst="ellipse">
                    <a:avLst/>
                  </a:prstGeom>
                  <a:solidFill>
                    <a:schemeClr val="bg1"/>
                  </a:solidFill>
                  <a:ln>
                    <a:noFill/>
                  </a:ln>
                  <a:effectLst>
                    <a:innerShdw blurRad="203200" dist="76200" dir="13500000">
                      <a:schemeClr val="tx1">
                        <a:lumMod val="75000"/>
                        <a:lumOff val="2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7" name="Ellipse 98"/>
              <p:cNvSpPr/>
              <p:nvPr/>
            </p:nvSpPr>
            <p:spPr bwMode="auto">
              <a:xfrm rot="21406727">
                <a:off x="1841143" y="-17799"/>
                <a:ext cx="5701792" cy="464027"/>
              </a:xfrm>
              <a:prstGeom prst="ellipse">
                <a:avLst/>
              </a:prstGeom>
              <a:gradFill flip="none" rotWithShape="1">
                <a:gsLst>
                  <a:gs pos="100000">
                    <a:srgbClr val="FFFFFF">
                      <a:alpha val="0"/>
                    </a:srgbClr>
                  </a:gs>
                  <a:gs pos="0">
                    <a:schemeClr val="tx1">
                      <a:lumMod val="50000"/>
                      <a:lumOff val="50000"/>
                    </a:scheme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defRPr/>
                </a:pPr>
                <a:endParaRPr lang="en-US" sz="1800" smtClean="0">
                  <a:solidFill>
                    <a:srgbClr val="FFFFFF"/>
                  </a:solidFill>
                  <a:latin typeface="Calibri" charset="0"/>
                </a:endParaRPr>
              </a:p>
            </p:txBody>
          </p:sp>
          <p:sp>
            <p:nvSpPr>
              <p:cNvPr id="28" name="Rectangle 27"/>
              <p:cNvSpPr/>
              <p:nvPr/>
            </p:nvSpPr>
            <p:spPr>
              <a:xfrm rot="13924602">
                <a:off x="5914292" y="902957"/>
                <a:ext cx="2654234" cy="2308042"/>
              </a:xfrm>
              <a:prstGeom prst="rect">
                <a:avLst/>
              </a:prstGeom>
              <a:noFill/>
              <a:ln w="12700" cap="flat" cmpd="sng" algn="ctr">
                <a:noFill/>
                <a:prstDash val="solid"/>
              </a:ln>
              <a:effectLst/>
            </p:spPr>
            <p:txBody>
              <a:bodyPr lIns="91440" tIns="0" rIns="91440" bIns="0" rtlCol="0" anchor="t"/>
              <a:lstStyle/>
              <a:p>
                <a:pPr algn="ctr"/>
                <a:r>
                  <a:rPr lang="ms-MY" altLang="en-US" sz="1200" dirty="0" smtClean="0">
                    <a:latin typeface="Arial" pitchFamily="34" charset="0"/>
                  </a:rPr>
                  <a:t>Mesyuarat DTF Bil. 3/2013 yang dipengerusikan oleh </a:t>
                </a:r>
                <a:r>
                  <a:rPr lang="en-US" altLang="en-US" sz="1200" dirty="0" smtClean="0">
                    <a:latin typeface="Arial" pitchFamily="34" charset="0"/>
                  </a:rPr>
                  <a:t>YAB Tan Sri </a:t>
                </a:r>
                <a:r>
                  <a:rPr lang="en-US" altLang="en-US" sz="1200" b="1" dirty="0" err="1" smtClean="0">
                    <a:latin typeface="Arial" pitchFamily="34" charset="0"/>
                  </a:rPr>
                  <a:t>Dato</a:t>
                </a:r>
                <a:r>
                  <a:rPr lang="en-US" altLang="en-US" sz="1200" b="1" dirty="0" smtClean="0">
                    <a:latin typeface="Arial" pitchFamily="34" charset="0"/>
                  </a:rPr>
                  <a:t>' </a:t>
                </a:r>
                <a:r>
                  <a:rPr lang="en-US" altLang="en-US" sz="1200" b="1" dirty="0" err="1" smtClean="0">
                    <a:latin typeface="Arial" pitchFamily="34" charset="0"/>
                  </a:rPr>
                  <a:t>Hj</a:t>
                </a:r>
                <a:r>
                  <a:rPr lang="en-US" altLang="en-US" sz="1200" b="1" dirty="0" smtClean="0">
                    <a:latin typeface="Arial" pitchFamily="34" charset="0"/>
                  </a:rPr>
                  <a:t> </a:t>
                </a:r>
                <a:r>
                  <a:rPr lang="en-US" altLang="en-US" sz="1200" b="1" dirty="0" err="1" smtClean="0">
                    <a:latin typeface="Arial" pitchFamily="34" charset="0"/>
                  </a:rPr>
                  <a:t>Muhyiddin</a:t>
                </a:r>
                <a:r>
                  <a:rPr lang="en-US" altLang="en-US" sz="1200" b="1" dirty="0" smtClean="0">
                    <a:latin typeface="Arial" pitchFamily="34" charset="0"/>
                  </a:rPr>
                  <a:t> B. </a:t>
                </a:r>
                <a:r>
                  <a:rPr lang="en-US" altLang="en-US" sz="1200" b="1" dirty="0" err="1" smtClean="0">
                    <a:latin typeface="Arial" pitchFamily="34" charset="0"/>
                  </a:rPr>
                  <a:t>Hj</a:t>
                </a:r>
                <a:r>
                  <a:rPr lang="en-US" altLang="en-US" sz="1200" b="1" dirty="0" smtClean="0">
                    <a:latin typeface="Arial" pitchFamily="34" charset="0"/>
                  </a:rPr>
                  <a:t> Mohd </a:t>
                </a:r>
                <a:r>
                  <a:rPr lang="en-US" altLang="en-US" sz="1200" b="1" dirty="0" err="1" smtClean="0">
                    <a:latin typeface="Arial" pitchFamily="34" charset="0"/>
                  </a:rPr>
                  <a:t>Yassin</a:t>
                </a:r>
                <a:r>
                  <a:rPr lang="en-US" altLang="en-US" sz="1200" dirty="0" smtClean="0">
                    <a:latin typeface="Arial" pitchFamily="34" charset="0"/>
                  </a:rPr>
                  <a:t>, </a:t>
                </a:r>
                <a:r>
                  <a:rPr lang="en-US" altLang="en-US" sz="1200" dirty="0" err="1" smtClean="0">
                    <a:latin typeface="Arial" pitchFamily="34" charset="0"/>
                  </a:rPr>
                  <a:t>Timbalan</a:t>
                </a:r>
                <a:r>
                  <a:rPr lang="en-US" altLang="en-US" sz="1200" dirty="0" smtClean="0">
                    <a:latin typeface="Arial" pitchFamily="34" charset="0"/>
                  </a:rPr>
                  <a:t> </a:t>
                </a:r>
                <a:r>
                  <a:rPr lang="en-US" altLang="en-US" sz="1200" dirty="0" err="1" smtClean="0">
                    <a:latin typeface="Arial" pitchFamily="34" charset="0"/>
                  </a:rPr>
                  <a:t>Perdana</a:t>
                </a:r>
                <a:r>
                  <a:rPr lang="en-US" altLang="en-US" sz="1200" dirty="0" smtClean="0">
                    <a:latin typeface="Arial" pitchFamily="34" charset="0"/>
                  </a:rPr>
                  <a:t> </a:t>
                </a:r>
                <a:r>
                  <a:rPr lang="en-US" altLang="en-US" sz="1200" dirty="0" err="1" smtClean="0">
                    <a:latin typeface="Arial" pitchFamily="34" charset="0"/>
                  </a:rPr>
                  <a:t>Menteri</a:t>
                </a:r>
                <a:r>
                  <a:rPr lang="en-US" altLang="en-US" sz="1200" dirty="0" smtClean="0">
                    <a:latin typeface="Arial" pitchFamily="34" charset="0"/>
                  </a:rPr>
                  <a:t> </a:t>
                </a:r>
                <a:r>
                  <a:rPr lang="en-US" altLang="en-US" sz="1200" dirty="0" err="1" smtClean="0">
                    <a:latin typeface="Arial" pitchFamily="34" charset="0"/>
                  </a:rPr>
                  <a:t>merangkap</a:t>
                </a:r>
                <a:r>
                  <a:rPr lang="en-US" altLang="en-US" sz="1200" dirty="0" smtClean="0">
                    <a:latin typeface="Arial" pitchFamily="34" charset="0"/>
                  </a:rPr>
                  <a:t> </a:t>
                </a:r>
                <a:r>
                  <a:rPr lang="en-US" altLang="en-US" sz="1200" dirty="0" err="1" smtClean="0">
                    <a:latin typeface="Arial" pitchFamily="34" charset="0"/>
                  </a:rPr>
                  <a:t>Menteri</a:t>
                </a:r>
                <a:r>
                  <a:rPr lang="en-US" altLang="en-US" sz="1200" dirty="0" smtClean="0">
                    <a:latin typeface="Arial" pitchFamily="34" charset="0"/>
                  </a:rPr>
                  <a:t> </a:t>
                </a:r>
                <a:r>
                  <a:rPr lang="en-US" altLang="en-US" sz="1200" dirty="0" err="1" smtClean="0">
                    <a:latin typeface="Arial" pitchFamily="34" charset="0"/>
                  </a:rPr>
                  <a:t>Pendidikan</a:t>
                </a:r>
                <a:r>
                  <a:rPr lang="en-US" altLang="en-US" sz="1200" dirty="0" smtClean="0">
                    <a:latin typeface="Arial" pitchFamily="34" charset="0"/>
                  </a:rPr>
                  <a:t> Malaysia </a:t>
                </a:r>
                <a:r>
                  <a:rPr lang="en-US" altLang="en-US" sz="1200" dirty="0" err="1" smtClean="0">
                    <a:latin typeface="Arial" pitchFamily="34" charset="0"/>
                  </a:rPr>
                  <a:t>telah</a:t>
                </a:r>
                <a:r>
                  <a:rPr lang="en-US" altLang="en-US" sz="1200" dirty="0" smtClean="0">
                    <a:latin typeface="Arial" pitchFamily="34" charset="0"/>
                  </a:rPr>
                  <a:t> </a:t>
                </a:r>
                <a:r>
                  <a:rPr lang="en-US" altLang="en-US" sz="1200" b="1" dirty="0" err="1" smtClean="0">
                    <a:latin typeface="Arial" pitchFamily="34" charset="0"/>
                  </a:rPr>
                  <a:t>bersetuju</a:t>
                </a:r>
                <a:r>
                  <a:rPr lang="en-US" altLang="en-US" sz="1200" dirty="0" smtClean="0">
                    <a:latin typeface="Arial" pitchFamily="34" charset="0"/>
                  </a:rPr>
                  <a:t> </a:t>
                </a:r>
                <a:r>
                  <a:rPr lang="en-US" altLang="en-US" sz="1200" dirty="0" err="1" smtClean="0">
                    <a:latin typeface="Arial" pitchFamily="34" charset="0"/>
                  </a:rPr>
                  <a:t>dengan</a:t>
                </a:r>
                <a:r>
                  <a:rPr lang="en-US" altLang="en-US" sz="1200" dirty="0" smtClean="0">
                    <a:latin typeface="Arial" pitchFamily="34" charset="0"/>
                  </a:rPr>
                  <a:t> </a:t>
                </a:r>
                <a:r>
                  <a:rPr lang="en-US" altLang="en-US" sz="1200" dirty="0" err="1" smtClean="0">
                    <a:latin typeface="Arial" pitchFamily="34" charset="0"/>
                  </a:rPr>
                  <a:t>keputusan</a:t>
                </a:r>
                <a:r>
                  <a:rPr lang="en-US" altLang="en-US" sz="1200" dirty="0" smtClean="0">
                    <a:latin typeface="Arial" pitchFamily="34" charset="0"/>
                  </a:rPr>
                  <a:t> </a:t>
                </a:r>
                <a:r>
                  <a:rPr lang="en-US" altLang="en-US" sz="1200" dirty="0" err="1" smtClean="0">
                    <a:latin typeface="Arial" pitchFamily="34" charset="0"/>
                  </a:rPr>
                  <a:t>berkenaan</a:t>
                </a:r>
                <a:r>
                  <a:rPr lang="en-US" altLang="en-US" sz="1200" dirty="0" smtClean="0">
                    <a:latin typeface="Arial" pitchFamily="34" charset="0"/>
                  </a:rPr>
                  <a:t>.</a:t>
                </a:r>
              </a:p>
              <a:p>
                <a:pPr algn="ctr"/>
                <a:r>
                  <a:rPr lang="en-US" altLang="en-US" sz="1200" dirty="0" smtClean="0">
                    <a:solidFill>
                      <a:schemeClr val="tx1"/>
                    </a:solidFill>
                    <a:latin typeface="Arial" pitchFamily="34" charset="0"/>
                    <a:cs typeface="Arial" pitchFamily="34" charset="0"/>
                  </a:rPr>
                  <a:t>.</a:t>
                </a:r>
              </a:p>
            </p:txBody>
          </p:sp>
          <p:sp>
            <p:nvSpPr>
              <p:cNvPr id="29" name="Rectangle 28"/>
              <p:cNvSpPr/>
              <p:nvPr/>
            </p:nvSpPr>
            <p:spPr>
              <a:xfrm rot="13924602">
                <a:off x="5135545" y="2717191"/>
                <a:ext cx="2306098" cy="520661"/>
              </a:xfrm>
              <a:prstGeom prst="rect">
                <a:avLst/>
              </a:prstGeom>
              <a:no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4625" lvl="0" algn="r">
                  <a:defRPr/>
                </a:pPr>
                <a:r>
                  <a:rPr lang="en-US" sz="1400" b="1" kern="0" dirty="0" smtClean="0">
                    <a:solidFill>
                      <a:schemeClr val="tx2"/>
                    </a:solidFill>
                    <a:latin typeface="Arial" pitchFamily="34" charset="0"/>
                    <a:cs typeface="Arial" pitchFamily="34" charset="0"/>
                  </a:rPr>
                  <a:t>19 </a:t>
                </a:r>
                <a:r>
                  <a:rPr lang="en-US" sz="1400" b="1" kern="0" dirty="0">
                    <a:solidFill>
                      <a:schemeClr val="tx2"/>
                    </a:solidFill>
                    <a:latin typeface="Arial" pitchFamily="34" charset="0"/>
                    <a:cs typeface="Arial" pitchFamily="34" charset="0"/>
                  </a:rPr>
                  <a:t>September 2013</a:t>
                </a:r>
              </a:p>
            </p:txBody>
          </p:sp>
        </p:grpSp>
        <p:sp>
          <p:nvSpPr>
            <p:cNvPr id="23" name="Rectangle 22"/>
            <p:cNvSpPr/>
            <p:nvPr/>
          </p:nvSpPr>
          <p:spPr>
            <a:xfrm rot="13924602">
              <a:off x="1751514" y="1725835"/>
              <a:ext cx="2496356" cy="2308043"/>
            </a:xfrm>
            <a:prstGeom prst="rect">
              <a:avLst/>
            </a:prstGeom>
            <a:noFill/>
            <a:ln w="12700" cap="flat" cmpd="sng" algn="ctr">
              <a:noFill/>
              <a:prstDash val="solid"/>
            </a:ln>
            <a:effectLst/>
          </p:spPr>
          <p:txBody>
            <a:bodyPr lIns="91440" tIns="0" rIns="91440" bIns="0" rtlCol="0" anchor="t"/>
            <a:lstStyle/>
            <a:p>
              <a:pPr algn="ctr"/>
              <a:r>
                <a:rPr lang="ms-MY" altLang="en-US" sz="1400" dirty="0" smtClean="0">
                  <a:solidFill>
                    <a:schemeClr val="bg2">
                      <a:lumMod val="10000"/>
                    </a:schemeClr>
                  </a:solidFill>
                  <a:latin typeface="Arial" pitchFamily="34" charset="0"/>
                </a:rPr>
                <a:t>Pra-DTF(</a:t>
              </a:r>
              <a:r>
                <a:rPr lang="ms-MY" altLang="en-US" sz="1400" i="1" dirty="0" smtClean="0">
                  <a:solidFill>
                    <a:schemeClr val="bg2">
                      <a:lumMod val="10000"/>
                    </a:schemeClr>
                  </a:solidFill>
                  <a:latin typeface="Arial" pitchFamily="34" charset="0"/>
                </a:rPr>
                <a:t>Pre</a:t>
              </a:r>
              <a:r>
                <a:rPr lang="ms-MY" altLang="en-US" sz="1400" dirty="0" smtClean="0">
                  <a:solidFill>
                    <a:schemeClr val="bg2">
                      <a:lumMod val="10000"/>
                    </a:schemeClr>
                  </a:solidFill>
                  <a:latin typeface="Arial" pitchFamily="34" charset="0"/>
                </a:rPr>
                <a:t>-</a:t>
              </a:r>
              <a:r>
                <a:rPr lang="ms-MY" altLang="en-US" sz="1400" i="1" dirty="0" smtClean="0">
                  <a:solidFill>
                    <a:schemeClr val="bg2">
                      <a:lumMod val="10000"/>
                    </a:schemeClr>
                  </a:solidFill>
                  <a:latin typeface="Arial" pitchFamily="34" charset="0"/>
                </a:rPr>
                <a:t>Delivery Task Force</a:t>
              </a:r>
              <a:r>
                <a:rPr lang="ms-MY" altLang="en-US" sz="1400" dirty="0" smtClean="0">
                  <a:solidFill>
                    <a:schemeClr val="bg2">
                      <a:lumMod val="10000"/>
                    </a:schemeClr>
                  </a:solidFill>
                  <a:latin typeface="Arial" pitchFamily="34" charset="0"/>
                </a:rPr>
                <a:t>) bersetuju bahawa PBPPP kumpulan Pegawai Perkhidmatan Pendidikan (PPP) akan dilaksanakan sepenuhnya bermula pada tahun 2015</a:t>
              </a:r>
              <a:r>
                <a:rPr lang="ms-MY" altLang="en-US" sz="1400" dirty="0" smtClean="0">
                  <a:solidFill>
                    <a:schemeClr val="bg2">
                      <a:lumMod val="10000"/>
                    </a:schemeClr>
                  </a:solidFill>
                  <a:latin typeface="Arial" pitchFamily="34" charset="0"/>
                  <a:cs typeface="Arial" pitchFamily="34" charset="0"/>
                </a:rPr>
                <a:t>.</a:t>
              </a:r>
            </a:p>
          </p:txBody>
        </p:sp>
        <p:sp>
          <p:nvSpPr>
            <p:cNvPr id="24" name="Rectangle 23"/>
            <p:cNvSpPr/>
            <p:nvPr/>
          </p:nvSpPr>
          <p:spPr>
            <a:xfrm rot="13924602">
              <a:off x="788909" y="3456932"/>
              <a:ext cx="2266846" cy="520660"/>
            </a:xfrm>
            <a:prstGeom prst="rect">
              <a:avLst/>
            </a:prstGeom>
            <a:no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4625" marR="0" lvl="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chemeClr val="tx2"/>
                  </a:solidFill>
                  <a:effectLst/>
                  <a:uLnTx/>
                  <a:uFillTx/>
                  <a:latin typeface="Arial" pitchFamily="34" charset="0"/>
                  <a:ea typeface="+mn-ea"/>
                  <a:cs typeface="Arial" pitchFamily="34" charset="0"/>
                </a:rPr>
                <a:t>18</a:t>
              </a:r>
              <a:r>
                <a:rPr kumimoji="0" lang="en-US" sz="1400" b="1" i="0" u="none" strike="noStrike" kern="0" cap="none" spc="0" normalizeH="0" noProof="0" dirty="0" smtClean="0">
                  <a:ln>
                    <a:noFill/>
                  </a:ln>
                  <a:solidFill>
                    <a:schemeClr val="tx2"/>
                  </a:solidFill>
                  <a:effectLst/>
                  <a:uLnTx/>
                  <a:uFillTx/>
                  <a:latin typeface="Arial" pitchFamily="34" charset="0"/>
                  <a:ea typeface="+mn-ea"/>
                  <a:cs typeface="Arial" pitchFamily="34" charset="0"/>
                </a:rPr>
                <a:t> September 2013</a:t>
              </a:r>
              <a:endParaRPr kumimoji="0" lang="en-US" sz="1400" b="1" i="0" u="none" strike="noStrike" kern="0" cap="none" spc="0" normalizeH="0" baseline="0" noProof="0" dirty="0">
                <a:ln>
                  <a:noFill/>
                </a:ln>
                <a:solidFill>
                  <a:schemeClr val="tx2"/>
                </a:solidFill>
                <a:effectLst/>
                <a:uLnTx/>
                <a:uFillTx/>
                <a:latin typeface="Arial" pitchFamily="34" charset="0"/>
                <a:ea typeface="+mn-ea"/>
                <a:cs typeface="Arial"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800" decel="100000"/>
                                        <p:tgtEl>
                                          <p:spTgt spid="2"/>
                                        </p:tgtEl>
                                      </p:cBhvr>
                                    </p:animEffect>
                                    <p:anim calcmode="lin" valueType="num">
                                      <p:cBhvr>
                                        <p:cTn id="8" dur="800" decel="100000" fill="hold"/>
                                        <p:tgtEl>
                                          <p:spTgt spid="2"/>
                                        </p:tgtEl>
                                        <p:attrNameLst>
                                          <p:attrName>style.rotation</p:attrName>
                                        </p:attrNameLst>
                                      </p:cBhvr>
                                      <p:tavLst>
                                        <p:tav tm="0">
                                          <p:val>
                                            <p:fltVal val="-90"/>
                                          </p:val>
                                        </p:tav>
                                        <p:tav tm="100000">
                                          <p:val>
                                            <p:fltVal val="0"/>
                                          </p:val>
                                        </p:tav>
                                      </p:tavLst>
                                    </p:anim>
                                    <p:anim calcmode="lin" valueType="num">
                                      <p:cBhvr>
                                        <p:cTn id="9" dur="800" decel="100000" fill="hold"/>
                                        <p:tgtEl>
                                          <p:spTgt spid="2"/>
                                        </p:tgtEl>
                                        <p:attrNameLst>
                                          <p:attrName>ppt_x</p:attrName>
                                        </p:attrNameLst>
                                      </p:cBhvr>
                                      <p:tavLst>
                                        <p:tav tm="0">
                                          <p:val>
                                            <p:strVal val="#ppt_x+0.4"/>
                                          </p:val>
                                        </p:tav>
                                        <p:tav tm="100000">
                                          <p:val>
                                            <p:strVal val="#ppt_x-0.05"/>
                                          </p:val>
                                        </p:tav>
                                      </p:tavLst>
                                    </p:anim>
                                    <p:anim calcmode="lin" valueType="num">
                                      <p:cBhvr>
                                        <p:cTn id="10" dur="800" decel="100000" fill="hold"/>
                                        <p:tgtEl>
                                          <p:spTgt spid="2"/>
                                        </p:tgtEl>
                                        <p:attrNameLst>
                                          <p:attrName>ppt_y</p:attrName>
                                        </p:attrNameLst>
                                      </p:cBhvr>
                                      <p:tavLst>
                                        <p:tav tm="0">
                                          <p:val>
                                            <p:strVal val="#ppt_y-0.4"/>
                                          </p:val>
                                        </p:tav>
                                        <p:tav tm="100000">
                                          <p:val>
                                            <p:strVal val="#ppt_y+0.1"/>
                                          </p:val>
                                        </p:tav>
                                      </p:tavLst>
                                    </p:anim>
                                    <p:anim calcmode="lin" valueType="num">
                                      <p:cBhvr>
                                        <p:cTn id="11" dur="200" accel="100000" fill="hold">
                                          <p:stCondLst>
                                            <p:cond delay="800"/>
                                          </p:stCondLst>
                                        </p:cTn>
                                        <p:tgtEl>
                                          <p:spTgt spid="2"/>
                                        </p:tgtEl>
                                        <p:attrNameLst>
                                          <p:attrName>ppt_x</p:attrName>
                                        </p:attrNameLst>
                                      </p:cBhvr>
                                      <p:tavLst>
                                        <p:tav tm="0">
                                          <p:val>
                                            <p:strVal val="#ppt_x-0.05"/>
                                          </p:val>
                                        </p:tav>
                                        <p:tav tm="100000">
                                          <p:val>
                                            <p:strVal val="#ppt_x"/>
                                          </p:val>
                                        </p:tav>
                                      </p:tavLst>
                                    </p:anim>
                                    <p:anim calcmode="lin" valueType="num">
                                      <p:cBhvr>
                                        <p:cTn id="12" dur="200" accel="100000" fill="hold">
                                          <p:stCondLst>
                                            <p:cond delay="800"/>
                                          </p:stCondLst>
                                        </p:cTn>
                                        <p:tgtEl>
                                          <p:spTgt spid="2"/>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50</a:t>
            </a:fld>
            <a:endParaRPr lang="en-US"/>
          </a:p>
        </p:txBody>
      </p:sp>
      <p:sp>
        <p:nvSpPr>
          <p:cNvPr id="21" name="Rectangle 20"/>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KONSEP INSTRUMEN</a:t>
            </a:r>
            <a:endParaRPr lang="en-US" sz="2800" b="1" dirty="0">
              <a:solidFill>
                <a:schemeClr val="bg1"/>
              </a:solidFill>
              <a:latin typeface="Segoe UI" pitchFamily="34" charset="0"/>
              <a:ea typeface="Segoe UI" pitchFamily="34" charset="0"/>
              <a:cs typeface="Segoe UI" pitchFamily="34" charset="0"/>
            </a:endParaRPr>
          </a:p>
        </p:txBody>
      </p:sp>
      <p:grpSp>
        <p:nvGrpSpPr>
          <p:cNvPr id="2" name="Group 16"/>
          <p:cNvGrpSpPr/>
          <p:nvPr/>
        </p:nvGrpSpPr>
        <p:grpSpPr>
          <a:xfrm>
            <a:off x="1785918" y="1817265"/>
            <a:ext cx="5214975" cy="4464490"/>
            <a:chOff x="1607845" y="1321964"/>
            <a:chExt cx="5393047" cy="4583101"/>
          </a:xfrm>
        </p:grpSpPr>
        <p:sp>
          <p:nvSpPr>
            <p:cNvPr id="18" name="Oval 3"/>
            <p:cNvSpPr>
              <a:spLocks noChangeAspect="1"/>
            </p:cNvSpPr>
            <p:nvPr/>
          </p:nvSpPr>
          <p:spPr>
            <a:xfrm>
              <a:off x="1607845" y="1321964"/>
              <a:ext cx="5393047" cy="4583101"/>
            </a:xfrm>
            <a:custGeom>
              <a:avLst/>
              <a:gdLst/>
              <a:ahLst/>
              <a:cxnLst/>
              <a:rect l="l" t="t" r="r" b="b"/>
              <a:pathLst>
                <a:path w="5393047" h="4583101">
                  <a:moveTo>
                    <a:pt x="3335647" y="0"/>
                  </a:moveTo>
                  <a:cubicBezTo>
                    <a:pt x="4471918" y="0"/>
                    <a:pt x="5393047" y="921129"/>
                    <a:pt x="5393047" y="2057400"/>
                  </a:cubicBezTo>
                  <a:cubicBezTo>
                    <a:pt x="5393047" y="3193671"/>
                    <a:pt x="4471918" y="4114800"/>
                    <a:pt x="3335647" y="4114800"/>
                  </a:cubicBezTo>
                  <a:cubicBezTo>
                    <a:pt x="2870275" y="4114800"/>
                    <a:pt x="2440991" y="3960290"/>
                    <a:pt x="2097708" y="3697902"/>
                  </a:cubicBezTo>
                  <a:lnTo>
                    <a:pt x="824405" y="4559745"/>
                  </a:lnTo>
                  <a:cubicBezTo>
                    <a:pt x="762284" y="4601792"/>
                    <a:pt x="677838" y="4585519"/>
                    <a:pt x="635790" y="4523397"/>
                  </a:cubicBezTo>
                  <a:lnTo>
                    <a:pt x="23357" y="3618577"/>
                  </a:lnTo>
                  <a:cubicBezTo>
                    <a:pt x="-18691" y="3556455"/>
                    <a:pt x="-2417" y="3472009"/>
                    <a:pt x="59704" y="3429961"/>
                  </a:cubicBezTo>
                  <a:lnTo>
                    <a:pt x="1343010" y="2561348"/>
                  </a:lnTo>
                  <a:cubicBezTo>
                    <a:pt x="1299868" y="2400518"/>
                    <a:pt x="1278247" y="2231484"/>
                    <a:pt x="1278247" y="2057400"/>
                  </a:cubicBezTo>
                  <a:cubicBezTo>
                    <a:pt x="1278247" y="921129"/>
                    <a:pt x="2199376" y="0"/>
                    <a:pt x="3335647" y="0"/>
                  </a:cubicBezTo>
                  <a:close/>
                </a:path>
              </a:pathLst>
            </a:custGeom>
            <a:gradFill>
              <a:gsLst>
                <a:gs pos="0">
                  <a:srgbClr val="0066FF"/>
                </a:gs>
                <a:gs pos="100000">
                  <a:srgbClr val="0047D6"/>
                </a:gs>
              </a:gsLst>
            </a:grad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19" name="TextBox 18"/>
            <p:cNvSpPr txBox="1"/>
            <p:nvPr/>
          </p:nvSpPr>
          <p:spPr>
            <a:xfrm rot="19547041">
              <a:off x="1870795" y="4428515"/>
              <a:ext cx="1789025" cy="710895"/>
            </a:xfrm>
            <a:prstGeom prst="rect">
              <a:avLst/>
            </a:prstGeom>
            <a:noFill/>
          </p:spPr>
          <p:txBody>
            <a:bodyPr wrap="square" lIns="0" tIns="0" rIns="0" bIns="0" rtlCol="0">
              <a:spAutoFit/>
            </a:bodyPr>
            <a:lstStyle/>
            <a:p>
              <a:pPr>
                <a:lnSpc>
                  <a:spcPts val="1800"/>
                </a:lnSpc>
              </a:pPr>
              <a:r>
                <a:rPr lang="en-US" dirty="0" err="1" smtClean="0">
                  <a:latin typeface="Arial" pitchFamily="34" charset="0"/>
                  <a:cs typeface="Arial" pitchFamily="34" charset="0"/>
                </a:rPr>
                <a:t>Menggambarkan</a:t>
              </a:r>
              <a:r>
                <a:rPr lang="en-US" dirty="0" smtClean="0">
                  <a:latin typeface="Arial" pitchFamily="34" charset="0"/>
                  <a:cs typeface="Arial" pitchFamily="34" charset="0"/>
                </a:rPr>
                <a:t> </a:t>
              </a:r>
              <a:r>
                <a:rPr lang="en-US" dirty="0" err="1" smtClean="0">
                  <a:latin typeface="Arial" pitchFamily="34" charset="0"/>
                  <a:cs typeface="Arial" pitchFamily="34" charset="0"/>
                </a:rPr>
                <a:t>konstruk</a:t>
              </a:r>
              <a:r>
                <a:rPr lang="en-US" dirty="0" smtClean="0">
                  <a:latin typeface="Arial" pitchFamily="34" charset="0"/>
                  <a:cs typeface="Arial" pitchFamily="34" charset="0"/>
                </a:rPr>
                <a:t> yang </a:t>
              </a:r>
              <a:r>
                <a:rPr lang="en-US" dirty="0" err="1" smtClean="0">
                  <a:latin typeface="Arial" pitchFamily="34" charset="0"/>
                  <a:cs typeface="Arial" pitchFamily="34" charset="0"/>
                </a:rPr>
                <a:t>hendak</a:t>
              </a:r>
              <a:r>
                <a:rPr lang="en-US" dirty="0" smtClean="0">
                  <a:latin typeface="Arial" pitchFamily="34" charset="0"/>
                  <a:cs typeface="Arial" pitchFamily="34" charset="0"/>
                </a:rPr>
                <a:t> </a:t>
              </a:r>
              <a:r>
                <a:rPr lang="en-US" dirty="0" err="1" smtClean="0">
                  <a:latin typeface="Arial" pitchFamily="34" charset="0"/>
                  <a:cs typeface="Arial" pitchFamily="34" charset="0"/>
                </a:rPr>
                <a:t>dinilai</a:t>
              </a:r>
              <a:endParaRPr lang="en-US" dirty="0" smtClean="0">
                <a:latin typeface="Arial" pitchFamily="34" charset="0"/>
                <a:cs typeface="Arial" pitchFamily="34" charset="0"/>
              </a:endParaRPr>
            </a:p>
          </p:txBody>
        </p:sp>
        <p:sp>
          <p:nvSpPr>
            <p:cNvPr id="20" name="TextBox 19"/>
            <p:cNvSpPr txBox="1"/>
            <p:nvPr/>
          </p:nvSpPr>
          <p:spPr>
            <a:xfrm rot="3925245">
              <a:off x="3216015" y="1537572"/>
              <a:ext cx="3485724" cy="3485724"/>
            </a:xfrm>
            <a:prstGeom prst="rect">
              <a:avLst/>
            </a:prstGeom>
            <a:noFill/>
          </p:spPr>
          <p:txBody>
            <a:bodyPr wrap="none" rtlCol="0">
              <a:prstTxWarp prst="textArchUp">
                <a:avLst>
                  <a:gd name="adj" fmla="val 12415335"/>
                </a:avLst>
              </a:prstTxWarp>
              <a:noAutofit/>
            </a:bodyPr>
            <a:lstStyle/>
            <a:p>
              <a:pPr algn="ctr"/>
              <a:r>
                <a:rPr lang="en-US" sz="3600" b="1" dirty="0" err="1" smtClean="0">
                  <a:solidFill>
                    <a:schemeClr val="bg1"/>
                  </a:solidFill>
                  <a:effectLst>
                    <a:outerShdw blurRad="38100" dist="38100" dir="2700000" algn="tl">
                      <a:srgbClr val="000000">
                        <a:alpha val="43137"/>
                      </a:srgbClr>
                    </a:outerShdw>
                  </a:effectLst>
                  <a:latin typeface="Arial" pitchFamily="34" charset="0"/>
                  <a:cs typeface="Arial" pitchFamily="34" charset="0"/>
                </a:rPr>
                <a:t>Dimensi</a:t>
              </a:r>
              <a:endParaRPr lang="en-US" sz="2400" b="1" dirty="0" smtClean="0">
                <a:solidFill>
                  <a:schemeClr val="bg1"/>
                </a:solidFill>
                <a:effectLst>
                  <a:outerShdw blurRad="38100" dist="38100" dir="2700000" algn="tl">
                    <a:srgbClr val="000000">
                      <a:alpha val="43137"/>
                    </a:srgbClr>
                  </a:outerShdw>
                </a:effectLst>
                <a:latin typeface="Arial" pitchFamily="34" charset="0"/>
                <a:cs typeface="Arial" pitchFamily="34" charset="0"/>
              </a:endParaRPr>
            </a:p>
            <a:p>
              <a:pPr algn="ctr"/>
              <a:endParaRPr lang="en-US" sz="2400" b="1" dirty="0">
                <a:solidFill>
                  <a:schemeClr val="bg1"/>
                </a:solidFill>
              </a:endParaRPr>
            </a:p>
          </p:txBody>
        </p:sp>
      </p:grpSp>
      <p:grpSp>
        <p:nvGrpSpPr>
          <p:cNvPr id="3" name="Group 21"/>
          <p:cNvGrpSpPr/>
          <p:nvPr/>
        </p:nvGrpSpPr>
        <p:grpSpPr>
          <a:xfrm>
            <a:off x="1946414" y="2305086"/>
            <a:ext cx="4608113" cy="3200400"/>
            <a:chOff x="1946413" y="1809786"/>
            <a:chExt cx="4608113" cy="3200400"/>
          </a:xfrm>
        </p:grpSpPr>
        <p:sp>
          <p:nvSpPr>
            <p:cNvPr id="23" name="Oval 5"/>
            <p:cNvSpPr>
              <a:spLocks noChangeAspect="1"/>
            </p:cNvSpPr>
            <p:nvPr/>
          </p:nvSpPr>
          <p:spPr>
            <a:xfrm rot="21076259">
              <a:off x="1946413" y="1809786"/>
              <a:ext cx="4608113" cy="3200400"/>
            </a:xfrm>
            <a:custGeom>
              <a:avLst/>
              <a:gdLst/>
              <a:ahLst/>
              <a:cxnLst/>
              <a:rect l="l" t="t" r="r" b="b"/>
              <a:pathLst>
                <a:path w="4608113" h="3200400">
                  <a:moveTo>
                    <a:pt x="3007913" y="0"/>
                  </a:moveTo>
                  <a:cubicBezTo>
                    <a:pt x="3891679" y="0"/>
                    <a:pt x="4608113" y="716434"/>
                    <a:pt x="4608113" y="1600200"/>
                  </a:cubicBezTo>
                  <a:cubicBezTo>
                    <a:pt x="4608113" y="2483966"/>
                    <a:pt x="3891679" y="3200400"/>
                    <a:pt x="3007913" y="3200400"/>
                  </a:cubicBezTo>
                  <a:cubicBezTo>
                    <a:pt x="2252449" y="3200400"/>
                    <a:pt x="1619258" y="2676885"/>
                    <a:pt x="1453015" y="1972444"/>
                  </a:cubicBezTo>
                  <a:lnTo>
                    <a:pt x="109658" y="1708430"/>
                  </a:lnTo>
                  <a:cubicBezTo>
                    <a:pt x="36052" y="1693964"/>
                    <a:pt x="-11891" y="1622567"/>
                    <a:pt x="2575" y="1548961"/>
                  </a:cubicBezTo>
                  <a:lnTo>
                    <a:pt x="213277" y="476870"/>
                  </a:lnTo>
                  <a:cubicBezTo>
                    <a:pt x="227743" y="403264"/>
                    <a:pt x="299139" y="355322"/>
                    <a:pt x="372745" y="369788"/>
                  </a:cubicBezTo>
                  <a:lnTo>
                    <a:pt x="1732253" y="636976"/>
                  </a:lnTo>
                  <a:cubicBezTo>
                    <a:pt x="2022933" y="249598"/>
                    <a:pt x="2486275" y="0"/>
                    <a:pt x="3007913" y="0"/>
                  </a:cubicBezTo>
                  <a:close/>
                </a:path>
              </a:pathLst>
            </a:custGeom>
            <a:gradFill>
              <a:gsLst>
                <a:gs pos="0">
                  <a:srgbClr val="FF9900"/>
                </a:gs>
                <a:gs pos="100000">
                  <a:srgbClr val="E6AF00"/>
                </a:gs>
              </a:gsLst>
            </a:gradFill>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a:p>
          </p:txBody>
        </p:sp>
        <p:sp>
          <p:nvSpPr>
            <p:cNvPr id="33" name="TextBox 32"/>
            <p:cNvSpPr txBox="1"/>
            <p:nvPr/>
          </p:nvSpPr>
          <p:spPr>
            <a:xfrm rot="180000">
              <a:off x="2028740" y="2760205"/>
              <a:ext cx="1622475" cy="923330"/>
            </a:xfrm>
            <a:prstGeom prst="rect">
              <a:avLst/>
            </a:prstGeom>
            <a:noFill/>
          </p:spPr>
          <p:txBody>
            <a:bodyPr wrap="square" lIns="0" tIns="0" rIns="0" bIns="0" rtlCol="0">
              <a:spAutoFit/>
            </a:bodyPr>
            <a:lstStyle/>
            <a:p>
              <a:pPr algn="ctr">
                <a:lnSpc>
                  <a:spcPts val="1800"/>
                </a:lnSpc>
              </a:pPr>
              <a:r>
                <a:rPr lang="en-US" dirty="0" err="1" smtClean="0">
                  <a:solidFill>
                    <a:schemeClr val="tx1">
                      <a:lumMod val="95000"/>
                      <a:lumOff val="5000"/>
                    </a:schemeClr>
                  </a:solidFill>
                  <a:latin typeface="Arial" pitchFamily="34" charset="0"/>
                  <a:cs typeface="Arial" pitchFamily="34" charset="0"/>
                </a:rPr>
                <a:t>Pembolehubah</a:t>
              </a:r>
              <a:r>
                <a:rPr lang="en-US" dirty="0" smtClean="0">
                  <a:solidFill>
                    <a:schemeClr val="tx1">
                      <a:lumMod val="95000"/>
                      <a:lumOff val="5000"/>
                    </a:schemeClr>
                  </a:solidFill>
                  <a:latin typeface="Arial" pitchFamily="34" charset="0"/>
                  <a:cs typeface="Arial" pitchFamily="34" charset="0"/>
                </a:rPr>
                <a:t> </a:t>
              </a:r>
              <a:r>
                <a:rPr lang="en-US" dirty="0" err="1" smtClean="0">
                  <a:solidFill>
                    <a:schemeClr val="tx1">
                      <a:lumMod val="95000"/>
                      <a:lumOff val="5000"/>
                    </a:schemeClr>
                  </a:solidFill>
                  <a:latin typeface="Arial" pitchFamily="34" charset="0"/>
                  <a:cs typeface="Arial" pitchFamily="34" charset="0"/>
                </a:rPr>
                <a:t>bagi</a:t>
              </a:r>
              <a:r>
                <a:rPr lang="en-US" dirty="0" smtClean="0">
                  <a:solidFill>
                    <a:schemeClr val="tx1">
                      <a:lumMod val="95000"/>
                      <a:lumOff val="5000"/>
                    </a:schemeClr>
                  </a:solidFill>
                  <a:latin typeface="Arial" pitchFamily="34" charset="0"/>
                  <a:cs typeface="Arial" pitchFamily="34" charset="0"/>
                </a:rPr>
                <a:t> </a:t>
              </a:r>
              <a:r>
                <a:rPr lang="en-US" dirty="0" err="1" smtClean="0">
                  <a:solidFill>
                    <a:schemeClr val="tx1">
                      <a:lumMod val="95000"/>
                      <a:lumOff val="5000"/>
                    </a:schemeClr>
                  </a:solidFill>
                  <a:latin typeface="Arial" pitchFamily="34" charset="0"/>
                  <a:cs typeface="Arial" pitchFamily="34" charset="0"/>
                </a:rPr>
                <a:t>sesuatu</a:t>
              </a:r>
              <a:r>
                <a:rPr lang="en-US" dirty="0" smtClean="0">
                  <a:solidFill>
                    <a:schemeClr val="tx1">
                      <a:lumMod val="95000"/>
                      <a:lumOff val="5000"/>
                    </a:schemeClr>
                  </a:solidFill>
                  <a:latin typeface="Arial" pitchFamily="34" charset="0"/>
                  <a:cs typeface="Arial" pitchFamily="34" charset="0"/>
                </a:rPr>
                <a:t> </a:t>
              </a:r>
              <a:r>
                <a:rPr lang="en-US" dirty="0" err="1" smtClean="0">
                  <a:solidFill>
                    <a:schemeClr val="tx1">
                      <a:lumMod val="95000"/>
                      <a:lumOff val="5000"/>
                    </a:schemeClr>
                  </a:solidFill>
                  <a:latin typeface="Arial" pitchFamily="34" charset="0"/>
                  <a:cs typeface="Arial" pitchFamily="34" charset="0"/>
                </a:rPr>
                <a:t>Dimensi</a:t>
              </a:r>
              <a:r>
                <a:rPr lang="en-US" dirty="0" smtClean="0">
                  <a:solidFill>
                    <a:schemeClr val="tx1">
                      <a:lumMod val="95000"/>
                      <a:lumOff val="5000"/>
                    </a:schemeClr>
                  </a:solidFill>
                  <a:latin typeface="Arial" pitchFamily="34" charset="0"/>
                  <a:cs typeface="Arial" pitchFamily="34" charset="0"/>
                </a:rPr>
                <a:t> (</a:t>
              </a:r>
              <a:r>
                <a:rPr lang="en-US" dirty="0" err="1" smtClean="0">
                  <a:solidFill>
                    <a:schemeClr val="tx1">
                      <a:lumMod val="95000"/>
                      <a:lumOff val="5000"/>
                    </a:schemeClr>
                  </a:solidFill>
                  <a:latin typeface="Arial" pitchFamily="34" charset="0"/>
                  <a:cs typeface="Arial" pitchFamily="34" charset="0"/>
                </a:rPr>
                <a:t>Konstruk</a:t>
              </a:r>
              <a:r>
                <a:rPr lang="en-US" dirty="0" smtClean="0">
                  <a:solidFill>
                    <a:schemeClr val="tx1">
                      <a:lumMod val="95000"/>
                      <a:lumOff val="5000"/>
                    </a:schemeClr>
                  </a:solidFill>
                </a:rPr>
                <a:t>)</a:t>
              </a:r>
            </a:p>
          </p:txBody>
        </p:sp>
        <p:sp>
          <p:nvSpPr>
            <p:cNvPr id="34" name="TextBox 33"/>
            <p:cNvSpPr txBox="1"/>
            <p:nvPr/>
          </p:nvSpPr>
          <p:spPr>
            <a:xfrm rot="4010819">
              <a:off x="3568341" y="2001865"/>
              <a:ext cx="2684470" cy="2684470"/>
            </a:xfrm>
            <a:prstGeom prst="rect">
              <a:avLst/>
            </a:prstGeom>
            <a:noFill/>
          </p:spPr>
          <p:txBody>
            <a:bodyPr wrap="none" rtlCol="0">
              <a:prstTxWarp prst="textArchUp">
                <a:avLst>
                  <a:gd name="adj" fmla="val 10994929"/>
                </a:avLst>
              </a:prstTxWarp>
              <a:noAutofit/>
            </a:bodyPr>
            <a:lstStyle/>
            <a:p>
              <a:pPr algn="ctr"/>
              <a:r>
                <a:rPr lang="en-US" sz="3600" b="1" smtClean="0">
                  <a:solidFill>
                    <a:schemeClr val="bg1"/>
                  </a:solidFill>
                  <a:effectLst>
                    <a:outerShdw blurRad="38100" dist="38100" dir="2700000" algn="tl">
                      <a:srgbClr val="000000">
                        <a:alpha val="43137"/>
                      </a:srgbClr>
                    </a:outerShdw>
                  </a:effectLst>
                  <a:latin typeface="Arial" pitchFamily="34" charset="0"/>
                  <a:cs typeface="Arial" pitchFamily="34" charset="0"/>
                </a:rPr>
                <a:t>Elemen</a:t>
              </a:r>
              <a:endParaRPr lang="en-US" sz="3600" b="1" dirty="0">
                <a:solidFill>
                  <a:schemeClr val="bg1"/>
                </a:solidFill>
                <a:effectLst>
                  <a:outerShdw blurRad="38100" dist="38100" dir="2700000" algn="tl">
                    <a:srgbClr val="000000">
                      <a:alpha val="43137"/>
                    </a:srgbClr>
                  </a:outerShdw>
                </a:effectLst>
                <a:latin typeface="Arial" pitchFamily="34" charset="0"/>
                <a:cs typeface="Arial" pitchFamily="34" charset="0"/>
              </a:endParaRPr>
            </a:p>
          </p:txBody>
        </p:sp>
      </p:grpSp>
      <p:grpSp>
        <p:nvGrpSpPr>
          <p:cNvPr id="6" name="Group 34"/>
          <p:cNvGrpSpPr/>
          <p:nvPr/>
        </p:nvGrpSpPr>
        <p:grpSpPr>
          <a:xfrm>
            <a:off x="3388936" y="1352533"/>
            <a:ext cx="2600795" cy="3620551"/>
            <a:chOff x="3388935" y="857232"/>
            <a:chExt cx="2600795" cy="3620551"/>
          </a:xfrm>
        </p:grpSpPr>
        <p:sp>
          <p:nvSpPr>
            <p:cNvPr id="36" name="Oval 4"/>
            <p:cNvSpPr>
              <a:spLocks noChangeAspect="1"/>
            </p:cNvSpPr>
            <p:nvPr/>
          </p:nvSpPr>
          <p:spPr>
            <a:xfrm rot="21076259">
              <a:off x="3388935" y="857232"/>
              <a:ext cx="2600795" cy="3620551"/>
            </a:xfrm>
            <a:custGeom>
              <a:avLst/>
              <a:gdLst/>
              <a:ahLst/>
              <a:cxnLst/>
              <a:rect l="l" t="t" r="r" b="b"/>
              <a:pathLst>
                <a:path w="2600795" h="3620551">
                  <a:moveTo>
                    <a:pt x="1085780" y="47"/>
                  </a:moveTo>
                  <a:cubicBezTo>
                    <a:pt x="1135430" y="1408"/>
                    <a:pt x="1181819" y="31905"/>
                    <a:pt x="1201044" y="81073"/>
                  </a:cubicBezTo>
                  <a:lnTo>
                    <a:pt x="1701600" y="1361231"/>
                  </a:lnTo>
                  <a:cubicBezTo>
                    <a:pt x="2215790" y="1472388"/>
                    <a:pt x="2600795" y="1930008"/>
                    <a:pt x="2600795" y="2477551"/>
                  </a:cubicBezTo>
                  <a:cubicBezTo>
                    <a:pt x="2600795" y="3108812"/>
                    <a:pt x="2089056" y="3620551"/>
                    <a:pt x="1457795" y="3620551"/>
                  </a:cubicBezTo>
                  <a:cubicBezTo>
                    <a:pt x="826534" y="3620551"/>
                    <a:pt x="314795" y="3108812"/>
                    <a:pt x="314795" y="2477551"/>
                  </a:cubicBezTo>
                  <a:cubicBezTo>
                    <a:pt x="314795" y="2239388"/>
                    <a:pt x="387637" y="2018238"/>
                    <a:pt x="512411" y="1835268"/>
                  </a:cubicBezTo>
                  <a:lnTo>
                    <a:pt x="8785" y="547259"/>
                  </a:lnTo>
                  <a:cubicBezTo>
                    <a:pt x="-16848" y="481702"/>
                    <a:pt x="15516" y="407777"/>
                    <a:pt x="81073" y="382143"/>
                  </a:cubicBezTo>
                  <a:lnTo>
                    <a:pt x="1035929" y="8785"/>
                  </a:lnTo>
                  <a:cubicBezTo>
                    <a:pt x="1052318" y="2376"/>
                    <a:pt x="1069230" y="-407"/>
                    <a:pt x="1085780" y="47"/>
                  </a:cubicBezTo>
                  <a:close/>
                </a:path>
              </a:pathLst>
            </a:custGeom>
            <a:gradFill>
              <a:gsLst>
                <a:gs pos="0">
                  <a:srgbClr val="008000"/>
                </a:gs>
                <a:gs pos="100000">
                  <a:srgbClr val="92D050"/>
                </a:gs>
              </a:gsLst>
            </a:gradFill>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37" name="TextBox 36"/>
            <p:cNvSpPr txBox="1"/>
            <p:nvPr/>
          </p:nvSpPr>
          <p:spPr>
            <a:xfrm rot="19821106">
              <a:off x="3490387" y="1191848"/>
              <a:ext cx="1255311" cy="1384995"/>
            </a:xfrm>
            <a:prstGeom prst="rect">
              <a:avLst/>
            </a:prstGeom>
            <a:noFill/>
          </p:spPr>
          <p:txBody>
            <a:bodyPr wrap="square" lIns="0" tIns="0" rIns="0" bIns="0" rtlCol="0">
              <a:spAutoFit/>
            </a:bodyPr>
            <a:lstStyle/>
            <a:p>
              <a:pPr algn="ctr">
                <a:lnSpc>
                  <a:spcPts val="1800"/>
                </a:lnSpc>
              </a:pPr>
              <a:r>
                <a:rPr lang="en-US" sz="1600" dirty="0" err="1" smtClean="0">
                  <a:latin typeface="Arial" pitchFamily="34" charset="0"/>
                  <a:cs typeface="Arial" pitchFamily="34" charset="0"/>
                </a:rPr>
                <a:t>Perincian</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tentang</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perkara</a:t>
              </a:r>
              <a:r>
                <a:rPr lang="en-US" sz="1600" dirty="0" smtClean="0">
                  <a:latin typeface="Arial" pitchFamily="34" charset="0"/>
                  <a:cs typeface="Arial" pitchFamily="34" charset="0"/>
                </a:rPr>
                <a:t> yang </a:t>
              </a:r>
              <a:r>
                <a:rPr lang="en-US" sz="1600" dirty="0" err="1" smtClean="0">
                  <a:latin typeface="Arial" pitchFamily="34" charset="0"/>
                  <a:cs typeface="Arial" pitchFamily="34" charset="0"/>
                </a:rPr>
                <a:t>dinila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dalam</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sesuatu</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elemen</a:t>
              </a:r>
              <a:endParaRPr lang="en-US" sz="1600" dirty="0" smtClean="0">
                <a:latin typeface="Arial" pitchFamily="34" charset="0"/>
                <a:cs typeface="Arial" pitchFamily="34" charset="0"/>
              </a:endParaRPr>
            </a:p>
          </p:txBody>
        </p:sp>
        <p:sp>
          <p:nvSpPr>
            <p:cNvPr id="38" name="TextBox 37"/>
            <p:cNvSpPr txBox="1">
              <a:spLocks noChangeAspect="1"/>
            </p:cNvSpPr>
            <p:nvPr/>
          </p:nvSpPr>
          <p:spPr>
            <a:xfrm rot="3876116">
              <a:off x="4106827" y="2450566"/>
              <a:ext cx="1737360" cy="1737360"/>
            </a:xfrm>
            <a:prstGeom prst="rect">
              <a:avLst/>
            </a:prstGeom>
            <a:noFill/>
          </p:spPr>
          <p:txBody>
            <a:bodyPr wrap="none" rtlCol="0">
              <a:prstTxWarp prst="textArchUp">
                <a:avLst>
                  <a:gd name="adj" fmla="val 9994292"/>
                </a:avLst>
              </a:prstTxWarp>
              <a:noAutofit/>
            </a:bodyPr>
            <a:lstStyle/>
            <a:p>
              <a:pPr algn="ctr"/>
              <a:r>
                <a:rPr lang="en-US" sz="3600" b="1" dirty="0" err="1" smtClean="0">
                  <a:solidFill>
                    <a:schemeClr val="bg1"/>
                  </a:solidFill>
                  <a:effectLst>
                    <a:outerShdw blurRad="38100" dist="38100" dir="2700000" algn="tl">
                      <a:srgbClr val="000000">
                        <a:alpha val="43137"/>
                      </a:srgbClr>
                    </a:outerShdw>
                  </a:effectLst>
                  <a:latin typeface="Arial" pitchFamily="34" charset="0"/>
                  <a:cs typeface="Arial" pitchFamily="34" charset="0"/>
                </a:rPr>
                <a:t>Aspek</a:t>
              </a:r>
              <a:endParaRPr lang="en-US" sz="3600" b="1" dirty="0">
                <a:solidFill>
                  <a:schemeClr val="bg1"/>
                </a:solidFill>
                <a:effectLst>
                  <a:outerShdw blurRad="38100" dist="38100" dir="2700000" algn="tl">
                    <a:srgbClr val="000000">
                      <a:alpha val="43137"/>
                    </a:srgbClr>
                  </a:outerShdw>
                </a:effectLst>
                <a:latin typeface="Arial" pitchFamily="34" charset="0"/>
                <a:cs typeface="Arial"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4)">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55"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strVal val="#ppt_w*0.70"/>
                                          </p:val>
                                        </p:tav>
                                        <p:tav tm="100000">
                                          <p:val>
                                            <p:strVal val="#ppt_w"/>
                                          </p:val>
                                        </p:tav>
                                      </p:tavLst>
                                    </p:anim>
                                    <p:anim calcmode="lin" valueType="num">
                                      <p:cBhvr>
                                        <p:cTn id="13" dur="500" fill="hold"/>
                                        <p:tgtEl>
                                          <p:spTgt spid="3"/>
                                        </p:tgtEl>
                                        <p:attrNameLst>
                                          <p:attrName>ppt_h</p:attrName>
                                        </p:attrNameLst>
                                      </p:cBhvr>
                                      <p:tavLst>
                                        <p:tav tm="0">
                                          <p:val>
                                            <p:strVal val="#ppt_h"/>
                                          </p:val>
                                        </p:tav>
                                        <p:tav tm="100000">
                                          <p:val>
                                            <p:strVal val="#ppt_h"/>
                                          </p:val>
                                        </p:tav>
                                      </p:tavLst>
                                    </p:anim>
                                    <p:animEffect transition="in" filter="fade">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51</a:t>
            </a:fld>
            <a:endParaRPr lang="en-US"/>
          </a:p>
        </p:txBody>
      </p:sp>
      <p:sp>
        <p:nvSpPr>
          <p:cNvPr id="10" name="Rectangle 9"/>
          <p:cNvSpPr/>
          <p:nvPr/>
        </p:nvSpPr>
        <p:spPr>
          <a:xfrm>
            <a:off x="0" y="39482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WAJARAN MARKAH PBPPP</a:t>
            </a:r>
            <a:endParaRPr lang="en-US" sz="2800" b="1" dirty="0">
              <a:solidFill>
                <a:schemeClr val="bg1"/>
              </a:solidFill>
              <a:latin typeface="Segoe UI" pitchFamily="34" charset="0"/>
              <a:ea typeface="Segoe UI" pitchFamily="34" charset="0"/>
              <a:cs typeface="Segoe UI" pitchFamily="34" charset="0"/>
            </a:endParaRPr>
          </a:p>
        </p:txBody>
      </p:sp>
      <p:sp>
        <p:nvSpPr>
          <p:cNvPr id="7" name="Title 1"/>
          <p:cNvSpPr txBox="1">
            <a:spLocks noChangeArrowheads="1"/>
          </p:cNvSpPr>
          <p:nvPr/>
        </p:nvSpPr>
        <p:spPr bwMode="auto">
          <a:xfrm>
            <a:off x="755576" y="5877272"/>
            <a:ext cx="1800200" cy="571500"/>
          </a:xfrm>
          <a:prstGeom prst="rect">
            <a:avLst/>
          </a:prstGeom>
          <a:noFill/>
          <a:ln w="9525">
            <a:noFill/>
            <a:miter lim="800000"/>
            <a:headEnd/>
            <a:tailEnd/>
          </a:ln>
          <a:effectLst>
            <a:glow rad="63500">
              <a:schemeClr val="accent2">
                <a:satMod val="175000"/>
                <a:alpha val="40000"/>
              </a:schemeClr>
            </a:glow>
            <a:reflection blurRad="6350" stA="50000" endA="300" endPos="55500" dist="50800" dir="5400000" sy="-100000" algn="bl" rotWithShape="0"/>
          </a:effectLst>
        </p:spPr>
        <p:txBody>
          <a:bodyPr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r>
              <a:rPr lang="en-US" sz="4800"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Georgia" pitchFamily="18" charset="0"/>
                <a:ea typeface="PMingLiU" pitchFamily="18" charset="-120"/>
              </a:rPr>
              <a:t>90</a:t>
            </a:r>
            <a:r>
              <a:rPr lang="en-US" sz="2800"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Georgia" pitchFamily="18" charset="0"/>
                <a:ea typeface="PMingLiU" pitchFamily="18" charset="-120"/>
              </a:rPr>
              <a:t>%</a:t>
            </a:r>
            <a:endParaRPr lang="en-US" sz="14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Georgia" pitchFamily="18" charset="0"/>
              <a:ea typeface="PMingLiU" pitchFamily="18" charset="-120"/>
            </a:endParaRPr>
          </a:p>
        </p:txBody>
      </p:sp>
      <p:sp>
        <p:nvSpPr>
          <p:cNvPr id="11" name="Title 1"/>
          <p:cNvSpPr txBox="1">
            <a:spLocks noChangeArrowheads="1"/>
          </p:cNvSpPr>
          <p:nvPr/>
        </p:nvSpPr>
        <p:spPr bwMode="auto">
          <a:xfrm>
            <a:off x="5076056" y="5877272"/>
            <a:ext cx="1800200" cy="571500"/>
          </a:xfrm>
          <a:prstGeom prst="rect">
            <a:avLst/>
          </a:prstGeom>
          <a:noFill/>
          <a:ln w="9525">
            <a:noFill/>
            <a:miter lim="800000"/>
            <a:headEnd/>
            <a:tailEnd/>
          </a:ln>
          <a:effectLst>
            <a:glow rad="63500">
              <a:schemeClr val="accent2">
                <a:satMod val="175000"/>
                <a:alpha val="40000"/>
              </a:schemeClr>
            </a:glow>
            <a:reflection blurRad="6350" stA="50000" endA="300" endPos="55500" dist="50800" dir="5400000" sy="-100000" algn="bl" rotWithShape="0"/>
          </a:effectLst>
        </p:spPr>
        <p:txBody>
          <a:bodyPr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r>
              <a:rPr lang="en-US" sz="5400"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Georgia" pitchFamily="18" charset="0"/>
                <a:ea typeface="PMingLiU" pitchFamily="18" charset="-120"/>
              </a:rPr>
              <a:t>10</a:t>
            </a:r>
            <a:r>
              <a:rPr lang="en-US" sz="2800"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Georgia" pitchFamily="18" charset="0"/>
                <a:ea typeface="PMingLiU" pitchFamily="18" charset="-120"/>
              </a:rPr>
              <a:t>%</a:t>
            </a:r>
            <a:endParaRPr lang="en-US" sz="14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Georgia" pitchFamily="18" charset="0"/>
              <a:ea typeface="PMingLiU" pitchFamily="18" charset="-120"/>
            </a:endParaRPr>
          </a:p>
        </p:txBody>
      </p:sp>
      <p:grpSp>
        <p:nvGrpSpPr>
          <p:cNvPr id="2" name="Group 11"/>
          <p:cNvGrpSpPr/>
          <p:nvPr/>
        </p:nvGrpSpPr>
        <p:grpSpPr>
          <a:xfrm>
            <a:off x="179512" y="980728"/>
            <a:ext cx="8964488" cy="5619781"/>
            <a:chOff x="3707904" y="908720"/>
            <a:chExt cx="8964488" cy="5619781"/>
          </a:xfrm>
        </p:grpSpPr>
        <p:grpSp>
          <p:nvGrpSpPr>
            <p:cNvPr id="3" name="Group 48"/>
            <p:cNvGrpSpPr/>
            <p:nvPr/>
          </p:nvGrpSpPr>
          <p:grpSpPr>
            <a:xfrm>
              <a:off x="3707904" y="908720"/>
              <a:ext cx="8964488" cy="5619781"/>
              <a:chOff x="0" y="908720"/>
              <a:chExt cx="8964488" cy="5619781"/>
            </a:xfrm>
          </p:grpSpPr>
          <p:pic>
            <p:nvPicPr>
              <p:cNvPr id="15" name="Picture 28" descr="W:\temp\ling\ppt\new_layout\cir06.png"/>
              <p:cNvPicPr>
                <a:picLocks noChangeAspect="1" noChangeArrowheads="1"/>
              </p:cNvPicPr>
              <p:nvPr/>
            </p:nvPicPr>
            <p:blipFill>
              <a:blip r:embed="rId3" cstate="print">
                <a:duotone>
                  <a:prstClr val="black"/>
                  <a:schemeClr val="accent3">
                    <a:tint val="45000"/>
                    <a:satMod val="400000"/>
                  </a:schemeClr>
                </a:duotone>
              </a:blip>
              <a:srcRect/>
              <a:stretch>
                <a:fillRect/>
              </a:stretch>
            </p:blipFill>
            <p:spPr bwMode="auto">
              <a:xfrm>
                <a:off x="5885541" y="1915217"/>
                <a:ext cx="2643718" cy="2638980"/>
              </a:xfrm>
              <a:prstGeom prst="rect">
                <a:avLst/>
              </a:prstGeom>
              <a:noFill/>
              <a:ln w="9525">
                <a:noFill/>
                <a:miter lim="800000"/>
                <a:headEnd/>
                <a:tailEnd/>
              </a:ln>
            </p:spPr>
          </p:pic>
          <p:pic>
            <p:nvPicPr>
              <p:cNvPr id="16" name="Picture 8" descr="st_043"/>
              <p:cNvPicPr>
                <a:picLocks noChangeAspect="1" noChangeArrowheads="1"/>
              </p:cNvPicPr>
              <p:nvPr/>
            </p:nvPicPr>
            <p:blipFill>
              <a:blip r:embed="rId4" cstate="print">
                <a:duotone>
                  <a:prstClr val="black"/>
                  <a:srgbClr val="FF0000">
                    <a:tint val="45000"/>
                    <a:satMod val="400000"/>
                  </a:srgbClr>
                </a:duotone>
              </a:blip>
              <a:srcRect/>
              <a:stretch>
                <a:fillRect/>
              </a:stretch>
            </p:blipFill>
            <p:spPr bwMode="auto">
              <a:xfrm>
                <a:off x="6028417" y="3915481"/>
                <a:ext cx="2928958" cy="2136775"/>
              </a:xfrm>
              <a:prstGeom prst="rect">
                <a:avLst/>
              </a:prstGeom>
              <a:noFill/>
              <a:ln w="9525">
                <a:noFill/>
                <a:miter lim="800000"/>
                <a:headEnd/>
                <a:tailEnd/>
              </a:ln>
            </p:spPr>
          </p:pic>
          <p:sp>
            <p:nvSpPr>
              <p:cNvPr id="17" name="Content Placeholder 2"/>
              <p:cNvSpPr txBox="1">
                <a:spLocks noChangeArrowheads="1"/>
              </p:cNvSpPr>
              <p:nvPr/>
            </p:nvSpPr>
            <p:spPr bwMode="auto">
              <a:xfrm>
                <a:off x="5956979" y="2551790"/>
                <a:ext cx="2643206" cy="533400"/>
              </a:xfrm>
              <a:prstGeom prst="rect">
                <a:avLst/>
              </a:prstGeom>
              <a:noFill/>
              <a:ln w="9525">
                <a:noFill/>
                <a:miter lim="800000"/>
                <a:headEnd/>
                <a:tailEnd/>
              </a:ln>
            </p:spPr>
            <p:txBody>
              <a:bodyPr/>
              <a:lstStyle/>
              <a:p>
                <a:pPr algn="ctr"/>
                <a:r>
                  <a:rPr lang="en-US" sz="3200" b="1" dirty="0" err="1" smtClean="0">
                    <a:solidFill>
                      <a:srgbClr val="FFFF00"/>
                    </a:solidFill>
                    <a:effectLst>
                      <a:outerShdw blurRad="38100" dist="38100" dir="2700000" algn="tl">
                        <a:srgbClr val="000000">
                          <a:alpha val="43137"/>
                        </a:srgbClr>
                      </a:outerShdw>
                    </a:effectLst>
                    <a:ea typeface="PMingLiU" pitchFamily="18" charset="-120"/>
                  </a:rPr>
                  <a:t>Keberhasilan</a:t>
                </a:r>
                <a:endParaRPr lang="en-US" sz="3200" b="1" dirty="0">
                  <a:solidFill>
                    <a:srgbClr val="FFFF00"/>
                  </a:solidFill>
                  <a:effectLst>
                    <a:outerShdw blurRad="38100" dist="38100" dir="2700000" algn="tl">
                      <a:srgbClr val="000000">
                        <a:alpha val="43137"/>
                      </a:srgbClr>
                    </a:outerShdw>
                  </a:effectLst>
                  <a:ea typeface="PMingLiU" pitchFamily="18" charset="-120"/>
                </a:endParaRPr>
              </a:p>
            </p:txBody>
          </p:sp>
          <p:pic>
            <p:nvPicPr>
              <p:cNvPr id="18" name="Picture 28" descr="D:\goanimate\ppt\new_layout\cir08.png"/>
              <p:cNvPicPr>
                <a:picLocks noChangeAspect="1" noChangeArrowheads="1"/>
              </p:cNvPicPr>
              <p:nvPr/>
            </p:nvPicPr>
            <p:blipFill>
              <a:blip r:embed="rId5" cstate="print">
                <a:duotone>
                  <a:prstClr val="black"/>
                  <a:schemeClr val="accent4">
                    <a:tint val="45000"/>
                    <a:satMod val="400000"/>
                  </a:schemeClr>
                </a:duotone>
              </a:blip>
              <a:srcRect/>
              <a:stretch>
                <a:fillRect/>
              </a:stretch>
            </p:blipFill>
            <p:spPr bwMode="auto">
              <a:xfrm>
                <a:off x="116566" y="1888198"/>
                <a:ext cx="2181495" cy="2357454"/>
              </a:xfrm>
              <a:prstGeom prst="rect">
                <a:avLst/>
              </a:prstGeom>
              <a:noFill/>
              <a:ln w="9525">
                <a:noFill/>
                <a:miter lim="800000"/>
                <a:headEnd/>
                <a:tailEnd/>
              </a:ln>
            </p:spPr>
          </p:pic>
          <p:pic>
            <p:nvPicPr>
              <p:cNvPr id="19" name="Picture 28" descr="D:\goanimate\ppt\new_layout\cir08.png"/>
              <p:cNvPicPr>
                <a:picLocks noChangeAspect="1" noChangeArrowheads="1"/>
              </p:cNvPicPr>
              <p:nvPr/>
            </p:nvPicPr>
            <p:blipFill>
              <a:blip r:embed="rId5" cstate="print"/>
              <a:srcRect/>
              <a:stretch>
                <a:fillRect/>
              </a:stretch>
            </p:blipFill>
            <p:spPr bwMode="auto">
              <a:xfrm>
                <a:off x="1504790" y="908720"/>
                <a:ext cx="2015482" cy="2178050"/>
              </a:xfrm>
              <a:prstGeom prst="rect">
                <a:avLst/>
              </a:prstGeom>
              <a:noFill/>
              <a:ln w="9525">
                <a:noFill/>
                <a:miter lim="800000"/>
                <a:headEnd/>
                <a:tailEnd/>
              </a:ln>
            </p:spPr>
          </p:pic>
          <p:pic>
            <p:nvPicPr>
              <p:cNvPr id="20" name="Picture 27" descr="D:\goanimate\ppt\new_layout\cir07.png"/>
              <p:cNvPicPr>
                <a:picLocks noChangeAspect="1" noChangeArrowheads="1"/>
              </p:cNvPicPr>
              <p:nvPr/>
            </p:nvPicPr>
            <p:blipFill>
              <a:blip r:embed="rId6" cstate="print"/>
              <a:srcRect/>
              <a:stretch>
                <a:fillRect/>
              </a:stretch>
            </p:blipFill>
            <p:spPr bwMode="auto">
              <a:xfrm>
                <a:off x="3091321" y="1650082"/>
                <a:ext cx="2188825" cy="2365375"/>
              </a:xfrm>
              <a:prstGeom prst="rect">
                <a:avLst/>
              </a:prstGeom>
              <a:noFill/>
              <a:ln w="9525">
                <a:noFill/>
                <a:miter lim="800000"/>
                <a:headEnd/>
                <a:tailEnd/>
              </a:ln>
            </p:spPr>
          </p:pic>
          <p:sp>
            <p:nvSpPr>
              <p:cNvPr id="21" name="Title 1"/>
              <p:cNvSpPr txBox="1">
                <a:spLocks noChangeArrowheads="1"/>
              </p:cNvSpPr>
              <p:nvPr/>
            </p:nvSpPr>
            <p:spPr bwMode="auto">
              <a:xfrm rot="2314560">
                <a:off x="3763531" y="2361061"/>
                <a:ext cx="1547982" cy="501650"/>
              </a:xfrm>
              <a:prstGeom prst="rect">
                <a:avLst/>
              </a:prstGeom>
              <a:noFill/>
              <a:ln w="9525">
                <a:noFill/>
                <a:miter lim="800000"/>
                <a:headEnd/>
                <a:tailEnd/>
              </a:ln>
            </p:spPr>
            <p:txBody>
              <a:bodyPr anchor="ctr"/>
              <a:lstStyle/>
              <a:p>
                <a:r>
                  <a:rPr lang="en-US" sz="4400" b="1" smtClean="0">
                    <a:solidFill>
                      <a:schemeClr val="bg2"/>
                    </a:solidFill>
                    <a:effectLst>
                      <a:outerShdw blurRad="38100" dist="38100" dir="2700000" algn="tl">
                        <a:srgbClr val="000000">
                          <a:alpha val="43137"/>
                        </a:srgbClr>
                      </a:outerShdw>
                    </a:effectLst>
                    <a:latin typeface="Georgia" pitchFamily="18" charset="0"/>
                    <a:ea typeface="PMingLiU" pitchFamily="18" charset="-120"/>
                  </a:rPr>
                  <a:t>10%</a:t>
                </a:r>
                <a:endParaRPr lang="en-US" sz="1400">
                  <a:effectLst>
                    <a:outerShdw blurRad="38100" dist="38100" dir="2700000" algn="tl">
                      <a:srgbClr val="000000">
                        <a:alpha val="43137"/>
                      </a:srgbClr>
                    </a:outerShdw>
                  </a:effectLst>
                  <a:latin typeface="Calibri" pitchFamily="34" charset="0"/>
                  <a:ea typeface="PMingLiU" pitchFamily="18" charset="-120"/>
                </a:endParaRPr>
              </a:p>
            </p:txBody>
          </p:sp>
          <p:sp>
            <p:nvSpPr>
              <p:cNvPr id="22" name="Title 1"/>
              <p:cNvSpPr txBox="1">
                <a:spLocks noChangeArrowheads="1"/>
              </p:cNvSpPr>
              <p:nvPr/>
            </p:nvSpPr>
            <p:spPr bwMode="auto">
              <a:xfrm rot="20760000">
                <a:off x="1821551" y="1297868"/>
                <a:ext cx="1563681" cy="600105"/>
              </a:xfrm>
              <a:prstGeom prst="rect">
                <a:avLst/>
              </a:prstGeom>
              <a:noFill/>
              <a:ln w="9525">
                <a:noFill/>
                <a:miter lim="800000"/>
                <a:headEnd/>
                <a:tailEnd/>
              </a:ln>
            </p:spPr>
            <p:txBody>
              <a:bodyPr anchor="ctr"/>
              <a:lstStyle/>
              <a:p>
                <a:r>
                  <a:rPr lang="en-US" sz="4400" b="1" smtClean="0">
                    <a:solidFill>
                      <a:schemeClr val="bg2"/>
                    </a:solidFill>
                    <a:effectLst>
                      <a:outerShdw blurRad="38100" dist="38100" dir="2700000" algn="tl">
                        <a:srgbClr val="000000">
                          <a:alpha val="43137"/>
                        </a:srgbClr>
                      </a:outerShdw>
                    </a:effectLst>
                    <a:latin typeface="Georgia" pitchFamily="18" charset="0"/>
                    <a:ea typeface="PMingLiU" pitchFamily="18" charset="-120"/>
                  </a:rPr>
                  <a:t>10%</a:t>
                </a:r>
                <a:endParaRPr lang="en-US" sz="1400">
                  <a:effectLst>
                    <a:outerShdw blurRad="38100" dist="38100" dir="2700000" algn="tl">
                      <a:srgbClr val="000000">
                        <a:alpha val="43137"/>
                      </a:srgbClr>
                    </a:outerShdw>
                  </a:effectLst>
                  <a:latin typeface="Calibri" pitchFamily="34" charset="0"/>
                  <a:ea typeface="PMingLiU" pitchFamily="18" charset="-120"/>
                </a:endParaRPr>
              </a:p>
            </p:txBody>
          </p:sp>
          <p:sp>
            <p:nvSpPr>
              <p:cNvPr id="23" name="Content Placeholder 2"/>
              <p:cNvSpPr txBox="1">
                <a:spLocks noChangeArrowheads="1"/>
              </p:cNvSpPr>
              <p:nvPr/>
            </p:nvSpPr>
            <p:spPr bwMode="auto">
              <a:xfrm rot="20671309">
                <a:off x="1312298" y="1871122"/>
                <a:ext cx="2466599" cy="533400"/>
              </a:xfrm>
              <a:prstGeom prst="rect">
                <a:avLst/>
              </a:prstGeom>
              <a:noFill/>
              <a:ln w="9525">
                <a:noFill/>
                <a:miter lim="800000"/>
                <a:headEnd/>
                <a:tailEnd/>
              </a:ln>
            </p:spPr>
            <p:txBody>
              <a:bodyPr/>
              <a:lstStyle/>
              <a:p>
                <a:pPr algn="ctr"/>
                <a:r>
                  <a:rPr lang="en-US" sz="1600" b="1" smtClean="0">
                    <a:solidFill>
                      <a:srgbClr val="FFFF00"/>
                    </a:solidFill>
                    <a:effectLst>
                      <a:outerShdw blurRad="38100" dist="38100" dir="2700000" algn="tl">
                        <a:srgbClr val="000000">
                          <a:alpha val="43137"/>
                        </a:srgbClr>
                      </a:outerShdw>
                    </a:effectLst>
                    <a:latin typeface="Arial" pitchFamily="34" charset="0"/>
                    <a:ea typeface="PMingLiU" pitchFamily="18" charset="-120"/>
                    <a:cs typeface="Arial" pitchFamily="34" charset="0"/>
                  </a:rPr>
                  <a:t>Tugasan  Tambahan</a:t>
                </a:r>
                <a:endParaRPr lang="en-US" sz="1600" b="1">
                  <a:solidFill>
                    <a:srgbClr val="FFFF00"/>
                  </a:solidFill>
                  <a:effectLst>
                    <a:outerShdw blurRad="38100" dist="38100" dir="2700000" algn="tl">
                      <a:srgbClr val="000000">
                        <a:alpha val="43137"/>
                      </a:srgbClr>
                    </a:outerShdw>
                  </a:effectLst>
                  <a:latin typeface="Arial" pitchFamily="34" charset="0"/>
                  <a:ea typeface="PMingLiU" pitchFamily="18" charset="-120"/>
                  <a:cs typeface="Arial" pitchFamily="34" charset="0"/>
                </a:endParaRPr>
              </a:p>
            </p:txBody>
          </p:sp>
          <p:sp>
            <p:nvSpPr>
              <p:cNvPr id="24" name="Content Placeholder 2"/>
              <p:cNvSpPr txBox="1">
                <a:spLocks noChangeArrowheads="1"/>
              </p:cNvSpPr>
              <p:nvPr/>
            </p:nvSpPr>
            <p:spPr bwMode="auto">
              <a:xfrm rot="2687979">
                <a:off x="3320214" y="2663684"/>
                <a:ext cx="1551275" cy="533400"/>
              </a:xfrm>
              <a:prstGeom prst="rect">
                <a:avLst/>
              </a:prstGeom>
              <a:noFill/>
              <a:ln w="9525">
                <a:noFill/>
                <a:miter lim="800000"/>
                <a:headEnd/>
                <a:tailEnd/>
              </a:ln>
            </p:spPr>
            <p:txBody>
              <a:bodyPr/>
              <a:lstStyle/>
              <a:p>
                <a:pPr algn="ctr"/>
                <a:r>
                  <a:rPr lang="en-US" b="1" dirty="0" err="1" smtClean="0">
                    <a:solidFill>
                      <a:srgbClr val="FFFF00"/>
                    </a:solidFill>
                    <a:effectLst>
                      <a:outerShdw blurRad="38100" dist="38100" dir="2700000" algn="tl">
                        <a:srgbClr val="000000">
                          <a:alpha val="43137"/>
                        </a:srgbClr>
                      </a:outerShdw>
                    </a:effectLst>
                    <a:latin typeface="Arial" pitchFamily="34" charset="0"/>
                    <a:ea typeface="PMingLiU" pitchFamily="18" charset="-120"/>
                    <a:cs typeface="Arial" pitchFamily="34" charset="0"/>
                  </a:rPr>
                  <a:t>Penglibatan</a:t>
                </a:r>
                <a:endParaRPr lang="en-US" b="1" dirty="0">
                  <a:solidFill>
                    <a:srgbClr val="FFFF00"/>
                  </a:solidFill>
                  <a:effectLst>
                    <a:outerShdw blurRad="38100" dist="38100" dir="2700000" algn="tl">
                      <a:srgbClr val="000000">
                        <a:alpha val="43137"/>
                      </a:srgbClr>
                    </a:outerShdw>
                  </a:effectLst>
                  <a:latin typeface="Arial" pitchFamily="34" charset="0"/>
                  <a:ea typeface="PMingLiU" pitchFamily="18" charset="-120"/>
                  <a:cs typeface="Arial" pitchFamily="34" charset="0"/>
                </a:endParaRPr>
              </a:p>
            </p:txBody>
          </p:sp>
          <p:pic>
            <p:nvPicPr>
              <p:cNvPr id="25" name="Picture 28" descr="W:\temp\ling\ppt\new_layout\cir06.png"/>
              <p:cNvPicPr>
                <a:picLocks noChangeAspect="1" noChangeArrowheads="1"/>
              </p:cNvPicPr>
              <p:nvPr/>
            </p:nvPicPr>
            <p:blipFill>
              <a:blip r:embed="rId3" cstate="print"/>
              <a:srcRect/>
              <a:stretch>
                <a:fillRect/>
              </a:stretch>
            </p:blipFill>
            <p:spPr bwMode="auto">
              <a:xfrm>
                <a:off x="1643042" y="2266042"/>
                <a:ext cx="2459123" cy="2357454"/>
              </a:xfrm>
              <a:prstGeom prst="rect">
                <a:avLst/>
              </a:prstGeom>
              <a:noFill/>
              <a:ln w="9525">
                <a:noFill/>
                <a:miter lim="800000"/>
                <a:headEnd/>
                <a:tailEnd/>
              </a:ln>
            </p:spPr>
          </p:pic>
          <p:sp>
            <p:nvSpPr>
              <p:cNvPr id="26" name="Title 1"/>
              <p:cNvSpPr txBox="1">
                <a:spLocks noChangeArrowheads="1"/>
              </p:cNvSpPr>
              <p:nvPr/>
            </p:nvSpPr>
            <p:spPr bwMode="auto">
              <a:xfrm>
                <a:off x="2107062" y="3031206"/>
                <a:ext cx="1770149" cy="500062"/>
              </a:xfrm>
              <a:prstGeom prst="rect">
                <a:avLst/>
              </a:prstGeom>
              <a:noFill/>
              <a:ln w="9525">
                <a:noFill/>
                <a:miter lim="800000"/>
                <a:headEnd/>
                <a:tailEnd/>
              </a:ln>
            </p:spPr>
            <p:txBody>
              <a:bodyPr anchor="ctr"/>
              <a:lstStyle/>
              <a:p>
                <a:r>
                  <a:rPr lang="en-US" sz="4800" b="1" dirty="0" smtClean="0">
                    <a:solidFill>
                      <a:schemeClr val="bg2"/>
                    </a:solidFill>
                    <a:effectLst>
                      <a:outerShdw blurRad="38100" dist="38100" dir="2700000" algn="tl">
                        <a:srgbClr val="000000">
                          <a:alpha val="43137"/>
                        </a:srgbClr>
                      </a:outerShdw>
                    </a:effectLst>
                    <a:latin typeface="Georgia" pitchFamily="18" charset="0"/>
                    <a:ea typeface="PMingLiU" pitchFamily="18" charset="-120"/>
                  </a:rPr>
                  <a:t>60%</a:t>
                </a:r>
                <a:endParaRPr lang="en-US" b="1" dirty="0">
                  <a:solidFill>
                    <a:schemeClr val="bg2"/>
                  </a:solidFill>
                  <a:effectLst>
                    <a:outerShdw blurRad="38100" dist="38100" dir="2700000" algn="tl">
                      <a:srgbClr val="000000">
                        <a:alpha val="43137"/>
                      </a:srgbClr>
                    </a:outerShdw>
                  </a:effectLst>
                  <a:latin typeface="Georgia" pitchFamily="18" charset="0"/>
                  <a:ea typeface="PMingLiU" pitchFamily="18" charset="-120"/>
                </a:endParaRPr>
              </a:p>
            </p:txBody>
          </p:sp>
          <p:pic>
            <p:nvPicPr>
              <p:cNvPr id="27" name="Picture 8" descr="st_043"/>
              <p:cNvPicPr>
                <a:picLocks noChangeAspect="1" noChangeArrowheads="1"/>
              </p:cNvPicPr>
              <p:nvPr/>
            </p:nvPicPr>
            <p:blipFill>
              <a:blip r:embed="rId4" cstate="print"/>
              <a:srcRect/>
              <a:stretch>
                <a:fillRect/>
              </a:stretch>
            </p:blipFill>
            <p:spPr bwMode="auto">
              <a:xfrm flipH="1">
                <a:off x="1071536" y="3766240"/>
                <a:ext cx="3143273" cy="2214578"/>
              </a:xfrm>
              <a:prstGeom prst="rect">
                <a:avLst/>
              </a:prstGeom>
              <a:noFill/>
              <a:ln w="9525">
                <a:noFill/>
                <a:miter lim="800000"/>
                <a:headEnd/>
                <a:tailEnd/>
              </a:ln>
            </p:spPr>
          </p:pic>
          <p:sp>
            <p:nvSpPr>
              <p:cNvPr id="28" name="Title 1"/>
              <p:cNvSpPr txBox="1">
                <a:spLocks noChangeArrowheads="1"/>
              </p:cNvSpPr>
              <p:nvPr/>
            </p:nvSpPr>
            <p:spPr bwMode="auto">
              <a:xfrm rot="19606403">
                <a:off x="262284" y="2500809"/>
                <a:ext cx="1870500" cy="501650"/>
              </a:xfrm>
              <a:prstGeom prst="rect">
                <a:avLst/>
              </a:prstGeom>
              <a:noFill/>
              <a:ln w="9525">
                <a:noFill/>
                <a:miter lim="800000"/>
                <a:headEnd/>
                <a:tailEnd/>
              </a:ln>
            </p:spPr>
            <p:txBody>
              <a:bodyPr anchor="ctr"/>
              <a:lstStyle/>
              <a:p>
                <a:r>
                  <a:rPr lang="en-US" sz="4400" b="1" dirty="0" smtClean="0">
                    <a:solidFill>
                      <a:schemeClr val="bg2"/>
                    </a:solidFill>
                    <a:effectLst>
                      <a:outerShdw blurRad="38100" dist="38100" dir="2700000" algn="tl">
                        <a:srgbClr val="000000">
                          <a:alpha val="43137"/>
                        </a:srgbClr>
                      </a:outerShdw>
                    </a:effectLst>
                    <a:latin typeface="Georgia" pitchFamily="18" charset="0"/>
                    <a:ea typeface="PMingLiU" pitchFamily="18" charset="-120"/>
                  </a:rPr>
                  <a:t>20%</a:t>
                </a:r>
                <a:endParaRPr lang="en-US" sz="1400" dirty="0">
                  <a:effectLst>
                    <a:outerShdw blurRad="38100" dist="38100" dir="2700000" algn="tl">
                      <a:srgbClr val="000000">
                        <a:alpha val="43137"/>
                      </a:srgbClr>
                    </a:outerShdw>
                  </a:effectLst>
                  <a:latin typeface="Calibri" pitchFamily="34" charset="0"/>
                  <a:ea typeface="PMingLiU" pitchFamily="18" charset="-120"/>
                </a:endParaRPr>
              </a:p>
            </p:txBody>
          </p:sp>
          <p:sp>
            <p:nvSpPr>
              <p:cNvPr id="29" name="Content Placeholder 2"/>
              <p:cNvSpPr txBox="1">
                <a:spLocks noChangeArrowheads="1"/>
              </p:cNvSpPr>
              <p:nvPr/>
            </p:nvSpPr>
            <p:spPr bwMode="auto">
              <a:xfrm rot="19493846">
                <a:off x="233149" y="3215982"/>
                <a:ext cx="1841665" cy="533400"/>
              </a:xfrm>
              <a:prstGeom prst="rect">
                <a:avLst/>
              </a:prstGeom>
              <a:noFill/>
              <a:ln w="9525">
                <a:noFill/>
                <a:miter lim="800000"/>
                <a:headEnd/>
                <a:tailEnd/>
              </a:ln>
            </p:spPr>
            <p:txBody>
              <a:bodyPr/>
              <a:lstStyle/>
              <a:p>
                <a:pPr algn="ctr"/>
                <a:r>
                  <a:rPr lang="en-US" sz="1600" b="1" smtClean="0">
                    <a:solidFill>
                      <a:srgbClr val="FFFF00"/>
                    </a:solidFill>
                    <a:effectLst>
                      <a:outerShdw blurRad="38100" dist="38100" dir="2700000" algn="tl">
                        <a:srgbClr val="000000">
                          <a:alpha val="43137"/>
                        </a:srgbClr>
                      </a:outerShdw>
                    </a:effectLst>
                    <a:latin typeface="Arial" pitchFamily="34" charset="0"/>
                    <a:ea typeface="PMingLiU" pitchFamily="18" charset="-120"/>
                    <a:cs typeface="Arial" pitchFamily="34" charset="0"/>
                  </a:rPr>
                  <a:t>Profesionalisme</a:t>
                </a:r>
                <a:endParaRPr lang="en-US" sz="1600" b="1">
                  <a:solidFill>
                    <a:srgbClr val="FFFF00"/>
                  </a:solidFill>
                  <a:effectLst>
                    <a:outerShdw blurRad="38100" dist="38100" dir="2700000" algn="tl">
                      <a:srgbClr val="000000">
                        <a:alpha val="43137"/>
                      </a:srgbClr>
                    </a:outerShdw>
                  </a:effectLst>
                  <a:latin typeface="Arial" pitchFamily="34" charset="0"/>
                  <a:ea typeface="PMingLiU" pitchFamily="18" charset="-120"/>
                  <a:cs typeface="Arial" pitchFamily="34" charset="0"/>
                </a:endParaRPr>
              </a:p>
            </p:txBody>
          </p:sp>
          <p:sp>
            <p:nvSpPr>
              <p:cNvPr id="30" name="Title 1"/>
              <p:cNvSpPr txBox="1">
                <a:spLocks noChangeArrowheads="1"/>
              </p:cNvSpPr>
              <p:nvPr/>
            </p:nvSpPr>
            <p:spPr bwMode="auto">
              <a:xfrm>
                <a:off x="1776533" y="2459702"/>
                <a:ext cx="2034572" cy="500062"/>
              </a:xfrm>
              <a:prstGeom prst="rect">
                <a:avLst/>
              </a:prstGeom>
              <a:noFill/>
              <a:ln w="9525">
                <a:noFill/>
                <a:miter lim="800000"/>
                <a:headEnd/>
                <a:tailEnd/>
              </a:ln>
            </p:spPr>
            <p:txBody>
              <a:bodyPr anchor="ctr"/>
              <a:lstStyle/>
              <a:p>
                <a:pPr algn="ctr"/>
                <a:r>
                  <a:rPr lang="en-US" sz="3600" b="1" dirty="0" smtClean="0">
                    <a:effectLst>
                      <a:outerShdw blurRad="38100" dist="38100" dir="2700000" algn="tl">
                        <a:srgbClr val="000000">
                          <a:alpha val="43137"/>
                        </a:srgbClr>
                      </a:outerShdw>
                    </a:effectLst>
                    <a:latin typeface="Georgia" pitchFamily="18" charset="0"/>
                    <a:ea typeface="PMingLiU" pitchFamily="18" charset="-120"/>
                  </a:rPr>
                  <a:t>D4</a:t>
                </a:r>
                <a:endParaRPr lang="en-US" sz="1200" b="1" dirty="0">
                  <a:effectLst>
                    <a:outerShdw blurRad="38100" dist="38100" dir="2700000" algn="tl">
                      <a:srgbClr val="000000">
                        <a:alpha val="43137"/>
                      </a:srgbClr>
                    </a:outerShdw>
                  </a:effectLst>
                  <a:latin typeface="Georgia" pitchFamily="18" charset="0"/>
                  <a:ea typeface="PMingLiU" pitchFamily="18" charset="-120"/>
                </a:endParaRPr>
              </a:p>
            </p:txBody>
          </p:sp>
          <p:sp>
            <p:nvSpPr>
              <p:cNvPr id="31" name="Title 1"/>
              <p:cNvSpPr txBox="1">
                <a:spLocks noChangeArrowheads="1"/>
              </p:cNvSpPr>
              <p:nvPr/>
            </p:nvSpPr>
            <p:spPr bwMode="auto">
              <a:xfrm rot="19768978">
                <a:off x="0" y="2204774"/>
                <a:ext cx="1576089" cy="500062"/>
              </a:xfrm>
              <a:prstGeom prst="rect">
                <a:avLst/>
              </a:prstGeom>
              <a:noFill/>
              <a:ln w="9525">
                <a:noFill/>
                <a:miter lim="800000"/>
                <a:headEnd/>
                <a:tailEnd/>
              </a:ln>
            </p:spPr>
            <p:txBody>
              <a:bodyPr anchor="ctr"/>
              <a:lstStyle/>
              <a:p>
                <a:pPr algn="ctr"/>
                <a:r>
                  <a:rPr lang="en-US" sz="3600" b="1" smtClean="0">
                    <a:effectLst>
                      <a:outerShdw blurRad="38100" dist="38100" dir="2700000" algn="tl">
                        <a:srgbClr val="000000">
                          <a:alpha val="43137"/>
                        </a:srgbClr>
                      </a:outerShdw>
                    </a:effectLst>
                    <a:latin typeface="Georgia" pitchFamily="18" charset="0"/>
                    <a:ea typeface="PMingLiU" pitchFamily="18" charset="-120"/>
                  </a:rPr>
                  <a:t>D1</a:t>
                </a:r>
                <a:endParaRPr lang="en-US" sz="1200" b="1">
                  <a:effectLst>
                    <a:outerShdw blurRad="38100" dist="38100" dir="2700000" algn="tl">
                      <a:srgbClr val="000000">
                        <a:alpha val="43137"/>
                      </a:srgbClr>
                    </a:outerShdw>
                  </a:effectLst>
                  <a:latin typeface="Georgia" pitchFamily="18" charset="0"/>
                  <a:ea typeface="PMingLiU" pitchFamily="18" charset="-120"/>
                </a:endParaRPr>
              </a:p>
            </p:txBody>
          </p:sp>
          <p:sp>
            <p:nvSpPr>
              <p:cNvPr id="32" name="Title 1"/>
              <p:cNvSpPr txBox="1">
                <a:spLocks noChangeArrowheads="1"/>
              </p:cNvSpPr>
              <p:nvPr/>
            </p:nvSpPr>
            <p:spPr bwMode="auto">
              <a:xfrm rot="20659182">
                <a:off x="1479209" y="966049"/>
                <a:ext cx="1576089" cy="500062"/>
              </a:xfrm>
              <a:prstGeom prst="rect">
                <a:avLst/>
              </a:prstGeom>
              <a:noFill/>
              <a:ln w="9525">
                <a:noFill/>
                <a:miter lim="800000"/>
                <a:headEnd/>
                <a:tailEnd/>
              </a:ln>
            </p:spPr>
            <p:txBody>
              <a:bodyPr anchor="ctr"/>
              <a:lstStyle/>
              <a:p>
                <a:pPr algn="ctr"/>
                <a:r>
                  <a:rPr lang="en-US" sz="3600" b="1" smtClean="0">
                    <a:effectLst>
                      <a:outerShdw blurRad="38100" dist="38100" dir="2700000" algn="tl">
                        <a:srgbClr val="000000">
                          <a:alpha val="43137"/>
                        </a:srgbClr>
                      </a:outerShdw>
                    </a:effectLst>
                    <a:latin typeface="Georgia" pitchFamily="18" charset="0"/>
                    <a:ea typeface="PMingLiU" pitchFamily="18" charset="-120"/>
                  </a:rPr>
                  <a:t>D2</a:t>
                </a:r>
                <a:endParaRPr lang="en-US" sz="1200" b="1">
                  <a:effectLst>
                    <a:outerShdw blurRad="38100" dist="38100" dir="2700000" algn="tl">
                      <a:srgbClr val="000000">
                        <a:alpha val="43137"/>
                      </a:srgbClr>
                    </a:outerShdw>
                  </a:effectLst>
                  <a:latin typeface="Georgia" pitchFamily="18" charset="0"/>
                  <a:ea typeface="PMingLiU" pitchFamily="18" charset="-120"/>
                </a:endParaRPr>
              </a:p>
            </p:txBody>
          </p:sp>
          <p:sp>
            <p:nvSpPr>
              <p:cNvPr id="33" name="Title 1"/>
              <p:cNvSpPr txBox="1">
                <a:spLocks noChangeArrowheads="1"/>
              </p:cNvSpPr>
              <p:nvPr/>
            </p:nvSpPr>
            <p:spPr bwMode="auto">
              <a:xfrm rot="1898440">
                <a:off x="3871645" y="1856459"/>
                <a:ext cx="1576089" cy="500062"/>
              </a:xfrm>
              <a:prstGeom prst="rect">
                <a:avLst/>
              </a:prstGeom>
              <a:noFill/>
              <a:ln w="9525">
                <a:noFill/>
                <a:miter lim="800000"/>
                <a:headEnd/>
                <a:tailEnd/>
              </a:ln>
            </p:spPr>
            <p:txBody>
              <a:bodyPr anchor="ctr"/>
              <a:lstStyle/>
              <a:p>
                <a:pPr algn="ctr"/>
                <a:r>
                  <a:rPr lang="en-US" sz="3600" b="1" smtClean="0">
                    <a:effectLst>
                      <a:outerShdw blurRad="38100" dist="38100" dir="2700000" algn="tl">
                        <a:srgbClr val="000000">
                          <a:alpha val="43137"/>
                        </a:srgbClr>
                      </a:outerShdw>
                    </a:effectLst>
                    <a:latin typeface="Georgia" pitchFamily="18" charset="0"/>
                    <a:ea typeface="PMingLiU" pitchFamily="18" charset="-120"/>
                  </a:rPr>
                  <a:t>D3</a:t>
                </a:r>
                <a:endParaRPr lang="en-US" sz="1200" b="1">
                  <a:effectLst>
                    <a:outerShdw blurRad="38100" dist="38100" dir="2700000" algn="tl">
                      <a:srgbClr val="000000">
                        <a:alpha val="43137"/>
                      </a:srgbClr>
                    </a:outerShdw>
                  </a:effectLst>
                  <a:latin typeface="Georgia" pitchFamily="18" charset="0"/>
                  <a:ea typeface="PMingLiU" pitchFamily="18" charset="-120"/>
                </a:endParaRPr>
              </a:p>
            </p:txBody>
          </p:sp>
          <p:sp>
            <p:nvSpPr>
              <p:cNvPr id="34" name="Plus 33"/>
              <p:cNvSpPr/>
              <p:nvPr/>
            </p:nvSpPr>
            <p:spPr>
              <a:xfrm>
                <a:off x="4788024" y="4365104"/>
                <a:ext cx="1143008" cy="1214446"/>
              </a:xfrm>
              <a:prstGeom prst="mathPlus">
                <a:avLst/>
              </a:prstGeom>
              <a:solidFill>
                <a:srgbClr val="C00000"/>
              </a:solidFill>
              <a:effectLst>
                <a:outerShdw blurRad="40000" dist="23000" dir="5400000" rotWithShape="0">
                  <a:srgbClr val="000000">
                    <a:alpha val="35000"/>
                  </a:srgbClr>
                </a:outerShdw>
                <a:reflection blurRad="6350" stA="50000" endA="300" endPos="55500" dist="50800" dir="5400000" sy="-100000" algn="bl" rotWithShape="0"/>
              </a:effectLst>
              <a:scene3d>
                <a:camera prst="orthographicFront">
                  <a:rot lat="0" lon="0" rev="0"/>
                </a:camera>
                <a:lightRig rig="threePt" dir="t">
                  <a:rot lat="0" lon="0" rev="1200000"/>
                </a:lightRig>
              </a:scene3d>
              <a:sp3d>
                <a:bevelT w="63500" h="25400" prst="softRoun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5" name="Title 1"/>
              <p:cNvSpPr txBox="1">
                <a:spLocks/>
              </p:cNvSpPr>
              <p:nvPr/>
            </p:nvSpPr>
            <p:spPr bwMode="auto">
              <a:xfrm>
                <a:off x="1357290" y="5980814"/>
                <a:ext cx="3000364" cy="547687"/>
              </a:xfrm>
              <a:prstGeom prst="rect">
                <a:avLst/>
              </a:prstGeom>
              <a:noFill/>
              <a:ln w="9525">
                <a:noFill/>
                <a:miter lim="800000"/>
                <a:headEnd/>
                <a:tailEnd/>
              </a:ln>
            </p:spPr>
            <p:txBody>
              <a:bodyPr anchor="ctr"/>
              <a:lstStyle/>
              <a:p>
                <a:pPr algn="ctr">
                  <a:defRPr/>
                </a:pPr>
                <a:r>
                  <a:rPr lang="en-US" sz="2000" b="1" kern="0" smtClean="0">
                    <a:solidFill>
                      <a:srgbClr val="FE9900"/>
                    </a:solidFill>
                    <a:effectLst>
                      <a:outerShdw blurRad="38100" dist="38100" dir="2700000" algn="tl">
                        <a:srgbClr val="000000">
                          <a:alpha val="43137"/>
                        </a:srgbClr>
                      </a:outerShdw>
                    </a:effectLst>
                    <a:latin typeface="Arial" pitchFamily="34" charset="0"/>
                    <a:cs typeface="Arial" pitchFamily="34" charset="0"/>
                  </a:rPr>
                  <a:t>PENILAIAN </a:t>
                </a:r>
              </a:p>
              <a:p>
                <a:pPr algn="ctr">
                  <a:defRPr/>
                </a:pPr>
                <a:r>
                  <a:rPr lang="en-US" sz="2000" b="1" kern="0" smtClean="0">
                    <a:solidFill>
                      <a:srgbClr val="FE9900"/>
                    </a:solidFill>
                    <a:effectLst>
                      <a:outerShdw blurRad="38100" dist="38100" dir="2700000" algn="tl">
                        <a:srgbClr val="000000">
                          <a:alpha val="43137"/>
                        </a:srgbClr>
                      </a:outerShdw>
                    </a:effectLst>
                    <a:latin typeface="Arial" pitchFamily="34" charset="0"/>
                    <a:cs typeface="Arial" pitchFamily="34" charset="0"/>
                  </a:rPr>
                  <a:t>KOMPETENSI</a:t>
                </a:r>
                <a:endParaRPr lang="en-US" sz="2000" b="1" kern="0" dirty="0">
                  <a:solidFill>
                    <a:srgbClr val="FE9900"/>
                  </a:solidFill>
                  <a:effectLst>
                    <a:outerShdw blurRad="38100" dist="38100" dir="2700000" algn="tl">
                      <a:srgbClr val="000000">
                        <a:alpha val="43137"/>
                      </a:srgbClr>
                    </a:outerShdw>
                  </a:effectLst>
                  <a:latin typeface="Arial" pitchFamily="34" charset="0"/>
                  <a:cs typeface="Arial" pitchFamily="34" charset="0"/>
                </a:endParaRPr>
              </a:p>
            </p:txBody>
          </p:sp>
          <p:sp>
            <p:nvSpPr>
              <p:cNvPr id="36" name="Title 1"/>
              <p:cNvSpPr txBox="1">
                <a:spLocks/>
              </p:cNvSpPr>
              <p:nvPr/>
            </p:nvSpPr>
            <p:spPr bwMode="auto">
              <a:xfrm>
                <a:off x="5857884" y="5980814"/>
                <a:ext cx="3000364" cy="547687"/>
              </a:xfrm>
              <a:prstGeom prst="rect">
                <a:avLst/>
              </a:prstGeom>
              <a:noFill/>
              <a:ln w="9525">
                <a:noFill/>
                <a:miter lim="800000"/>
                <a:headEnd/>
                <a:tailEnd/>
              </a:ln>
            </p:spPr>
            <p:txBody>
              <a:bodyPr anchor="ctr"/>
              <a:lstStyle/>
              <a:p>
                <a:pPr algn="ctr">
                  <a:defRPr/>
                </a:pPr>
                <a:r>
                  <a:rPr lang="en-US" sz="2000" b="1" kern="0" smtClean="0">
                    <a:solidFill>
                      <a:srgbClr val="FE9900"/>
                    </a:solidFill>
                    <a:effectLst>
                      <a:outerShdw blurRad="38100" dist="38100" dir="2700000" algn="tl">
                        <a:srgbClr val="000000">
                          <a:alpha val="43137"/>
                        </a:srgbClr>
                      </a:outerShdw>
                    </a:effectLst>
                    <a:latin typeface="Arial" pitchFamily="34" charset="0"/>
                    <a:cs typeface="Arial" pitchFamily="34" charset="0"/>
                  </a:rPr>
                  <a:t>KEBERHASILAN</a:t>
                </a:r>
                <a:endParaRPr lang="en-US" sz="2000" b="1" kern="0" dirty="0">
                  <a:solidFill>
                    <a:srgbClr val="FE9900"/>
                  </a:solidFill>
                  <a:effectLst>
                    <a:outerShdw blurRad="38100" dist="38100" dir="2700000" algn="tl">
                      <a:srgbClr val="000000">
                        <a:alpha val="43137"/>
                      </a:srgbClr>
                    </a:outerShdw>
                  </a:effectLst>
                  <a:latin typeface="Arial" pitchFamily="34" charset="0"/>
                  <a:cs typeface="Arial" pitchFamily="34" charset="0"/>
                </a:endParaRPr>
              </a:p>
            </p:txBody>
          </p:sp>
          <p:sp>
            <p:nvSpPr>
              <p:cNvPr id="37" name="Title 1"/>
              <p:cNvSpPr txBox="1">
                <a:spLocks noChangeArrowheads="1"/>
              </p:cNvSpPr>
              <p:nvPr/>
            </p:nvSpPr>
            <p:spPr bwMode="auto">
              <a:xfrm>
                <a:off x="1835696" y="4509120"/>
                <a:ext cx="2356314" cy="571500"/>
              </a:xfrm>
              <a:prstGeom prst="rect">
                <a:avLst/>
              </a:prstGeom>
              <a:noFill/>
              <a:ln w="9525">
                <a:noFill/>
                <a:miter lim="800000"/>
                <a:headEnd/>
                <a:tailEnd/>
              </a:ln>
              <a:effectLst>
                <a:glow rad="63500">
                  <a:schemeClr val="accent2">
                    <a:satMod val="175000"/>
                    <a:alpha val="40000"/>
                  </a:schemeClr>
                </a:glow>
                <a:reflection blurRad="6350" stA="50000" endA="300" endPos="55500" dist="50800" dir="5400000" sy="-100000" algn="bl" rotWithShape="0"/>
              </a:effectLst>
            </p:spPr>
            <p:txBody>
              <a:bodyPr anchor="ctr"/>
              <a:lstStyle/>
              <a:p>
                <a:r>
                  <a:rPr lang="en-US" sz="5400" b="1" dirty="0" smtClean="0">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effectLst>
                      <a:outerShdw blurRad="38100" dist="38100" dir="2700000" algn="tl">
                        <a:srgbClr val="000000">
                          <a:alpha val="43137"/>
                        </a:srgbClr>
                      </a:outerShdw>
                    </a:effectLst>
                    <a:latin typeface="Georgia" pitchFamily="18" charset="0"/>
                    <a:ea typeface="PMingLiU" pitchFamily="18" charset="-120"/>
                  </a:rPr>
                  <a:t>100</a:t>
                </a:r>
                <a:r>
                  <a:rPr lang="en-US" sz="5400" b="1" dirty="0" smtClean="0">
                    <a:effectLst>
                      <a:outerShdw blurRad="38100" dist="38100" dir="2700000" algn="tl">
                        <a:srgbClr val="000000">
                          <a:alpha val="43137"/>
                        </a:srgbClr>
                      </a:outerShdw>
                    </a:effectLst>
                    <a:latin typeface="Georgia" pitchFamily="18" charset="0"/>
                    <a:ea typeface="PMingLiU" pitchFamily="18" charset="-120"/>
                  </a:rPr>
                  <a:t>%</a:t>
                </a:r>
                <a:endParaRPr lang="en-US" sz="2000" b="1" dirty="0">
                  <a:effectLst>
                    <a:outerShdw blurRad="38100" dist="38100" dir="2700000" algn="tl">
                      <a:srgbClr val="000000">
                        <a:alpha val="43137"/>
                      </a:srgbClr>
                    </a:outerShdw>
                  </a:effectLst>
                  <a:latin typeface="Georgia" pitchFamily="18" charset="0"/>
                  <a:ea typeface="PMingLiU" pitchFamily="18" charset="-120"/>
                </a:endParaRPr>
              </a:p>
            </p:txBody>
          </p:sp>
          <p:sp>
            <p:nvSpPr>
              <p:cNvPr id="38" name="Title 1"/>
              <p:cNvSpPr txBox="1">
                <a:spLocks noChangeArrowheads="1"/>
              </p:cNvSpPr>
              <p:nvPr/>
            </p:nvSpPr>
            <p:spPr bwMode="auto">
              <a:xfrm>
                <a:off x="6228184" y="4509120"/>
                <a:ext cx="2736304" cy="714380"/>
              </a:xfrm>
              <a:prstGeom prst="rect">
                <a:avLst/>
              </a:prstGeom>
              <a:noFill/>
              <a:ln w="9525">
                <a:noFill/>
                <a:miter lim="800000"/>
                <a:headEnd/>
                <a:tailEnd/>
              </a:ln>
              <a:effectLst>
                <a:reflection blurRad="6350" stA="50000" endA="300" endPos="55500" dist="50800" dir="5400000" sy="-100000" algn="bl" rotWithShape="0"/>
              </a:effectLst>
            </p:spPr>
            <p:txBody>
              <a:bodyPr anchor="ctr"/>
              <a:lstStyle/>
              <a:p>
                <a:r>
                  <a:rPr lang="en-US" sz="5400" b="1" dirty="0" smtClean="0">
                    <a:ln>
                      <a:solidFill>
                        <a:schemeClr val="bg1"/>
                      </a:solidFill>
                    </a:ln>
                    <a:effectLst>
                      <a:outerShdw blurRad="38100" dist="38100" dir="2700000" algn="tl">
                        <a:srgbClr val="000000">
                          <a:alpha val="43137"/>
                        </a:srgbClr>
                      </a:outerShdw>
                    </a:effectLst>
                    <a:latin typeface="Georgia" pitchFamily="18" charset="0"/>
                    <a:ea typeface="PMingLiU" pitchFamily="18" charset="-120"/>
                  </a:rPr>
                  <a:t>100%</a:t>
                </a:r>
                <a:endParaRPr lang="en-US" sz="5400" b="1" dirty="0">
                  <a:ln>
                    <a:solidFill>
                      <a:schemeClr val="bg1"/>
                    </a:solidFill>
                  </a:ln>
                  <a:effectLst>
                    <a:outerShdw blurRad="38100" dist="38100" dir="2700000" algn="tl">
                      <a:srgbClr val="000000">
                        <a:alpha val="43137"/>
                      </a:srgbClr>
                    </a:outerShdw>
                  </a:effectLst>
                  <a:latin typeface="Georgia" pitchFamily="18" charset="0"/>
                  <a:ea typeface="PMingLiU" pitchFamily="18" charset="-120"/>
                </a:endParaRPr>
              </a:p>
            </p:txBody>
          </p:sp>
          <p:sp>
            <p:nvSpPr>
              <p:cNvPr id="39" name="Title 1"/>
              <p:cNvSpPr txBox="1">
                <a:spLocks noChangeArrowheads="1"/>
              </p:cNvSpPr>
              <p:nvPr/>
            </p:nvSpPr>
            <p:spPr bwMode="auto">
              <a:xfrm>
                <a:off x="5929322" y="3071810"/>
                <a:ext cx="2571768" cy="501650"/>
              </a:xfrm>
              <a:prstGeom prst="rect">
                <a:avLst/>
              </a:prstGeom>
              <a:noFill/>
              <a:ln w="9525">
                <a:noFill/>
                <a:miter lim="800000"/>
                <a:headEnd/>
                <a:tailEnd/>
              </a:ln>
            </p:spPr>
            <p:txBody>
              <a:bodyPr anchor="ctr"/>
              <a:lstStyle/>
              <a:p>
                <a:pPr algn="ctr"/>
                <a:r>
                  <a:rPr lang="en-US" sz="4000" b="1" smtClean="0">
                    <a:solidFill>
                      <a:schemeClr val="bg2"/>
                    </a:solidFill>
                    <a:effectLst>
                      <a:outerShdw blurRad="38100" dist="38100" dir="2700000" algn="tl">
                        <a:srgbClr val="000000">
                          <a:alpha val="43137"/>
                        </a:srgbClr>
                      </a:outerShdw>
                    </a:effectLst>
                    <a:latin typeface="Georgia" pitchFamily="18" charset="0"/>
                    <a:ea typeface="PMingLiU" pitchFamily="18" charset="-120"/>
                  </a:rPr>
                  <a:t>100%</a:t>
                </a:r>
                <a:endParaRPr lang="en-US" sz="1200">
                  <a:effectLst>
                    <a:outerShdw blurRad="38100" dist="38100" dir="2700000" algn="tl">
                      <a:srgbClr val="000000">
                        <a:alpha val="43137"/>
                      </a:srgbClr>
                    </a:outerShdw>
                  </a:effectLst>
                  <a:latin typeface="Calibri" pitchFamily="34" charset="0"/>
                  <a:ea typeface="PMingLiU" pitchFamily="18" charset="-120"/>
                </a:endParaRPr>
              </a:p>
            </p:txBody>
          </p:sp>
        </p:grpSp>
        <p:sp>
          <p:nvSpPr>
            <p:cNvPr id="14" name="Content Placeholder 2"/>
            <p:cNvSpPr txBox="1">
              <a:spLocks noChangeArrowheads="1"/>
            </p:cNvSpPr>
            <p:nvPr/>
          </p:nvSpPr>
          <p:spPr bwMode="auto">
            <a:xfrm>
              <a:off x="5724128" y="3501008"/>
              <a:ext cx="1551275" cy="533400"/>
            </a:xfrm>
            <a:prstGeom prst="rect">
              <a:avLst/>
            </a:prstGeom>
            <a:noFill/>
            <a:ln w="9525">
              <a:noFill/>
              <a:miter lim="800000"/>
              <a:headEnd/>
              <a:tailEnd/>
            </a:ln>
          </p:spPr>
          <p:txBody>
            <a:bodyPr/>
            <a:lstStyle/>
            <a:p>
              <a:pPr algn="ctr"/>
              <a:r>
                <a:rPr lang="en-US" sz="2000" b="1" dirty="0" err="1" smtClean="0">
                  <a:solidFill>
                    <a:srgbClr val="FFFF00"/>
                  </a:solidFill>
                  <a:effectLst>
                    <a:outerShdw blurRad="38100" dist="38100" dir="2700000" algn="tl">
                      <a:srgbClr val="000000">
                        <a:alpha val="43137"/>
                      </a:srgbClr>
                    </a:outerShdw>
                  </a:effectLst>
                  <a:ea typeface="PMingLiU" pitchFamily="18" charset="-120"/>
                </a:rPr>
                <a:t>Kemahiran</a:t>
              </a:r>
              <a:endParaRPr lang="en-US" sz="2000" b="1" dirty="0">
                <a:solidFill>
                  <a:srgbClr val="FFFF00"/>
                </a:solidFill>
                <a:effectLst>
                  <a:outerShdw blurRad="38100" dist="38100" dir="2700000" algn="tl">
                    <a:srgbClr val="000000">
                      <a:alpha val="43137"/>
                    </a:srgbClr>
                  </a:outerShdw>
                </a:effectLst>
                <a:ea typeface="PMingLiU" pitchFamily="18" charset="-12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7"/>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grpId="0" nodeType="clickEffect">
                                  <p:stCondLst>
                                    <p:cond delay="0"/>
                                  </p:stCondLst>
                                  <p:childTnLst>
                                    <p:animScale>
                                      <p:cBhvr>
                                        <p:cTn id="10" dur="2000" fill="hold"/>
                                        <p:tgtEl>
                                          <p:spTgt spid="11"/>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52</a:t>
            </a:fld>
            <a:endParaRPr lang="en-US"/>
          </a:p>
        </p:txBody>
      </p:sp>
      <p:grpSp>
        <p:nvGrpSpPr>
          <p:cNvPr id="2" name="Group 36"/>
          <p:cNvGrpSpPr/>
          <p:nvPr/>
        </p:nvGrpSpPr>
        <p:grpSpPr>
          <a:xfrm>
            <a:off x="151263" y="2353618"/>
            <a:ext cx="6113463" cy="1527102"/>
            <a:chOff x="52980" y="2213970"/>
            <a:chExt cx="6113463" cy="1735138"/>
          </a:xfrm>
        </p:grpSpPr>
        <p:sp>
          <p:nvSpPr>
            <p:cNvPr id="6" name="Freeform 7"/>
            <p:cNvSpPr>
              <a:spLocks/>
            </p:cNvSpPr>
            <p:nvPr/>
          </p:nvSpPr>
          <p:spPr bwMode="auto">
            <a:xfrm>
              <a:off x="52980" y="2213970"/>
              <a:ext cx="1730375" cy="865188"/>
            </a:xfrm>
            <a:custGeom>
              <a:avLst/>
              <a:gdLst>
                <a:gd name="T0" fmla="*/ 264309 w 746"/>
                <a:gd name="T1" fmla="*/ 864800 h 372"/>
                <a:gd name="T2" fmla="*/ 864800 w 746"/>
                <a:gd name="T3" fmla="*/ 265019 h 372"/>
                <a:gd name="T4" fmla="*/ 1462972 w 746"/>
                <a:gd name="T5" fmla="*/ 864800 h 372"/>
                <a:gd name="T6" fmla="*/ 1729599 w 746"/>
                <a:gd name="T7" fmla="*/ 864800 h 372"/>
                <a:gd name="T8" fmla="*/ 864800 w 746"/>
                <a:gd name="T9" fmla="*/ 0 h 372"/>
                <a:gd name="T10" fmla="*/ 0 w 746"/>
                <a:gd name="T11" fmla="*/ 864800 h 372"/>
                <a:gd name="T12" fmla="*/ 264309 w 746"/>
                <a:gd name="T13" fmla="*/ 864800 h 372"/>
                <a:gd name="T14" fmla="*/ 0 60000 65536"/>
                <a:gd name="T15" fmla="*/ 0 60000 65536"/>
                <a:gd name="T16" fmla="*/ 0 60000 65536"/>
                <a:gd name="T17" fmla="*/ 0 60000 65536"/>
                <a:gd name="T18" fmla="*/ 0 60000 65536"/>
                <a:gd name="T19" fmla="*/ 0 60000 65536"/>
                <a:gd name="T20" fmla="*/ 0 60000 65536"/>
                <a:gd name="T21" fmla="*/ 0 w 746"/>
                <a:gd name="T22" fmla="*/ 0 h 372"/>
                <a:gd name="T23" fmla="*/ 746 w 746"/>
                <a:gd name="T24" fmla="*/ 372 h 3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6" h="372">
                  <a:moveTo>
                    <a:pt x="114" y="372"/>
                  </a:moveTo>
                  <a:cubicBezTo>
                    <a:pt x="115" y="230"/>
                    <a:pt x="230" y="114"/>
                    <a:pt x="373" y="114"/>
                  </a:cubicBezTo>
                  <a:cubicBezTo>
                    <a:pt x="515" y="114"/>
                    <a:pt x="631" y="230"/>
                    <a:pt x="631" y="372"/>
                  </a:cubicBezTo>
                  <a:cubicBezTo>
                    <a:pt x="746" y="372"/>
                    <a:pt x="746" y="372"/>
                    <a:pt x="746" y="372"/>
                  </a:cubicBezTo>
                  <a:cubicBezTo>
                    <a:pt x="745" y="166"/>
                    <a:pt x="578" y="0"/>
                    <a:pt x="373" y="0"/>
                  </a:cubicBezTo>
                  <a:cubicBezTo>
                    <a:pt x="167" y="0"/>
                    <a:pt x="0" y="166"/>
                    <a:pt x="0" y="372"/>
                  </a:cubicBezTo>
                  <a:lnTo>
                    <a:pt x="114" y="372"/>
                  </a:lnTo>
                  <a:close/>
                </a:path>
              </a:pathLst>
            </a:custGeom>
            <a:solidFill>
              <a:schemeClr val="accent1">
                <a:lumMod val="20000"/>
                <a:lumOff val="80000"/>
              </a:schemeClr>
            </a:solidFill>
            <a:ln w="9525">
              <a:noFill/>
              <a:miter lim="800000"/>
              <a:headEnd/>
              <a:tailEnd/>
            </a:ln>
          </p:spPr>
          <p:txBody>
            <a:bodyPr lIns="68580" tIns="34290" rIns="68580" bIns="34290"/>
            <a:lstStyle/>
            <a:p>
              <a:endParaRPr lang="id-ID" b="1" dirty="0">
                <a:solidFill>
                  <a:schemeClr val="accent2">
                    <a:lumMod val="40000"/>
                    <a:lumOff val="60000"/>
                  </a:schemeClr>
                </a:solidFill>
                <a:latin typeface="Calibri" pitchFamily="34" charset="0"/>
              </a:endParaRPr>
            </a:p>
          </p:txBody>
        </p:sp>
        <p:sp>
          <p:nvSpPr>
            <p:cNvPr id="7" name="Freeform 10"/>
            <p:cNvSpPr>
              <a:spLocks/>
            </p:cNvSpPr>
            <p:nvPr/>
          </p:nvSpPr>
          <p:spPr bwMode="auto">
            <a:xfrm>
              <a:off x="1510305" y="3048287"/>
              <a:ext cx="1730375" cy="865188"/>
            </a:xfrm>
            <a:custGeom>
              <a:avLst/>
              <a:gdLst>
                <a:gd name="T0" fmla="*/ 1465290 w 746"/>
                <a:gd name="T1" fmla="*/ 0 h 372"/>
                <a:gd name="T2" fmla="*/ 864800 w 746"/>
                <a:gd name="T3" fmla="*/ 599781 h 372"/>
                <a:gd name="T4" fmla="*/ 264309 w 746"/>
                <a:gd name="T5" fmla="*/ 0 h 372"/>
                <a:gd name="T6" fmla="*/ 0 w 746"/>
                <a:gd name="T7" fmla="*/ 0 h 372"/>
                <a:gd name="T8" fmla="*/ 864800 w 746"/>
                <a:gd name="T9" fmla="*/ 864800 h 372"/>
                <a:gd name="T10" fmla="*/ 1729599 w 746"/>
                <a:gd name="T11" fmla="*/ 0 h 372"/>
                <a:gd name="T12" fmla="*/ 1465290 w 746"/>
                <a:gd name="T13" fmla="*/ 0 h 372"/>
                <a:gd name="T14" fmla="*/ 0 60000 65536"/>
                <a:gd name="T15" fmla="*/ 0 60000 65536"/>
                <a:gd name="T16" fmla="*/ 0 60000 65536"/>
                <a:gd name="T17" fmla="*/ 0 60000 65536"/>
                <a:gd name="T18" fmla="*/ 0 60000 65536"/>
                <a:gd name="T19" fmla="*/ 0 60000 65536"/>
                <a:gd name="T20" fmla="*/ 0 60000 65536"/>
                <a:gd name="T21" fmla="*/ 0 w 746"/>
                <a:gd name="T22" fmla="*/ 0 h 372"/>
                <a:gd name="T23" fmla="*/ 746 w 746"/>
                <a:gd name="T24" fmla="*/ 372 h 3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6" h="372">
                  <a:moveTo>
                    <a:pt x="632" y="0"/>
                  </a:moveTo>
                  <a:cubicBezTo>
                    <a:pt x="631" y="142"/>
                    <a:pt x="515" y="258"/>
                    <a:pt x="373" y="258"/>
                  </a:cubicBezTo>
                  <a:cubicBezTo>
                    <a:pt x="231" y="258"/>
                    <a:pt x="115" y="142"/>
                    <a:pt x="114" y="0"/>
                  </a:cubicBezTo>
                  <a:cubicBezTo>
                    <a:pt x="0" y="0"/>
                    <a:pt x="0" y="0"/>
                    <a:pt x="0" y="0"/>
                  </a:cubicBezTo>
                  <a:cubicBezTo>
                    <a:pt x="1" y="206"/>
                    <a:pt x="167" y="372"/>
                    <a:pt x="373" y="372"/>
                  </a:cubicBezTo>
                  <a:cubicBezTo>
                    <a:pt x="579" y="372"/>
                    <a:pt x="745" y="206"/>
                    <a:pt x="746" y="0"/>
                  </a:cubicBezTo>
                  <a:lnTo>
                    <a:pt x="632" y="0"/>
                  </a:lnTo>
                  <a:close/>
                </a:path>
              </a:pathLst>
            </a:custGeom>
            <a:solidFill>
              <a:schemeClr val="accent3">
                <a:lumMod val="20000"/>
                <a:lumOff val="80000"/>
              </a:schemeClr>
            </a:solidFill>
            <a:ln w="9525">
              <a:noFill/>
              <a:miter lim="800000"/>
              <a:headEnd/>
              <a:tailEnd/>
            </a:ln>
          </p:spPr>
          <p:txBody>
            <a:bodyPr lIns="68580" tIns="34290" rIns="68580" bIns="34290"/>
            <a:lstStyle/>
            <a:p>
              <a:endParaRPr lang="id-ID" b="1" dirty="0">
                <a:solidFill>
                  <a:schemeClr val="accent3">
                    <a:lumMod val="60000"/>
                    <a:lumOff val="40000"/>
                  </a:schemeClr>
                </a:solidFill>
                <a:latin typeface="Calibri" pitchFamily="34" charset="0"/>
              </a:endParaRPr>
            </a:p>
          </p:txBody>
        </p:sp>
        <p:sp>
          <p:nvSpPr>
            <p:cNvPr id="8" name="Freeform 12"/>
            <p:cNvSpPr>
              <a:spLocks/>
            </p:cNvSpPr>
            <p:nvPr/>
          </p:nvSpPr>
          <p:spPr bwMode="auto">
            <a:xfrm>
              <a:off x="2975568" y="2213970"/>
              <a:ext cx="1728787" cy="865188"/>
            </a:xfrm>
            <a:custGeom>
              <a:avLst/>
              <a:gdLst>
                <a:gd name="T0" fmla="*/ 264309 w 746"/>
                <a:gd name="T1" fmla="*/ 864800 h 372"/>
                <a:gd name="T2" fmla="*/ 864800 w 746"/>
                <a:gd name="T3" fmla="*/ 265019 h 372"/>
                <a:gd name="T4" fmla="*/ 1462972 w 746"/>
                <a:gd name="T5" fmla="*/ 864800 h 372"/>
                <a:gd name="T6" fmla="*/ 1729599 w 746"/>
                <a:gd name="T7" fmla="*/ 864800 h 372"/>
                <a:gd name="T8" fmla="*/ 864800 w 746"/>
                <a:gd name="T9" fmla="*/ 0 h 372"/>
                <a:gd name="T10" fmla="*/ 0 w 746"/>
                <a:gd name="T11" fmla="*/ 864800 h 372"/>
                <a:gd name="T12" fmla="*/ 264309 w 746"/>
                <a:gd name="T13" fmla="*/ 864800 h 372"/>
                <a:gd name="T14" fmla="*/ 0 60000 65536"/>
                <a:gd name="T15" fmla="*/ 0 60000 65536"/>
                <a:gd name="T16" fmla="*/ 0 60000 65536"/>
                <a:gd name="T17" fmla="*/ 0 60000 65536"/>
                <a:gd name="T18" fmla="*/ 0 60000 65536"/>
                <a:gd name="T19" fmla="*/ 0 60000 65536"/>
                <a:gd name="T20" fmla="*/ 0 60000 65536"/>
                <a:gd name="T21" fmla="*/ 0 w 746"/>
                <a:gd name="T22" fmla="*/ 0 h 372"/>
                <a:gd name="T23" fmla="*/ 746 w 746"/>
                <a:gd name="T24" fmla="*/ 372 h 3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6" h="372">
                  <a:moveTo>
                    <a:pt x="114" y="372"/>
                  </a:moveTo>
                  <a:cubicBezTo>
                    <a:pt x="115" y="230"/>
                    <a:pt x="230" y="114"/>
                    <a:pt x="373" y="114"/>
                  </a:cubicBezTo>
                  <a:cubicBezTo>
                    <a:pt x="515" y="114"/>
                    <a:pt x="631" y="230"/>
                    <a:pt x="631" y="372"/>
                  </a:cubicBezTo>
                  <a:cubicBezTo>
                    <a:pt x="746" y="372"/>
                    <a:pt x="746" y="372"/>
                    <a:pt x="746" y="372"/>
                  </a:cubicBezTo>
                  <a:cubicBezTo>
                    <a:pt x="745" y="166"/>
                    <a:pt x="578" y="0"/>
                    <a:pt x="373" y="0"/>
                  </a:cubicBezTo>
                  <a:cubicBezTo>
                    <a:pt x="167" y="0"/>
                    <a:pt x="0" y="166"/>
                    <a:pt x="0" y="372"/>
                  </a:cubicBezTo>
                  <a:lnTo>
                    <a:pt x="114" y="372"/>
                  </a:lnTo>
                  <a:close/>
                </a:path>
              </a:pathLst>
            </a:custGeom>
            <a:solidFill>
              <a:schemeClr val="accent4">
                <a:lumMod val="20000"/>
                <a:lumOff val="80000"/>
              </a:schemeClr>
            </a:solidFill>
            <a:ln w="9525">
              <a:noFill/>
              <a:miter lim="800000"/>
              <a:headEnd/>
              <a:tailEnd/>
            </a:ln>
          </p:spPr>
          <p:txBody>
            <a:bodyPr lIns="68580" tIns="34290" rIns="68580" bIns="34290"/>
            <a:lstStyle/>
            <a:p>
              <a:endParaRPr lang="id-ID" b="1">
                <a:latin typeface="Calibri" pitchFamily="34" charset="0"/>
              </a:endParaRPr>
            </a:p>
          </p:txBody>
        </p:sp>
        <p:sp>
          <p:nvSpPr>
            <p:cNvPr id="9" name="Freeform 14"/>
            <p:cNvSpPr>
              <a:spLocks/>
            </p:cNvSpPr>
            <p:nvPr/>
          </p:nvSpPr>
          <p:spPr bwMode="auto">
            <a:xfrm>
              <a:off x="4439243" y="3083920"/>
              <a:ext cx="1727200" cy="865188"/>
            </a:xfrm>
            <a:custGeom>
              <a:avLst/>
              <a:gdLst>
                <a:gd name="T0" fmla="*/ 1464339 w 746"/>
                <a:gd name="T1" fmla="*/ 0 h 372"/>
                <a:gd name="T2" fmla="*/ 864238 w 746"/>
                <a:gd name="T3" fmla="*/ 599781 h 372"/>
                <a:gd name="T4" fmla="*/ 266454 w 746"/>
                <a:gd name="T5" fmla="*/ 0 h 372"/>
                <a:gd name="T6" fmla="*/ 0 w 746"/>
                <a:gd name="T7" fmla="*/ 0 h 372"/>
                <a:gd name="T8" fmla="*/ 864238 w 746"/>
                <a:gd name="T9" fmla="*/ 864800 h 372"/>
                <a:gd name="T10" fmla="*/ 1728476 w 746"/>
                <a:gd name="T11" fmla="*/ 0 h 372"/>
                <a:gd name="T12" fmla="*/ 1464339 w 746"/>
                <a:gd name="T13" fmla="*/ 0 h 372"/>
                <a:gd name="T14" fmla="*/ 0 60000 65536"/>
                <a:gd name="T15" fmla="*/ 0 60000 65536"/>
                <a:gd name="T16" fmla="*/ 0 60000 65536"/>
                <a:gd name="T17" fmla="*/ 0 60000 65536"/>
                <a:gd name="T18" fmla="*/ 0 60000 65536"/>
                <a:gd name="T19" fmla="*/ 0 60000 65536"/>
                <a:gd name="T20" fmla="*/ 0 60000 65536"/>
                <a:gd name="T21" fmla="*/ 0 w 746"/>
                <a:gd name="T22" fmla="*/ 0 h 372"/>
                <a:gd name="T23" fmla="*/ 746 w 746"/>
                <a:gd name="T24" fmla="*/ 372 h 3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6" h="372">
                  <a:moveTo>
                    <a:pt x="632" y="0"/>
                  </a:moveTo>
                  <a:cubicBezTo>
                    <a:pt x="631" y="142"/>
                    <a:pt x="515" y="258"/>
                    <a:pt x="373" y="258"/>
                  </a:cubicBezTo>
                  <a:cubicBezTo>
                    <a:pt x="231" y="258"/>
                    <a:pt x="115" y="142"/>
                    <a:pt x="115" y="0"/>
                  </a:cubicBezTo>
                  <a:cubicBezTo>
                    <a:pt x="0" y="0"/>
                    <a:pt x="0" y="0"/>
                    <a:pt x="0" y="0"/>
                  </a:cubicBezTo>
                  <a:cubicBezTo>
                    <a:pt x="1" y="206"/>
                    <a:pt x="168" y="372"/>
                    <a:pt x="373" y="372"/>
                  </a:cubicBezTo>
                  <a:cubicBezTo>
                    <a:pt x="579" y="372"/>
                    <a:pt x="746" y="206"/>
                    <a:pt x="746" y="0"/>
                  </a:cubicBezTo>
                  <a:lnTo>
                    <a:pt x="632" y="0"/>
                  </a:lnTo>
                  <a:close/>
                </a:path>
              </a:pathLst>
            </a:custGeom>
            <a:solidFill>
              <a:schemeClr val="accent2">
                <a:lumMod val="20000"/>
                <a:lumOff val="80000"/>
              </a:schemeClr>
            </a:solidFill>
            <a:ln w="9525">
              <a:noFill/>
              <a:miter lim="800000"/>
              <a:headEnd/>
              <a:tailEnd/>
            </a:ln>
          </p:spPr>
          <p:txBody>
            <a:bodyPr lIns="68580" tIns="34290" rIns="68580" bIns="34290"/>
            <a:lstStyle/>
            <a:p>
              <a:endParaRPr lang="id-ID" b="1">
                <a:latin typeface="Calibri" pitchFamily="34" charset="0"/>
              </a:endParaRPr>
            </a:p>
          </p:txBody>
        </p:sp>
        <p:sp>
          <p:nvSpPr>
            <p:cNvPr id="11" name="Freeform 8"/>
            <p:cNvSpPr>
              <a:spLocks/>
            </p:cNvSpPr>
            <p:nvPr/>
          </p:nvSpPr>
          <p:spPr bwMode="auto">
            <a:xfrm>
              <a:off x="52980" y="3083920"/>
              <a:ext cx="1730375" cy="865188"/>
            </a:xfrm>
            <a:custGeom>
              <a:avLst/>
              <a:gdLst>
                <a:gd name="T0" fmla="*/ 1462972 w 746"/>
                <a:gd name="T1" fmla="*/ 0 h 372"/>
                <a:gd name="T2" fmla="*/ 864800 w 746"/>
                <a:gd name="T3" fmla="*/ 599781 h 372"/>
                <a:gd name="T4" fmla="*/ 264309 w 746"/>
                <a:gd name="T5" fmla="*/ 0 h 372"/>
                <a:gd name="T6" fmla="*/ 0 w 746"/>
                <a:gd name="T7" fmla="*/ 0 h 372"/>
                <a:gd name="T8" fmla="*/ 864800 w 746"/>
                <a:gd name="T9" fmla="*/ 864800 h 372"/>
                <a:gd name="T10" fmla="*/ 1729599 w 746"/>
                <a:gd name="T11" fmla="*/ 0 h 372"/>
                <a:gd name="T12" fmla="*/ 1462972 w 746"/>
                <a:gd name="T13" fmla="*/ 0 h 372"/>
                <a:gd name="T14" fmla="*/ 0 60000 65536"/>
                <a:gd name="T15" fmla="*/ 0 60000 65536"/>
                <a:gd name="T16" fmla="*/ 0 60000 65536"/>
                <a:gd name="T17" fmla="*/ 0 60000 65536"/>
                <a:gd name="T18" fmla="*/ 0 60000 65536"/>
                <a:gd name="T19" fmla="*/ 0 60000 65536"/>
                <a:gd name="T20" fmla="*/ 0 60000 65536"/>
                <a:gd name="T21" fmla="*/ 0 w 746"/>
                <a:gd name="T22" fmla="*/ 0 h 372"/>
                <a:gd name="T23" fmla="*/ 746 w 746"/>
                <a:gd name="T24" fmla="*/ 372 h 3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6" h="372">
                  <a:moveTo>
                    <a:pt x="631" y="0"/>
                  </a:moveTo>
                  <a:cubicBezTo>
                    <a:pt x="631" y="142"/>
                    <a:pt x="515" y="258"/>
                    <a:pt x="373" y="258"/>
                  </a:cubicBezTo>
                  <a:cubicBezTo>
                    <a:pt x="230" y="258"/>
                    <a:pt x="115" y="142"/>
                    <a:pt x="114" y="0"/>
                  </a:cubicBezTo>
                  <a:cubicBezTo>
                    <a:pt x="0" y="0"/>
                    <a:pt x="0" y="0"/>
                    <a:pt x="0" y="0"/>
                  </a:cubicBezTo>
                  <a:cubicBezTo>
                    <a:pt x="0" y="206"/>
                    <a:pt x="167" y="372"/>
                    <a:pt x="373" y="372"/>
                  </a:cubicBezTo>
                  <a:cubicBezTo>
                    <a:pt x="578" y="372"/>
                    <a:pt x="745" y="206"/>
                    <a:pt x="746" y="0"/>
                  </a:cubicBezTo>
                  <a:lnTo>
                    <a:pt x="631" y="0"/>
                  </a:lnTo>
                  <a:close/>
                </a:path>
              </a:pathLst>
            </a:custGeom>
            <a:solidFill>
              <a:srgbClr val="0066FF"/>
            </a:solidFill>
            <a:ln w="9525">
              <a:noFill/>
              <a:miter lim="800000"/>
              <a:headEnd/>
              <a:tailEnd/>
            </a:ln>
          </p:spPr>
          <p:txBody>
            <a:bodyPr lIns="68580" tIns="34290" rIns="68580" bIns="34290"/>
            <a:lstStyle/>
            <a:p>
              <a:endParaRPr lang="id-ID" b="1" dirty="0">
                <a:solidFill>
                  <a:srgbClr val="FF0000"/>
                </a:solidFill>
                <a:latin typeface="Calibri" pitchFamily="34" charset="0"/>
              </a:endParaRPr>
            </a:p>
          </p:txBody>
        </p:sp>
        <p:sp>
          <p:nvSpPr>
            <p:cNvPr id="12" name="Freeform 9"/>
            <p:cNvSpPr>
              <a:spLocks/>
            </p:cNvSpPr>
            <p:nvPr/>
          </p:nvSpPr>
          <p:spPr bwMode="auto">
            <a:xfrm>
              <a:off x="1510305" y="2213970"/>
              <a:ext cx="1730375" cy="865188"/>
            </a:xfrm>
            <a:custGeom>
              <a:avLst/>
              <a:gdLst>
                <a:gd name="T0" fmla="*/ 114 w 746"/>
                <a:gd name="T1" fmla="*/ 372 h 372"/>
                <a:gd name="T2" fmla="*/ 373 w 746"/>
                <a:gd name="T3" fmla="*/ 114 h 372"/>
                <a:gd name="T4" fmla="*/ 632 w 746"/>
                <a:gd name="T5" fmla="*/ 372 h 372"/>
                <a:gd name="T6" fmla="*/ 746 w 746"/>
                <a:gd name="T7" fmla="*/ 372 h 372"/>
                <a:gd name="T8" fmla="*/ 373 w 746"/>
                <a:gd name="T9" fmla="*/ 0 h 372"/>
                <a:gd name="T10" fmla="*/ 0 w 746"/>
                <a:gd name="T11" fmla="*/ 372 h 372"/>
                <a:gd name="T12" fmla="*/ 114 w 746"/>
                <a:gd name="T13" fmla="*/ 372 h 372"/>
              </a:gdLst>
              <a:ahLst/>
              <a:cxnLst>
                <a:cxn ang="0">
                  <a:pos x="T0" y="T1"/>
                </a:cxn>
                <a:cxn ang="0">
                  <a:pos x="T2" y="T3"/>
                </a:cxn>
                <a:cxn ang="0">
                  <a:pos x="T4" y="T5"/>
                </a:cxn>
                <a:cxn ang="0">
                  <a:pos x="T6" y="T7"/>
                </a:cxn>
                <a:cxn ang="0">
                  <a:pos x="T8" y="T9"/>
                </a:cxn>
                <a:cxn ang="0">
                  <a:pos x="T10" y="T11"/>
                </a:cxn>
                <a:cxn ang="0">
                  <a:pos x="T12" y="T13"/>
                </a:cxn>
              </a:cxnLst>
              <a:rect l="0" t="0" r="r" b="b"/>
              <a:pathLst>
                <a:path w="746" h="372">
                  <a:moveTo>
                    <a:pt x="114" y="372"/>
                  </a:moveTo>
                  <a:cubicBezTo>
                    <a:pt x="115" y="230"/>
                    <a:pt x="231" y="114"/>
                    <a:pt x="373" y="114"/>
                  </a:cubicBezTo>
                  <a:cubicBezTo>
                    <a:pt x="515" y="114"/>
                    <a:pt x="631" y="230"/>
                    <a:pt x="632" y="372"/>
                  </a:cubicBezTo>
                  <a:cubicBezTo>
                    <a:pt x="746" y="372"/>
                    <a:pt x="746" y="372"/>
                    <a:pt x="746" y="372"/>
                  </a:cubicBezTo>
                  <a:cubicBezTo>
                    <a:pt x="745" y="166"/>
                    <a:pt x="579" y="0"/>
                    <a:pt x="373" y="0"/>
                  </a:cubicBezTo>
                  <a:cubicBezTo>
                    <a:pt x="167" y="0"/>
                    <a:pt x="1" y="166"/>
                    <a:pt x="0" y="372"/>
                  </a:cubicBezTo>
                  <a:lnTo>
                    <a:pt x="114" y="372"/>
                  </a:lnTo>
                  <a:close/>
                </a:path>
              </a:pathLst>
            </a:custGeom>
            <a:solidFill>
              <a:srgbClr val="008000"/>
            </a:solidFill>
            <a:ln>
              <a:noFill/>
            </a:ln>
          </p:spPr>
          <p:txBody>
            <a:bodyPr lIns="68580" tIns="34290" rIns="68580" bIns="34290"/>
            <a:lstStyle/>
            <a:p>
              <a:pPr fontAlgn="auto">
                <a:spcBef>
                  <a:spcPts val="0"/>
                </a:spcBef>
                <a:spcAft>
                  <a:spcPts val="0"/>
                </a:spcAft>
                <a:defRPr/>
              </a:pPr>
              <a:endParaRPr lang="id-ID" b="1">
                <a:latin typeface="+mn-lt"/>
              </a:endParaRPr>
            </a:p>
          </p:txBody>
        </p:sp>
        <p:sp>
          <p:nvSpPr>
            <p:cNvPr id="13" name="Freeform 11"/>
            <p:cNvSpPr>
              <a:spLocks/>
            </p:cNvSpPr>
            <p:nvPr/>
          </p:nvSpPr>
          <p:spPr bwMode="auto">
            <a:xfrm>
              <a:off x="2975568" y="3083920"/>
              <a:ext cx="1728787" cy="865188"/>
            </a:xfrm>
            <a:custGeom>
              <a:avLst/>
              <a:gdLst>
                <a:gd name="T0" fmla="*/ 631 w 746"/>
                <a:gd name="T1" fmla="*/ 0 h 372"/>
                <a:gd name="T2" fmla="*/ 373 w 746"/>
                <a:gd name="T3" fmla="*/ 258 h 372"/>
                <a:gd name="T4" fmla="*/ 114 w 746"/>
                <a:gd name="T5" fmla="*/ 0 h 372"/>
                <a:gd name="T6" fmla="*/ 0 w 746"/>
                <a:gd name="T7" fmla="*/ 0 h 372"/>
                <a:gd name="T8" fmla="*/ 373 w 746"/>
                <a:gd name="T9" fmla="*/ 372 h 372"/>
                <a:gd name="T10" fmla="*/ 746 w 746"/>
                <a:gd name="T11" fmla="*/ 0 h 372"/>
                <a:gd name="T12" fmla="*/ 631 w 7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46" h="372">
                  <a:moveTo>
                    <a:pt x="631" y="0"/>
                  </a:moveTo>
                  <a:cubicBezTo>
                    <a:pt x="631" y="142"/>
                    <a:pt x="515" y="258"/>
                    <a:pt x="373" y="258"/>
                  </a:cubicBezTo>
                  <a:cubicBezTo>
                    <a:pt x="230" y="258"/>
                    <a:pt x="115" y="142"/>
                    <a:pt x="114" y="0"/>
                  </a:cubicBezTo>
                  <a:cubicBezTo>
                    <a:pt x="0" y="0"/>
                    <a:pt x="0" y="0"/>
                    <a:pt x="0" y="0"/>
                  </a:cubicBezTo>
                  <a:cubicBezTo>
                    <a:pt x="0" y="206"/>
                    <a:pt x="167" y="372"/>
                    <a:pt x="373" y="372"/>
                  </a:cubicBezTo>
                  <a:cubicBezTo>
                    <a:pt x="578" y="372"/>
                    <a:pt x="745" y="206"/>
                    <a:pt x="746" y="0"/>
                  </a:cubicBezTo>
                  <a:lnTo>
                    <a:pt x="631" y="0"/>
                  </a:lnTo>
                  <a:close/>
                </a:path>
              </a:pathLst>
            </a:custGeom>
            <a:solidFill>
              <a:srgbClr val="7030A0"/>
            </a:solidFill>
            <a:ln>
              <a:noFill/>
            </a:ln>
          </p:spPr>
          <p:txBody>
            <a:bodyPr lIns="68580" tIns="34290" rIns="68580" bIns="34290"/>
            <a:lstStyle/>
            <a:p>
              <a:pPr fontAlgn="auto">
                <a:spcBef>
                  <a:spcPts val="0"/>
                </a:spcBef>
                <a:spcAft>
                  <a:spcPts val="0"/>
                </a:spcAft>
                <a:defRPr/>
              </a:pPr>
              <a:endParaRPr lang="id-ID" b="1">
                <a:latin typeface="+mn-lt"/>
              </a:endParaRPr>
            </a:p>
          </p:txBody>
        </p:sp>
        <p:sp>
          <p:nvSpPr>
            <p:cNvPr id="14" name="Freeform 13"/>
            <p:cNvSpPr>
              <a:spLocks/>
            </p:cNvSpPr>
            <p:nvPr/>
          </p:nvSpPr>
          <p:spPr bwMode="auto">
            <a:xfrm>
              <a:off x="4439243" y="2213970"/>
              <a:ext cx="1727200" cy="865188"/>
            </a:xfrm>
            <a:custGeom>
              <a:avLst/>
              <a:gdLst>
                <a:gd name="T0" fmla="*/ 115 w 746"/>
                <a:gd name="T1" fmla="*/ 372 h 372"/>
                <a:gd name="T2" fmla="*/ 373 w 746"/>
                <a:gd name="T3" fmla="*/ 114 h 372"/>
                <a:gd name="T4" fmla="*/ 632 w 746"/>
                <a:gd name="T5" fmla="*/ 372 h 372"/>
                <a:gd name="T6" fmla="*/ 746 w 746"/>
                <a:gd name="T7" fmla="*/ 372 h 372"/>
                <a:gd name="T8" fmla="*/ 373 w 746"/>
                <a:gd name="T9" fmla="*/ 0 h 372"/>
                <a:gd name="T10" fmla="*/ 0 w 746"/>
                <a:gd name="T11" fmla="*/ 372 h 372"/>
                <a:gd name="T12" fmla="*/ 115 w 746"/>
                <a:gd name="T13" fmla="*/ 372 h 372"/>
              </a:gdLst>
              <a:ahLst/>
              <a:cxnLst>
                <a:cxn ang="0">
                  <a:pos x="T0" y="T1"/>
                </a:cxn>
                <a:cxn ang="0">
                  <a:pos x="T2" y="T3"/>
                </a:cxn>
                <a:cxn ang="0">
                  <a:pos x="T4" y="T5"/>
                </a:cxn>
                <a:cxn ang="0">
                  <a:pos x="T6" y="T7"/>
                </a:cxn>
                <a:cxn ang="0">
                  <a:pos x="T8" y="T9"/>
                </a:cxn>
                <a:cxn ang="0">
                  <a:pos x="T10" y="T11"/>
                </a:cxn>
                <a:cxn ang="0">
                  <a:pos x="T12" y="T13"/>
                </a:cxn>
              </a:cxnLst>
              <a:rect l="0" t="0" r="r" b="b"/>
              <a:pathLst>
                <a:path w="746" h="372">
                  <a:moveTo>
                    <a:pt x="115" y="372"/>
                  </a:moveTo>
                  <a:cubicBezTo>
                    <a:pt x="115" y="230"/>
                    <a:pt x="231" y="114"/>
                    <a:pt x="373" y="114"/>
                  </a:cubicBezTo>
                  <a:cubicBezTo>
                    <a:pt x="515" y="114"/>
                    <a:pt x="631" y="230"/>
                    <a:pt x="632" y="372"/>
                  </a:cubicBezTo>
                  <a:cubicBezTo>
                    <a:pt x="746" y="372"/>
                    <a:pt x="746" y="372"/>
                    <a:pt x="746" y="372"/>
                  </a:cubicBezTo>
                  <a:cubicBezTo>
                    <a:pt x="746" y="166"/>
                    <a:pt x="579" y="0"/>
                    <a:pt x="373" y="0"/>
                  </a:cubicBezTo>
                  <a:cubicBezTo>
                    <a:pt x="168" y="0"/>
                    <a:pt x="1" y="166"/>
                    <a:pt x="0" y="372"/>
                  </a:cubicBezTo>
                  <a:lnTo>
                    <a:pt x="115" y="372"/>
                  </a:lnTo>
                  <a:close/>
                </a:path>
              </a:pathLst>
            </a:custGeom>
            <a:solidFill>
              <a:srgbClr val="FF0000"/>
            </a:solidFill>
            <a:ln>
              <a:noFill/>
            </a:ln>
          </p:spPr>
          <p:txBody>
            <a:bodyPr lIns="68580" tIns="34290" rIns="68580" bIns="34290"/>
            <a:lstStyle/>
            <a:p>
              <a:pPr fontAlgn="auto">
                <a:spcBef>
                  <a:spcPts val="0"/>
                </a:spcBef>
                <a:spcAft>
                  <a:spcPts val="0"/>
                </a:spcAft>
                <a:defRPr/>
              </a:pPr>
              <a:endParaRPr lang="id-ID" b="1">
                <a:latin typeface="+mn-lt"/>
              </a:endParaRPr>
            </a:p>
          </p:txBody>
        </p:sp>
        <p:sp>
          <p:nvSpPr>
            <p:cNvPr id="18" name="TextBox 17"/>
            <p:cNvSpPr txBox="1"/>
            <p:nvPr/>
          </p:nvSpPr>
          <p:spPr>
            <a:xfrm>
              <a:off x="107994" y="2254697"/>
              <a:ext cx="1522413" cy="346249"/>
            </a:xfrm>
            <a:prstGeom prst="rect">
              <a:avLst/>
            </a:prstGeom>
            <a:noFill/>
          </p:spPr>
          <p:txBody>
            <a:bodyPr lIns="68580" tIns="34290" rIns="68580" bIns="34290">
              <a:spAutoFit/>
            </a:bodyPr>
            <a:lstStyle/>
            <a:p>
              <a:pPr algn="ctr" fontAlgn="auto">
                <a:spcBef>
                  <a:spcPts val="0"/>
                </a:spcBef>
                <a:spcAft>
                  <a:spcPts val="0"/>
                </a:spcAft>
                <a:defRPr/>
              </a:pPr>
              <a:r>
                <a:rPr lang="en-US" b="1" dirty="0">
                  <a:solidFill>
                    <a:srgbClr val="0070C0"/>
                  </a:solidFill>
                  <a:latin typeface="Segoe UI" pitchFamily="34" charset="0"/>
                  <a:ea typeface="Segoe UI" pitchFamily="34" charset="0"/>
                  <a:cs typeface="Segoe UI" pitchFamily="34" charset="0"/>
                </a:rPr>
                <a:t>CEMERLANG</a:t>
              </a:r>
            </a:p>
          </p:txBody>
        </p:sp>
        <p:sp>
          <p:nvSpPr>
            <p:cNvPr id="19" name="TextBox 18"/>
            <p:cNvSpPr txBox="1"/>
            <p:nvPr/>
          </p:nvSpPr>
          <p:spPr>
            <a:xfrm>
              <a:off x="3086693" y="2231513"/>
              <a:ext cx="1504950" cy="346249"/>
            </a:xfrm>
            <a:prstGeom prst="rect">
              <a:avLst/>
            </a:prstGeom>
            <a:noFill/>
          </p:spPr>
          <p:txBody>
            <a:bodyPr lIns="68580" tIns="34290" rIns="68580" bIns="34290">
              <a:spAutoFit/>
            </a:bodyPr>
            <a:lstStyle/>
            <a:p>
              <a:pPr algn="ctr" fontAlgn="auto">
                <a:spcBef>
                  <a:spcPts val="0"/>
                </a:spcBef>
                <a:spcAft>
                  <a:spcPts val="0"/>
                </a:spcAft>
                <a:defRPr/>
              </a:pPr>
              <a:r>
                <a:rPr lang="en-US" b="1" dirty="0">
                  <a:solidFill>
                    <a:schemeClr val="accent4">
                      <a:lumMod val="50000"/>
                    </a:schemeClr>
                  </a:solidFill>
                  <a:latin typeface="Segoe UI" pitchFamily="34" charset="0"/>
                  <a:ea typeface="Segoe UI" pitchFamily="34" charset="0"/>
                  <a:cs typeface="Segoe UI" pitchFamily="34" charset="0"/>
                </a:rPr>
                <a:t>SEDERHANA</a:t>
              </a:r>
            </a:p>
          </p:txBody>
        </p:sp>
        <p:sp>
          <p:nvSpPr>
            <p:cNvPr id="20" name="TextBox 19"/>
            <p:cNvSpPr txBox="1"/>
            <p:nvPr/>
          </p:nvSpPr>
          <p:spPr>
            <a:xfrm>
              <a:off x="4717552" y="3560709"/>
              <a:ext cx="1366838" cy="346249"/>
            </a:xfrm>
            <a:prstGeom prst="rect">
              <a:avLst/>
            </a:prstGeom>
            <a:noFill/>
          </p:spPr>
          <p:txBody>
            <a:bodyPr lIns="68580" tIns="34290" rIns="68580" bIns="34290">
              <a:spAutoFit/>
            </a:bodyPr>
            <a:lstStyle/>
            <a:p>
              <a:pPr algn="ctr" fontAlgn="auto">
                <a:spcBef>
                  <a:spcPts val="0"/>
                </a:spcBef>
                <a:spcAft>
                  <a:spcPts val="0"/>
                </a:spcAft>
                <a:defRPr/>
              </a:pPr>
              <a:r>
                <a:rPr lang="en-US" b="1" dirty="0">
                  <a:solidFill>
                    <a:srgbClr val="FF0000"/>
                  </a:solidFill>
                  <a:latin typeface="Segoe UI" pitchFamily="34" charset="0"/>
                  <a:ea typeface="Segoe UI" pitchFamily="34" charset="0"/>
                  <a:cs typeface="Segoe UI" pitchFamily="34" charset="0"/>
                </a:rPr>
                <a:t>LEMAH</a:t>
              </a:r>
            </a:p>
          </p:txBody>
        </p:sp>
        <p:sp>
          <p:nvSpPr>
            <p:cNvPr id="22" name="TextBox 21"/>
            <p:cNvSpPr txBox="1"/>
            <p:nvPr/>
          </p:nvSpPr>
          <p:spPr>
            <a:xfrm>
              <a:off x="1661763" y="3540575"/>
              <a:ext cx="1345161" cy="346249"/>
            </a:xfrm>
            <a:prstGeom prst="rect">
              <a:avLst/>
            </a:prstGeom>
            <a:noFill/>
          </p:spPr>
          <p:txBody>
            <a:bodyPr wrap="square" lIns="68580" tIns="34290" rIns="68580" bIns="34290">
              <a:spAutoFit/>
            </a:bodyPr>
            <a:lstStyle/>
            <a:p>
              <a:pPr algn="ctr" fontAlgn="auto">
                <a:spcBef>
                  <a:spcPts val="0"/>
                </a:spcBef>
                <a:spcAft>
                  <a:spcPts val="0"/>
                </a:spcAft>
                <a:defRPr/>
              </a:pPr>
              <a:r>
                <a:rPr lang="en-US" b="1" dirty="0" smtClean="0">
                  <a:solidFill>
                    <a:srgbClr val="006600"/>
                  </a:solidFill>
                  <a:latin typeface="Segoe UI" pitchFamily="34" charset="0"/>
                  <a:ea typeface="Segoe UI" pitchFamily="34" charset="0"/>
                  <a:cs typeface="Segoe UI" pitchFamily="34" charset="0"/>
                </a:rPr>
                <a:t>BAIK</a:t>
              </a:r>
              <a:endParaRPr lang="en-US" b="1" dirty="0">
                <a:solidFill>
                  <a:srgbClr val="006600"/>
                </a:solidFill>
                <a:latin typeface="Segoe UI" pitchFamily="34" charset="0"/>
                <a:ea typeface="Segoe UI" pitchFamily="34" charset="0"/>
                <a:cs typeface="Segoe UI" pitchFamily="34" charset="0"/>
              </a:endParaRPr>
            </a:p>
          </p:txBody>
        </p:sp>
        <p:sp>
          <p:nvSpPr>
            <p:cNvPr id="23" name="Rectangle 22"/>
            <p:cNvSpPr/>
            <p:nvPr/>
          </p:nvSpPr>
          <p:spPr>
            <a:xfrm>
              <a:off x="2133552" y="2505313"/>
              <a:ext cx="535724" cy="923330"/>
            </a:xfrm>
            <a:prstGeom prst="rect">
              <a:avLst/>
            </a:prstGeom>
            <a:noFill/>
          </p:spPr>
          <p:txBody>
            <a:bodyPr>
              <a:spAutoFit/>
              <a:scene3d>
                <a:camera prst="orthographicFront"/>
                <a:lightRig rig="harsh" dir="t"/>
              </a:scene3d>
              <a:sp3d extrusionH="57150" prstMaterial="matte">
                <a:bevelT w="63500" h="12700" prst="angle"/>
                <a:contourClr>
                  <a:schemeClr val="bg1">
                    <a:lumMod val="65000"/>
                  </a:schemeClr>
                </a:contourClr>
              </a:sp3d>
            </a:bodyPr>
            <a:lstStyle/>
            <a:p>
              <a:pPr algn="ctr" fontAlgn="auto">
                <a:spcBef>
                  <a:spcPts val="0"/>
                </a:spcBef>
                <a:spcAft>
                  <a:spcPts val="0"/>
                </a:spcAft>
                <a:defRPr/>
              </a:pPr>
              <a:r>
                <a:rPr lang="en-US" sz="5400" b="1" dirty="0">
                  <a:ln/>
                  <a:solidFill>
                    <a:srgbClr val="006600"/>
                  </a:solidFill>
                  <a:latin typeface="+mn-lt"/>
                </a:rPr>
                <a:t>3</a:t>
              </a:r>
            </a:p>
          </p:txBody>
        </p:sp>
        <p:sp>
          <p:nvSpPr>
            <p:cNvPr id="24" name="Rectangle 23"/>
            <p:cNvSpPr/>
            <p:nvPr/>
          </p:nvSpPr>
          <p:spPr>
            <a:xfrm>
              <a:off x="568512" y="2516903"/>
              <a:ext cx="535724" cy="923330"/>
            </a:xfrm>
            <a:prstGeom prst="rect">
              <a:avLst/>
            </a:prstGeom>
            <a:noFill/>
          </p:spPr>
          <p:txBody>
            <a:bodyPr>
              <a:spAutoFit/>
              <a:scene3d>
                <a:camera prst="orthographicFront"/>
                <a:lightRig rig="harsh" dir="t"/>
              </a:scene3d>
              <a:sp3d extrusionH="57150" prstMaterial="matte">
                <a:bevelT w="63500" h="12700" prst="angle"/>
                <a:contourClr>
                  <a:schemeClr val="bg1">
                    <a:lumMod val="65000"/>
                  </a:schemeClr>
                </a:contourClr>
              </a:sp3d>
            </a:bodyPr>
            <a:lstStyle/>
            <a:p>
              <a:pPr algn="ctr" fontAlgn="auto">
                <a:spcBef>
                  <a:spcPts val="0"/>
                </a:spcBef>
                <a:spcAft>
                  <a:spcPts val="0"/>
                </a:spcAft>
                <a:defRPr/>
              </a:pPr>
              <a:r>
                <a:rPr lang="en-US" sz="5400" b="1" dirty="0">
                  <a:ln/>
                  <a:solidFill>
                    <a:srgbClr val="002060"/>
                  </a:solidFill>
                  <a:latin typeface="+mn-lt"/>
                </a:rPr>
                <a:t>4</a:t>
              </a:r>
            </a:p>
          </p:txBody>
        </p:sp>
        <p:sp>
          <p:nvSpPr>
            <p:cNvPr id="25" name="Rectangle 24"/>
            <p:cNvSpPr/>
            <p:nvPr/>
          </p:nvSpPr>
          <p:spPr>
            <a:xfrm>
              <a:off x="5079856" y="2505313"/>
              <a:ext cx="535724" cy="923330"/>
            </a:xfrm>
            <a:prstGeom prst="rect">
              <a:avLst/>
            </a:prstGeom>
            <a:noFill/>
          </p:spPr>
          <p:txBody>
            <a:bodyPr>
              <a:spAutoFit/>
              <a:scene3d>
                <a:camera prst="orthographicFront"/>
                <a:lightRig rig="harsh" dir="t"/>
              </a:scene3d>
              <a:sp3d extrusionH="57150" prstMaterial="matte">
                <a:bevelT w="63500" h="12700" prst="angle"/>
                <a:contourClr>
                  <a:schemeClr val="bg1">
                    <a:lumMod val="65000"/>
                  </a:schemeClr>
                </a:contourClr>
              </a:sp3d>
            </a:bodyPr>
            <a:lstStyle/>
            <a:p>
              <a:pPr algn="ctr" fontAlgn="auto">
                <a:spcBef>
                  <a:spcPts val="0"/>
                </a:spcBef>
                <a:spcAft>
                  <a:spcPts val="0"/>
                </a:spcAft>
                <a:defRPr/>
              </a:pPr>
              <a:r>
                <a:rPr lang="en-US" sz="5400" b="1" dirty="0">
                  <a:ln/>
                  <a:solidFill>
                    <a:srgbClr val="FF0000"/>
                  </a:solidFill>
                  <a:latin typeface="+mn-lt"/>
                </a:rPr>
                <a:t>1</a:t>
              </a:r>
            </a:p>
          </p:txBody>
        </p:sp>
        <p:sp>
          <p:nvSpPr>
            <p:cNvPr id="26" name="Rectangle 25"/>
            <p:cNvSpPr/>
            <p:nvPr/>
          </p:nvSpPr>
          <p:spPr>
            <a:xfrm>
              <a:off x="3618581" y="2552535"/>
              <a:ext cx="535724" cy="923330"/>
            </a:xfrm>
            <a:prstGeom prst="rect">
              <a:avLst/>
            </a:prstGeom>
            <a:noFill/>
          </p:spPr>
          <p:txBody>
            <a:bodyPr>
              <a:spAutoFit/>
              <a:scene3d>
                <a:camera prst="orthographicFront"/>
                <a:lightRig rig="harsh" dir="t"/>
              </a:scene3d>
              <a:sp3d extrusionH="57150" prstMaterial="matte">
                <a:bevelT w="63500" h="12700" prst="angle"/>
                <a:contourClr>
                  <a:schemeClr val="bg1">
                    <a:lumMod val="65000"/>
                  </a:schemeClr>
                </a:contourClr>
              </a:sp3d>
            </a:bodyPr>
            <a:lstStyle/>
            <a:p>
              <a:pPr algn="ctr" fontAlgn="auto">
                <a:spcBef>
                  <a:spcPts val="0"/>
                </a:spcBef>
                <a:spcAft>
                  <a:spcPts val="0"/>
                </a:spcAft>
                <a:defRPr/>
              </a:pPr>
              <a:r>
                <a:rPr lang="en-US" sz="5400" b="1" dirty="0">
                  <a:ln/>
                  <a:solidFill>
                    <a:schemeClr val="accent4"/>
                  </a:solidFill>
                  <a:latin typeface="+mn-lt"/>
                </a:rPr>
                <a:t>2</a:t>
              </a:r>
            </a:p>
          </p:txBody>
        </p:sp>
      </p:grpSp>
      <p:pic>
        <p:nvPicPr>
          <p:cNvPr id="27" name="Picture 3" descr="C:\Documents and Settings\dalida.nordin\My Documents\Grabilla Captures\grabilla.gq3272.png"/>
          <p:cNvPicPr>
            <a:picLocks noChangeAspect="1" noChangeArrowheads="1"/>
          </p:cNvPicPr>
          <p:nvPr/>
        </p:nvPicPr>
        <p:blipFill>
          <a:blip r:embed="rId4" cstate="print"/>
          <a:srcRect/>
          <a:stretch>
            <a:fillRect/>
          </a:stretch>
        </p:blipFill>
        <p:spPr bwMode="auto">
          <a:xfrm>
            <a:off x="6409004" y="1468677"/>
            <a:ext cx="2584936" cy="2057398"/>
          </a:xfrm>
          <a:prstGeom prst="rect">
            <a:avLst/>
          </a:prstGeom>
          <a:noFill/>
        </p:spPr>
      </p:pic>
      <p:sp>
        <p:nvSpPr>
          <p:cNvPr id="28" name="Oval 27"/>
          <p:cNvSpPr/>
          <p:nvPr/>
        </p:nvSpPr>
        <p:spPr>
          <a:xfrm>
            <a:off x="6256166" y="1468677"/>
            <a:ext cx="2643174" cy="928694"/>
          </a:xfrm>
          <a:prstGeom prst="ellipse">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9" name="Rectangle 28"/>
          <p:cNvSpPr/>
          <p:nvPr/>
        </p:nvSpPr>
        <p:spPr>
          <a:xfrm>
            <a:off x="6405828" y="2497376"/>
            <a:ext cx="2571736" cy="1571636"/>
          </a:xfrm>
          <a:prstGeom prst="rect">
            <a:avLst/>
          </a:prstGeom>
          <a:noFill/>
          <a:ln>
            <a:solidFill>
              <a:srgbClr val="FF0000"/>
            </a:solidFill>
            <a:prstDash val="sysDot"/>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cxnSp>
        <p:nvCxnSpPr>
          <p:cNvPr id="30" name="Straight Connector 29"/>
          <p:cNvCxnSpPr/>
          <p:nvPr/>
        </p:nvCxnSpPr>
        <p:spPr>
          <a:xfrm flipV="1">
            <a:off x="6035902" y="2083850"/>
            <a:ext cx="369926" cy="413526"/>
          </a:xfrm>
          <a:prstGeom prst="line">
            <a:avLst/>
          </a:prstGeom>
          <a:ln w="25400" cap="rnd">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7554002" y="4159193"/>
            <a:ext cx="0" cy="497742"/>
          </a:xfrm>
          <a:prstGeom prst="line">
            <a:avLst/>
          </a:prstGeom>
          <a:ln w="25400" cap="rnd">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6436344" y="4626088"/>
            <a:ext cx="2876097" cy="1169551"/>
          </a:xfrm>
          <a:prstGeom prst="rect">
            <a:avLst/>
          </a:prstGeom>
        </p:spPr>
        <p:txBody>
          <a:bodyPr wrap="square">
            <a:spAutoFit/>
          </a:bodyPr>
          <a:lstStyle/>
          <a:p>
            <a:pPr algn="ctr"/>
            <a:r>
              <a:rPr lang="ms-MY" sz="1400" dirty="0" smtClean="0">
                <a:latin typeface="Segoe UI" pitchFamily="34" charset="0"/>
                <a:ea typeface="Segoe UI" pitchFamily="34" charset="0"/>
                <a:cs typeface="Segoe UI" pitchFamily="34" charset="0"/>
              </a:rPr>
              <a:t>Pegawai Penilai (PP) perlu meneliti deskripsi yang mentafsir aspek dan kaedah penilaian untuk menentukan skor bagi Pegawai Yang Dinilai (PYD)</a:t>
            </a:r>
            <a:endParaRPr lang="en-US" sz="1400" dirty="0">
              <a:solidFill>
                <a:schemeClr val="tx1">
                  <a:lumMod val="85000"/>
                  <a:lumOff val="15000"/>
                </a:schemeClr>
              </a:solidFill>
              <a:latin typeface="Segoe UI" pitchFamily="34" charset="0"/>
              <a:ea typeface="Segoe UI" pitchFamily="34" charset="0"/>
              <a:cs typeface="Segoe UI" pitchFamily="34" charset="0"/>
            </a:endParaRPr>
          </a:p>
        </p:txBody>
      </p:sp>
      <p:sp>
        <p:nvSpPr>
          <p:cNvPr id="31" name="Content Placeholder 19"/>
          <p:cNvSpPr txBox="1">
            <a:spLocks/>
          </p:cNvSpPr>
          <p:nvPr/>
        </p:nvSpPr>
        <p:spPr>
          <a:xfrm>
            <a:off x="195921" y="4241952"/>
            <a:ext cx="1522413" cy="1981200"/>
          </a:xfrm>
          <a:prstGeom prst="rect">
            <a:avLst/>
          </a:prstGeom>
        </p:spPr>
        <p:txBody>
          <a:bodyPr lIns="68580" tIns="34290" rIns="68580" bIns="3429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lnSpc>
                <a:spcPct val="70000"/>
              </a:lnSpc>
              <a:spcAft>
                <a:spcPts val="0"/>
              </a:spcAft>
              <a:buFont typeface="Arial" panose="020B0604020202020204" pitchFamily="34" charset="0"/>
              <a:buNone/>
              <a:defRPr/>
            </a:pPr>
            <a:r>
              <a:rPr lang="ms-MY" sz="1600" b="1" dirty="0" smtClean="0">
                <a:solidFill>
                  <a:srgbClr val="0000FF"/>
                </a:solidFill>
                <a:latin typeface="Arial Narrow"/>
                <a:cs typeface="Arial Narrow"/>
              </a:rPr>
              <a:t>Konsisten</a:t>
            </a:r>
          </a:p>
          <a:p>
            <a:pPr marL="0" indent="0" algn="ctr" fontAlgn="auto">
              <a:lnSpc>
                <a:spcPct val="70000"/>
              </a:lnSpc>
              <a:spcAft>
                <a:spcPts val="0"/>
              </a:spcAft>
              <a:buFont typeface="Arial" panose="020B0604020202020204" pitchFamily="34" charset="0"/>
              <a:buNone/>
              <a:defRPr/>
            </a:pPr>
            <a:r>
              <a:rPr lang="ms-MY" sz="1600" b="1" dirty="0" smtClean="0">
                <a:solidFill>
                  <a:srgbClr val="0000FF"/>
                </a:solidFill>
                <a:latin typeface="Arial Narrow"/>
                <a:cs typeface="Arial Narrow"/>
              </a:rPr>
              <a:t>Kepelbagaian</a:t>
            </a:r>
          </a:p>
          <a:p>
            <a:pPr marL="0" indent="0" algn="ctr" fontAlgn="auto">
              <a:lnSpc>
                <a:spcPct val="70000"/>
              </a:lnSpc>
              <a:spcAft>
                <a:spcPts val="0"/>
              </a:spcAft>
              <a:buFont typeface="Arial" panose="020B0604020202020204" pitchFamily="34" charset="0"/>
              <a:buNone/>
              <a:defRPr/>
            </a:pPr>
            <a:r>
              <a:rPr lang="ms-MY" sz="1600" b="1" dirty="0" smtClean="0">
                <a:solidFill>
                  <a:srgbClr val="0000FF"/>
                </a:solidFill>
                <a:latin typeface="Arial Narrow"/>
                <a:cs typeface="Arial Narrow"/>
              </a:rPr>
              <a:t>Berkesan, Aktif</a:t>
            </a:r>
          </a:p>
          <a:p>
            <a:pPr marL="0" indent="0" algn="ctr" fontAlgn="auto">
              <a:lnSpc>
                <a:spcPct val="70000"/>
              </a:lnSpc>
              <a:spcAft>
                <a:spcPts val="0"/>
              </a:spcAft>
              <a:buFont typeface="Arial" panose="020B0604020202020204" pitchFamily="34" charset="0"/>
              <a:buNone/>
              <a:defRPr/>
            </a:pPr>
            <a:r>
              <a:rPr lang="ms-MY" sz="1600" b="1" dirty="0" smtClean="0">
                <a:solidFill>
                  <a:srgbClr val="0000FF"/>
                </a:solidFill>
                <a:latin typeface="Arial Narrow"/>
                <a:cs typeface="Arial Narrow"/>
              </a:rPr>
              <a:t>Menyeluruh</a:t>
            </a:r>
          </a:p>
          <a:p>
            <a:pPr marL="0" indent="0" algn="ctr" fontAlgn="auto">
              <a:lnSpc>
                <a:spcPct val="70000"/>
              </a:lnSpc>
              <a:spcAft>
                <a:spcPts val="0"/>
              </a:spcAft>
              <a:buFont typeface="Arial" panose="020B0604020202020204" pitchFamily="34" charset="0"/>
              <a:buNone/>
              <a:defRPr/>
            </a:pPr>
            <a:r>
              <a:rPr lang="ms-MY" sz="1600" b="1" dirty="0" smtClean="0">
                <a:solidFill>
                  <a:srgbClr val="0000FF"/>
                </a:solidFill>
                <a:latin typeface="Arial Narrow"/>
                <a:cs typeface="Arial Narrow"/>
              </a:rPr>
              <a:t>Tindakan susulan</a:t>
            </a:r>
          </a:p>
          <a:p>
            <a:pPr marL="0" indent="0" algn="ctr" fontAlgn="auto">
              <a:lnSpc>
                <a:spcPct val="70000"/>
              </a:lnSpc>
              <a:spcAft>
                <a:spcPts val="0"/>
              </a:spcAft>
              <a:buFont typeface="Arial" panose="020B0604020202020204" pitchFamily="34" charset="0"/>
              <a:buNone/>
              <a:defRPr/>
            </a:pPr>
            <a:r>
              <a:rPr lang="ms-MY" sz="1600" b="1" dirty="0" smtClean="0">
                <a:solidFill>
                  <a:srgbClr val="0000FF"/>
                </a:solidFill>
                <a:latin typeface="Arial Narrow"/>
                <a:cs typeface="Arial Narrow"/>
              </a:rPr>
              <a:t>Kritis dan Kreatif</a:t>
            </a:r>
          </a:p>
          <a:p>
            <a:pPr marL="0" indent="0" algn="ctr" fontAlgn="auto">
              <a:lnSpc>
                <a:spcPct val="70000"/>
              </a:lnSpc>
              <a:spcAft>
                <a:spcPts val="0"/>
              </a:spcAft>
              <a:buFont typeface="Arial" panose="020B0604020202020204" pitchFamily="34" charset="0"/>
              <a:buNone/>
              <a:defRPr/>
            </a:pPr>
            <a:endParaRPr lang="id-ID" sz="1600" b="1" dirty="0">
              <a:solidFill>
                <a:schemeClr val="accent2">
                  <a:lumMod val="75000"/>
                </a:schemeClr>
              </a:solidFill>
              <a:latin typeface="Arial Narrow"/>
              <a:cs typeface="Arial Narrow"/>
            </a:endParaRPr>
          </a:p>
        </p:txBody>
      </p:sp>
      <p:sp>
        <p:nvSpPr>
          <p:cNvPr id="32" name="Content Placeholder 19"/>
          <p:cNvSpPr txBox="1">
            <a:spLocks/>
          </p:cNvSpPr>
          <p:nvPr/>
        </p:nvSpPr>
        <p:spPr>
          <a:xfrm>
            <a:off x="3170814" y="4331993"/>
            <a:ext cx="1522413" cy="1962150"/>
          </a:xfrm>
          <a:prstGeom prst="rect">
            <a:avLst/>
          </a:prstGeom>
        </p:spPr>
        <p:txBody>
          <a:bodyPr lIns="68580" tIns="34290" rIns="68580" bIns="3429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lnSpc>
                <a:spcPct val="80000"/>
              </a:lnSpc>
              <a:spcAft>
                <a:spcPts val="0"/>
              </a:spcAft>
              <a:buFont typeface="Arial" panose="020B0604020202020204" pitchFamily="34" charset="0"/>
              <a:buNone/>
              <a:defRPr/>
            </a:pPr>
            <a:r>
              <a:rPr lang="ms-MY" sz="1600" b="1" dirty="0" smtClean="0">
                <a:solidFill>
                  <a:schemeClr val="accent4">
                    <a:lumMod val="75000"/>
                  </a:schemeClr>
                </a:solidFill>
                <a:latin typeface="Arial Narrow"/>
                <a:cs typeface="Arial Narrow"/>
              </a:rPr>
              <a:t>Kurang</a:t>
            </a:r>
          </a:p>
          <a:p>
            <a:pPr marL="0" indent="0" algn="ctr" fontAlgn="auto">
              <a:lnSpc>
                <a:spcPct val="80000"/>
              </a:lnSpc>
              <a:spcAft>
                <a:spcPts val="0"/>
              </a:spcAft>
              <a:buFont typeface="Arial" panose="020B0604020202020204" pitchFamily="34" charset="0"/>
              <a:buNone/>
              <a:defRPr/>
            </a:pPr>
            <a:r>
              <a:rPr lang="ms-MY" sz="1600" b="1" dirty="0" smtClean="0">
                <a:solidFill>
                  <a:schemeClr val="accent4">
                    <a:lumMod val="75000"/>
                  </a:schemeClr>
                </a:solidFill>
                <a:latin typeface="Arial Narrow"/>
                <a:cs typeface="Arial Narrow"/>
              </a:rPr>
              <a:t>Sebilangan kecil</a:t>
            </a:r>
          </a:p>
          <a:p>
            <a:pPr marL="0" indent="0" algn="ctr" fontAlgn="auto">
              <a:lnSpc>
                <a:spcPct val="80000"/>
              </a:lnSpc>
              <a:spcAft>
                <a:spcPts val="0"/>
              </a:spcAft>
              <a:buFont typeface="Arial" panose="020B0604020202020204" pitchFamily="34" charset="0"/>
              <a:buNone/>
              <a:defRPr/>
            </a:pPr>
            <a:r>
              <a:rPr lang="ms-MY" sz="1600" b="1" dirty="0" smtClean="0">
                <a:solidFill>
                  <a:schemeClr val="accent4">
                    <a:lumMod val="75000"/>
                  </a:schemeClr>
                </a:solidFill>
                <a:latin typeface="Arial Narrow"/>
                <a:cs typeface="Arial Narrow"/>
              </a:rPr>
              <a:t>Memuaskan</a:t>
            </a:r>
          </a:p>
          <a:p>
            <a:pPr marL="0" indent="0" algn="ctr" fontAlgn="auto">
              <a:lnSpc>
                <a:spcPct val="80000"/>
              </a:lnSpc>
              <a:spcAft>
                <a:spcPts val="0"/>
              </a:spcAft>
              <a:buFont typeface="Arial" panose="020B0604020202020204" pitchFamily="34" charset="0"/>
              <a:buNone/>
              <a:defRPr/>
            </a:pPr>
            <a:r>
              <a:rPr lang="ms-MY" sz="1600" b="1" dirty="0" smtClean="0">
                <a:solidFill>
                  <a:schemeClr val="accent4">
                    <a:lumMod val="75000"/>
                  </a:schemeClr>
                </a:solidFill>
                <a:latin typeface="Arial Narrow"/>
                <a:cs typeface="Arial Narrow"/>
              </a:rPr>
              <a:t>Masih memerlukan bimbingan</a:t>
            </a:r>
            <a:endParaRPr lang="en-US" sz="1600" b="1" dirty="0">
              <a:solidFill>
                <a:schemeClr val="accent4">
                  <a:lumMod val="75000"/>
                </a:schemeClr>
              </a:solidFill>
              <a:latin typeface="Arial Narrow"/>
              <a:cs typeface="Arial Narrow"/>
            </a:endParaRPr>
          </a:p>
        </p:txBody>
      </p:sp>
      <p:sp>
        <p:nvSpPr>
          <p:cNvPr id="38" name="Content Placeholder 19"/>
          <p:cNvSpPr txBox="1">
            <a:spLocks/>
          </p:cNvSpPr>
          <p:nvPr/>
        </p:nvSpPr>
        <p:spPr>
          <a:xfrm>
            <a:off x="4558271" y="4275929"/>
            <a:ext cx="1814513" cy="1970088"/>
          </a:xfrm>
          <a:prstGeom prst="rect">
            <a:avLst/>
          </a:prstGeom>
        </p:spPr>
        <p:txBody>
          <a:bodyPr lIns="68580" tIns="34290" rIns="68580" bIns="3429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lnSpc>
                <a:spcPct val="80000"/>
              </a:lnSpc>
              <a:spcAft>
                <a:spcPts val="0"/>
              </a:spcAft>
              <a:buFont typeface="Arial" panose="020B0604020202020204" pitchFamily="34" charset="0"/>
              <a:buNone/>
              <a:defRPr/>
            </a:pPr>
            <a:r>
              <a:rPr lang="ms-MY" sz="1600" b="1" dirty="0" smtClean="0">
                <a:solidFill>
                  <a:srgbClr val="FF0000"/>
                </a:solidFill>
                <a:latin typeface="Arial Narrow"/>
                <a:cs typeface="Arial Narrow"/>
              </a:rPr>
              <a:t>Tiada</a:t>
            </a:r>
          </a:p>
          <a:p>
            <a:pPr marL="0" indent="0" algn="ctr" fontAlgn="auto">
              <a:lnSpc>
                <a:spcPct val="80000"/>
              </a:lnSpc>
              <a:spcAft>
                <a:spcPts val="0"/>
              </a:spcAft>
              <a:buFont typeface="Arial" panose="020B0604020202020204" pitchFamily="34" charset="0"/>
              <a:buNone/>
              <a:defRPr/>
            </a:pPr>
            <a:r>
              <a:rPr lang="ms-MY" sz="1600" b="1" dirty="0" smtClean="0">
                <a:solidFill>
                  <a:srgbClr val="FF0000"/>
                </a:solidFill>
                <a:latin typeface="Arial Narrow"/>
                <a:cs typeface="Arial Narrow"/>
              </a:rPr>
              <a:t>Tidak menguasai, tidak lengkap, tidak merancang dan sebagainya</a:t>
            </a:r>
          </a:p>
          <a:p>
            <a:pPr marL="0" indent="0" algn="ctr" fontAlgn="auto">
              <a:lnSpc>
                <a:spcPct val="80000"/>
              </a:lnSpc>
              <a:spcAft>
                <a:spcPts val="0"/>
              </a:spcAft>
              <a:buFont typeface="Arial" panose="020B0604020202020204" pitchFamily="34" charset="0"/>
              <a:buNone/>
              <a:defRPr/>
            </a:pPr>
            <a:r>
              <a:rPr lang="ms-MY" sz="1600" b="1" dirty="0" smtClean="0">
                <a:solidFill>
                  <a:srgbClr val="FF0000"/>
                </a:solidFill>
                <a:latin typeface="Arial Narrow"/>
                <a:cs typeface="Arial Narrow"/>
              </a:rPr>
              <a:t>Sentiasa memerlukan bimbingan</a:t>
            </a:r>
            <a:endParaRPr lang="en-US" sz="1600" b="1" dirty="0" smtClean="0">
              <a:solidFill>
                <a:srgbClr val="FF0000"/>
              </a:solidFill>
              <a:latin typeface="Arial Narrow"/>
              <a:cs typeface="Arial Narrow"/>
            </a:endParaRPr>
          </a:p>
        </p:txBody>
      </p:sp>
      <p:sp>
        <p:nvSpPr>
          <p:cNvPr id="39" name="Content Placeholder 19"/>
          <p:cNvSpPr txBox="1">
            <a:spLocks/>
          </p:cNvSpPr>
          <p:nvPr/>
        </p:nvSpPr>
        <p:spPr>
          <a:xfrm>
            <a:off x="1659109" y="4295091"/>
            <a:ext cx="1435100" cy="2124075"/>
          </a:xfrm>
          <a:prstGeom prst="rect">
            <a:avLst/>
          </a:prstGeom>
        </p:spPr>
        <p:txBody>
          <a:bodyPr lIns="68580" tIns="34290" rIns="68580" bIns="3429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lnSpc>
                <a:spcPct val="50000"/>
              </a:lnSpc>
              <a:spcAft>
                <a:spcPts val="0"/>
              </a:spcAft>
              <a:buFont typeface="Arial" panose="020B0604020202020204" pitchFamily="34" charset="0"/>
              <a:buNone/>
              <a:defRPr/>
            </a:pPr>
            <a:r>
              <a:rPr lang="ms-MY" sz="1600" b="1" dirty="0" smtClean="0">
                <a:solidFill>
                  <a:srgbClr val="008000"/>
                </a:solidFill>
                <a:latin typeface="Arial Narrow"/>
                <a:cs typeface="Arial Narrow"/>
              </a:rPr>
              <a:t>Menguasai</a:t>
            </a:r>
          </a:p>
          <a:p>
            <a:pPr marL="0" indent="0" algn="ctr" fontAlgn="auto">
              <a:lnSpc>
                <a:spcPct val="50000"/>
              </a:lnSpc>
              <a:spcAft>
                <a:spcPts val="0"/>
              </a:spcAft>
              <a:buFont typeface="Arial" panose="020B0604020202020204" pitchFamily="34" charset="0"/>
              <a:buNone/>
              <a:defRPr/>
            </a:pPr>
            <a:r>
              <a:rPr lang="ms-MY" sz="1600" b="1" dirty="0" smtClean="0">
                <a:solidFill>
                  <a:srgbClr val="008000"/>
                </a:solidFill>
                <a:latin typeface="Arial Narrow"/>
                <a:cs typeface="Arial Narrow"/>
              </a:rPr>
              <a:t>Merancang</a:t>
            </a:r>
          </a:p>
          <a:p>
            <a:pPr marL="0" indent="0" algn="ctr" fontAlgn="auto">
              <a:lnSpc>
                <a:spcPct val="50000"/>
              </a:lnSpc>
              <a:spcAft>
                <a:spcPts val="0"/>
              </a:spcAft>
              <a:buFont typeface="Arial" panose="020B0604020202020204" pitchFamily="34" charset="0"/>
              <a:buNone/>
              <a:defRPr/>
            </a:pPr>
            <a:r>
              <a:rPr lang="ms-MY" sz="1600" b="1" dirty="0" smtClean="0">
                <a:solidFill>
                  <a:srgbClr val="008000"/>
                </a:solidFill>
                <a:latin typeface="Arial Narrow"/>
                <a:cs typeface="Arial Narrow"/>
              </a:rPr>
              <a:t>Menyediakan</a:t>
            </a:r>
          </a:p>
          <a:p>
            <a:pPr marL="0" indent="0" algn="ctr" fontAlgn="auto">
              <a:lnSpc>
                <a:spcPct val="50000"/>
              </a:lnSpc>
              <a:spcAft>
                <a:spcPts val="0"/>
              </a:spcAft>
              <a:buFont typeface="Arial" panose="020B0604020202020204" pitchFamily="34" charset="0"/>
              <a:buNone/>
              <a:defRPr/>
            </a:pPr>
            <a:r>
              <a:rPr lang="ms-MY" sz="1600" b="1" dirty="0" smtClean="0">
                <a:solidFill>
                  <a:srgbClr val="008000"/>
                </a:solidFill>
                <a:latin typeface="Arial Narrow"/>
                <a:cs typeface="Arial Narrow"/>
              </a:rPr>
              <a:t>Menganalisis</a:t>
            </a:r>
          </a:p>
          <a:p>
            <a:pPr marL="0" indent="0" algn="ctr" fontAlgn="auto">
              <a:lnSpc>
                <a:spcPct val="50000"/>
              </a:lnSpc>
              <a:spcAft>
                <a:spcPts val="0"/>
              </a:spcAft>
              <a:buFont typeface="Arial" panose="020B0604020202020204" pitchFamily="34" charset="0"/>
              <a:buNone/>
              <a:defRPr/>
            </a:pPr>
            <a:r>
              <a:rPr lang="ms-MY" sz="1600" b="1" dirty="0" smtClean="0">
                <a:solidFill>
                  <a:srgbClr val="008000"/>
                </a:solidFill>
                <a:latin typeface="Arial Narrow"/>
                <a:cs typeface="Arial Narrow"/>
              </a:rPr>
              <a:t>Lengkap</a:t>
            </a:r>
          </a:p>
          <a:p>
            <a:pPr marL="0" indent="0" algn="ctr" fontAlgn="auto">
              <a:lnSpc>
                <a:spcPct val="50000"/>
              </a:lnSpc>
              <a:spcAft>
                <a:spcPts val="0"/>
              </a:spcAft>
              <a:buFont typeface="Arial" panose="020B0604020202020204" pitchFamily="34" charset="0"/>
              <a:buNone/>
              <a:defRPr/>
            </a:pPr>
            <a:endParaRPr lang="en-US" sz="1600" b="1" dirty="0">
              <a:solidFill>
                <a:schemeClr val="accent3">
                  <a:lumMod val="75000"/>
                </a:schemeClr>
              </a:solidFill>
              <a:latin typeface="Arial Narrow"/>
              <a:cs typeface="Arial Narrow"/>
            </a:endParaRPr>
          </a:p>
        </p:txBody>
      </p:sp>
      <p:sp>
        <p:nvSpPr>
          <p:cNvPr id="40" name="Rectangle 39"/>
          <p:cNvSpPr/>
          <p:nvPr/>
        </p:nvSpPr>
        <p:spPr>
          <a:xfrm>
            <a:off x="850632" y="1468677"/>
            <a:ext cx="4157681" cy="523220"/>
          </a:xfrm>
          <a:prstGeom prst="rect">
            <a:avLst/>
          </a:prstGeom>
        </p:spPr>
        <p:txBody>
          <a:bodyPr wrap="square">
            <a:spAutoFit/>
          </a:bodyPr>
          <a:lstStyle/>
          <a:p>
            <a:pPr algn="ctr">
              <a:defRPr/>
            </a:pPr>
            <a:r>
              <a:rPr lang="en-MY" sz="1400" dirty="0" err="1" smtClean="0">
                <a:ln w="6350">
                  <a:noFill/>
                </a:ln>
                <a:solidFill>
                  <a:prstClr val="black"/>
                </a:solidFill>
                <a:latin typeface="Segoe UI" pitchFamily="34" charset="0"/>
                <a:ea typeface="Segoe UI" pitchFamily="34" charset="0"/>
                <a:cs typeface="Segoe UI" pitchFamily="34" charset="0"/>
              </a:rPr>
              <a:t>Berupaya</a:t>
            </a:r>
            <a:r>
              <a:rPr lang="en-MY" sz="1400" dirty="0" smtClean="0">
                <a:ln w="6350">
                  <a:noFill/>
                </a:ln>
                <a:solidFill>
                  <a:prstClr val="black"/>
                </a:solidFill>
                <a:latin typeface="Segoe UI" pitchFamily="34" charset="0"/>
                <a:ea typeface="Segoe UI" pitchFamily="34" charset="0"/>
                <a:cs typeface="Segoe UI" pitchFamily="34" charset="0"/>
              </a:rPr>
              <a:t> </a:t>
            </a:r>
            <a:r>
              <a:rPr lang="en-MY" sz="1400" dirty="0" err="1" smtClean="0">
                <a:ln w="6350">
                  <a:noFill/>
                </a:ln>
                <a:solidFill>
                  <a:prstClr val="black"/>
                </a:solidFill>
                <a:latin typeface="Segoe UI" pitchFamily="34" charset="0"/>
                <a:ea typeface="Segoe UI" pitchFamily="34" charset="0"/>
                <a:cs typeface="Segoe UI" pitchFamily="34" charset="0"/>
              </a:rPr>
              <a:t>menyatakan</a:t>
            </a:r>
            <a:r>
              <a:rPr lang="en-MY" sz="1400" dirty="0" smtClean="0">
                <a:ln w="6350">
                  <a:noFill/>
                </a:ln>
                <a:solidFill>
                  <a:prstClr val="black"/>
                </a:solidFill>
                <a:latin typeface="Segoe UI" pitchFamily="34" charset="0"/>
                <a:ea typeface="Segoe UI" pitchFamily="34" charset="0"/>
                <a:cs typeface="Segoe UI" pitchFamily="34" charset="0"/>
              </a:rPr>
              <a:t> </a:t>
            </a:r>
            <a:r>
              <a:rPr lang="en-MY" sz="1400" dirty="0" err="1" smtClean="0">
                <a:ln w="6350">
                  <a:noFill/>
                </a:ln>
                <a:solidFill>
                  <a:prstClr val="black"/>
                </a:solidFill>
                <a:latin typeface="Segoe UI" pitchFamily="34" charset="0"/>
                <a:ea typeface="Segoe UI" pitchFamily="34" charset="0"/>
                <a:cs typeface="Segoe UI" pitchFamily="34" charset="0"/>
              </a:rPr>
              <a:t>perbezaan</a:t>
            </a:r>
            <a:r>
              <a:rPr lang="en-MY" sz="1400" dirty="0" smtClean="0">
                <a:ln w="6350">
                  <a:noFill/>
                </a:ln>
                <a:solidFill>
                  <a:prstClr val="black"/>
                </a:solidFill>
                <a:latin typeface="Segoe UI" pitchFamily="34" charset="0"/>
                <a:ea typeface="Segoe UI" pitchFamily="34" charset="0"/>
                <a:cs typeface="Segoe UI" pitchFamily="34" charset="0"/>
              </a:rPr>
              <a:t> </a:t>
            </a:r>
            <a:r>
              <a:rPr lang="en-MY" sz="1400" dirty="0" err="1" smtClean="0">
                <a:ln w="6350">
                  <a:noFill/>
                </a:ln>
                <a:solidFill>
                  <a:prstClr val="black"/>
                </a:solidFill>
                <a:latin typeface="Segoe UI" pitchFamily="34" charset="0"/>
                <a:ea typeface="Segoe UI" pitchFamily="34" charset="0"/>
                <a:cs typeface="Segoe UI" pitchFamily="34" charset="0"/>
              </a:rPr>
              <a:t>kualiti</a:t>
            </a:r>
            <a:r>
              <a:rPr lang="en-MY" sz="1400" dirty="0" smtClean="0">
                <a:ln w="6350">
                  <a:noFill/>
                </a:ln>
                <a:solidFill>
                  <a:prstClr val="black"/>
                </a:solidFill>
                <a:latin typeface="Segoe UI" pitchFamily="34" charset="0"/>
                <a:ea typeface="Segoe UI" pitchFamily="34" charset="0"/>
                <a:cs typeface="Segoe UI" pitchFamily="34" charset="0"/>
              </a:rPr>
              <a:t> </a:t>
            </a:r>
            <a:r>
              <a:rPr lang="en-MY" sz="1400" dirty="0" err="1" smtClean="0">
                <a:ln w="6350">
                  <a:noFill/>
                </a:ln>
                <a:solidFill>
                  <a:prstClr val="black"/>
                </a:solidFill>
                <a:latin typeface="Segoe UI" pitchFamily="34" charset="0"/>
                <a:ea typeface="Segoe UI" pitchFamily="34" charset="0"/>
                <a:cs typeface="Segoe UI" pitchFamily="34" charset="0"/>
              </a:rPr>
              <a:t>tingkah</a:t>
            </a:r>
            <a:r>
              <a:rPr lang="en-MY" sz="1400" dirty="0" smtClean="0">
                <a:ln w="6350">
                  <a:noFill/>
                </a:ln>
                <a:solidFill>
                  <a:prstClr val="black"/>
                </a:solidFill>
                <a:latin typeface="Segoe UI" pitchFamily="34" charset="0"/>
                <a:ea typeface="Segoe UI" pitchFamily="34" charset="0"/>
                <a:cs typeface="Segoe UI" pitchFamily="34" charset="0"/>
              </a:rPr>
              <a:t> </a:t>
            </a:r>
            <a:r>
              <a:rPr lang="en-MY" sz="1400" dirty="0" err="1" smtClean="0">
                <a:ln w="6350">
                  <a:noFill/>
                </a:ln>
                <a:solidFill>
                  <a:prstClr val="black"/>
                </a:solidFill>
                <a:latin typeface="Segoe UI" pitchFamily="34" charset="0"/>
                <a:ea typeface="Segoe UI" pitchFamily="34" charset="0"/>
                <a:cs typeface="Segoe UI" pitchFamily="34" charset="0"/>
              </a:rPr>
              <a:t>laku</a:t>
            </a:r>
            <a:r>
              <a:rPr lang="en-MY" sz="1400" dirty="0" smtClean="0">
                <a:ln w="6350">
                  <a:noFill/>
                </a:ln>
                <a:solidFill>
                  <a:prstClr val="black"/>
                </a:solidFill>
                <a:latin typeface="Segoe UI" pitchFamily="34" charset="0"/>
                <a:ea typeface="Segoe UI" pitchFamily="34" charset="0"/>
                <a:cs typeface="Segoe UI" pitchFamily="34" charset="0"/>
              </a:rPr>
              <a:t> </a:t>
            </a:r>
            <a:r>
              <a:rPr lang="en-MY" sz="1400" dirty="0" err="1" smtClean="0">
                <a:ln w="6350">
                  <a:noFill/>
                </a:ln>
                <a:solidFill>
                  <a:prstClr val="black"/>
                </a:solidFill>
                <a:latin typeface="Segoe UI" pitchFamily="34" charset="0"/>
                <a:ea typeface="Segoe UI" pitchFamily="34" charset="0"/>
                <a:cs typeface="Segoe UI" pitchFamily="34" charset="0"/>
              </a:rPr>
              <a:t>dengan</a:t>
            </a:r>
            <a:r>
              <a:rPr lang="en-MY" sz="1400" dirty="0" smtClean="0">
                <a:ln w="6350">
                  <a:noFill/>
                </a:ln>
                <a:solidFill>
                  <a:prstClr val="black"/>
                </a:solidFill>
                <a:latin typeface="Segoe UI" pitchFamily="34" charset="0"/>
                <a:ea typeface="Segoe UI" pitchFamily="34" charset="0"/>
                <a:cs typeface="Segoe UI" pitchFamily="34" charset="0"/>
              </a:rPr>
              <a:t> </a:t>
            </a:r>
            <a:r>
              <a:rPr lang="en-MY" sz="1400" dirty="0" err="1" smtClean="0">
                <a:ln w="6350">
                  <a:noFill/>
                </a:ln>
                <a:solidFill>
                  <a:prstClr val="black"/>
                </a:solidFill>
                <a:latin typeface="Segoe UI" pitchFamily="34" charset="0"/>
                <a:ea typeface="Segoe UI" pitchFamily="34" charset="0"/>
                <a:cs typeface="Segoe UI" pitchFamily="34" charset="0"/>
              </a:rPr>
              <a:t>jelas</a:t>
            </a:r>
            <a:endParaRPr lang="en-MY" sz="1400" dirty="0">
              <a:solidFill>
                <a:prstClr val="black"/>
              </a:solidFill>
              <a:latin typeface="Segoe UI" pitchFamily="34" charset="0"/>
              <a:ea typeface="Segoe UI" pitchFamily="34" charset="0"/>
              <a:cs typeface="Segoe UI" pitchFamily="34" charset="0"/>
            </a:endParaRPr>
          </a:p>
        </p:txBody>
      </p:sp>
      <p:sp>
        <p:nvSpPr>
          <p:cNvPr id="43" name="Rectangle 42"/>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ARAS PENCAPAIAN</a:t>
            </a:r>
            <a:endParaRPr lang="en-US" sz="2800" b="1" dirty="0">
              <a:solidFill>
                <a:schemeClr val="bg1"/>
              </a:solidFill>
              <a:latin typeface="Segoe UI" pitchFamily="34" charset="0"/>
              <a:ea typeface="Segoe UI" pitchFamily="34" charset="0"/>
              <a:cs typeface="Segoe UI" pitchFamily="34" charset="0"/>
            </a:endParaRPr>
          </a:p>
        </p:txBody>
      </p:sp>
      <p:sp>
        <p:nvSpPr>
          <p:cNvPr id="41" name="Freeform 68"/>
          <p:cNvSpPr>
            <a:spLocks/>
          </p:cNvSpPr>
          <p:nvPr>
            <p:custDataLst>
              <p:tags r:id="rId1"/>
            </p:custDataLst>
          </p:nvPr>
        </p:nvSpPr>
        <p:spPr bwMode="gray">
          <a:xfrm flipV="1">
            <a:off x="1202519" y="2115008"/>
            <a:ext cx="3372678" cy="139008"/>
          </a:xfrm>
          <a:custGeom>
            <a:avLst/>
            <a:gdLst>
              <a:gd name="T0" fmla="*/ 2147483647 w 2709"/>
              <a:gd name="T1" fmla="*/ 0 h 468"/>
              <a:gd name="T2" fmla="*/ 0 w 2709"/>
              <a:gd name="T3" fmla="*/ 0 h 468"/>
              <a:gd name="T4" fmla="*/ 2147483647 w 2709"/>
              <a:gd name="T5" fmla="*/ 0 h 468"/>
              <a:gd name="T6" fmla="*/ 2147483647 w 2709"/>
              <a:gd name="T7" fmla="*/ 2147483647 h 468"/>
              <a:gd name="T8" fmla="*/ 0 60000 65536"/>
              <a:gd name="T9" fmla="*/ 0 60000 65536"/>
              <a:gd name="T10" fmla="*/ 0 60000 65536"/>
              <a:gd name="T11" fmla="*/ 0 60000 65536"/>
              <a:gd name="T12" fmla="*/ 0 w 2709"/>
              <a:gd name="T13" fmla="*/ 0 h 468"/>
              <a:gd name="T14" fmla="*/ 2709 w 2709"/>
              <a:gd name="T15" fmla="*/ 468 h 468"/>
            </a:gdLst>
            <a:ahLst/>
            <a:cxnLst>
              <a:cxn ang="T8">
                <a:pos x="T0" y="T1"/>
              </a:cxn>
              <a:cxn ang="T9">
                <a:pos x="T2" y="T3"/>
              </a:cxn>
              <a:cxn ang="T10">
                <a:pos x="T4" y="T5"/>
              </a:cxn>
              <a:cxn ang="T11">
                <a:pos x="T6" y="T7"/>
              </a:cxn>
            </a:cxnLst>
            <a:rect l="T12" t="T13" r="T14" b="T15"/>
            <a:pathLst>
              <a:path w="2709" h="468">
                <a:moveTo>
                  <a:pt x="2709" y="0"/>
                </a:moveTo>
                <a:lnTo>
                  <a:pt x="0" y="0"/>
                </a:lnTo>
                <a:lnTo>
                  <a:pt x="1356" y="0"/>
                </a:lnTo>
                <a:lnTo>
                  <a:pt x="1356" y="468"/>
                </a:lnTo>
              </a:path>
            </a:pathLst>
          </a:custGeom>
          <a:noFill/>
          <a:ln w="19050" cap="flat" cmpd="sng">
            <a:solidFill>
              <a:srgbClr val="808080"/>
            </a:solidFill>
            <a:prstDash val="solid"/>
            <a:round/>
            <a:headEnd type="none" w="med" len="med"/>
            <a:tailEnd type="oval" w="med" len="med"/>
          </a:ln>
        </p:spPr>
        <p:txBody>
          <a:bodyPr wrap="none" lIns="73144" tIns="73144" rIns="73144" bIns="73144" anchor="ctr"/>
          <a:lstStyle/>
          <a:p>
            <a:endParaRPr lang="en-US">
              <a:latin typeface="Arial" pitchFamily="34" charset="0"/>
              <a:cs typeface="Arial" pitchFamily="34" charset="0"/>
            </a:endParaRPr>
          </a:p>
        </p:txBody>
      </p:sp>
      <p:sp>
        <p:nvSpPr>
          <p:cNvPr id="42" name="Freeform 68"/>
          <p:cNvSpPr>
            <a:spLocks/>
          </p:cNvSpPr>
          <p:nvPr>
            <p:custDataLst>
              <p:tags r:id="rId2"/>
            </p:custDataLst>
          </p:nvPr>
        </p:nvSpPr>
        <p:spPr bwMode="gray">
          <a:xfrm rot="5400000" flipV="1">
            <a:off x="5458642" y="5268858"/>
            <a:ext cx="1920240" cy="139008"/>
          </a:xfrm>
          <a:custGeom>
            <a:avLst/>
            <a:gdLst>
              <a:gd name="T0" fmla="*/ 2147483647 w 2709"/>
              <a:gd name="T1" fmla="*/ 0 h 468"/>
              <a:gd name="T2" fmla="*/ 0 w 2709"/>
              <a:gd name="T3" fmla="*/ 0 h 468"/>
              <a:gd name="T4" fmla="*/ 2147483647 w 2709"/>
              <a:gd name="T5" fmla="*/ 0 h 468"/>
              <a:gd name="T6" fmla="*/ 2147483647 w 2709"/>
              <a:gd name="T7" fmla="*/ 2147483647 h 468"/>
              <a:gd name="T8" fmla="*/ 0 60000 65536"/>
              <a:gd name="T9" fmla="*/ 0 60000 65536"/>
              <a:gd name="T10" fmla="*/ 0 60000 65536"/>
              <a:gd name="T11" fmla="*/ 0 60000 65536"/>
              <a:gd name="T12" fmla="*/ 0 w 2709"/>
              <a:gd name="T13" fmla="*/ 0 h 468"/>
              <a:gd name="T14" fmla="*/ 2709 w 2709"/>
              <a:gd name="T15" fmla="*/ 468 h 468"/>
            </a:gdLst>
            <a:ahLst/>
            <a:cxnLst>
              <a:cxn ang="T8">
                <a:pos x="T0" y="T1"/>
              </a:cxn>
              <a:cxn ang="T9">
                <a:pos x="T2" y="T3"/>
              </a:cxn>
              <a:cxn ang="T10">
                <a:pos x="T4" y="T5"/>
              </a:cxn>
              <a:cxn ang="T11">
                <a:pos x="T6" y="T7"/>
              </a:cxn>
            </a:cxnLst>
            <a:rect l="T12" t="T13" r="T14" b="T15"/>
            <a:pathLst>
              <a:path w="2709" h="468">
                <a:moveTo>
                  <a:pt x="2709" y="0"/>
                </a:moveTo>
                <a:lnTo>
                  <a:pt x="0" y="0"/>
                </a:lnTo>
                <a:lnTo>
                  <a:pt x="1356" y="0"/>
                </a:lnTo>
                <a:lnTo>
                  <a:pt x="1356" y="468"/>
                </a:lnTo>
              </a:path>
            </a:pathLst>
          </a:custGeom>
          <a:noFill/>
          <a:ln w="19050" cap="flat" cmpd="sng">
            <a:solidFill>
              <a:srgbClr val="808080"/>
            </a:solidFill>
            <a:prstDash val="solid"/>
            <a:round/>
            <a:headEnd type="none" w="med" len="med"/>
            <a:tailEnd type="oval" w="med" len="med"/>
          </a:ln>
        </p:spPr>
        <p:txBody>
          <a:bodyPr wrap="none" lIns="73144" tIns="73144" rIns="73144" bIns="73144" anchor="ctr"/>
          <a:lstStyle/>
          <a:p>
            <a:endParaRPr lang="en-US">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box(in)">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55" presetClass="entr" presetSubtype="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 calcmode="lin" valueType="num">
                                      <p:cBhvr>
                                        <p:cTn id="12" dur="500" fill="hold"/>
                                        <p:tgtEl>
                                          <p:spTgt spid="28"/>
                                        </p:tgtEl>
                                        <p:attrNameLst>
                                          <p:attrName>ppt_w</p:attrName>
                                        </p:attrNameLst>
                                      </p:cBhvr>
                                      <p:tavLst>
                                        <p:tav tm="0">
                                          <p:val>
                                            <p:strVal val="#ppt_w*0.70"/>
                                          </p:val>
                                        </p:tav>
                                        <p:tav tm="100000">
                                          <p:val>
                                            <p:strVal val="#ppt_w"/>
                                          </p:val>
                                        </p:tav>
                                      </p:tavLst>
                                    </p:anim>
                                    <p:anim calcmode="lin" valueType="num">
                                      <p:cBhvr>
                                        <p:cTn id="13" dur="500" fill="hold"/>
                                        <p:tgtEl>
                                          <p:spTgt spid="28"/>
                                        </p:tgtEl>
                                        <p:attrNameLst>
                                          <p:attrName>ppt_h</p:attrName>
                                        </p:attrNameLst>
                                      </p:cBhvr>
                                      <p:tavLst>
                                        <p:tav tm="0">
                                          <p:val>
                                            <p:strVal val="#ppt_h"/>
                                          </p:val>
                                        </p:tav>
                                        <p:tav tm="100000">
                                          <p:val>
                                            <p:strVal val="#ppt_h"/>
                                          </p:val>
                                        </p:tav>
                                      </p:tavLst>
                                    </p:anim>
                                    <p:animEffect transition="in" filter="fade">
                                      <p:cBhvr>
                                        <p:cTn id="14" dur="500"/>
                                        <p:tgtEl>
                                          <p:spTgt spid="28"/>
                                        </p:tgtEl>
                                      </p:cBhvr>
                                    </p:animEffect>
                                  </p:childTnLst>
                                </p:cTn>
                              </p:par>
                              <p:par>
                                <p:cTn id="15" presetID="55" presetClass="entr" presetSubtype="0"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anim calcmode="lin" valueType="num">
                                      <p:cBhvr>
                                        <p:cTn id="17" dur="500" fill="hold"/>
                                        <p:tgtEl>
                                          <p:spTgt spid="30"/>
                                        </p:tgtEl>
                                        <p:attrNameLst>
                                          <p:attrName>ppt_w</p:attrName>
                                        </p:attrNameLst>
                                      </p:cBhvr>
                                      <p:tavLst>
                                        <p:tav tm="0">
                                          <p:val>
                                            <p:strVal val="#ppt_w*0.70"/>
                                          </p:val>
                                        </p:tav>
                                        <p:tav tm="100000">
                                          <p:val>
                                            <p:strVal val="#ppt_w"/>
                                          </p:val>
                                        </p:tav>
                                      </p:tavLst>
                                    </p:anim>
                                    <p:anim calcmode="lin" valueType="num">
                                      <p:cBhvr>
                                        <p:cTn id="18" dur="500" fill="hold"/>
                                        <p:tgtEl>
                                          <p:spTgt spid="30"/>
                                        </p:tgtEl>
                                        <p:attrNameLst>
                                          <p:attrName>ppt_h</p:attrName>
                                        </p:attrNameLst>
                                      </p:cBhvr>
                                      <p:tavLst>
                                        <p:tav tm="0">
                                          <p:val>
                                            <p:strVal val="#ppt_h"/>
                                          </p:val>
                                        </p:tav>
                                        <p:tav tm="100000">
                                          <p:val>
                                            <p:strVal val="#ppt_h"/>
                                          </p:val>
                                        </p:tav>
                                      </p:tavLst>
                                    </p:anim>
                                    <p:animEffect transition="in" filter="fade">
                                      <p:cBhvr>
                                        <p:cTn id="19" dur="500"/>
                                        <p:tgtEl>
                                          <p:spTgt spid="30"/>
                                        </p:tgtEl>
                                      </p:cBhvr>
                                    </p:animEffect>
                                  </p:childTnLst>
                                </p:cTn>
                              </p:par>
                              <p:par>
                                <p:cTn id="20" presetID="55" presetClass="entr" presetSubtype="0" fill="hold" nodeType="withEffect">
                                  <p:stCondLst>
                                    <p:cond delay="0"/>
                                  </p:stCondLst>
                                  <p:childTnLst>
                                    <p:set>
                                      <p:cBhvr>
                                        <p:cTn id="21" dur="1" fill="hold">
                                          <p:stCondLst>
                                            <p:cond delay="0"/>
                                          </p:stCondLst>
                                        </p:cTn>
                                        <p:tgtEl>
                                          <p:spTgt spid="2"/>
                                        </p:tgtEl>
                                        <p:attrNameLst>
                                          <p:attrName>style.visibility</p:attrName>
                                        </p:attrNameLst>
                                      </p:cBhvr>
                                      <p:to>
                                        <p:strVal val="visible"/>
                                      </p:to>
                                    </p:set>
                                    <p:anim calcmode="lin" valueType="num">
                                      <p:cBhvr>
                                        <p:cTn id="22" dur="500" fill="hold"/>
                                        <p:tgtEl>
                                          <p:spTgt spid="2"/>
                                        </p:tgtEl>
                                        <p:attrNameLst>
                                          <p:attrName>ppt_w</p:attrName>
                                        </p:attrNameLst>
                                      </p:cBhvr>
                                      <p:tavLst>
                                        <p:tav tm="0">
                                          <p:val>
                                            <p:strVal val="#ppt_w*0.70"/>
                                          </p:val>
                                        </p:tav>
                                        <p:tav tm="100000">
                                          <p:val>
                                            <p:strVal val="#ppt_w"/>
                                          </p:val>
                                        </p:tav>
                                      </p:tavLst>
                                    </p:anim>
                                    <p:anim calcmode="lin" valueType="num">
                                      <p:cBhvr>
                                        <p:cTn id="23" dur="500" fill="hold"/>
                                        <p:tgtEl>
                                          <p:spTgt spid="2"/>
                                        </p:tgtEl>
                                        <p:attrNameLst>
                                          <p:attrName>ppt_h</p:attrName>
                                        </p:attrNameLst>
                                      </p:cBhvr>
                                      <p:tavLst>
                                        <p:tav tm="0">
                                          <p:val>
                                            <p:strVal val="#ppt_h"/>
                                          </p:val>
                                        </p:tav>
                                        <p:tav tm="100000">
                                          <p:val>
                                            <p:strVal val="#ppt_h"/>
                                          </p:val>
                                        </p:tav>
                                      </p:tavLst>
                                    </p:anim>
                                    <p:animEffect transition="in" filter="fade">
                                      <p:cBhvr>
                                        <p:cTn id="24" dur="500"/>
                                        <p:tgtEl>
                                          <p:spTgt spid="2"/>
                                        </p:tgtEl>
                                      </p:cBhvr>
                                    </p:animEffect>
                                  </p:childTnLst>
                                </p:cTn>
                              </p:par>
                            </p:childTnLst>
                          </p:cTn>
                        </p:par>
                      </p:childTnLst>
                    </p:cTn>
                  </p:par>
                  <p:par>
                    <p:cTn id="25" fill="hold">
                      <p:stCondLst>
                        <p:cond delay="indefinite"/>
                      </p:stCondLst>
                      <p:childTnLst>
                        <p:par>
                          <p:cTn id="26" fill="hold">
                            <p:stCondLst>
                              <p:cond delay="0"/>
                            </p:stCondLst>
                            <p:childTnLst>
                              <p:par>
                                <p:cTn id="27" presetID="4" presetClass="entr" presetSubtype="16" fill="hold" grpId="0" nodeType="clickEffect">
                                  <p:stCondLst>
                                    <p:cond delay="0"/>
                                  </p:stCondLst>
                                  <p:childTnLst>
                                    <p:set>
                                      <p:cBhvr>
                                        <p:cTn id="28" dur="1" fill="hold">
                                          <p:stCondLst>
                                            <p:cond delay="0"/>
                                          </p:stCondLst>
                                        </p:cTn>
                                        <p:tgtEl>
                                          <p:spTgt spid="40"/>
                                        </p:tgtEl>
                                        <p:attrNameLst>
                                          <p:attrName>style.visibility</p:attrName>
                                        </p:attrNameLst>
                                      </p:cBhvr>
                                      <p:to>
                                        <p:strVal val="visible"/>
                                      </p:to>
                                    </p:set>
                                    <p:animEffect transition="in" filter="box(in)">
                                      <p:cBhvr>
                                        <p:cTn id="29" dur="500"/>
                                        <p:tgtEl>
                                          <p:spTgt spid="40"/>
                                        </p:tgtEl>
                                      </p:cBhvr>
                                    </p:animEffect>
                                  </p:childTnLst>
                                </p:cTn>
                              </p:par>
                              <p:par>
                                <p:cTn id="30" presetID="4" presetClass="entr" presetSubtype="16" fill="hold" grpId="0" nodeType="with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box(in)">
                                      <p:cBhvr>
                                        <p:cTn id="32" dur="500"/>
                                        <p:tgtEl>
                                          <p:spTgt spid="41"/>
                                        </p:tgtEl>
                                      </p:cBhvr>
                                    </p:animEffect>
                                  </p:childTnLst>
                                </p:cTn>
                              </p:par>
                            </p:childTnLst>
                          </p:cTn>
                        </p:par>
                      </p:childTnLst>
                    </p:cTn>
                  </p:par>
                  <p:par>
                    <p:cTn id="33" fill="hold">
                      <p:stCondLst>
                        <p:cond delay="indefinite"/>
                      </p:stCondLst>
                      <p:childTnLst>
                        <p:par>
                          <p:cTn id="34" fill="hold">
                            <p:stCondLst>
                              <p:cond delay="0"/>
                            </p:stCondLst>
                            <p:childTnLst>
                              <p:par>
                                <p:cTn id="35" presetID="4" presetClass="entr" presetSubtype="16" fill="hold" grpId="0" nodeType="click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box(in)">
                                      <p:cBhvr>
                                        <p:cTn id="37" dur="500"/>
                                        <p:tgtEl>
                                          <p:spTgt spid="31"/>
                                        </p:tgtEl>
                                      </p:cBhvr>
                                    </p:animEffect>
                                  </p:childTnLst>
                                </p:cTn>
                              </p:par>
                            </p:childTnLst>
                          </p:cTn>
                        </p:par>
                      </p:childTnLst>
                    </p:cTn>
                  </p:par>
                  <p:par>
                    <p:cTn id="38" fill="hold">
                      <p:stCondLst>
                        <p:cond delay="indefinite"/>
                      </p:stCondLst>
                      <p:childTnLst>
                        <p:par>
                          <p:cTn id="39" fill="hold">
                            <p:stCondLst>
                              <p:cond delay="0"/>
                            </p:stCondLst>
                            <p:childTnLst>
                              <p:par>
                                <p:cTn id="40" presetID="4" presetClass="entr" presetSubtype="16" fill="hold" grpId="0" nodeType="click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box(in)">
                                      <p:cBhvr>
                                        <p:cTn id="42" dur="500"/>
                                        <p:tgtEl>
                                          <p:spTgt spid="39"/>
                                        </p:tgtEl>
                                      </p:cBhvr>
                                    </p:animEffect>
                                  </p:childTnLst>
                                </p:cTn>
                              </p:par>
                            </p:childTnLst>
                          </p:cTn>
                        </p:par>
                      </p:childTnLst>
                    </p:cTn>
                  </p:par>
                  <p:par>
                    <p:cTn id="43" fill="hold">
                      <p:stCondLst>
                        <p:cond delay="indefinite"/>
                      </p:stCondLst>
                      <p:childTnLst>
                        <p:par>
                          <p:cTn id="44" fill="hold">
                            <p:stCondLst>
                              <p:cond delay="0"/>
                            </p:stCondLst>
                            <p:childTnLst>
                              <p:par>
                                <p:cTn id="45" presetID="4" presetClass="entr" presetSubtype="16" fill="hold" grpId="0" nodeType="click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box(in)">
                                      <p:cBhvr>
                                        <p:cTn id="47" dur="500"/>
                                        <p:tgtEl>
                                          <p:spTgt spid="32"/>
                                        </p:tgtEl>
                                      </p:cBhvr>
                                    </p:animEffect>
                                  </p:childTnLst>
                                </p:cTn>
                              </p:par>
                            </p:childTnLst>
                          </p:cTn>
                        </p:par>
                      </p:childTnLst>
                    </p:cTn>
                  </p:par>
                  <p:par>
                    <p:cTn id="48" fill="hold">
                      <p:stCondLst>
                        <p:cond delay="indefinite"/>
                      </p:stCondLst>
                      <p:childTnLst>
                        <p:par>
                          <p:cTn id="49" fill="hold">
                            <p:stCondLst>
                              <p:cond delay="0"/>
                            </p:stCondLst>
                            <p:childTnLst>
                              <p:par>
                                <p:cTn id="50" presetID="4" presetClass="entr" presetSubtype="16" fill="hold" grpId="0" nodeType="clickEffect">
                                  <p:stCondLst>
                                    <p:cond delay="0"/>
                                  </p:stCondLst>
                                  <p:childTnLst>
                                    <p:set>
                                      <p:cBhvr>
                                        <p:cTn id="51" dur="1" fill="hold">
                                          <p:stCondLst>
                                            <p:cond delay="0"/>
                                          </p:stCondLst>
                                        </p:cTn>
                                        <p:tgtEl>
                                          <p:spTgt spid="38"/>
                                        </p:tgtEl>
                                        <p:attrNameLst>
                                          <p:attrName>style.visibility</p:attrName>
                                        </p:attrNameLst>
                                      </p:cBhvr>
                                      <p:to>
                                        <p:strVal val="visible"/>
                                      </p:to>
                                    </p:set>
                                    <p:animEffect transition="in" filter="box(in)">
                                      <p:cBhvr>
                                        <p:cTn id="52" dur="500"/>
                                        <p:tgtEl>
                                          <p:spTgt spid="38"/>
                                        </p:tgtEl>
                                      </p:cBhvr>
                                    </p:animEffect>
                                  </p:childTnLst>
                                </p:cTn>
                              </p:par>
                            </p:childTnLst>
                          </p:cTn>
                        </p:par>
                      </p:childTnLst>
                    </p:cTn>
                  </p:par>
                  <p:par>
                    <p:cTn id="53" fill="hold">
                      <p:stCondLst>
                        <p:cond delay="indefinite"/>
                      </p:stCondLst>
                      <p:childTnLst>
                        <p:par>
                          <p:cTn id="54" fill="hold">
                            <p:stCondLst>
                              <p:cond delay="0"/>
                            </p:stCondLst>
                            <p:childTnLst>
                              <p:par>
                                <p:cTn id="55" presetID="4" presetClass="entr" presetSubtype="16" fill="hold" grpId="0" nodeType="click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box(in)">
                                      <p:cBhvr>
                                        <p:cTn id="57" dur="500"/>
                                        <p:tgtEl>
                                          <p:spTgt spid="35"/>
                                        </p:tgtEl>
                                      </p:cBhvr>
                                    </p:animEffect>
                                  </p:childTnLst>
                                </p:cTn>
                              </p:par>
                              <p:par>
                                <p:cTn id="58" presetID="4" presetClass="entr" presetSubtype="16" fill="hold" grpId="0" nodeType="withEffect">
                                  <p:stCondLst>
                                    <p:cond delay="0"/>
                                  </p:stCondLst>
                                  <p:childTnLst>
                                    <p:set>
                                      <p:cBhvr>
                                        <p:cTn id="59" dur="1" fill="hold">
                                          <p:stCondLst>
                                            <p:cond delay="0"/>
                                          </p:stCondLst>
                                        </p:cTn>
                                        <p:tgtEl>
                                          <p:spTgt spid="42"/>
                                        </p:tgtEl>
                                        <p:attrNameLst>
                                          <p:attrName>style.visibility</p:attrName>
                                        </p:attrNameLst>
                                      </p:cBhvr>
                                      <p:to>
                                        <p:strVal val="visible"/>
                                      </p:to>
                                    </p:set>
                                    <p:animEffect transition="in" filter="box(in)">
                                      <p:cBhvr>
                                        <p:cTn id="60" dur="500"/>
                                        <p:tgtEl>
                                          <p:spTgt spid="42"/>
                                        </p:tgtEl>
                                      </p:cBhvr>
                                    </p:animEffect>
                                  </p:childTnLst>
                                </p:cTn>
                              </p:par>
                              <p:par>
                                <p:cTn id="61" presetID="4" presetClass="entr" presetSubtype="16" fill="hold" nodeType="with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box(in)">
                                      <p:cBhvr>
                                        <p:cTn id="63" dur="500"/>
                                        <p:tgtEl>
                                          <p:spTgt spid="33"/>
                                        </p:tgtEl>
                                      </p:cBhvr>
                                    </p:animEffect>
                                  </p:childTnLst>
                                </p:cTn>
                              </p:par>
                              <p:par>
                                <p:cTn id="64" presetID="4" presetClass="entr" presetSubtype="16" fill="hold" grpId="0" nodeType="withEffect">
                                  <p:stCondLst>
                                    <p:cond delay="0"/>
                                  </p:stCondLst>
                                  <p:childTnLst>
                                    <p:set>
                                      <p:cBhvr>
                                        <p:cTn id="65" dur="1" fill="hold">
                                          <p:stCondLst>
                                            <p:cond delay="0"/>
                                          </p:stCondLst>
                                        </p:cTn>
                                        <p:tgtEl>
                                          <p:spTgt spid="29"/>
                                        </p:tgtEl>
                                        <p:attrNameLst>
                                          <p:attrName>style.visibility</p:attrName>
                                        </p:attrNameLst>
                                      </p:cBhvr>
                                      <p:to>
                                        <p:strVal val="visible"/>
                                      </p:to>
                                    </p:set>
                                    <p:animEffect transition="in" filter="box(in)">
                                      <p:cBhvr>
                                        <p:cTn id="6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5" grpId="0"/>
      <p:bldP spid="31" grpId="0"/>
      <p:bldP spid="32" grpId="0"/>
      <p:bldP spid="38" grpId="0"/>
      <p:bldP spid="39" grpId="0"/>
      <p:bldP spid="40" grpId="0"/>
      <p:bldP spid="41" grpId="0" animBg="1"/>
      <p:bldP spid="42"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reeform 6"/>
          <p:cNvSpPr>
            <a:spLocks/>
          </p:cNvSpPr>
          <p:nvPr>
            <p:custDataLst>
              <p:tags r:id="rId1"/>
            </p:custDataLst>
          </p:nvPr>
        </p:nvSpPr>
        <p:spPr bwMode="gray">
          <a:xfrm flipH="1">
            <a:off x="245814" y="2251120"/>
            <a:ext cx="8786874" cy="3413344"/>
          </a:xfrm>
          <a:custGeom>
            <a:avLst/>
            <a:gdLst/>
            <a:ahLst/>
            <a:cxnLst>
              <a:cxn ang="0">
                <a:pos x="0" y="0"/>
              </a:cxn>
              <a:cxn ang="0">
                <a:pos x="0" y="3198"/>
              </a:cxn>
              <a:cxn ang="0">
                <a:pos x="228" y="3300"/>
              </a:cxn>
              <a:cxn ang="0">
                <a:pos x="558" y="3222"/>
              </a:cxn>
              <a:cxn ang="0">
                <a:pos x="762" y="3312"/>
              </a:cxn>
              <a:cxn ang="0">
                <a:pos x="1104" y="3240"/>
              </a:cxn>
              <a:cxn ang="0">
                <a:pos x="1440" y="3366"/>
              </a:cxn>
              <a:cxn ang="0">
                <a:pos x="1710" y="3270"/>
              </a:cxn>
              <a:cxn ang="0">
                <a:pos x="1758" y="3312"/>
              </a:cxn>
              <a:cxn ang="0">
                <a:pos x="2028" y="3204"/>
              </a:cxn>
              <a:cxn ang="0">
                <a:pos x="2214" y="3288"/>
              </a:cxn>
              <a:cxn ang="0">
                <a:pos x="2490" y="3228"/>
              </a:cxn>
              <a:cxn ang="0">
                <a:pos x="2598" y="3246"/>
              </a:cxn>
              <a:cxn ang="0">
                <a:pos x="2694" y="3264"/>
              </a:cxn>
              <a:cxn ang="0">
                <a:pos x="2904" y="3228"/>
              </a:cxn>
              <a:cxn ang="0">
                <a:pos x="3060" y="3294"/>
              </a:cxn>
              <a:cxn ang="0">
                <a:pos x="3096" y="3306"/>
              </a:cxn>
              <a:cxn ang="0">
                <a:pos x="3330" y="3180"/>
              </a:cxn>
              <a:cxn ang="0">
                <a:pos x="3648" y="3276"/>
              </a:cxn>
              <a:cxn ang="0">
                <a:pos x="3960" y="3246"/>
              </a:cxn>
              <a:cxn ang="0">
                <a:pos x="4056" y="3336"/>
              </a:cxn>
              <a:cxn ang="0">
                <a:pos x="4200" y="3174"/>
              </a:cxn>
              <a:cxn ang="0">
                <a:pos x="4398" y="3270"/>
              </a:cxn>
              <a:cxn ang="0">
                <a:pos x="4530" y="3144"/>
              </a:cxn>
              <a:cxn ang="0">
                <a:pos x="4530" y="0"/>
              </a:cxn>
              <a:cxn ang="0">
                <a:pos x="0" y="0"/>
              </a:cxn>
            </a:cxnLst>
            <a:rect l="0" t="0" r="r" b="b"/>
            <a:pathLst>
              <a:path w="4530" h="3366">
                <a:moveTo>
                  <a:pt x="0" y="0"/>
                </a:moveTo>
                <a:lnTo>
                  <a:pt x="0" y="3198"/>
                </a:lnTo>
                <a:lnTo>
                  <a:pt x="228" y="3300"/>
                </a:lnTo>
                <a:lnTo>
                  <a:pt x="558" y="3222"/>
                </a:lnTo>
                <a:lnTo>
                  <a:pt x="762" y="3312"/>
                </a:lnTo>
                <a:lnTo>
                  <a:pt x="1104" y="3240"/>
                </a:lnTo>
                <a:lnTo>
                  <a:pt x="1440" y="3366"/>
                </a:lnTo>
                <a:lnTo>
                  <a:pt x="1710" y="3270"/>
                </a:lnTo>
                <a:lnTo>
                  <a:pt x="1758" y="3312"/>
                </a:lnTo>
                <a:lnTo>
                  <a:pt x="2028" y="3204"/>
                </a:lnTo>
                <a:lnTo>
                  <a:pt x="2214" y="3288"/>
                </a:lnTo>
                <a:cubicBezTo>
                  <a:pt x="2419" y="3182"/>
                  <a:pt x="2311" y="3194"/>
                  <a:pt x="2490" y="3228"/>
                </a:cubicBezTo>
                <a:cubicBezTo>
                  <a:pt x="2526" y="3235"/>
                  <a:pt x="2562" y="3240"/>
                  <a:pt x="2598" y="3246"/>
                </a:cubicBezTo>
                <a:cubicBezTo>
                  <a:pt x="2630" y="3252"/>
                  <a:pt x="2694" y="3264"/>
                  <a:pt x="2694" y="3264"/>
                </a:cubicBezTo>
                <a:lnTo>
                  <a:pt x="2904" y="3228"/>
                </a:lnTo>
                <a:lnTo>
                  <a:pt x="3060" y="3294"/>
                </a:lnTo>
                <a:lnTo>
                  <a:pt x="3096" y="3306"/>
                </a:lnTo>
                <a:lnTo>
                  <a:pt x="3330" y="3180"/>
                </a:lnTo>
                <a:lnTo>
                  <a:pt x="3648" y="3276"/>
                </a:lnTo>
                <a:lnTo>
                  <a:pt x="3960" y="3246"/>
                </a:lnTo>
                <a:lnTo>
                  <a:pt x="4056" y="3336"/>
                </a:lnTo>
                <a:lnTo>
                  <a:pt x="4200" y="3174"/>
                </a:lnTo>
                <a:lnTo>
                  <a:pt x="4398" y="3270"/>
                </a:lnTo>
                <a:lnTo>
                  <a:pt x="4530" y="3144"/>
                </a:lnTo>
                <a:lnTo>
                  <a:pt x="4530" y="0"/>
                </a:lnTo>
                <a:lnTo>
                  <a:pt x="0" y="0"/>
                </a:lnTo>
                <a:close/>
              </a:path>
            </a:pathLst>
          </a:custGeom>
          <a:solidFill>
            <a:srgbClr val="E8ECEA">
              <a:alpha val="16000"/>
            </a:srgbClr>
          </a:solidFill>
          <a:ln w="9525">
            <a:solidFill>
              <a:schemeClr val="tx1"/>
            </a:solidFill>
            <a:round/>
            <a:headEnd/>
            <a:tailEnd/>
          </a:ln>
          <a:effectLst>
            <a:outerShdw dist="107763" dir="2700000" algn="ctr" rotWithShape="0">
              <a:srgbClr val="D5DDD9">
                <a:alpha val="50000"/>
              </a:srgbClr>
            </a:outerShdw>
          </a:effectLst>
        </p:spPr>
        <p:txBody>
          <a:bodyPr/>
          <a:lstStyle/>
          <a:p>
            <a:pPr fontAlgn="auto">
              <a:spcBef>
                <a:spcPts val="0"/>
              </a:spcBef>
              <a:spcAft>
                <a:spcPts val="0"/>
              </a:spcAft>
              <a:defRPr/>
            </a:pPr>
            <a:endParaRPr lang="en-US" sz="1600" b="1">
              <a:latin typeface="Arial" charset="0"/>
              <a:cs typeface="Arial" charset="0"/>
            </a:endParaRPr>
          </a:p>
        </p:txBody>
      </p:sp>
      <p:pic>
        <p:nvPicPr>
          <p:cNvPr id="48130" name="Picture 2"/>
          <p:cNvPicPr>
            <a:picLocks noChangeAspect="1" noChangeArrowheads="1"/>
          </p:cNvPicPr>
          <p:nvPr/>
        </p:nvPicPr>
        <p:blipFill>
          <a:blip r:embed="rId10"/>
          <a:srcRect l="16471" t="19388" r="16398" b="37309"/>
          <a:stretch>
            <a:fillRect/>
          </a:stretch>
        </p:blipFill>
        <p:spPr bwMode="auto">
          <a:xfrm>
            <a:off x="321345" y="2251120"/>
            <a:ext cx="8734442" cy="3167670"/>
          </a:xfrm>
          <a:prstGeom prst="rect">
            <a:avLst/>
          </a:prstGeom>
          <a:noFill/>
          <a:ln w="9525">
            <a:noFill/>
            <a:miter lim="800000"/>
            <a:headEnd/>
            <a:tailEnd/>
          </a:ln>
        </p:spPr>
      </p:pic>
      <p:sp>
        <p:nvSpPr>
          <p:cNvPr id="8" name="Right Brace 7"/>
          <p:cNvSpPr/>
          <p:nvPr/>
        </p:nvSpPr>
        <p:spPr>
          <a:xfrm rot="16200000">
            <a:off x="1914512" y="1499228"/>
            <a:ext cx="381000" cy="1219200"/>
          </a:xfrm>
          <a:prstGeom prst="rightBrace">
            <a:avLst>
              <a:gd name="adj1" fmla="val 8333"/>
              <a:gd name="adj2" fmla="val 47430"/>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Right Brace 8"/>
          <p:cNvSpPr/>
          <p:nvPr/>
        </p:nvSpPr>
        <p:spPr>
          <a:xfrm rot="16200000" flipH="1">
            <a:off x="4143372" y="4061468"/>
            <a:ext cx="285752" cy="3286148"/>
          </a:xfrm>
          <a:prstGeom prst="rightBrace">
            <a:avLst>
              <a:gd name="adj1" fmla="val 8333"/>
              <a:gd name="adj2" fmla="val 48516"/>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Right Brace 9"/>
          <p:cNvSpPr/>
          <p:nvPr/>
        </p:nvSpPr>
        <p:spPr>
          <a:xfrm rot="16200000">
            <a:off x="7353724" y="603688"/>
            <a:ext cx="294468" cy="3000396"/>
          </a:xfrm>
          <a:prstGeom prst="rightBrace">
            <a:avLst>
              <a:gd name="adj1" fmla="val 8333"/>
              <a:gd name="adj2" fmla="val 47430"/>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Oval 10"/>
          <p:cNvSpPr/>
          <p:nvPr/>
        </p:nvSpPr>
        <p:spPr>
          <a:xfrm>
            <a:off x="285720" y="2989898"/>
            <a:ext cx="1357322" cy="285752"/>
          </a:xfrm>
          <a:prstGeom prst="ellipse">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Oval 11"/>
          <p:cNvSpPr/>
          <p:nvPr/>
        </p:nvSpPr>
        <p:spPr>
          <a:xfrm>
            <a:off x="214282" y="3204212"/>
            <a:ext cx="1357322" cy="285752"/>
          </a:xfrm>
          <a:prstGeom prst="ellipse">
            <a:avLst/>
          </a:prstGeom>
          <a:noFill/>
          <a:ln>
            <a:solidFill>
              <a:srgbClr val="002060"/>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13" name="Rectangle 12"/>
          <p:cNvSpPr/>
          <p:nvPr/>
        </p:nvSpPr>
        <p:spPr>
          <a:xfrm>
            <a:off x="285720" y="3489964"/>
            <a:ext cx="1214446" cy="1928826"/>
          </a:xfrm>
          <a:prstGeom prst="rect">
            <a:avLst/>
          </a:prstGeom>
          <a:noFill/>
          <a:ln>
            <a:solidFill>
              <a:schemeClr val="accent2"/>
            </a:solidFill>
            <a:prstDash val="sysDot"/>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4" name="Oval 13"/>
          <p:cNvSpPr/>
          <p:nvPr/>
        </p:nvSpPr>
        <p:spPr>
          <a:xfrm>
            <a:off x="270042" y="5664464"/>
            <a:ext cx="285752" cy="285752"/>
          </a:xfrm>
          <a:prstGeom prst="ellipse">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Oval 14"/>
          <p:cNvSpPr/>
          <p:nvPr/>
        </p:nvSpPr>
        <p:spPr>
          <a:xfrm>
            <a:off x="285720" y="6061732"/>
            <a:ext cx="285752" cy="285752"/>
          </a:xfrm>
          <a:prstGeom prst="ellipse">
            <a:avLst/>
          </a:prstGeom>
          <a:noFill/>
          <a:ln>
            <a:solidFill>
              <a:srgbClr val="002060"/>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16" name="Rectangle 15"/>
          <p:cNvSpPr/>
          <p:nvPr/>
        </p:nvSpPr>
        <p:spPr>
          <a:xfrm>
            <a:off x="285720" y="6459000"/>
            <a:ext cx="285752" cy="214314"/>
          </a:xfrm>
          <a:prstGeom prst="rect">
            <a:avLst/>
          </a:prstGeom>
          <a:noFill/>
          <a:ln>
            <a:solidFill>
              <a:schemeClr val="accent2"/>
            </a:solidFill>
            <a:prstDash val="sysDot"/>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 name="Rectangle 9"/>
          <p:cNvSpPr>
            <a:spLocks noChangeArrowheads="1"/>
          </p:cNvSpPr>
          <p:nvPr>
            <p:custDataLst>
              <p:tags r:id="rId2"/>
            </p:custDataLst>
          </p:nvPr>
        </p:nvSpPr>
        <p:spPr bwMode="gray">
          <a:xfrm>
            <a:off x="642910" y="5727184"/>
            <a:ext cx="1500198" cy="214314"/>
          </a:xfrm>
          <a:prstGeom prst="rect">
            <a:avLst/>
          </a:prstGeom>
          <a:noFill/>
          <a:ln w="9525">
            <a:noFill/>
            <a:miter lim="800000"/>
            <a:headEnd/>
            <a:tailEnd/>
          </a:ln>
        </p:spPr>
        <p:txBody>
          <a:bodyPr lIns="0" tIns="0" rIns="0" bIns="0"/>
          <a:lstStyle/>
          <a:p>
            <a:pPr defTabSz="893763"/>
            <a:r>
              <a:rPr lang="en-US" sz="1200" b="1" dirty="0" smtClean="0">
                <a:latin typeface="Arial" pitchFamily="34" charset="0"/>
                <a:cs typeface="Arial" pitchFamily="34" charset="0"/>
              </a:rPr>
              <a:t>DIMENSI</a:t>
            </a:r>
            <a:endParaRPr lang="en-US" sz="1200" dirty="0">
              <a:latin typeface="Arial" pitchFamily="34" charset="0"/>
              <a:cs typeface="Arial" pitchFamily="34" charset="0"/>
            </a:endParaRPr>
          </a:p>
        </p:txBody>
      </p:sp>
      <p:sp>
        <p:nvSpPr>
          <p:cNvPr id="18" name="Rectangle 9"/>
          <p:cNvSpPr>
            <a:spLocks noChangeArrowheads="1"/>
          </p:cNvSpPr>
          <p:nvPr>
            <p:custDataLst>
              <p:tags r:id="rId3"/>
            </p:custDataLst>
          </p:nvPr>
        </p:nvSpPr>
        <p:spPr bwMode="gray">
          <a:xfrm>
            <a:off x="642910" y="6061732"/>
            <a:ext cx="1500198" cy="214314"/>
          </a:xfrm>
          <a:prstGeom prst="rect">
            <a:avLst/>
          </a:prstGeom>
          <a:noFill/>
          <a:ln w="9525">
            <a:noFill/>
            <a:miter lim="800000"/>
            <a:headEnd/>
            <a:tailEnd/>
          </a:ln>
        </p:spPr>
        <p:txBody>
          <a:bodyPr lIns="0" tIns="0" rIns="0" bIns="0"/>
          <a:lstStyle/>
          <a:p>
            <a:pPr defTabSz="893763"/>
            <a:r>
              <a:rPr lang="en-US" sz="1200" b="1" smtClean="0">
                <a:latin typeface="Arial" pitchFamily="34" charset="0"/>
                <a:cs typeface="Arial" pitchFamily="34" charset="0"/>
              </a:rPr>
              <a:t>ELEMEN</a:t>
            </a:r>
            <a:endParaRPr lang="en-US" sz="1200" dirty="0">
              <a:latin typeface="Arial" pitchFamily="34" charset="0"/>
              <a:cs typeface="Arial" pitchFamily="34" charset="0"/>
            </a:endParaRPr>
          </a:p>
        </p:txBody>
      </p:sp>
      <p:sp>
        <p:nvSpPr>
          <p:cNvPr id="19" name="Rectangle 9"/>
          <p:cNvSpPr>
            <a:spLocks noChangeArrowheads="1"/>
          </p:cNvSpPr>
          <p:nvPr>
            <p:custDataLst>
              <p:tags r:id="rId4"/>
            </p:custDataLst>
          </p:nvPr>
        </p:nvSpPr>
        <p:spPr bwMode="gray">
          <a:xfrm>
            <a:off x="674266" y="6459000"/>
            <a:ext cx="1500198" cy="214314"/>
          </a:xfrm>
          <a:prstGeom prst="rect">
            <a:avLst/>
          </a:prstGeom>
          <a:noFill/>
          <a:ln w="9525">
            <a:noFill/>
            <a:miter lim="800000"/>
            <a:headEnd/>
            <a:tailEnd/>
          </a:ln>
        </p:spPr>
        <p:txBody>
          <a:bodyPr lIns="0" tIns="0" rIns="0" bIns="0"/>
          <a:lstStyle/>
          <a:p>
            <a:pPr defTabSz="893763"/>
            <a:r>
              <a:rPr lang="en-US" sz="1200" b="1" dirty="0" smtClean="0">
                <a:latin typeface="Arial" pitchFamily="34" charset="0"/>
                <a:cs typeface="Arial" pitchFamily="34" charset="0"/>
              </a:rPr>
              <a:t>ASPEK</a:t>
            </a:r>
            <a:endParaRPr lang="en-US" sz="1200" dirty="0">
              <a:latin typeface="Arial" pitchFamily="34" charset="0"/>
              <a:cs typeface="Arial" pitchFamily="34" charset="0"/>
            </a:endParaRPr>
          </a:p>
        </p:txBody>
      </p:sp>
      <p:sp>
        <p:nvSpPr>
          <p:cNvPr id="20" name="Rectangle 9"/>
          <p:cNvSpPr>
            <a:spLocks noChangeArrowheads="1"/>
          </p:cNvSpPr>
          <p:nvPr>
            <p:custDataLst>
              <p:tags r:id="rId5"/>
            </p:custDataLst>
          </p:nvPr>
        </p:nvSpPr>
        <p:spPr bwMode="gray">
          <a:xfrm>
            <a:off x="1214414" y="1418262"/>
            <a:ext cx="1714512" cy="500066"/>
          </a:xfrm>
          <a:prstGeom prst="rect">
            <a:avLst/>
          </a:prstGeom>
          <a:noFill/>
          <a:ln w="9525">
            <a:noFill/>
            <a:miter lim="800000"/>
            <a:headEnd/>
            <a:tailEnd/>
          </a:ln>
        </p:spPr>
        <p:txBody>
          <a:bodyPr lIns="0" tIns="0" rIns="0" bIns="0"/>
          <a:lstStyle/>
          <a:p>
            <a:pPr lvl="0" algn="ctr">
              <a:buClrTx/>
              <a:buSzPct val="70000"/>
            </a:pPr>
            <a:r>
              <a:rPr lang="en-US" sz="1400" dirty="0" err="1" smtClean="0">
                <a:latin typeface="Arial" pitchFamily="34" charset="0"/>
                <a:cs typeface="Arial" pitchFamily="34" charset="0"/>
              </a:rPr>
              <a:t>Deskripsi</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bagi</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aspek</a:t>
            </a:r>
            <a:endParaRPr lang="en-US" sz="1400" dirty="0" smtClean="0">
              <a:latin typeface="Arial" pitchFamily="34" charset="0"/>
              <a:cs typeface="Arial" pitchFamily="34" charset="0"/>
            </a:endParaRPr>
          </a:p>
          <a:p>
            <a:pPr marL="624078" lvl="0" indent="-514350" algn="ctr">
              <a:buClrTx/>
              <a:buSzPct val="70000"/>
            </a:pPr>
            <a:r>
              <a:rPr lang="en-US" sz="1400" dirty="0" smtClean="0">
                <a:latin typeface="Arial" pitchFamily="34" charset="0"/>
                <a:cs typeface="Arial" pitchFamily="34" charset="0"/>
              </a:rPr>
              <a:t>yang </a:t>
            </a:r>
            <a:r>
              <a:rPr lang="en-US" sz="1400" dirty="0" err="1" smtClean="0">
                <a:latin typeface="Arial" pitchFamily="34" charset="0"/>
                <a:cs typeface="Arial" pitchFamily="34" charset="0"/>
              </a:rPr>
              <a:t>dinilai</a:t>
            </a:r>
            <a:endParaRPr lang="en-US" sz="1400" dirty="0" smtClean="0">
              <a:latin typeface="Arial" pitchFamily="34" charset="0"/>
              <a:cs typeface="Arial" pitchFamily="34" charset="0"/>
            </a:endParaRPr>
          </a:p>
        </p:txBody>
      </p:sp>
      <p:sp>
        <p:nvSpPr>
          <p:cNvPr id="21" name="Rectangle 9"/>
          <p:cNvSpPr>
            <a:spLocks noChangeArrowheads="1"/>
          </p:cNvSpPr>
          <p:nvPr>
            <p:custDataLst>
              <p:tags r:id="rId6"/>
            </p:custDataLst>
          </p:nvPr>
        </p:nvSpPr>
        <p:spPr bwMode="gray">
          <a:xfrm>
            <a:off x="5572132" y="1298028"/>
            <a:ext cx="3357586" cy="714380"/>
          </a:xfrm>
          <a:prstGeom prst="rect">
            <a:avLst/>
          </a:prstGeom>
          <a:noFill/>
          <a:ln w="9525">
            <a:noFill/>
            <a:miter lim="800000"/>
            <a:headEnd/>
            <a:tailEnd/>
          </a:ln>
        </p:spPr>
        <p:txBody>
          <a:bodyPr lIns="0" tIns="0" rIns="0" bIns="0"/>
          <a:lstStyle/>
          <a:p>
            <a:pPr marL="95250" lvl="0" indent="14288" algn="ctr">
              <a:buClrTx/>
              <a:buSzPct val="70000"/>
            </a:pPr>
            <a:r>
              <a:rPr lang="en-US" sz="1400" dirty="0" smtClean="0">
                <a:latin typeface="Arial" pitchFamily="34" charset="0"/>
                <a:cs typeface="Arial" pitchFamily="34" charset="0"/>
              </a:rPr>
              <a:t>Aras </a:t>
            </a:r>
            <a:r>
              <a:rPr lang="en-US" sz="1400" dirty="0" err="1" smtClean="0">
                <a:latin typeface="Arial" pitchFamily="34" charset="0"/>
                <a:cs typeface="Arial" pitchFamily="34" charset="0"/>
              </a:rPr>
              <a:t>Penilaian</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rubrik</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untuk</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pemberian</a:t>
            </a:r>
            <a:endParaRPr lang="en-US" sz="1400" dirty="0" smtClean="0">
              <a:latin typeface="Arial" pitchFamily="34" charset="0"/>
              <a:cs typeface="Arial" pitchFamily="34" charset="0"/>
            </a:endParaRPr>
          </a:p>
          <a:p>
            <a:pPr marL="624078" lvl="0" indent="-514350" algn="ctr">
              <a:buClrTx/>
              <a:buSzPct val="70000"/>
            </a:pPr>
            <a:r>
              <a:rPr lang="en-US" sz="1400" dirty="0" err="1" smtClean="0">
                <a:latin typeface="Arial" pitchFamily="34" charset="0"/>
                <a:cs typeface="Arial" pitchFamily="34" charset="0"/>
              </a:rPr>
              <a:t>markah</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atau</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aras</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penilaian</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bagi</a:t>
            </a:r>
            <a:r>
              <a:rPr lang="en-US" sz="1400" dirty="0" smtClean="0">
                <a:latin typeface="Arial" pitchFamily="34" charset="0"/>
                <a:cs typeface="Arial" pitchFamily="34" charset="0"/>
              </a:rPr>
              <a:t> </a:t>
            </a:r>
            <a:r>
              <a:rPr lang="en-US" sz="1400" dirty="0" err="1" smtClean="0">
                <a:latin typeface="Arial" pitchFamily="34" charset="0"/>
                <a:cs typeface="Arial" pitchFamily="34" charset="0"/>
              </a:rPr>
              <a:t>aspek</a:t>
            </a:r>
            <a:endParaRPr lang="en-US" sz="1400" dirty="0" smtClean="0">
              <a:latin typeface="Arial" pitchFamily="34" charset="0"/>
              <a:cs typeface="Arial" pitchFamily="34" charset="0"/>
            </a:endParaRPr>
          </a:p>
          <a:p>
            <a:pPr marL="624078" lvl="0" indent="-514350" algn="ctr">
              <a:buClrTx/>
              <a:buSzPct val="70000"/>
            </a:pPr>
            <a:r>
              <a:rPr lang="en-US" sz="1400" dirty="0" smtClean="0">
                <a:latin typeface="Arial" pitchFamily="34" charset="0"/>
                <a:cs typeface="Arial" pitchFamily="34" charset="0"/>
              </a:rPr>
              <a:t>yang </a:t>
            </a:r>
            <a:r>
              <a:rPr lang="en-US" sz="1400" dirty="0" err="1" smtClean="0">
                <a:latin typeface="Arial" pitchFamily="34" charset="0"/>
                <a:cs typeface="Arial" pitchFamily="34" charset="0"/>
              </a:rPr>
              <a:t>dinilai</a:t>
            </a:r>
            <a:r>
              <a:rPr lang="en-US" sz="1400" dirty="0" smtClean="0">
                <a:latin typeface="Arial" pitchFamily="34" charset="0"/>
                <a:cs typeface="Arial" pitchFamily="34" charset="0"/>
              </a:rPr>
              <a:t>).</a:t>
            </a:r>
          </a:p>
        </p:txBody>
      </p:sp>
      <p:sp>
        <p:nvSpPr>
          <p:cNvPr id="22" name="Rectangle 9"/>
          <p:cNvSpPr>
            <a:spLocks noChangeArrowheads="1"/>
          </p:cNvSpPr>
          <p:nvPr>
            <p:custDataLst>
              <p:tags r:id="rId7"/>
            </p:custDataLst>
          </p:nvPr>
        </p:nvSpPr>
        <p:spPr bwMode="gray">
          <a:xfrm>
            <a:off x="2857488" y="5918856"/>
            <a:ext cx="2956700" cy="952507"/>
          </a:xfrm>
          <a:prstGeom prst="rect">
            <a:avLst/>
          </a:prstGeom>
          <a:noFill/>
          <a:ln w="9525">
            <a:noFill/>
            <a:miter lim="800000"/>
            <a:headEnd/>
            <a:tailEnd/>
          </a:ln>
        </p:spPr>
        <p:txBody>
          <a:bodyPr lIns="0" tIns="0" rIns="0" bIns="0"/>
          <a:lstStyle/>
          <a:p>
            <a:pPr marL="95250" lvl="0" algn="ctr">
              <a:buClrTx/>
              <a:buSzPct val="70000"/>
            </a:pPr>
            <a:r>
              <a:rPr lang="en-US" sz="1400" smtClean="0">
                <a:latin typeface="Arial" pitchFamily="34" charset="0"/>
                <a:cs typeface="Arial" pitchFamily="34" charset="0"/>
              </a:rPr>
              <a:t>Kaedah-kaedah Penilaian dan contoh-contoh </a:t>
            </a:r>
            <a:r>
              <a:rPr lang="en-US" sz="1400" smtClean="0">
                <a:solidFill>
                  <a:srgbClr val="FF0000"/>
                </a:solidFill>
                <a:latin typeface="Arial" pitchFamily="34" charset="0"/>
                <a:cs typeface="Arial" pitchFamily="34" charset="0"/>
              </a:rPr>
              <a:t>‘evidens’</a:t>
            </a:r>
            <a:endParaRPr lang="en-US" sz="1400" dirty="0" smtClean="0">
              <a:solidFill>
                <a:srgbClr val="FF0000"/>
              </a:solidFill>
              <a:latin typeface="Arial" pitchFamily="34" charset="0"/>
              <a:cs typeface="Arial" pitchFamily="34" charset="0"/>
            </a:endParaRPr>
          </a:p>
        </p:txBody>
      </p:sp>
      <p:sp>
        <p:nvSpPr>
          <p:cNvPr id="4" name="Footer Placeholder 3"/>
          <p:cNvSpPr>
            <a:spLocks noGrp="1"/>
          </p:cNvSpPr>
          <p:nvPr>
            <p:ph type="ftr" sz="quarter" idx="11"/>
          </p:nvPr>
        </p:nvSpPr>
        <p:spPr/>
        <p:txBody>
          <a:bodyPr/>
          <a:lstStyle/>
          <a:p>
            <a:r>
              <a:rPr lang="en-US" smtClean="0"/>
              <a:t>GURU (SEKOLAH)</a:t>
            </a:r>
            <a:endParaRPr lang="en-US" dirty="0"/>
          </a:p>
        </p:txBody>
      </p:sp>
      <p:sp>
        <p:nvSpPr>
          <p:cNvPr id="5" name="Slide Number Placeholder 4"/>
          <p:cNvSpPr>
            <a:spLocks noGrp="1"/>
          </p:cNvSpPr>
          <p:nvPr>
            <p:ph type="sldNum" sz="quarter" idx="12"/>
          </p:nvPr>
        </p:nvSpPr>
        <p:spPr/>
        <p:txBody>
          <a:bodyPr/>
          <a:lstStyle/>
          <a:p>
            <a:fld id="{4D86EDED-B1AF-7E4B-94C9-3F0EAA36C7D5}" type="slidenum">
              <a:rPr lang="en-US" smtClean="0"/>
              <a:pPr/>
              <a:t>53</a:t>
            </a:fld>
            <a:endParaRPr lang="en-US"/>
          </a:p>
        </p:txBody>
      </p:sp>
      <p:sp>
        <p:nvSpPr>
          <p:cNvPr id="34" name="Rectangle 33"/>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CONTOH INSTRUMEN PBPPP</a:t>
            </a:r>
            <a:endParaRPr lang="en-US" sz="28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blinds(horizontal)">
                                      <p:cBhvr>
                                        <p:cTn id="10" dur="500"/>
                                        <p:tgtEl>
                                          <p:spTgt spid="14"/>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blinds(horizontal)">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47" presetClass="entr" presetSubtype="0" fill="hold" grpId="0"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anim calcmode="lin" valueType="num">
                                      <p:cBhvr>
                                        <p:cTn id="19" dur="500" fill="hold"/>
                                        <p:tgtEl>
                                          <p:spTgt spid="12"/>
                                        </p:tgtEl>
                                        <p:attrNameLst>
                                          <p:attrName>ppt_x</p:attrName>
                                        </p:attrNameLst>
                                      </p:cBhvr>
                                      <p:tavLst>
                                        <p:tav tm="0">
                                          <p:val>
                                            <p:strVal val="#ppt_x"/>
                                          </p:val>
                                        </p:tav>
                                        <p:tav tm="100000">
                                          <p:val>
                                            <p:strVal val="#ppt_x"/>
                                          </p:val>
                                        </p:tav>
                                      </p:tavLst>
                                    </p:anim>
                                    <p:anim calcmode="lin" valueType="num">
                                      <p:cBhvr>
                                        <p:cTn id="20" dur="500" fill="hold"/>
                                        <p:tgtEl>
                                          <p:spTgt spid="12"/>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anim calcmode="lin" valueType="num">
                                      <p:cBhvr>
                                        <p:cTn id="24" dur="500" fill="hold"/>
                                        <p:tgtEl>
                                          <p:spTgt spid="18"/>
                                        </p:tgtEl>
                                        <p:attrNameLst>
                                          <p:attrName>ppt_x</p:attrName>
                                        </p:attrNameLst>
                                      </p:cBhvr>
                                      <p:tavLst>
                                        <p:tav tm="0">
                                          <p:val>
                                            <p:strVal val="#ppt_x"/>
                                          </p:val>
                                        </p:tav>
                                        <p:tav tm="100000">
                                          <p:val>
                                            <p:strVal val="#ppt_x"/>
                                          </p:val>
                                        </p:tav>
                                      </p:tavLst>
                                    </p:anim>
                                    <p:anim calcmode="lin" valueType="num">
                                      <p:cBhvr>
                                        <p:cTn id="25" dur="500" fill="hold"/>
                                        <p:tgtEl>
                                          <p:spTgt spid="18"/>
                                        </p:tgtEl>
                                        <p:attrNameLst>
                                          <p:attrName>ppt_y</p:attrName>
                                        </p:attrNameLst>
                                      </p:cBhvr>
                                      <p:tavLst>
                                        <p:tav tm="0">
                                          <p:val>
                                            <p:strVal val="#ppt_y-.1"/>
                                          </p:val>
                                        </p:tav>
                                        <p:tav tm="100000">
                                          <p:val>
                                            <p:strVal val="#ppt_y"/>
                                          </p:val>
                                        </p:tav>
                                      </p:tavLst>
                                    </p:anim>
                                  </p:childTnLst>
                                </p:cTn>
                              </p:par>
                              <p:par>
                                <p:cTn id="26" presetID="47"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anim calcmode="lin" valueType="num">
                                      <p:cBhvr>
                                        <p:cTn id="29" dur="500" fill="hold"/>
                                        <p:tgtEl>
                                          <p:spTgt spid="15"/>
                                        </p:tgtEl>
                                        <p:attrNameLst>
                                          <p:attrName>ppt_x</p:attrName>
                                        </p:attrNameLst>
                                      </p:cBhvr>
                                      <p:tavLst>
                                        <p:tav tm="0">
                                          <p:val>
                                            <p:strVal val="#ppt_x"/>
                                          </p:val>
                                        </p:tav>
                                        <p:tav tm="100000">
                                          <p:val>
                                            <p:strVal val="#ppt_x"/>
                                          </p:val>
                                        </p:tav>
                                      </p:tavLst>
                                    </p:anim>
                                    <p:anim calcmode="lin" valueType="num">
                                      <p:cBhvr>
                                        <p:cTn id="30" dur="5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8" presetClass="entr" presetSubtype="16"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diamond(in)">
                                      <p:cBhvr>
                                        <p:cTn id="35" dur="500"/>
                                        <p:tgtEl>
                                          <p:spTgt spid="16"/>
                                        </p:tgtEl>
                                      </p:cBhvr>
                                    </p:animEffect>
                                  </p:childTnLst>
                                </p:cTn>
                              </p:par>
                              <p:par>
                                <p:cTn id="36" presetID="8" presetClass="entr" presetSubtype="16" fill="hold" grpId="0"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diamond(in)">
                                      <p:cBhvr>
                                        <p:cTn id="38" dur="500"/>
                                        <p:tgtEl>
                                          <p:spTgt spid="19"/>
                                        </p:tgtEl>
                                      </p:cBhvr>
                                    </p:animEffect>
                                  </p:childTnLst>
                                </p:cTn>
                              </p:par>
                              <p:par>
                                <p:cTn id="39" presetID="8" presetClass="entr" presetSubtype="16"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diamond(in)">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4" presetClass="entr" presetSubtype="16" fill="hold" grpId="0" nodeType="click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box(in)">
                                      <p:cBhvr>
                                        <p:cTn id="46" dur="500"/>
                                        <p:tgtEl>
                                          <p:spTgt spid="20"/>
                                        </p:tgtEl>
                                      </p:cBhvr>
                                    </p:animEffect>
                                  </p:childTnLst>
                                </p:cTn>
                              </p:par>
                              <p:par>
                                <p:cTn id="47" presetID="4" presetClass="entr" presetSubtype="16" fill="hold" grpId="0" nodeType="with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box(in)">
                                      <p:cBhvr>
                                        <p:cTn id="49" dur="500"/>
                                        <p:tgtEl>
                                          <p:spTgt spid="8"/>
                                        </p:tgtEl>
                                      </p:cBhvr>
                                    </p:animEffect>
                                  </p:childTnLst>
                                </p:cTn>
                              </p:par>
                            </p:childTnLst>
                          </p:cTn>
                        </p:par>
                      </p:childTnLst>
                    </p:cTn>
                  </p:par>
                  <p:par>
                    <p:cTn id="50" fill="hold">
                      <p:stCondLst>
                        <p:cond delay="indefinite"/>
                      </p:stCondLst>
                      <p:childTnLst>
                        <p:par>
                          <p:cTn id="51" fill="hold">
                            <p:stCondLst>
                              <p:cond delay="0"/>
                            </p:stCondLst>
                            <p:childTnLst>
                              <p:par>
                                <p:cTn id="52" presetID="47" presetClass="entr" presetSubtype="0" fill="hold" grpId="0" nodeType="clickEffect">
                                  <p:stCondLst>
                                    <p:cond delay="0"/>
                                  </p:stCondLst>
                                  <p:childTnLst>
                                    <p:set>
                                      <p:cBhvr>
                                        <p:cTn id="53" dur="1" fill="hold">
                                          <p:stCondLst>
                                            <p:cond delay="0"/>
                                          </p:stCondLst>
                                        </p:cTn>
                                        <p:tgtEl>
                                          <p:spTgt spid="9"/>
                                        </p:tgtEl>
                                        <p:attrNameLst>
                                          <p:attrName>style.visibility</p:attrName>
                                        </p:attrNameLst>
                                      </p:cBhvr>
                                      <p:to>
                                        <p:strVal val="visible"/>
                                      </p:to>
                                    </p:set>
                                    <p:animEffect transition="in" filter="fade">
                                      <p:cBhvr>
                                        <p:cTn id="54" dur="500"/>
                                        <p:tgtEl>
                                          <p:spTgt spid="9"/>
                                        </p:tgtEl>
                                      </p:cBhvr>
                                    </p:animEffect>
                                    <p:anim calcmode="lin" valueType="num">
                                      <p:cBhvr>
                                        <p:cTn id="55" dur="500" fill="hold"/>
                                        <p:tgtEl>
                                          <p:spTgt spid="9"/>
                                        </p:tgtEl>
                                        <p:attrNameLst>
                                          <p:attrName>ppt_x</p:attrName>
                                        </p:attrNameLst>
                                      </p:cBhvr>
                                      <p:tavLst>
                                        <p:tav tm="0">
                                          <p:val>
                                            <p:strVal val="#ppt_x"/>
                                          </p:val>
                                        </p:tav>
                                        <p:tav tm="100000">
                                          <p:val>
                                            <p:strVal val="#ppt_x"/>
                                          </p:val>
                                        </p:tav>
                                      </p:tavLst>
                                    </p:anim>
                                    <p:anim calcmode="lin" valueType="num">
                                      <p:cBhvr>
                                        <p:cTn id="56" dur="500" fill="hold"/>
                                        <p:tgtEl>
                                          <p:spTgt spid="9"/>
                                        </p:tgtEl>
                                        <p:attrNameLst>
                                          <p:attrName>ppt_y</p:attrName>
                                        </p:attrNameLst>
                                      </p:cBhvr>
                                      <p:tavLst>
                                        <p:tav tm="0">
                                          <p:val>
                                            <p:strVal val="#ppt_y-.1"/>
                                          </p:val>
                                        </p:tav>
                                        <p:tav tm="100000">
                                          <p:val>
                                            <p:strVal val="#ppt_y"/>
                                          </p:val>
                                        </p:tav>
                                      </p:tavLst>
                                    </p:anim>
                                  </p:childTnLst>
                                </p:cTn>
                              </p:par>
                              <p:par>
                                <p:cTn id="57" presetID="47" presetClass="entr" presetSubtype="0"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500"/>
                                        <p:tgtEl>
                                          <p:spTgt spid="22"/>
                                        </p:tgtEl>
                                      </p:cBhvr>
                                    </p:animEffect>
                                    <p:anim calcmode="lin" valueType="num">
                                      <p:cBhvr>
                                        <p:cTn id="60" dur="500" fill="hold"/>
                                        <p:tgtEl>
                                          <p:spTgt spid="22"/>
                                        </p:tgtEl>
                                        <p:attrNameLst>
                                          <p:attrName>ppt_x</p:attrName>
                                        </p:attrNameLst>
                                      </p:cBhvr>
                                      <p:tavLst>
                                        <p:tav tm="0">
                                          <p:val>
                                            <p:strVal val="#ppt_x"/>
                                          </p:val>
                                        </p:tav>
                                        <p:tav tm="100000">
                                          <p:val>
                                            <p:strVal val="#ppt_x"/>
                                          </p:val>
                                        </p:tav>
                                      </p:tavLst>
                                    </p:anim>
                                    <p:anim calcmode="lin" valueType="num">
                                      <p:cBhvr>
                                        <p:cTn id="61"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2" presetClass="entr" presetSubtype="2" fill="hold" grpId="0" nodeType="clickEffect">
                                  <p:stCondLst>
                                    <p:cond delay="0"/>
                                  </p:stCondLst>
                                  <p:childTnLst>
                                    <p:set>
                                      <p:cBhvr>
                                        <p:cTn id="65" dur="1" fill="hold">
                                          <p:stCondLst>
                                            <p:cond delay="0"/>
                                          </p:stCondLst>
                                        </p:cTn>
                                        <p:tgtEl>
                                          <p:spTgt spid="21"/>
                                        </p:tgtEl>
                                        <p:attrNameLst>
                                          <p:attrName>style.visibility</p:attrName>
                                        </p:attrNameLst>
                                      </p:cBhvr>
                                      <p:to>
                                        <p:strVal val="visible"/>
                                      </p:to>
                                    </p:set>
                                    <p:anim calcmode="lin" valueType="num">
                                      <p:cBhvr additive="base">
                                        <p:cTn id="66" dur="500" fill="hold"/>
                                        <p:tgtEl>
                                          <p:spTgt spid="21"/>
                                        </p:tgtEl>
                                        <p:attrNameLst>
                                          <p:attrName>ppt_x</p:attrName>
                                        </p:attrNameLst>
                                      </p:cBhvr>
                                      <p:tavLst>
                                        <p:tav tm="0">
                                          <p:val>
                                            <p:strVal val="1+#ppt_w/2"/>
                                          </p:val>
                                        </p:tav>
                                        <p:tav tm="100000">
                                          <p:val>
                                            <p:strVal val="#ppt_x"/>
                                          </p:val>
                                        </p:tav>
                                      </p:tavLst>
                                    </p:anim>
                                    <p:anim calcmode="lin" valueType="num">
                                      <p:cBhvr additive="base">
                                        <p:cTn id="67" dur="500" fill="hold"/>
                                        <p:tgtEl>
                                          <p:spTgt spid="21"/>
                                        </p:tgtEl>
                                        <p:attrNameLst>
                                          <p:attrName>ppt_y</p:attrName>
                                        </p:attrNameLst>
                                      </p:cBhvr>
                                      <p:tavLst>
                                        <p:tav tm="0">
                                          <p:val>
                                            <p:strVal val="#ppt_y"/>
                                          </p:val>
                                        </p:tav>
                                        <p:tav tm="100000">
                                          <p:val>
                                            <p:strVal val="#ppt_y"/>
                                          </p:val>
                                        </p:tav>
                                      </p:tavLst>
                                    </p:anim>
                                  </p:childTnLst>
                                </p:cTn>
                              </p:par>
                              <p:par>
                                <p:cTn id="68" presetID="2" presetClass="entr" presetSubtype="2" fill="hold" grpId="0" nodeType="withEffect">
                                  <p:stCondLst>
                                    <p:cond delay="0"/>
                                  </p:stCondLst>
                                  <p:childTnLst>
                                    <p:set>
                                      <p:cBhvr>
                                        <p:cTn id="69" dur="1" fill="hold">
                                          <p:stCondLst>
                                            <p:cond delay="0"/>
                                          </p:stCondLst>
                                        </p:cTn>
                                        <p:tgtEl>
                                          <p:spTgt spid="10"/>
                                        </p:tgtEl>
                                        <p:attrNameLst>
                                          <p:attrName>style.visibility</p:attrName>
                                        </p:attrNameLst>
                                      </p:cBhvr>
                                      <p:to>
                                        <p:strVal val="visible"/>
                                      </p:to>
                                    </p:set>
                                    <p:anim calcmode="lin" valueType="num">
                                      <p:cBhvr additive="base">
                                        <p:cTn id="70" dur="500" fill="hold"/>
                                        <p:tgtEl>
                                          <p:spTgt spid="10"/>
                                        </p:tgtEl>
                                        <p:attrNameLst>
                                          <p:attrName>ppt_x</p:attrName>
                                        </p:attrNameLst>
                                      </p:cBhvr>
                                      <p:tavLst>
                                        <p:tav tm="0">
                                          <p:val>
                                            <p:strVal val="1+#ppt_w/2"/>
                                          </p:val>
                                        </p:tav>
                                        <p:tav tm="100000">
                                          <p:val>
                                            <p:strVal val="#ppt_x"/>
                                          </p:val>
                                        </p:tav>
                                      </p:tavLst>
                                    </p:anim>
                                    <p:anim calcmode="lin" valueType="num">
                                      <p:cBhvr additive="base">
                                        <p:cTn id="7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P spid="15" grpId="0" animBg="1"/>
      <p:bldP spid="16" grpId="0" animBg="1"/>
      <p:bldP spid="17" grpId="0"/>
      <p:bldP spid="18" grpId="0"/>
      <p:bldP spid="19" grpId="0"/>
      <p:bldP spid="20" grpId="0"/>
      <p:bldP spid="21" grpId="0"/>
      <p:bldP spid="22"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6"/>
          <p:cNvSpPr>
            <a:spLocks/>
          </p:cNvSpPr>
          <p:nvPr>
            <p:custDataLst>
              <p:tags r:id="rId1"/>
            </p:custDataLst>
          </p:nvPr>
        </p:nvSpPr>
        <p:spPr bwMode="gray">
          <a:xfrm flipH="1">
            <a:off x="3571868" y="428604"/>
            <a:ext cx="4786346" cy="6286520"/>
          </a:xfrm>
          <a:custGeom>
            <a:avLst/>
            <a:gdLst/>
            <a:ahLst/>
            <a:cxnLst>
              <a:cxn ang="0">
                <a:pos x="0" y="0"/>
              </a:cxn>
              <a:cxn ang="0">
                <a:pos x="0" y="3198"/>
              </a:cxn>
              <a:cxn ang="0">
                <a:pos x="228" y="3300"/>
              </a:cxn>
              <a:cxn ang="0">
                <a:pos x="558" y="3222"/>
              </a:cxn>
              <a:cxn ang="0">
                <a:pos x="762" y="3312"/>
              </a:cxn>
              <a:cxn ang="0">
                <a:pos x="1104" y="3240"/>
              </a:cxn>
              <a:cxn ang="0">
                <a:pos x="1440" y="3366"/>
              </a:cxn>
              <a:cxn ang="0">
                <a:pos x="1710" y="3270"/>
              </a:cxn>
              <a:cxn ang="0">
                <a:pos x="1758" y="3312"/>
              </a:cxn>
              <a:cxn ang="0">
                <a:pos x="2028" y="3204"/>
              </a:cxn>
              <a:cxn ang="0">
                <a:pos x="2214" y="3288"/>
              </a:cxn>
              <a:cxn ang="0">
                <a:pos x="2490" y="3228"/>
              </a:cxn>
              <a:cxn ang="0">
                <a:pos x="2598" y="3246"/>
              </a:cxn>
              <a:cxn ang="0">
                <a:pos x="2694" y="3264"/>
              </a:cxn>
              <a:cxn ang="0">
                <a:pos x="2904" y="3228"/>
              </a:cxn>
              <a:cxn ang="0">
                <a:pos x="3060" y="3294"/>
              </a:cxn>
              <a:cxn ang="0">
                <a:pos x="3096" y="3306"/>
              </a:cxn>
              <a:cxn ang="0">
                <a:pos x="3330" y="3180"/>
              </a:cxn>
              <a:cxn ang="0">
                <a:pos x="3648" y="3276"/>
              </a:cxn>
              <a:cxn ang="0">
                <a:pos x="3960" y="3246"/>
              </a:cxn>
              <a:cxn ang="0">
                <a:pos x="4056" y="3336"/>
              </a:cxn>
              <a:cxn ang="0">
                <a:pos x="4200" y="3174"/>
              </a:cxn>
              <a:cxn ang="0">
                <a:pos x="4398" y="3270"/>
              </a:cxn>
              <a:cxn ang="0">
                <a:pos x="4530" y="3144"/>
              </a:cxn>
              <a:cxn ang="0">
                <a:pos x="4530" y="0"/>
              </a:cxn>
              <a:cxn ang="0">
                <a:pos x="0" y="0"/>
              </a:cxn>
            </a:cxnLst>
            <a:rect l="0" t="0" r="r" b="b"/>
            <a:pathLst>
              <a:path w="4530" h="3366">
                <a:moveTo>
                  <a:pt x="0" y="0"/>
                </a:moveTo>
                <a:lnTo>
                  <a:pt x="0" y="3198"/>
                </a:lnTo>
                <a:lnTo>
                  <a:pt x="228" y="3300"/>
                </a:lnTo>
                <a:lnTo>
                  <a:pt x="558" y="3222"/>
                </a:lnTo>
                <a:lnTo>
                  <a:pt x="762" y="3312"/>
                </a:lnTo>
                <a:lnTo>
                  <a:pt x="1104" y="3240"/>
                </a:lnTo>
                <a:lnTo>
                  <a:pt x="1440" y="3366"/>
                </a:lnTo>
                <a:lnTo>
                  <a:pt x="1710" y="3270"/>
                </a:lnTo>
                <a:lnTo>
                  <a:pt x="1758" y="3312"/>
                </a:lnTo>
                <a:lnTo>
                  <a:pt x="2028" y="3204"/>
                </a:lnTo>
                <a:lnTo>
                  <a:pt x="2214" y="3288"/>
                </a:lnTo>
                <a:cubicBezTo>
                  <a:pt x="2419" y="3182"/>
                  <a:pt x="2311" y="3194"/>
                  <a:pt x="2490" y="3228"/>
                </a:cubicBezTo>
                <a:cubicBezTo>
                  <a:pt x="2526" y="3235"/>
                  <a:pt x="2562" y="3240"/>
                  <a:pt x="2598" y="3246"/>
                </a:cubicBezTo>
                <a:cubicBezTo>
                  <a:pt x="2630" y="3252"/>
                  <a:pt x="2694" y="3264"/>
                  <a:pt x="2694" y="3264"/>
                </a:cubicBezTo>
                <a:lnTo>
                  <a:pt x="2904" y="3228"/>
                </a:lnTo>
                <a:lnTo>
                  <a:pt x="3060" y="3294"/>
                </a:lnTo>
                <a:lnTo>
                  <a:pt x="3096" y="3306"/>
                </a:lnTo>
                <a:lnTo>
                  <a:pt x="3330" y="3180"/>
                </a:lnTo>
                <a:lnTo>
                  <a:pt x="3648" y="3276"/>
                </a:lnTo>
                <a:lnTo>
                  <a:pt x="3960" y="3246"/>
                </a:lnTo>
                <a:lnTo>
                  <a:pt x="4056" y="3336"/>
                </a:lnTo>
                <a:lnTo>
                  <a:pt x="4200" y="3174"/>
                </a:lnTo>
                <a:lnTo>
                  <a:pt x="4398" y="3270"/>
                </a:lnTo>
                <a:lnTo>
                  <a:pt x="4530" y="3144"/>
                </a:lnTo>
                <a:lnTo>
                  <a:pt x="4530" y="0"/>
                </a:lnTo>
                <a:lnTo>
                  <a:pt x="0" y="0"/>
                </a:lnTo>
                <a:close/>
              </a:path>
            </a:pathLst>
          </a:custGeom>
          <a:solidFill>
            <a:srgbClr val="E8ECEA">
              <a:alpha val="16000"/>
            </a:srgbClr>
          </a:solidFill>
          <a:ln w="9525">
            <a:solidFill>
              <a:schemeClr val="tx1"/>
            </a:solidFill>
            <a:round/>
            <a:headEnd/>
            <a:tailEnd/>
          </a:ln>
          <a:effectLst>
            <a:outerShdw dist="107763" dir="2700000" algn="ctr" rotWithShape="0">
              <a:srgbClr val="D5DDD9">
                <a:alpha val="50000"/>
              </a:srgbClr>
            </a:outerShdw>
          </a:effectLst>
        </p:spPr>
        <p:txBody>
          <a:bodyPr/>
          <a:lstStyle/>
          <a:p>
            <a:pPr fontAlgn="auto">
              <a:spcBef>
                <a:spcPts val="0"/>
              </a:spcBef>
              <a:spcAft>
                <a:spcPts val="0"/>
              </a:spcAft>
              <a:defRPr/>
            </a:pPr>
            <a:endParaRPr lang="en-US" sz="1600" b="1">
              <a:latin typeface="Arial" charset="0"/>
              <a:cs typeface="Arial" charset="0"/>
            </a:endParaRPr>
          </a:p>
        </p:txBody>
      </p:sp>
      <p:sp>
        <p:nvSpPr>
          <p:cNvPr id="4" name="TextBox 3"/>
          <p:cNvSpPr txBox="1"/>
          <p:nvPr/>
        </p:nvSpPr>
        <p:spPr>
          <a:xfrm rot="20740702">
            <a:off x="136525" y="587375"/>
            <a:ext cx="1335088" cy="400050"/>
          </a:xfrm>
          <a:prstGeom prst="rect">
            <a:avLst/>
          </a:prstGeom>
        </p:spPr>
        <p:style>
          <a:lnRef idx="2">
            <a:schemeClr val="accent3"/>
          </a:lnRef>
          <a:fillRef idx="1">
            <a:schemeClr val="lt1"/>
          </a:fillRef>
          <a:effectRef idx="0">
            <a:schemeClr val="accent3"/>
          </a:effectRef>
          <a:fontRef idx="minor">
            <a:schemeClr val="dk1"/>
          </a:fontRef>
        </p:style>
        <p:txBody>
          <a:bodyPr>
            <a:spAutoFit/>
          </a:bodyPr>
          <a:lstStyle/>
          <a:p>
            <a:pPr algn="ctr">
              <a:defRPr/>
            </a:pPr>
            <a:r>
              <a:rPr lang="en-US" sz="2000" b="1" dirty="0">
                <a:solidFill>
                  <a:schemeClr val="accent1">
                    <a:lumMod val="75000"/>
                  </a:schemeClr>
                </a:solidFill>
                <a:latin typeface="Segoe UI Light"/>
                <a:cs typeface="Segoe UI Light"/>
              </a:rPr>
              <a:t>CONTOH</a:t>
            </a:r>
            <a:endParaRPr lang="en-US" sz="2400" b="1" dirty="0">
              <a:solidFill>
                <a:schemeClr val="accent1">
                  <a:lumMod val="75000"/>
                </a:schemeClr>
              </a:solidFill>
              <a:latin typeface="Segoe UI Light"/>
              <a:cs typeface="Segoe UI Light"/>
            </a:endParaRPr>
          </a:p>
        </p:txBody>
      </p:sp>
      <p:grpSp>
        <p:nvGrpSpPr>
          <p:cNvPr id="2" name="Groupe 1"/>
          <p:cNvGrpSpPr>
            <a:grpSpLocks/>
          </p:cNvGrpSpPr>
          <p:nvPr/>
        </p:nvGrpSpPr>
        <p:grpSpPr bwMode="auto">
          <a:xfrm>
            <a:off x="0" y="357188"/>
            <a:ext cx="484188" cy="554037"/>
            <a:chOff x="4985896" y="2380134"/>
            <a:chExt cx="2154390" cy="2715410"/>
          </a:xfrm>
        </p:grpSpPr>
        <p:grpSp>
          <p:nvGrpSpPr>
            <p:cNvPr id="3" name="Groupe 33"/>
            <p:cNvGrpSpPr/>
            <p:nvPr/>
          </p:nvGrpSpPr>
          <p:grpSpPr>
            <a:xfrm rot="14400000">
              <a:off x="5523996" y="3741353"/>
              <a:ext cx="816091" cy="1892292"/>
              <a:chOff x="6324195" y="2380134"/>
              <a:chExt cx="816091" cy="1892292"/>
            </a:xfrm>
            <a:gradFill flip="none" rotWithShape="1">
              <a:gsLst>
                <a:gs pos="0">
                  <a:srgbClr val="BEC6D4"/>
                </a:gs>
                <a:gs pos="50000">
                  <a:schemeClr val="accent1">
                    <a:lumMod val="40000"/>
                    <a:lumOff val="60000"/>
                    <a:tint val="44500"/>
                    <a:satMod val="160000"/>
                  </a:schemeClr>
                </a:gs>
                <a:gs pos="100000">
                  <a:schemeClr val="accent1">
                    <a:lumMod val="40000"/>
                    <a:lumOff val="60000"/>
                    <a:tint val="23500"/>
                    <a:satMod val="160000"/>
                  </a:schemeClr>
                </a:gs>
              </a:gsLst>
              <a:lin ang="16200000" scaled="1"/>
              <a:tileRect/>
            </a:gradFill>
          </p:grpSpPr>
          <p:sp>
            <p:nvSpPr>
              <p:cNvPr id="15" name="Rectangle 11"/>
              <p:cNvSpPr/>
              <p:nvPr/>
            </p:nvSpPr>
            <p:spPr>
              <a:xfrm>
                <a:off x="6680166" y="3333369"/>
                <a:ext cx="105362" cy="939057"/>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6" name="Ellipse 35"/>
              <p:cNvSpPr/>
              <p:nvPr/>
            </p:nvSpPr>
            <p:spPr>
              <a:xfrm>
                <a:off x="6324195" y="2969949"/>
                <a:ext cx="816091" cy="70207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7" name="Ellipse 36"/>
              <p:cNvSpPr/>
              <p:nvPr/>
            </p:nvSpPr>
            <p:spPr>
              <a:xfrm rot="1800000">
                <a:off x="6343308" y="3036225"/>
                <a:ext cx="647605" cy="59391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8" name="Trapèze 10"/>
              <p:cNvSpPr/>
              <p:nvPr/>
            </p:nvSpPr>
            <p:spPr>
              <a:xfrm>
                <a:off x="6488604" y="2632162"/>
                <a:ext cx="487272" cy="765707"/>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9" name="Ellipse 39"/>
              <p:cNvSpPr/>
              <p:nvPr/>
            </p:nvSpPr>
            <p:spPr>
              <a:xfrm>
                <a:off x="6444208" y="2380134"/>
                <a:ext cx="576064" cy="50405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0" name="Ellipse 40"/>
              <p:cNvSpPr/>
              <p:nvPr/>
            </p:nvSpPr>
            <p:spPr>
              <a:xfrm>
                <a:off x="6444208" y="2380134"/>
                <a:ext cx="576064" cy="43204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nvGrpSpPr>
            <p:cNvPr id="5" name="Groupe 25"/>
            <p:cNvGrpSpPr>
              <a:grpSpLocks/>
            </p:cNvGrpSpPr>
            <p:nvPr/>
          </p:nvGrpSpPr>
          <p:grpSpPr bwMode="auto">
            <a:xfrm>
              <a:off x="6320911" y="2380134"/>
              <a:ext cx="819375" cy="1890669"/>
              <a:chOff x="6320911" y="2380134"/>
              <a:chExt cx="819375" cy="1890669"/>
            </a:xfrm>
          </p:grpSpPr>
          <p:sp>
            <p:nvSpPr>
              <p:cNvPr id="8" name="Rectangle 11"/>
              <p:cNvSpPr/>
              <p:nvPr/>
            </p:nvSpPr>
            <p:spPr>
              <a:xfrm>
                <a:off x="6681151" y="3329360"/>
                <a:ext cx="105956" cy="941443"/>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adFill flip="none" rotWithShape="1">
                <a:gsLst>
                  <a:gs pos="0">
                    <a:srgbClr val="FFFFFF"/>
                  </a:gs>
                  <a:gs pos="7001">
                    <a:srgbClr val="E6E6E6"/>
                  </a:gs>
                  <a:gs pos="32001">
                    <a:srgbClr val="7D8496"/>
                  </a:gs>
                  <a:gs pos="47000">
                    <a:srgbClr val="E6E6E6"/>
                  </a:gs>
                  <a:gs pos="85001">
                    <a:srgbClr val="7D8496"/>
                  </a:gs>
                  <a:gs pos="100000">
                    <a:srgbClr val="E6E6E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9" name="Ellipse 12"/>
              <p:cNvSpPr/>
              <p:nvPr/>
            </p:nvSpPr>
            <p:spPr>
              <a:xfrm>
                <a:off x="6320911" y="2971455"/>
                <a:ext cx="819375" cy="700249"/>
              </a:xfrm>
              <a:prstGeom prst="ellipse">
                <a:avLst/>
              </a:prstGeom>
              <a:gradFill flip="none" rotWithShape="1">
                <a:gsLst>
                  <a:gs pos="0">
                    <a:srgbClr val="004D86"/>
                  </a:gs>
                  <a:gs pos="100000">
                    <a:srgbClr val="00B0F0"/>
                  </a:gs>
                </a:gsLst>
                <a:lin ang="2700000" scaled="1"/>
                <a:tileRect/>
              </a:gra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0" name="Ellipse 13"/>
              <p:cNvSpPr/>
              <p:nvPr/>
            </p:nvSpPr>
            <p:spPr>
              <a:xfrm rot="1800000">
                <a:off x="6342100" y="3033700"/>
                <a:ext cx="649849" cy="599099"/>
              </a:xfrm>
              <a:prstGeom prst="ellipse">
                <a:avLst/>
              </a:prstGeom>
              <a:gradFill flip="none" rotWithShape="1">
                <a:gsLst>
                  <a:gs pos="68350">
                    <a:srgbClr val="0091CF"/>
                  </a:gs>
                  <a:gs pos="36700">
                    <a:srgbClr val="0071AD"/>
                  </a:gs>
                  <a:gs pos="0">
                    <a:srgbClr val="004D86"/>
                  </a:gs>
                  <a:gs pos="100000">
                    <a:srgbClr val="00B0F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pic>
            <p:nvPicPr>
              <p:cNvPr id="11" name="Picture 5"/>
              <p:cNvPicPr>
                <a:picLocks noChangeAspect="1" noChangeArrowheads="1"/>
              </p:cNvPicPr>
              <p:nvPr/>
            </p:nvPicPr>
            <p:blipFill>
              <a:blip r:embed="rId4" cstate="print"/>
              <a:srcRect l="23138" t="19901" r="24571" b="27188"/>
              <a:stretch>
                <a:fillRect/>
              </a:stretch>
            </p:blipFill>
            <p:spPr bwMode="auto">
              <a:xfrm rot="-1835306">
                <a:off x="6730129" y="3272365"/>
                <a:ext cx="385960" cy="294981"/>
              </a:xfrm>
              <a:prstGeom prst="rect">
                <a:avLst/>
              </a:prstGeom>
              <a:noFill/>
              <a:ln w="9525">
                <a:noFill/>
                <a:miter lim="800000"/>
                <a:headEnd/>
                <a:tailEnd/>
              </a:ln>
            </p:spPr>
          </p:pic>
          <p:sp>
            <p:nvSpPr>
              <p:cNvPr id="12" name="Trapèze 10"/>
              <p:cNvSpPr/>
              <p:nvPr/>
            </p:nvSpPr>
            <p:spPr>
              <a:xfrm>
                <a:off x="6483371" y="2629111"/>
                <a:ext cx="494450" cy="770271"/>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3" name="Ellipse 7"/>
              <p:cNvSpPr/>
              <p:nvPr/>
            </p:nvSpPr>
            <p:spPr>
              <a:xfrm>
                <a:off x="6440990" y="2380134"/>
                <a:ext cx="579213" cy="505733"/>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81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4" name="Ellipse 5"/>
              <p:cNvSpPr/>
              <p:nvPr/>
            </p:nvSpPr>
            <p:spPr>
              <a:xfrm>
                <a:off x="6440990" y="2380134"/>
                <a:ext cx="579213" cy="427927"/>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pic>
        <p:nvPicPr>
          <p:cNvPr id="2050" name="Picture 2" descr="C:\Documents and Settings\dalida.nordin\My Documents\Grabilla Captures\grabilla.gq1080.png"/>
          <p:cNvPicPr>
            <a:picLocks noChangeAspect="1" noChangeArrowheads="1"/>
          </p:cNvPicPr>
          <p:nvPr/>
        </p:nvPicPr>
        <p:blipFill>
          <a:blip r:embed="rId5" cstate="print"/>
          <a:srcRect/>
          <a:stretch>
            <a:fillRect/>
          </a:stretch>
        </p:blipFill>
        <p:spPr bwMode="auto">
          <a:xfrm>
            <a:off x="3857620" y="571480"/>
            <a:ext cx="4386274" cy="5887460"/>
          </a:xfrm>
          <a:prstGeom prst="rect">
            <a:avLst/>
          </a:prstGeom>
          <a:noFill/>
        </p:spPr>
      </p:pic>
      <p:sp>
        <p:nvSpPr>
          <p:cNvPr id="25" name="Rectangle 24"/>
          <p:cNvSpPr/>
          <p:nvPr/>
        </p:nvSpPr>
        <p:spPr>
          <a:xfrm>
            <a:off x="428596" y="1571612"/>
            <a:ext cx="2762295" cy="923330"/>
          </a:xfrm>
          <a:prstGeom prst="rect">
            <a:avLst/>
          </a:prstGeom>
          <a:noFill/>
        </p:spPr>
        <p:txBody>
          <a:bodyPr wrap="none" lIns="91440" tIns="45720" rIns="91440" bIns="45720">
            <a:prstTxWarp prst="textFadeRight">
              <a:avLst/>
            </a:prstTxWarp>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54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Rockwell" pitchFamily="18" charset="0"/>
              </a:rPr>
              <a:t>DESKRIPSI</a:t>
            </a:r>
            <a:endParaRPr lang="en-US" sz="54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Rockwell" pitchFamily="18" charset="0"/>
            </a:endParaRPr>
          </a:p>
        </p:txBody>
      </p:sp>
      <p:sp>
        <p:nvSpPr>
          <p:cNvPr id="6" name="Footer Placeholder 5"/>
          <p:cNvSpPr>
            <a:spLocks noGrp="1"/>
          </p:cNvSpPr>
          <p:nvPr>
            <p:ph type="ftr" sz="quarter" idx="11"/>
          </p:nvPr>
        </p:nvSpPr>
        <p:spPr/>
        <p:txBody>
          <a:bodyPr/>
          <a:lstStyle/>
          <a:p>
            <a:r>
              <a:rPr lang="en-US" smtClean="0"/>
              <a:t>GURU (SEKOLAH)</a:t>
            </a:r>
            <a:endParaRPr lang="en-US"/>
          </a:p>
        </p:txBody>
      </p:sp>
      <p:sp>
        <p:nvSpPr>
          <p:cNvPr id="7" name="Slide Number Placeholder 6"/>
          <p:cNvSpPr>
            <a:spLocks noGrp="1"/>
          </p:cNvSpPr>
          <p:nvPr>
            <p:ph type="sldNum" sz="quarter" idx="12"/>
          </p:nvPr>
        </p:nvSpPr>
        <p:spPr/>
        <p:txBody>
          <a:bodyPr/>
          <a:lstStyle/>
          <a:p>
            <a:fld id="{4D86EDED-B1AF-7E4B-94C9-3F0EAA36C7D5}" type="slidenum">
              <a:rPr lang="en-US" smtClean="0"/>
              <a:pPr/>
              <a:t>54</a:t>
            </a:fld>
            <a:endParaRPr lang="en-US"/>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6"/>
          <p:cNvSpPr>
            <a:spLocks/>
          </p:cNvSpPr>
          <p:nvPr>
            <p:custDataLst>
              <p:tags r:id="rId1"/>
            </p:custDataLst>
          </p:nvPr>
        </p:nvSpPr>
        <p:spPr bwMode="gray">
          <a:xfrm flipH="1">
            <a:off x="1643042" y="428604"/>
            <a:ext cx="6858048" cy="6215082"/>
          </a:xfrm>
          <a:custGeom>
            <a:avLst/>
            <a:gdLst/>
            <a:ahLst/>
            <a:cxnLst>
              <a:cxn ang="0">
                <a:pos x="0" y="0"/>
              </a:cxn>
              <a:cxn ang="0">
                <a:pos x="0" y="3198"/>
              </a:cxn>
              <a:cxn ang="0">
                <a:pos x="228" y="3300"/>
              </a:cxn>
              <a:cxn ang="0">
                <a:pos x="558" y="3222"/>
              </a:cxn>
              <a:cxn ang="0">
                <a:pos x="762" y="3312"/>
              </a:cxn>
              <a:cxn ang="0">
                <a:pos x="1104" y="3240"/>
              </a:cxn>
              <a:cxn ang="0">
                <a:pos x="1440" y="3366"/>
              </a:cxn>
              <a:cxn ang="0">
                <a:pos x="1710" y="3270"/>
              </a:cxn>
              <a:cxn ang="0">
                <a:pos x="1758" y="3312"/>
              </a:cxn>
              <a:cxn ang="0">
                <a:pos x="2028" y="3204"/>
              </a:cxn>
              <a:cxn ang="0">
                <a:pos x="2214" y="3288"/>
              </a:cxn>
              <a:cxn ang="0">
                <a:pos x="2490" y="3228"/>
              </a:cxn>
              <a:cxn ang="0">
                <a:pos x="2598" y="3246"/>
              </a:cxn>
              <a:cxn ang="0">
                <a:pos x="2694" y="3264"/>
              </a:cxn>
              <a:cxn ang="0">
                <a:pos x="2904" y="3228"/>
              </a:cxn>
              <a:cxn ang="0">
                <a:pos x="3060" y="3294"/>
              </a:cxn>
              <a:cxn ang="0">
                <a:pos x="3096" y="3306"/>
              </a:cxn>
              <a:cxn ang="0">
                <a:pos x="3330" y="3180"/>
              </a:cxn>
              <a:cxn ang="0">
                <a:pos x="3648" y="3276"/>
              </a:cxn>
              <a:cxn ang="0">
                <a:pos x="3960" y="3246"/>
              </a:cxn>
              <a:cxn ang="0">
                <a:pos x="4056" y="3336"/>
              </a:cxn>
              <a:cxn ang="0">
                <a:pos x="4200" y="3174"/>
              </a:cxn>
              <a:cxn ang="0">
                <a:pos x="4398" y="3270"/>
              </a:cxn>
              <a:cxn ang="0">
                <a:pos x="4530" y="3144"/>
              </a:cxn>
              <a:cxn ang="0">
                <a:pos x="4530" y="0"/>
              </a:cxn>
              <a:cxn ang="0">
                <a:pos x="0" y="0"/>
              </a:cxn>
            </a:cxnLst>
            <a:rect l="0" t="0" r="r" b="b"/>
            <a:pathLst>
              <a:path w="4530" h="3366">
                <a:moveTo>
                  <a:pt x="0" y="0"/>
                </a:moveTo>
                <a:lnTo>
                  <a:pt x="0" y="3198"/>
                </a:lnTo>
                <a:lnTo>
                  <a:pt x="228" y="3300"/>
                </a:lnTo>
                <a:lnTo>
                  <a:pt x="558" y="3222"/>
                </a:lnTo>
                <a:lnTo>
                  <a:pt x="762" y="3312"/>
                </a:lnTo>
                <a:lnTo>
                  <a:pt x="1104" y="3240"/>
                </a:lnTo>
                <a:lnTo>
                  <a:pt x="1440" y="3366"/>
                </a:lnTo>
                <a:lnTo>
                  <a:pt x="1710" y="3270"/>
                </a:lnTo>
                <a:lnTo>
                  <a:pt x="1758" y="3312"/>
                </a:lnTo>
                <a:lnTo>
                  <a:pt x="2028" y="3204"/>
                </a:lnTo>
                <a:lnTo>
                  <a:pt x="2214" y="3288"/>
                </a:lnTo>
                <a:cubicBezTo>
                  <a:pt x="2419" y="3182"/>
                  <a:pt x="2311" y="3194"/>
                  <a:pt x="2490" y="3228"/>
                </a:cubicBezTo>
                <a:cubicBezTo>
                  <a:pt x="2526" y="3235"/>
                  <a:pt x="2562" y="3240"/>
                  <a:pt x="2598" y="3246"/>
                </a:cubicBezTo>
                <a:cubicBezTo>
                  <a:pt x="2630" y="3252"/>
                  <a:pt x="2694" y="3264"/>
                  <a:pt x="2694" y="3264"/>
                </a:cubicBezTo>
                <a:lnTo>
                  <a:pt x="2904" y="3228"/>
                </a:lnTo>
                <a:lnTo>
                  <a:pt x="3060" y="3294"/>
                </a:lnTo>
                <a:lnTo>
                  <a:pt x="3096" y="3306"/>
                </a:lnTo>
                <a:lnTo>
                  <a:pt x="3330" y="3180"/>
                </a:lnTo>
                <a:lnTo>
                  <a:pt x="3648" y="3276"/>
                </a:lnTo>
                <a:lnTo>
                  <a:pt x="3960" y="3246"/>
                </a:lnTo>
                <a:lnTo>
                  <a:pt x="4056" y="3336"/>
                </a:lnTo>
                <a:lnTo>
                  <a:pt x="4200" y="3174"/>
                </a:lnTo>
                <a:lnTo>
                  <a:pt x="4398" y="3270"/>
                </a:lnTo>
                <a:lnTo>
                  <a:pt x="4530" y="3144"/>
                </a:lnTo>
                <a:lnTo>
                  <a:pt x="4530" y="0"/>
                </a:lnTo>
                <a:lnTo>
                  <a:pt x="0" y="0"/>
                </a:lnTo>
                <a:close/>
              </a:path>
            </a:pathLst>
          </a:custGeom>
          <a:solidFill>
            <a:srgbClr val="E8ECEA">
              <a:alpha val="16000"/>
            </a:srgbClr>
          </a:solidFill>
          <a:ln w="9525">
            <a:solidFill>
              <a:schemeClr val="tx1"/>
            </a:solidFill>
            <a:round/>
            <a:headEnd/>
            <a:tailEnd/>
          </a:ln>
          <a:effectLst>
            <a:outerShdw dist="107763" dir="2700000" algn="ctr" rotWithShape="0">
              <a:srgbClr val="D5DDD9">
                <a:alpha val="50000"/>
              </a:srgbClr>
            </a:outerShdw>
          </a:effectLst>
        </p:spPr>
        <p:txBody>
          <a:bodyPr/>
          <a:lstStyle/>
          <a:p>
            <a:pPr fontAlgn="auto">
              <a:spcBef>
                <a:spcPts val="0"/>
              </a:spcBef>
              <a:spcAft>
                <a:spcPts val="0"/>
              </a:spcAft>
              <a:defRPr/>
            </a:pPr>
            <a:endParaRPr lang="en-US" sz="1600" b="1">
              <a:latin typeface="Arial" charset="0"/>
              <a:cs typeface="Arial" charset="0"/>
            </a:endParaRPr>
          </a:p>
        </p:txBody>
      </p:sp>
      <p:pic>
        <p:nvPicPr>
          <p:cNvPr id="3074" name="Picture 2" descr="C:\Documents and Settings\dalida.nordin\My Documents\Grabilla Captures\grabilla.gq1880.png"/>
          <p:cNvPicPr>
            <a:picLocks noChangeAspect="1" noChangeArrowheads="1"/>
          </p:cNvPicPr>
          <p:nvPr/>
        </p:nvPicPr>
        <p:blipFill>
          <a:blip r:embed="rId4" cstate="print"/>
          <a:srcRect/>
          <a:stretch>
            <a:fillRect/>
          </a:stretch>
        </p:blipFill>
        <p:spPr bwMode="auto">
          <a:xfrm>
            <a:off x="2000232" y="642918"/>
            <a:ext cx="6118564" cy="5686006"/>
          </a:xfrm>
          <a:prstGeom prst="rect">
            <a:avLst/>
          </a:prstGeom>
          <a:noFill/>
        </p:spPr>
      </p:pic>
      <p:sp>
        <p:nvSpPr>
          <p:cNvPr id="3" name="TextBox 2"/>
          <p:cNvSpPr txBox="1"/>
          <p:nvPr/>
        </p:nvSpPr>
        <p:spPr>
          <a:xfrm rot="20740702">
            <a:off x="136525" y="587375"/>
            <a:ext cx="1335088" cy="400050"/>
          </a:xfrm>
          <a:prstGeom prst="rect">
            <a:avLst/>
          </a:prstGeom>
        </p:spPr>
        <p:style>
          <a:lnRef idx="2">
            <a:schemeClr val="accent3"/>
          </a:lnRef>
          <a:fillRef idx="1">
            <a:schemeClr val="lt1"/>
          </a:fillRef>
          <a:effectRef idx="0">
            <a:schemeClr val="accent3"/>
          </a:effectRef>
          <a:fontRef idx="minor">
            <a:schemeClr val="dk1"/>
          </a:fontRef>
        </p:style>
        <p:txBody>
          <a:bodyPr>
            <a:spAutoFit/>
          </a:bodyPr>
          <a:lstStyle/>
          <a:p>
            <a:pPr algn="ctr">
              <a:defRPr/>
            </a:pPr>
            <a:r>
              <a:rPr lang="en-US" sz="2000" b="1">
                <a:solidFill>
                  <a:schemeClr val="accent1">
                    <a:lumMod val="75000"/>
                  </a:schemeClr>
                </a:solidFill>
                <a:latin typeface="Segoe UI Light"/>
                <a:cs typeface="Segoe UI Light"/>
              </a:rPr>
              <a:t>CONTOH</a:t>
            </a:r>
            <a:endParaRPr lang="en-US" sz="2400" b="1" dirty="0">
              <a:solidFill>
                <a:schemeClr val="accent1">
                  <a:lumMod val="75000"/>
                </a:schemeClr>
              </a:solidFill>
              <a:latin typeface="Segoe UI Light"/>
              <a:cs typeface="Segoe UI Light"/>
            </a:endParaRPr>
          </a:p>
        </p:txBody>
      </p:sp>
      <p:grpSp>
        <p:nvGrpSpPr>
          <p:cNvPr id="2" name="Groupe 1"/>
          <p:cNvGrpSpPr>
            <a:grpSpLocks/>
          </p:cNvGrpSpPr>
          <p:nvPr/>
        </p:nvGrpSpPr>
        <p:grpSpPr bwMode="auto">
          <a:xfrm>
            <a:off x="0" y="357188"/>
            <a:ext cx="484188" cy="554037"/>
            <a:chOff x="4985896" y="2380134"/>
            <a:chExt cx="2154390" cy="2715410"/>
          </a:xfrm>
        </p:grpSpPr>
        <p:grpSp>
          <p:nvGrpSpPr>
            <p:cNvPr id="4" name="Groupe 33"/>
            <p:cNvGrpSpPr/>
            <p:nvPr/>
          </p:nvGrpSpPr>
          <p:grpSpPr>
            <a:xfrm rot="14400000">
              <a:off x="5523996" y="3741353"/>
              <a:ext cx="816091" cy="1892292"/>
              <a:chOff x="6324195" y="2380134"/>
              <a:chExt cx="816091" cy="1892292"/>
            </a:xfrm>
            <a:gradFill flip="none" rotWithShape="1">
              <a:gsLst>
                <a:gs pos="0">
                  <a:srgbClr val="BEC6D4"/>
                </a:gs>
                <a:gs pos="50000">
                  <a:schemeClr val="accent1">
                    <a:lumMod val="40000"/>
                    <a:lumOff val="60000"/>
                    <a:tint val="44500"/>
                    <a:satMod val="160000"/>
                  </a:schemeClr>
                </a:gs>
                <a:gs pos="100000">
                  <a:schemeClr val="accent1">
                    <a:lumMod val="40000"/>
                    <a:lumOff val="60000"/>
                    <a:tint val="23500"/>
                    <a:satMod val="160000"/>
                  </a:schemeClr>
                </a:gs>
              </a:gsLst>
              <a:lin ang="16200000" scaled="1"/>
              <a:tileRect/>
            </a:gradFill>
          </p:grpSpPr>
          <p:sp>
            <p:nvSpPr>
              <p:cNvPr id="14" name="Rectangle 11"/>
              <p:cNvSpPr/>
              <p:nvPr/>
            </p:nvSpPr>
            <p:spPr>
              <a:xfrm>
                <a:off x="6680166" y="3333369"/>
                <a:ext cx="105362" cy="939057"/>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5" name="Ellipse 35"/>
              <p:cNvSpPr/>
              <p:nvPr/>
            </p:nvSpPr>
            <p:spPr>
              <a:xfrm>
                <a:off x="6324195" y="2969949"/>
                <a:ext cx="816091" cy="70207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6" name="Ellipse 36"/>
              <p:cNvSpPr/>
              <p:nvPr/>
            </p:nvSpPr>
            <p:spPr>
              <a:xfrm rot="1800000">
                <a:off x="6343308" y="3036225"/>
                <a:ext cx="647605" cy="59391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7" name="Trapèze 10"/>
              <p:cNvSpPr/>
              <p:nvPr/>
            </p:nvSpPr>
            <p:spPr>
              <a:xfrm>
                <a:off x="6488604" y="2632162"/>
                <a:ext cx="487272" cy="765707"/>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8" name="Ellipse 39"/>
              <p:cNvSpPr/>
              <p:nvPr/>
            </p:nvSpPr>
            <p:spPr>
              <a:xfrm>
                <a:off x="6444208" y="2380134"/>
                <a:ext cx="576064" cy="50405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9" name="Ellipse 40"/>
              <p:cNvSpPr/>
              <p:nvPr/>
            </p:nvSpPr>
            <p:spPr>
              <a:xfrm>
                <a:off x="6444208" y="2380134"/>
                <a:ext cx="576064" cy="43204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nvGrpSpPr>
            <p:cNvPr id="5" name="Groupe 25"/>
            <p:cNvGrpSpPr>
              <a:grpSpLocks/>
            </p:cNvGrpSpPr>
            <p:nvPr/>
          </p:nvGrpSpPr>
          <p:grpSpPr bwMode="auto">
            <a:xfrm>
              <a:off x="6320911" y="2380134"/>
              <a:ext cx="819375" cy="1890669"/>
              <a:chOff x="6320911" y="2380134"/>
              <a:chExt cx="819375" cy="1890669"/>
            </a:xfrm>
          </p:grpSpPr>
          <p:sp>
            <p:nvSpPr>
              <p:cNvPr id="7" name="Rectangle 11"/>
              <p:cNvSpPr/>
              <p:nvPr/>
            </p:nvSpPr>
            <p:spPr>
              <a:xfrm>
                <a:off x="6681151" y="3329360"/>
                <a:ext cx="105956" cy="941443"/>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adFill flip="none" rotWithShape="1">
                <a:gsLst>
                  <a:gs pos="0">
                    <a:srgbClr val="FFFFFF"/>
                  </a:gs>
                  <a:gs pos="7001">
                    <a:srgbClr val="E6E6E6"/>
                  </a:gs>
                  <a:gs pos="32001">
                    <a:srgbClr val="7D8496"/>
                  </a:gs>
                  <a:gs pos="47000">
                    <a:srgbClr val="E6E6E6"/>
                  </a:gs>
                  <a:gs pos="85001">
                    <a:srgbClr val="7D8496"/>
                  </a:gs>
                  <a:gs pos="100000">
                    <a:srgbClr val="E6E6E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8" name="Ellipse 12"/>
              <p:cNvSpPr/>
              <p:nvPr/>
            </p:nvSpPr>
            <p:spPr>
              <a:xfrm>
                <a:off x="6320911" y="2971455"/>
                <a:ext cx="819375" cy="700249"/>
              </a:xfrm>
              <a:prstGeom prst="ellipse">
                <a:avLst/>
              </a:prstGeom>
              <a:gradFill flip="none" rotWithShape="1">
                <a:gsLst>
                  <a:gs pos="0">
                    <a:srgbClr val="004D86"/>
                  </a:gs>
                  <a:gs pos="100000">
                    <a:srgbClr val="00B0F0"/>
                  </a:gs>
                </a:gsLst>
                <a:lin ang="2700000" scaled="1"/>
                <a:tileRect/>
              </a:gra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9" name="Ellipse 13"/>
              <p:cNvSpPr/>
              <p:nvPr/>
            </p:nvSpPr>
            <p:spPr>
              <a:xfrm rot="1800000">
                <a:off x="6342100" y="3033700"/>
                <a:ext cx="649849" cy="599099"/>
              </a:xfrm>
              <a:prstGeom prst="ellipse">
                <a:avLst/>
              </a:prstGeom>
              <a:gradFill flip="none" rotWithShape="1">
                <a:gsLst>
                  <a:gs pos="68350">
                    <a:srgbClr val="0091CF"/>
                  </a:gs>
                  <a:gs pos="36700">
                    <a:srgbClr val="0071AD"/>
                  </a:gs>
                  <a:gs pos="0">
                    <a:srgbClr val="004D86"/>
                  </a:gs>
                  <a:gs pos="100000">
                    <a:srgbClr val="00B0F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pic>
            <p:nvPicPr>
              <p:cNvPr id="10" name="Picture 5"/>
              <p:cNvPicPr>
                <a:picLocks noChangeAspect="1" noChangeArrowheads="1"/>
              </p:cNvPicPr>
              <p:nvPr/>
            </p:nvPicPr>
            <p:blipFill>
              <a:blip r:embed="rId5" cstate="print"/>
              <a:srcRect l="23138" t="19901" r="24571" b="27188"/>
              <a:stretch>
                <a:fillRect/>
              </a:stretch>
            </p:blipFill>
            <p:spPr bwMode="auto">
              <a:xfrm rot="-1835306">
                <a:off x="6730129" y="3272365"/>
                <a:ext cx="385960" cy="294981"/>
              </a:xfrm>
              <a:prstGeom prst="rect">
                <a:avLst/>
              </a:prstGeom>
              <a:noFill/>
              <a:ln w="9525">
                <a:noFill/>
                <a:miter lim="800000"/>
                <a:headEnd/>
                <a:tailEnd/>
              </a:ln>
            </p:spPr>
          </p:pic>
          <p:sp>
            <p:nvSpPr>
              <p:cNvPr id="11" name="Trapèze 10"/>
              <p:cNvSpPr/>
              <p:nvPr/>
            </p:nvSpPr>
            <p:spPr>
              <a:xfrm>
                <a:off x="6483371" y="2629111"/>
                <a:ext cx="494450" cy="770271"/>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2" name="Ellipse 7"/>
              <p:cNvSpPr/>
              <p:nvPr/>
            </p:nvSpPr>
            <p:spPr>
              <a:xfrm>
                <a:off x="6440990" y="2380134"/>
                <a:ext cx="579213" cy="505733"/>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81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3" name="Ellipse 5"/>
              <p:cNvSpPr/>
              <p:nvPr/>
            </p:nvSpPr>
            <p:spPr>
              <a:xfrm>
                <a:off x="6440990" y="2380134"/>
                <a:ext cx="579213" cy="427927"/>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sp>
        <p:nvSpPr>
          <p:cNvPr id="21" name="Rectangle 20"/>
          <p:cNvSpPr/>
          <p:nvPr/>
        </p:nvSpPr>
        <p:spPr>
          <a:xfrm rot="5400000">
            <a:off x="-490887" y="2848285"/>
            <a:ext cx="2762295" cy="923330"/>
          </a:xfrm>
          <a:prstGeom prst="rect">
            <a:avLst/>
          </a:prstGeom>
          <a:noFill/>
        </p:spPr>
        <p:txBody>
          <a:bodyPr vert="vert270" wrap="none" lIns="91440" tIns="45720" rIns="91440" bIns="45720">
            <a:prstTxWarp prst="textInflateTop">
              <a:avLst/>
            </a:prstTxWarp>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19900" b="1" cap="none" spc="5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Rockwell" pitchFamily="18" charset="0"/>
              </a:rPr>
              <a:t>KAEDAH</a:t>
            </a:r>
            <a:endParaRPr lang="en-US" sz="19900" b="1" cap="none" spc="5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Rockwell" pitchFamily="18" charset="0"/>
            </a:endParaRPr>
          </a:p>
        </p:txBody>
      </p:sp>
      <p:sp>
        <p:nvSpPr>
          <p:cNvPr id="6" name="Footer Placeholder 5"/>
          <p:cNvSpPr>
            <a:spLocks noGrp="1"/>
          </p:cNvSpPr>
          <p:nvPr>
            <p:ph type="ftr" sz="quarter" idx="11"/>
          </p:nvPr>
        </p:nvSpPr>
        <p:spPr/>
        <p:txBody>
          <a:bodyPr/>
          <a:lstStyle/>
          <a:p>
            <a:r>
              <a:rPr lang="en-US" smtClean="0"/>
              <a:t>GURU (SEKOLAH)</a:t>
            </a:r>
            <a:endParaRPr lang="en-US"/>
          </a:p>
        </p:txBody>
      </p:sp>
      <p:sp>
        <p:nvSpPr>
          <p:cNvPr id="22" name="Slide Number Placeholder 21"/>
          <p:cNvSpPr>
            <a:spLocks noGrp="1"/>
          </p:cNvSpPr>
          <p:nvPr>
            <p:ph type="sldNum" sz="quarter" idx="12"/>
          </p:nvPr>
        </p:nvSpPr>
        <p:spPr/>
        <p:txBody>
          <a:bodyPr/>
          <a:lstStyle/>
          <a:p>
            <a:fld id="{4D86EDED-B1AF-7E4B-94C9-3F0EAA36C7D5}" type="slidenum">
              <a:rPr lang="en-US" smtClean="0"/>
              <a:pPr/>
              <a:t>55</a:t>
            </a:fld>
            <a:endParaRPr lang="en-US"/>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6"/>
          <p:cNvSpPr>
            <a:spLocks/>
          </p:cNvSpPr>
          <p:nvPr>
            <p:custDataLst>
              <p:tags r:id="rId1"/>
            </p:custDataLst>
          </p:nvPr>
        </p:nvSpPr>
        <p:spPr bwMode="gray">
          <a:xfrm flipH="1">
            <a:off x="1835696" y="1142984"/>
            <a:ext cx="6840760" cy="5500726"/>
          </a:xfrm>
          <a:custGeom>
            <a:avLst/>
            <a:gdLst/>
            <a:ahLst/>
            <a:cxnLst>
              <a:cxn ang="0">
                <a:pos x="0" y="0"/>
              </a:cxn>
              <a:cxn ang="0">
                <a:pos x="0" y="3198"/>
              </a:cxn>
              <a:cxn ang="0">
                <a:pos x="228" y="3300"/>
              </a:cxn>
              <a:cxn ang="0">
                <a:pos x="558" y="3222"/>
              </a:cxn>
              <a:cxn ang="0">
                <a:pos x="762" y="3312"/>
              </a:cxn>
              <a:cxn ang="0">
                <a:pos x="1104" y="3240"/>
              </a:cxn>
              <a:cxn ang="0">
                <a:pos x="1440" y="3366"/>
              </a:cxn>
              <a:cxn ang="0">
                <a:pos x="1710" y="3270"/>
              </a:cxn>
              <a:cxn ang="0">
                <a:pos x="1758" y="3312"/>
              </a:cxn>
              <a:cxn ang="0">
                <a:pos x="2028" y="3204"/>
              </a:cxn>
              <a:cxn ang="0">
                <a:pos x="2214" y="3288"/>
              </a:cxn>
              <a:cxn ang="0">
                <a:pos x="2490" y="3228"/>
              </a:cxn>
              <a:cxn ang="0">
                <a:pos x="2598" y="3246"/>
              </a:cxn>
              <a:cxn ang="0">
                <a:pos x="2694" y="3264"/>
              </a:cxn>
              <a:cxn ang="0">
                <a:pos x="2904" y="3228"/>
              </a:cxn>
              <a:cxn ang="0">
                <a:pos x="3060" y="3294"/>
              </a:cxn>
              <a:cxn ang="0">
                <a:pos x="3096" y="3306"/>
              </a:cxn>
              <a:cxn ang="0">
                <a:pos x="3330" y="3180"/>
              </a:cxn>
              <a:cxn ang="0">
                <a:pos x="3648" y="3276"/>
              </a:cxn>
              <a:cxn ang="0">
                <a:pos x="3960" y="3246"/>
              </a:cxn>
              <a:cxn ang="0">
                <a:pos x="4056" y="3336"/>
              </a:cxn>
              <a:cxn ang="0">
                <a:pos x="4200" y="3174"/>
              </a:cxn>
              <a:cxn ang="0">
                <a:pos x="4398" y="3270"/>
              </a:cxn>
              <a:cxn ang="0">
                <a:pos x="4530" y="3144"/>
              </a:cxn>
              <a:cxn ang="0">
                <a:pos x="4530" y="0"/>
              </a:cxn>
              <a:cxn ang="0">
                <a:pos x="0" y="0"/>
              </a:cxn>
            </a:cxnLst>
            <a:rect l="0" t="0" r="r" b="b"/>
            <a:pathLst>
              <a:path w="4530" h="3366">
                <a:moveTo>
                  <a:pt x="0" y="0"/>
                </a:moveTo>
                <a:lnTo>
                  <a:pt x="0" y="3198"/>
                </a:lnTo>
                <a:lnTo>
                  <a:pt x="228" y="3300"/>
                </a:lnTo>
                <a:lnTo>
                  <a:pt x="558" y="3222"/>
                </a:lnTo>
                <a:lnTo>
                  <a:pt x="762" y="3312"/>
                </a:lnTo>
                <a:lnTo>
                  <a:pt x="1104" y="3240"/>
                </a:lnTo>
                <a:lnTo>
                  <a:pt x="1440" y="3366"/>
                </a:lnTo>
                <a:lnTo>
                  <a:pt x="1710" y="3270"/>
                </a:lnTo>
                <a:lnTo>
                  <a:pt x="1758" y="3312"/>
                </a:lnTo>
                <a:lnTo>
                  <a:pt x="2028" y="3204"/>
                </a:lnTo>
                <a:lnTo>
                  <a:pt x="2214" y="3288"/>
                </a:lnTo>
                <a:cubicBezTo>
                  <a:pt x="2419" y="3182"/>
                  <a:pt x="2311" y="3194"/>
                  <a:pt x="2490" y="3228"/>
                </a:cubicBezTo>
                <a:cubicBezTo>
                  <a:pt x="2526" y="3235"/>
                  <a:pt x="2562" y="3240"/>
                  <a:pt x="2598" y="3246"/>
                </a:cubicBezTo>
                <a:cubicBezTo>
                  <a:pt x="2630" y="3252"/>
                  <a:pt x="2694" y="3264"/>
                  <a:pt x="2694" y="3264"/>
                </a:cubicBezTo>
                <a:lnTo>
                  <a:pt x="2904" y="3228"/>
                </a:lnTo>
                <a:lnTo>
                  <a:pt x="3060" y="3294"/>
                </a:lnTo>
                <a:lnTo>
                  <a:pt x="3096" y="3306"/>
                </a:lnTo>
                <a:lnTo>
                  <a:pt x="3330" y="3180"/>
                </a:lnTo>
                <a:lnTo>
                  <a:pt x="3648" y="3276"/>
                </a:lnTo>
                <a:lnTo>
                  <a:pt x="3960" y="3246"/>
                </a:lnTo>
                <a:lnTo>
                  <a:pt x="4056" y="3336"/>
                </a:lnTo>
                <a:lnTo>
                  <a:pt x="4200" y="3174"/>
                </a:lnTo>
                <a:lnTo>
                  <a:pt x="4398" y="3270"/>
                </a:lnTo>
                <a:lnTo>
                  <a:pt x="4530" y="3144"/>
                </a:lnTo>
                <a:lnTo>
                  <a:pt x="4530" y="0"/>
                </a:lnTo>
                <a:lnTo>
                  <a:pt x="0" y="0"/>
                </a:lnTo>
                <a:close/>
              </a:path>
            </a:pathLst>
          </a:custGeom>
          <a:solidFill>
            <a:srgbClr val="E8ECEA">
              <a:alpha val="16000"/>
            </a:srgbClr>
          </a:solidFill>
          <a:ln w="9525">
            <a:solidFill>
              <a:schemeClr val="tx1"/>
            </a:solidFill>
            <a:round/>
            <a:headEnd/>
            <a:tailEnd/>
          </a:ln>
          <a:effectLst>
            <a:outerShdw dist="107763" dir="2700000" algn="ctr" rotWithShape="0">
              <a:srgbClr val="D5DDD9">
                <a:alpha val="50000"/>
              </a:srgbClr>
            </a:outerShdw>
          </a:effectLst>
        </p:spPr>
        <p:txBody>
          <a:bodyPr/>
          <a:lstStyle/>
          <a:p>
            <a:pPr fontAlgn="auto">
              <a:spcBef>
                <a:spcPts val="0"/>
              </a:spcBef>
              <a:spcAft>
                <a:spcPts val="0"/>
              </a:spcAft>
              <a:defRPr/>
            </a:pPr>
            <a:endParaRPr lang="en-US" sz="1600" b="1">
              <a:latin typeface="Arial" charset="0"/>
              <a:cs typeface="Arial" charset="0"/>
            </a:endParaRPr>
          </a:p>
        </p:txBody>
      </p:sp>
      <p:sp>
        <p:nvSpPr>
          <p:cNvPr id="3" name="TextBox 2"/>
          <p:cNvSpPr txBox="1"/>
          <p:nvPr/>
        </p:nvSpPr>
        <p:spPr>
          <a:xfrm rot="20740702">
            <a:off x="136525" y="587375"/>
            <a:ext cx="1335088" cy="400050"/>
          </a:xfrm>
          <a:prstGeom prst="rect">
            <a:avLst/>
          </a:prstGeom>
        </p:spPr>
        <p:style>
          <a:lnRef idx="2">
            <a:schemeClr val="accent3"/>
          </a:lnRef>
          <a:fillRef idx="1">
            <a:schemeClr val="lt1"/>
          </a:fillRef>
          <a:effectRef idx="0">
            <a:schemeClr val="accent3"/>
          </a:effectRef>
          <a:fontRef idx="minor">
            <a:schemeClr val="dk1"/>
          </a:fontRef>
        </p:style>
        <p:txBody>
          <a:bodyPr>
            <a:spAutoFit/>
          </a:bodyPr>
          <a:lstStyle/>
          <a:p>
            <a:pPr algn="ctr">
              <a:defRPr/>
            </a:pPr>
            <a:r>
              <a:rPr lang="en-US" sz="2000" b="1">
                <a:solidFill>
                  <a:schemeClr val="accent1">
                    <a:lumMod val="75000"/>
                  </a:schemeClr>
                </a:solidFill>
                <a:latin typeface="Segoe UI Light"/>
                <a:cs typeface="Segoe UI Light"/>
              </a:rPr>
              <a:t>CONTOH</a:t>
            </a:r>
            <a:endParaRPr lang="en-US" sz="2400" b="1" dirty="0">
              <a:solidFill>
                <a:schemeClr val="accent1">
                  <a:lumMod val="75000"/>
                </a:schemeClr>
              </a:solidFill>
              <a:latin typeface="Segoe UI Light"/>
              <a:cs typeface="Segoe UI Light"/>
            </a:endParaRPr>
          </a:p>
        </p:txBody>
      </p:sp>
      <p:grpSp>
        <p:nvGrpSpPr>
          <p:cNvPr id="2" name="Groupe 1"/>
          <p:cNvGrpSpPr>
            <a:grpSpLocks/>
          </p:cNvGrpSpPr>
          <p:nvPr/>
        </p:nvGrpSpPr>
        <p:grpSpPr bwMode="auto">
          <a:xfrm>
            <a:off x="0" y="357188"/>
            <a:ext cx="484188" cy="554037"/>
            <a:chOff x="4985896" y="2380134"/>
            <a:chExt cx="2154390" cy="2715410"/>
          </a:xfrm>
        </p:grpSpPr>
        <p:grpSp>
          <p:nvGrpSpPr>
            <p:cNvPr id="4" name="Groupe 33"/>
            <p:cNvGrpSpPr/>
            <p:nvPr/>
          </p:nvGrpSpPr>
          <p:grpSpPr>
            <a:xfrm rot="14400000">
              <a:off x="5523996" y="3741353"/>
              <a:ext cx="816091" cy="1892292"/>
              <a:chOff x="6324195" y="2380134"/>
              <a:chExt cx="816091" cy="1892292"/>
            </a:xfrm>
            <a:gradFill flip="none" rotWithShape="1">
              <a:gsLst>
                <a:gs pos="0">
                  <a:srgbClr val="BEC6D4"/>
                </a:gs>
                <a:gs pos="50000">
                  <a:schemeClr val="accent1">
                    <a:lumMod val="40000"/>
                    <a:lumOff val="60000"/>
                    <a:tint val="44500"/>
                    <a:satMod val="160000"/>
                  </a:schemeClr>
                </a:gs>
                <a:gs pos="100000">
                  <a:schemeClr val="accent1">
                    <a:lumMod val="40000"/>
                    <a:lumOff val="60000"/>
                    <a:tint val="23500"/>
                    <a:satMod val="160000"/>
                  </a:schemeClr>
                </a:gs>
              </a:gsLst>
              <a:lin ang="16200000" scaled="1"/>
              <a:tileRect/>
            </a:gradFill>
          </p:grpSpPr>
          <p:sp>
            <p:nvSpPr>
              <p:cNvPr id="14" name="Rectangle 11"/>
              <p:cNvSpPr/>
              <p:nvPr/>
            </p:nvSpPr>
            <p:spPr>
              <a:xfrm>
                <a:off x="6680166" y="3333369"/>
                <a:ext cx="105362" cy="939057"/>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5" name="Ellipse 35"/>
              <p:cNvSpPr/>
              <p:nvPr/>
            </p:nvSpPr>
            <p:spPr>
              <a:xfrm>
                <a:off x="6324195" y="2969949"/>
                <a:ext cx="816091" cy="70207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6" name="Ellipse 36"/>
              <p:cNvSpPr/>
              <p:nvPr/>
            </p:nvSpPr>
            <p:spPr>
              <a:xfrm rot="1800000">
                <a:off x="6343308" y="3036225"/>
                <a:ext cx="647605" cy="59391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7" name="Trapèze 10"/>
              <p:cNvSpPr/>
              <p:nvPr/>
            </p:nvSpPr>
            <p:spPr>
              <a:xfrm>
                <a:off x="6488604" y="2632162"/>
                <a:ext cx="487272" cy="765707"/>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8" name="Ellipse 39"/>
              <p:cNvSpPr/>
              <p:nvPr/>
            </p:nvSpPr>
            <p:spPr>
              <a:xfrm>
                <a:off x="6444208" y="2380134"/>
                <a:ext cx="576064" cy="50405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9" name="Ellipse 40"/>
              <p:cNvSpPr/>
              <p:nvPr/>
            </p:nvSpPr>
            <p:spPr>
              <a:xfrm>
                <a:off x="6444208" y="2380134"/>
                <a:ext cx="576064" cy="43204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nvGrpSpPr>
            <p:cNvPr id="5" name="Groupe 25"/>
            <p:cNvGrpSpPr>
              <a:grpSpLocks/>
            </p:cNvGrpSpPr>
            <p:nvPr/>
          </p:nvGrpSpPr>
          <p:grpSpPr bwMode="auto">
            <a:xfrm>
              <a:off x="6320911" y="2380134"/>
              <a:ext cx="819375" cy="1890669"/>
              <a:chOff x="6320911" y="2380134"/>
              <a:chExt cx="819375" cy="1890669"/>
            </a:xfrm>
          </p:grpSpPr>
          <p:sp>
            <p:nvSpPr>
              <p:cNvPr id="7" name="Rectangle 11"/>
              <p:cNvSpPr/>
              <p:nvPr/>
            </p:nvSpPr>
            <p:spPr>
              <a:xfrm>
                <a:off x="6681151" y="3329360"/>
                <a:ext cx="105956" cy="941443"/>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adFill flip="none" rotWithShape="1">
                <a:gsLst>
                  <a:gs pos="0">
                    <a:srgbClr val="FFFFFF"/>
                  </a:gs>
                  <a:gs pos="7001">
                    <a:srgbClr val="E6E6E6"/>
                  </a:gs>
                  <a:gs pos="32001">
                    <a:srgbClr val="7D8496"/>
                  </a:gs>
                  <a:gs pos="47000">
                    <a:srgbClr val="E6E6E6"/>
                  </a:gs>
                  <a:gs pos="85001">
                    <a:srgbClr val="7D8496"/>
                  </a:gs>
                  <a:gs pos="100000">
                    <a:srgbClr val="E6E6E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8" name="Ellipse 12"/>
              <p:cNvSpPr/>
              <p:nvPr/>
            </p:nvSpPr>
            <p:spPr>
              <a:xfrm>
                <a:off x="6320911" y="2971455"/>
                <a:ext cx="819375" cy="700249"/>
              </a:xfrm>
              <a:prstGeom prst="ellipse">
                <a:avLst/>
              </a:prstGeom>
              <a:gradFill flip="none" rotWithShape="1">
                <a:gsLst>
                  <a:gs pos="0">
                    <a:srgbClr val="004D86"/>
                  </a:gs>
                  <a:gs pos="100000">
                    <a:srgbClr val="00B0F0"/>
                  </a:gs>
                </a:gsLst>
                <a:lin ang="2700000" scaled="1"/>
                <a:tileRect/>
              </a:gra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9" name="Ellipse 13"/>
              <p:cNvSpPr/>
              <p:nvPr/>
            </p:nvSpPr>
            <p:spPr>
              <a:xfrm rot="1800000">
                <a:off x="6342100" y="3033700"/>
                <a:ext cx="649849" cy="599099"/>
              </a:xfrm>
              <a:prstGeom prst="ellipse">
                <a:avLst/>
              </a:prstGeom>
              <a:gradFill flip="none" rotWithShape="1">
                <a:gsLst>
                  <a:gs pos="68350">
                    <a:srgbClr val="0091CF"/>
                  </a:gs>
                  <a:gs pos="36700">
                    <a:srgbClr val="0071AD"/>
                  </a:gs>
                  <a:gs pos="0">
                    <a:srgbClr val="004D86"/>
                  </a:gs>
                  <a:gs pos="100000">
                    <a:srgbClr val="00B0F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pic>
            <p:nvPicPr>
              <p:cNvPr id="10" name="Picture 5"/>
              <p:cNvPicPr>
                <a:picLocks noChangeAspect="1" noChangeArrowheads="1"/>
              </p:cNvPicPr>
              <p:nvPr/>
            </p:nvPicPr>
            <p:blipFill>
              <a:blip r:embed="rId4" cstate="print"/>
              <a:srcRect l="23138" t="19901" r="24571" b="27188"/>
              <a:stretch>
                <a:fillRect/>
              </a:stretch>
            </p:blipFill>
            <p:spPr bwMode="auto">
              <a:xfrm rot="-1835306">
                <a:off x="6730129" y="3272365"/>
                <a:ext cx="385960" cy="294981"/>
              </a:xfrm>
              <a:prstGeom prst="rect">
                <a:avLst/>
              </a:prstGeom>
              <a:noFill/>
              <a:ln w="9525">
                <a:noFill/>
                <a:miter lim="800000"/>
                <a:headEnd/>
                <a:tailEnd/>
              </a:ln>
            </p:spPr>
          </p:pic>
          <p:sp>
            <p:nvSpPr>
              <p:cNvPr id="11" name="Trapèze 10"/>
              <p:cNvSpPr/>
              <p:nvPr/>
            </p:nvSpPr>
            <p:spPr>
              <a:xfrm>
                <a:off x="6483371" y="2629111"/>
                <a:ext cx="494450" cy="770271"/>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2" name="Ellipse 7"/>
              <p:cNvSpPr/>
              <p:nvPr/>
            </p:nvSpPr>
            <p:spPr>
              <a:xfrm>
                <a:off x="6440990" y="2380134"/>
                <a:ext cx="579213" cy="505733"/>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81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3" name="Ellipse 5"/>
              <p:cNvSpPr/>
              <p:nvPr/>
            </p:nvSpPr>
            <p:spPr>
              <a:xfrm>
                <a:off x="6440990" y="2380134"/>
                <a:ext cx="579213" cy="427927"/>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sp>
        <p:nvSpPr>
          <p:cNvPr id="21" name="Rectangle 20"/>
          <p:cNvSpPr/>
          <p:nvPr/>
        </p:nvSpPr>
        <p:spPr>
          <a:xfrm>
            <a:off x="2000232" y="500042"/>
            <a:ext cx="6429420" cy="1285884"/>
          </a:xfrm>
          <a:prstGeom prst="rect">
            <a:avLst/>
          </a:prstGeom>
          <a:noFill/>
        </p:spPr>
        <p:txBody>
          <a:bodyPr wrap="none" lIns="91440" tIns="45720" rIns="91440" bIns="45720">
            <a:prstTxWarp prst="textArchUp">
              <a:avLst/>
            </a:prstTxWarp>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5400" b="1" cap="none" spc="5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Rockwell" pitchFamily="18" charset="0"/>
              </a:rPr>
              <a:t>ARAS PENILAIAN</a:t>
            </a:r>
            <a:endParaRPr lang="en-US" sz="5400" b="1" cap="none" spc="5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Rockwell" pitchFamily="18" charset="0"/>
            </a:endParaRPr>
          </a:p>
        </p:txBody>
      </p:sp>
      <p:pic>
        <p:nvPicPr>
          <p:cNvPr id="23" name="Picture 2"/>
          <p:cNvPicPr>
            <a:picLocks noChangeAspect="1" noChangeArrowheads="1"/>
          </p:cNvPicPr>
          <p:nvPr/>
        </p:nvPicPr>
        <p:blipFill>
          <a:blip r:embed="rId5" cstate="print"/>
          <a:srcRect l="33222" t="21656" r="8829" b="10423"/>
          <a:stretch>
            <a:fillRect/>
          </a:stretch>
        </p:blipFill>
        <p:spPr bwMode="auto">
          <a:xfrm>
            <a:off x="1979712" y="1268760"/>
            <a:ext cx="6552728" cy="4968552"/>
          </a:xfrm>
          <a:prstGeom prst="rect">
            <a:avLst/>
          </a:prstGeom>
          <a:noFill/>
          <a:ln w="9525">
            <a:noFill/>
            <a:miter lim="800000"/>
            <a:headEnd/>
            <a:tailEnd/>
          </a:ln>
        </p:spPr>
      </p:pic>
      <p:sp>
        <p:nvSpPr>
          <p:cNvPr id="6" name="Footer Placeholder 5"/>
          <p:cNvSpPr>
            <a:spLocks noGrp="1"/>
          </p:cNvSpPr>
          <p:nvPr>
            <p:ph type="ftr" sz="quarter" idx="11"/>
          </p:nvPr>
        </p:nvSpPr>
        <p:spPr/>
        <p:txBody>
          <a:bodyPr/>
          <a:lstStyle/>
          <a:p>
            <a:r>
              <a:rPr lang="en-US" smtClean="0"/>
              <a:t>GURU (SEKOLAH)</a:t>
            </a:r>
            <a:endParaRPr lang="en-US"/>
          </a:p>
        </p:txBody>
      </p:sp>
      <p:sp>
        <p:nvSpPr>
          <p:cNvPr id="22" name="Slide Number Placeholder 21"/>
          <p:cNvSpPr>
            <a:spLocks noGrp="1"/>
          </p:cNvSpPr>
          <p:nvPr>
            <p:ph type="sldNum" sz="quarter" idx="12"/>
          </p:nvPr>
        </p:nvSpPr>
        <p:spPr/>
        <p:txBody>
          <a:bodyPr/>
          <a:lstStyle/>
          <a:p>
            <a:fld id="{4D86EDED-B1AF-7E4B-94C9-3F0EAA36C7D5}" type="slidenum">
              <a:rPr lang="en-US" smtClean="0"/>
              <a:pPr/>
              <a:t>56</a:t>
            </a:fld>
            <a:endParaRPr lang="en-US"/>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GENERIK.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 y="190500"/>
            <a:ext cx="9700752" cy="6858000"/>
          </a:xfrm>
          <a:prstGeom prst="rect">
            <a:avLst/>
          </a:prstGeom>
        </p:spPr>
      </p:pic>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57</a:t>
            </a:fld>
            <a:endParaRPr lang="en-US"/>
          </a:p>
        </p:txBody>
      </p:sp>
    </p:spTree>
    <p:extLst>
      <p:ext uri="{BB962C8B-B14F-4D97-AF65-F5344CB8AC3E}">
        <p14:creationId xmlns:p14="http://schemas.microsoft.com/office/powerpoint/2010/main" val="163729869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dirty="0"/>
          </a:p>
        </p:txBody>
      </p:sp>
      <p:sp>
        <p:nvSpPr>
          <p:cNvPr id="5" name="Slide Number Placeholder 4"/>
          <p:cNvSpPr>
            <a:spLocks noGrp="1"/>
          </p:cNvSpPr>
          <p:nvPr>
            <p:ph type="sldNum" sz="quarter" idx="12"/>
          </p:nvPr>
        </p:nvSpPr>
        <p:spPr/>
        <p:txBody>
          <a:bodyPr/>
          <a:lstStyle/>
          <a:p>
            <a:fld id="{4D86EDED-B1AF-7E4B-94C9-3F0EAA36C7D5}" type="slidenum">
              <a:rPr lang="en-US" smtClean="0"/>
              <a:pPr/>
              <a:t>58</a:t>
            </a:fld>
            <a:endParaRPr lang="en-US" dirty="0"/>
          </a:p>
        </p:txBody>
      </p:sp>
      <p:sp>
        <p:nvSpPr>
          <p:cNvPr id="6" name="Rectangle 27"/>
          <p:cNvSpPr>
            <a:spLocks noChangeArrowheads="1"/>
          </p:cNvSpPr>
          <p:nvPr/>
        </p:nvSpPr>
        <p:spPr bwMode="auto">
          <a:xfrm>
            <a:off x="769938" y="175895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algn="ctr" defTabSz="914400" fontAlgn="auto">
              <a:spcBef>
                <a:spcPts val="0"/>
              </a:spcBef>
              <a:spcAft>
                <a:spcPts val="0"/>
              </a:spcAft>
              <a:defRPr/>
            </a:pPr>
            <a:endParaRPr lang="de-DE" kern="0" dirty="0">
              <a:solidFill>
                <a:srgbClr val="FFFFFF"/>
              </a:solidFill>
              <a:latin typeface="Calibri" pitchFamily="34" charset="0"/>
              <a:ea typeface="ＭＳ Ｐゴシック" pitchFamily="-97" charset="-128"/>
            </a:endParaRPr>
          </a:p>
        </p:txBody>
      </p:sp>
      <p:sp>
        <p:nvSpPr>
          <p:cNvPr id="8" name="Rectangle 27"/>
          <p:cNvSpPr>
            <a:spLocks noChangeArrowheads="1"/>
          </p:cNvSpPr>
          <p:nvPr/>
        </p:nvSpPr>
        <p:spPr bwMode="auto">
          <a:xfrm>
            <a:off x="4699000" y="175895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kern="0" dirty="0">
              <a:solidFill>
                <a:srgbClr val="FFFFFF"/>
              </a:solidFill>
              <a:latin typeface="Calibri" pitchFamily="34" charset="0"/>
              <a:ea typeface="ＭＳ Ｐゴシック" pitchFamily="-97" charset="-128"/>
            </a:endParaRPr>
          </a:p>
        </p:txBody>
      </p:sp>
      <p:sp>
        <p:nvSpPr>
          <p:cNvPr id="10" name="Rectangle 27"/>
          <p:cNvSpPr>
            <a:spLocks noChangeArrowheads="1"/>
          </p:cNvSpPr>
          <p:nvPr/>
        </p:nvSpPr>
        <p:spPr bwMode="auto">
          <a:xfrm>
            <a:off x="769938" y="418256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sz="1600" kern="0" dirty="0">
              <a:solidFill>
                <a:srgbClr val="FFFFFF"/>
              </a:solidFill>
              <a:latin typeface="Calibri" pitchFamily="34" charset="0"/>
              <a:ea typeface="ＭＳ Ｐゴシック" pitchFamily="-97" charset="-128"/>
            </a:endParaRPr>
          </a:p>
        </p:txBody>
      </p:sp>
      <p:sp>
        <p:nvSpPr>
          <p:cNvPr id="11" name="Rectangle 39"/>
          <p:cNvSpPr>
            <a:spLocks noChangeArrowheads="1"/>
          </p:cNvSpPr>
          <p:nvPr/>
        </p:nvSpPr>
        <p:spPr bwMode="auto">
          <a:xfrm>
            <a:off x="794881" y="4105963"/>
            <a:ext cx="3857625" cy="296863"/>
          </a:xfrm>
          <a:prstGeom prst="rect">
            <a:avLst/>
          </a:prstGeom>
          <a:gradFill rotWithShape="1">
            <a:gsLst>
              <a:gs pos="0">
                <a:srgbClr val="208A00"/>
              </a:gs>
              <a:gs pos="100000">
                <a:srgbClr val="5AF300"/>
              </a:gs>
            </a:gsLst>
            <a:lin ang="5400000" scaled="1"/>
          </a:gradFill>
          <a:ln w="19050">
            <a:noFill/>
            <a:round/>
            <a:headEnd/>
            <a:tailEnd/>
          </a:ln>
        </p:spPr>
        <p:txBody>
          <a:bodyPr/>
          <a:lstStyle/>
          <a:p>
            <a:pPr algn="ctr" defTabSz="914400" fontAlgn="auto">
              <a:spcBef>
                <a:spcPts val="0"/>
              </a:spcBef>
              <a:spcAft>
                <a:spcPts val="0"/>
              </a:spcAft>
              <a:defRPr/>
            </a:pPr>
            <a:endParaRPr lang="en-US" sz="1400" b="1" kern="0" noProof="1">
              <a:solidFill>
                <a:srgbClr val="000000"/>
              </a:solidFill>
              <a:latin typeface="Calibri" pitchFamily="34" charset="0"/>
              <a:ea typeface="ＭＳ Ｐゴシック" pitchFamily="-97" charset="-128"/>
            </a:endParaRPr>
          </a:p>
        </p:txBody>
      </p:sp>
      <p:sp>
        <p:nvSpPr>
          <p:cNvPr id="12" name="Rectangle 27"/>
          <p:cNvSpPr>
            <a:spLocks noChangeArrowheads="1"/>
          </p:cNvSpPr>
          <p:nvPr/>
        </p:nvSpPr>
        <p:spPr bwMode="auto">
          <a:xfrm>
            <a:off x="4699000" y="418256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sz="1600" kern="0" dirty="0">
              <a:solidFill>
                <a:srgbClr val="FFFFFF"/>
              </a:solidFill>
              <a:latin typeface="Calibri" pitchFamily="34" charset="0"/>
              <a:ea typeface="ＭＳ Ｐゴシック" pitchFamily="-97" charset="-128"/>
            </a:endParaRPr>
          </a:p>
        </p:txBody>
      </p:sp>
      <p:grpSp>
        <p:nvGrpSpPr>
          <p:cNvPr id="2" name="Group 28"/>
          <p:cNvGrpSpPr/>
          <p:nvPr/>
        </p:nvGrpSpPr>
        <p:grpSpPr>
          <a:xfrm>
            <a:off x="769938" y="1520825"/>
            <a:ext cx="3938398" cy="308352"/>
            <a:chOff x="769938" y="1520825"/>
            <a:chExt cx="3938398" cy="308352"/>
          </a:xfrm>
        </p:grpSpPr>
        <p:sp>
          <p:nvSpPr>
            <p:cNvPr id="7" name="Rectangle 39"/>
            <p:cNvSpPr>
              <a:spLocks noChangeArrowheads="1"/>
            </p:cNvSpPr>
            <p:nvPr/>
          </p:nvSpPr>
          <p:spPr bwMode="auto">
            <a:xfrm>
              <a:off x="769938" y="1520825"/>
              <a:ext cx="3857625" cy="296863"/>
            </a:xfrm>
            <a:prstGeom prst="rect">
              <a:avLst/>
            </a:prstGeom>
            <a:gradFill rotWithShape="1">
              <a:gsLst>
                <a:gs pos="0">
                  <a:srgbClr val="03C6ED"/>
                </a:gs>
                <a:gs pos="100000">
                  <a:srgbClr val="004D86"/>
                </a:gs>
              </a:gsLst>
              <a:lin ang="16200000"/>
            </a:gradFill>
            <a:ln w="9525">
              <a:noFill/>
              <a:miter lim="800000"/>
              <a:headEnd/>
              <a:tailEnd/>
            </a:ln>
            <a:effectLst>
              <a:outerShdw blurRad="63500" dist="23000" dir="5400000" rotWithShape="0">
                <a:srgbClr val="000000">
                  <a:alpha val="34998"/>
                </a:srgbClr>
              </a:outerShdw>
            </a:effectLst>
          </p:spPr>
          <p:txBody>
            <a:bodyPr anchor="ctr"/>
            <a:lstStyle/>
            <a:p>
              <a:pPr algn="ctr" defTabSz="914400" fontAlgn="auto">
                <a:spcBef>
                  <a:spcPts val="0"/>
                </a:spcBef>
                <a:spcAft>
                  <a:spcPts val="0"/>
                </a:spcAft>
                <a:defRPr/>
              </a:pPr>
              <a:endParaRPr lang="en-US" sz="1400" b="1" kern="0" noProof="1">
                <a:solidFill>
                  <a:sysClr val="window" lastClr="FFFFFF"/>
                </a:solidFill>
                <a:latin typeface="Calibri" pitchFamily="34" charset="0"/>
                <a:ea typeface="ＭＳ Ｐゴシック" pitchFamily="-97" charset="-128"/>
              </a:endParaRPr>
            </a:p>
          </p:txBody>
        </p:sp>
        <p:sp>
          <p:nvSpPr>
            <p:cNvPr id="14" name="Rectangle 39"/>
            <p:cNvSpPr>
              <a:spLocks noChangeArrowheads="1"/>
            </p:cNvSpPr>
            <p:nvPr/>
          </p:nvSpPr>
          <p:spPr bwMode="auto">
            <a:xfrm>
              <a:off x="850711" y="1532314"/>
              <a:ext cx="3857625" cy="296863"/>
            </a:xfrm>
            <a:prstGeom prst="rect">
              <a:avLst/>
            </a:prstGeom>
            <a:noFill/>
            <a:ln w="9525">
              <a:noFill/>
              <a:miter lim="800000"/>
              <a:headEnd/>
              <a:tailEnd/>
            </a:ln>
            <a:effectLst>
              <a:outerShdw blurRad="63500" dist="23000" dir="5400000" rotWithShape="0">
                <a:srgbClr val="000000">
                  <a:alpha val="34998"/>
                </a:srgbClr>
              </a:outerShdw>
            </a:effectLst>
          </p:spPr>
          <p:txBody>
            <a:bodyPr anchor="ctr"/>
            <a:lstStyle/>
            <a:p>
              <a:pPr fontAlgn="auto">
                <a:spcBef>
                  <a:spcPts val="0"/>
                </a:spcBef>
                <a:spcAft>
                  <a:spcPts val="0"/>
                </a:spcAft>
                <a:defRPr/>
              </a:pPr>
              <a:r>
                <a:rPr lang="en-US" sz="1600" b="1" dirty="0" err="1" smtClean="0">
                  <a:solidFill>
                    <a:schemeClr val="bg1"/>
                  </a:solidFill>
                  <a:latin typeface="Arial" pitchFamily="34" charset="0"/>
                  <a:cs typeface="Arial" pitchFamily="34" charset="0"/>
                </a:rPr>
                <a:t>Nilai</a:t>
              </a:r>
              <a:r>
                <a:rPr lang="en-US" sz="1600" b="1" dirty="0" smtClean="0">
                  <a:solidFill>
                    <a:schemeClr val="bg1"/>
                  </a:solidFill>
                  <a:latin typeface="Arial" pitchFamily="34" charset="0"/>
                  <a:cs typeface="Arial" pitchFamily="34" charset="0"/>
                </a:rPr>
                <a:t> </a:t>
              </a:r>
              <a:r>
                <a:rPr lang="en-US" sz="1600" b="1" dirty="0" err="1" smtClean="0">
                  <a:solidFill>
                    <a:schemeClr val="bg1"/>
                  </a:solidFill>
                  <a:latin typeface="Arial" pitchFamily="34" charset="0"/>
                  <a:cs typeface="Arial" pitchFamily="34" charset="0"/>
                </a:rPr>
                <a:t>Profesional</a:t>
              </a:r>
              <a:r>
                <a:rPr lang="en-US" sz="1600" b="1" dirty="0" smtClean="0">
                  <a:solidFill>
                    <a:schemeClr val="bg1"/>
                  </a:solidFill>
                  <a:latin typeface="Arial" pitchFamily="34" charset="0"/>
                  <a:cs typeface="Arial" pitchFamily="34" charset="0"/>
                </a:rPr>
                <a:t> (6%)</a:t>
              </a:r>
              <a:endParaRPr lang="en-US" sz="1600" b="1" dirty="0">
                <a:solidFill>
                  <a:schemeClr val="bg1"/>
                </a:solidFill>
                <a:latin typeface="Arial" pitchFamily="34" charset="0"/>
                <a:cs typeface="Arial" pitchFamily="34" charset="0"/>
              </a:endParaRPr>
            </a:p>
          </p:txBody>
        </p:sp>
      </p:grpSp>
      <p:grpSp>
        <p:nvGrpSpPr>
          <p:cNvPr id="3" name="Group 22"/>
          <p:cNvGrpSpPr/>
          <p:nvPr/>
        </p:nvGrpSpPr>
        <p:grpSpPr>
          <a:xfrm>
            <a:off x="5101948" y="1520824"/>
            <a:ext cx="3857625" cy="296864"/>
            <a:chOff x="4699000" y="1520824"/>
            <a:chExt cx="3857625" cy="296864"/>
          </a:xfrm>
        </p:grpSpPr>
        <p:sp>
          <p:nvSpPr>
            <p:cNvPr id="9" name="Rectangle 39"/>
            <p:cNvSpPr>
              <a:spLocks noChangeArrowheads="1"/>
            </p:cNvSpPr>
            <p:nvPr/>
          </p:nvSpPr>
          <p:spPr bwMode="auto">
            <a:xfrm>
              <a:off x="4699000" y="1520825"/>
              <a:ext cx="3857625" cy="296863"/>
            </a:xfrm>
            <a:prstGeom prst="rect">
              <a:avLst/>
            </a:prstGeom>
            <a:gradFill rotWithShape="1">
              <a:gsLst>
                <a:gs pos="0">
                  <a:srgbClr val="FFC000"/>
                </a:gs>
                <a:gs pos="70000">
                  <a:srgbClr val="FFFF00"/>
                </a:gs>
                <a:gs pos="100000">
                  <a:srgbClr val="FFFF00"/>
                </a:gs>
              </a:gsLst>
              <a:lin ang="5400000" scaled="1"/>
            </a:gradFill>
            <a:ln w="3175">
              <a:solidFill>
                <a:srgbClr val="FFCC00"/>
              </a:solidFill>
              <a:miter lim="800000"/>
              <a:headEnd/>
              <a:tailEnd/>
            </a:ln>
          </p:spPr>
          <p:txBody>
            <a:bodyPr anchor="ctr"/>
            <a:lstStyle/>
            <a:p>
              <a:pPr algn="ctr" defTabSz="914400" fontAlgn="auto">
                <a:spcBef>
                  <a:spcPts val="0"/>
                </a:spcBef>
                <a:spcAft>
                  <a:spcPts val="0"/>
                </a:spcAft>
                <a:defRPr/>
              </a:pPr>
              <a:endParaRPr lang="en-US" sz="1400" b="1" kern="0" noProof="1">
                <a:solidFill>
                  <a:sysClr val="windowText" lastClr="000000"/>
                </a:solidFill>
                <a:latin typeface="Calibri" pitchFamily="34" charset="0"/>
                <a:ea typeface="ＭＳ Ｐゴシック" pitchFamily="-97" charset="-128"/>
              </a:endParaRPr>
            </a:p>
          </p:txBody>
        </p:sp>
        <p:sp>
          <p:nvSpPr>
            <p:cNvPr id="15" name="Rectangle 39"/>
            <p:cNvSpPr>
              <a:spLocks noChangeArrowheads="1"/>
            </p:cNvSpPr>
            <p:nvPr/>
          </p:nvSpPr>
          <p:spPr bwMode="auto">
            <a:xfrm>
              <a:off x="4699000" y="1520824"/>
              <a:ext cx="3857625" cy="296863"/>
            </a:xfrm>
            <a:prstGeom prst="rect">
              <a:avLst/>
            </a:prstGeom>
            <a:noFill/>
            <a:ln w="3175">
              <a:noFill/>
              <a:miter lim="800000"/>
              <a:headEnd/>
              <a:tailEnd/>
            </a:ln>
          </p:spPr>
          <p:txBody>
            <a:bodyPr anchor="ctr"/>
            <a:lstStyle/>
            <a:p>
              <a:pPr fontAlgn="auto">
                <a:spcBef>
                  <a:spcPts val="0"/>
                </a:spcBef>
                <a:spcAft>
                  <a:spcPts val="0"/>
                </a:spcAft>
                <a:defRPr/>
              </a:pPr>
              <a:r>
                <a:rPr lang="en-US" sz="1600" b="1" dirty="0" err="1" smtClean="0">
                  <a:latin typeface="Arial" pitchFamily="34" charset="0"/>
                  <a:cs typeface="Arial" pitchFamily="34" charset="0"/>
                </a:rPr>
                <a:t>Sahsiah</a:t>
              </a:r>
              <a:r>
                <a:rPr lang="en-US" sz="1600" b="1" dirty="0" smtClean="0">
                  <a:latin typeface="Arial" pitchFamily="34" charset="0"/>
                  <a:cs typeface="Arial" pitchFamily="34" charset="0"/>
                </a:rPr>
                <a:t> (4%)</a:t>
              </a:r>
              <a:endParaRPr lang="en-US" sz="1600" b="1" dirty="0">
                <a:latin typeface="Arial" pitchFamily="34" charset="0"/>
                <a:cs typeface="Arial" pitchFamily="34" charset="0"/>
              </a:endParaRPr>
            </a:p>
          </p:txBody>
        </p:sp>
      </p:grpSp>
      <p:sp>
        <p:nvSpPr>
          <p:cNvPr id="16" name="Rectangle 39"/>
          <p:cNvSpPr>
            <a:spLocks noChangeArrowheads="1"/>
          </p:cNvSpPr>
          <p:nvPr/>
        </p:nvSpPr>
        <p:spPr bwMode="auto">
          <a:xfrm>
            <a:off x="723444" y="4099415"/>
            <a:ext cx="3857625" cy="296863"/>
          </a:xfrm>
          <a:prstGeom prst="rect">
            <a:avLst/>
          </a:prstGeom>
          <a:noFill/>
          <a:ln w="19050">
            <a:noFill/>
            <a:round/>
            <a:headEnd/>
            <a:tailEnd/>
          </a:ln>
        </p:spPr>
        <p:txBody>
          <a:bodyPr/>
          <a:lstStyle/>
          <a:p>
            <a:pPr fontAlgn="auto">
              <a:spcBef>
                <a:spcPts val="0"/>
              </a:spcBef>
              <a:spcAft>
                <a:spcPts val="0"/>
              </a:spcAft>
              <a:defRPr/>
            </a:pPr>
            <a:r>
              <a:rPr lang="en-US" sz="1600" b="1" dirty="0" err="1" smtClean="0">
                <a:latin typeface="Arial" pitchFamily="34" charset="0"/>
                <a:cs typeface="Arial" pitchFamily="34" charset="0"/>
              </a:rPr>
              <a:t>Potensi</a:t>
            </a:r>
            <a:r>
              <a:rPr lang="en-US" sz="1600" b="1" dirty="0" smtClean="0">
                <a:latin typeface="Arial" pitchFamily="34" charset="0"/>
                <a:cs typeface="Arial" pitchFamily="34" charset="0"/>
              </a:rPr>
              <a:t> (4%)</a:t>
            </a:r>
            <a:endParaRPr lang="en-US" sz="1600" b="1" dirty="0">
              <a:latin typeface="Arial" pitchFamily="34" charset="0"/>
              <a:cs typeface="Arial" pitchFamily="34" charset="0"/>
            </a:endParaRPr>
          </a:p>
        </p:txBody>
      </p:sp>
      <p:grpSp>
        <p:nvGrpSpPr>
          <p:cNvPr id="22" name="Group 23"/>
          <p:cNvGrpSpPr/>
          <p:nvPr/>
        </p:nvGrpSpPr>
        <p:grpSpPr>
          <a:xfrm>
            <a:off x="5101948" y="4099415"/>
            <a:ext cx="3929062" cy="303411"/>
            <a:chOff x="4699000" y="3676055"/>
            <a:chExt cx="3929062" cy="303411"/>
          </a:xfrm>
        </p:grpSpPr>
        <p:sp>
          <p:nvSpPr>
            <p:cNvPr id="13" name="Rectangle 39"/>
            <p:cNvSpPr>
              <a:spLocks noChangeArrowheads="1"/>
            </p:cNvSpPr>
            <p:nvPr/>
          </p:nvSpPr>
          <p:spPr bwMode="auto">
            <a:xfrm>
              <a:off x="4699000" y="3676055"/>
              <a:ext cx="3857625" cy="296863"/>
            </a:xfrm>
            <a:prstGeom prst="rect">
              <a:avLst/>
            </a:prstGeom>
            <a:gradFill rotWithShape="1">
              <a:gsLst>
                <a:gs pos="0">
                  <a:srgbClr val="FF0000"/>
                </a:gs>
                <a:gs pos="100000">
                  <a:srgbClr val="800000"/>
                </a:gs>
              </a:gsLst>
              <a:lin ang="13500000" scaled="1"/>
            </a:gradFill>
            <a:ln w="9525">
              <a:noFill/>
              <a:miter lim="800000"/>
              <a:headEnd/>
              <a:tailEnd/>
            </a:ln>
            <a:effectLst>
              <a:outerShdw blurRad="63500" dist="23000" dir="5400000" rotWithShape="0">
                <a:srgbClr val="000000">
                  <a:alpha val="34998"/>
                </a:srgbClr>
              </a:outerShdw>
            </a:effectLst>
          </p:spPr>
          <p:txBody>
            <a:bodyPr anchor="ctr"/>
            <a:lstStyle/>
            <a:p>
              <a:pPr algn="ctr" defTabSz="914400" fontAlgn="auto">
                <a:spcBef>
                  <a:spcPts val="0"/>
                </a:spcBef>
                <a:spcAft>
                  <a:spcPts val="0"/>
                </a:spcAft>
                <a:defRPr/>
              </a:pPr>
              <a:endParaRPr lang="en-US" sz="1600" b="1" kern="0" noProof="1">
                <a:solidFill>
                  <a:sysClr val="window" lastClr="FFFFFF"/>
                </a:solidFill>
                <a:latin typeface="Calibri" pitchFamily="34" charset="0"/>
                <a:ea typeface="ＭＳ Ｐゴシック" pitchFamily="-97" charset="-128"/>
              </a:endParaRPr>
            </a:p>
          </p:txBody>
        </p:sp>
        <p:sp>
          <p:nvSpPr>
            <p:cNvPr id="17" name="Rectangle 39"/>
            <p:cNvSpPr>
              <a:spLocks noChangeArrowheads="1"/>
            </p:cNvSpPr>
            <p:nvPr/>
          </p:nvSpPr>
          <p:spPr bwMode="auto">
            <a:xfrm>
              <a:off x="4770437" y="3682603"/>
              <a:ext cx="3857625" cy="296863"/>
            </a:xfrm>
            <a:prstGeom prst="rect">
              <a:avLst/>
            </a:prstGeom>
            <a:noFill/>
            <a:ln w="9525">
              <a:noFill/>
              <a:miter lim="800000"/>
              <a:headEnd/>
              <a:tailEnd/>
            </a:ln>
            <a:effectLst>
              <a:outerShdw blurRad="63500" dist="23000" dir="5400000" rotWithShape="0">
                <a:srgbClr val="000000">
                  <a:alpha val="34998"/>
                </a:srgbClr>
              </a:outerShdw>
            </a:effectLst>
          </p:spPr>
          <p:txBody>
            <a:bodyPr anchor="ctr"/>
            <a:lstStyle/>
            <a:p>
              <a:pPr fontAlgn="auto">
                <a:spcBef>
                  <a:spcPts val="0"/>
                </a:spcBef>
                <a:spcAft>
                  <a:spcPts val="0"/>
                </a:spcAft>
                <a:defRPr/>
              </a:pPr>
              <a:r>
                <a:rPr lang="en-US" sz="1600" b="1" dirty="0" err="1" smtClean="0">
                  <a:solidFill>
                    <a:schemeClr val="bg1"/>
                  </a:solidFill>
                  <a:latin typeface="Arial" pitchFamily="34" charset="0"/>
                  <a:cs typeface="Arial" pitchFamily="34" charset="0"/>
                </a:rPr>
                <a:t>Keilmuan</a:t>
              </a:r>
              <a:r>
                <a:rPr lang="en-US" sz="1600" b="1" dirty="0" smtClean="0">
                  <a:solidFill>
                    <a:schemeClr val="bg1"/>
                  </a:solidFill>
                  <a:latin typeface="Arial" pitchFamily="34" charset="0"/>
                  <a:cs typeface="Arial" pitchFamily="34" charset="0"/>
                </a:rPr>
                <a:t> </a:t>
              </a:r>
              <a:r>
                <a:rPr lang="en-US" sz="1600" b="1" dirty="0" err="1" smtClean="0">
                  <a:solidFill>
                    <a:schemeClr val="bg1"/>
                  </a:solidFill>
                  <a:latin typeface="Arial" pitchFamily="34" charset="0"/>
                  <a:cs typeface="Arial" pitchFamily="34" charset="0"/>
                </a:rPr>
                <a:t>dan</a:t>
              </a:r>
              <a:r>
                <a:rPr lang="en-US" sz="1600" b="1" dirty="0" smtClean="0">
                  <a:solidFill>
                    <a:schemeClr val="bg1"/>
                  </a:solidFill>
                  <a:latin typeface="Arial" pitchFamily="34" charset="0"/>
                  <a:cs typeface="Arial" pitchFamily="34" charset="0"/>
                </a:rPr>
                <a:t> </a:t>
              </a:r>
              <a:r>
                <a:rPr lang="en-US" sz="1600" b="1" dirty="0" err="1" smtClean="0">
                  <a:solidFill>
                    <a:schemeClr val="bg1"/>
                  </a:solidFill>
                  <a:latin typeface="Arial" pitchFamily="34" charset="0"/>
                  <a:cs typeface="Arial" pitchFamily="34" charset="0"/>
                </a:rPr>
                <a:t>Pengetahuan</a:t>
              </a:r>
              <a:r>
                <a:rPr lang="en-US" sz="1600" b="1" dirty="0" smtClean="0">
                  <a:solidFill>
                    <a:schemeClr val="bg1"/>
                  </a:solidFill>
                  <a:latin typeface="Arial" pitchFamily="34" charset="0"/>
                  <a:cs typeface="Arial" pitchFamily="34" charset="0"/>
                </a:rPr>
                <a:t> (6%)</a:t>
              </a:r>
              <a:endParaRPr lang="en-US" sz="1600" b="1" dirty="0">
                <a:solidFill>
                  <a:schemeClr val="bg1"/>
                </a:solidFill>
                <a:latin typeface="Arial" pitchFamily="34" charset="0"/>
                <a:cs typeface="Arial" pitchFamily="34" charset="0"/>
              </a:endParaRPr>
            </a:p>
          </p:txBody>
        </p:sp>
      </p:grpSp>
      <p:sp>
        <p:nvSpPr>
          <p:cNvPr id="18" name="Tekstboks 31"/>
          <p:cNvSpPr txBox="1">
            <a:spLocks noChangeArrowheads="1"/>
          </p:cNvSpPr>
          <p:nvPr/>
        </p:nvSpPr>
        <p:spPr bwMode="auto">
          <a:xfrm>
            <a:off x="769937" y="1949450"/>
            <a:ext cx="3857625" cy="646331"/>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kern="0" dirty="0" smtClean="0">
                <a:cs typeface="Arial" pitchFamily="34" charset="0"/>
              </a:rPr>
              <a:t>A1.1  </a:t>
            </a:r>
            <a:r>
              <a:rPr lang="en-US" kern="0" dirty="0" err="1" smtClean="0">
                <a:cs typeface="Arial" pitchFamily="34" charset="0"/>
              </a:rPr>
              <a:t>Amalan</a:t>
            </a:r>
            <a:r>
              <a:rPr lang="en-US" kern="0" dirty="0" smtClean="0">
                <a:cs typeface="Arial" pitchFamily="34" charset="0"/>
              </a:rPr>
              <a:t> </a:t>
            </a:r>
            <a:r>
              <a:rPr lang="en-US" kern="0" dirty="0" err="1" smtClean="0">
                <a:cs typeface="Arial" pitchFamily="34" charset="0"/>
              </a:rPr>
              <a:t>profesional</a:t>
            </a:r>
            <a:endParaRPr lang="en-US" kern="0" dirty="0" smtClean="0">
              <a:cs typeface="Arial" pitchFamily="34" charset="0"/>
            </a:endParaRPr>
          </a:p>
          <a:p>
            <a:pPr marL="342900" indent="-342900" fontAlgn="auto">
              <a:spcBef>
                <a:spcPts val="0"/>
              </a:spcBef>
              <a:spcAft>
                <a:spcPts val="0"/>
              </a:spcAft>
              <a:defRPr/>
            </a:pPr>
            <a:r>
              <a:rPr lang="en-US" kern="0" dirty="0" smtClean="0">
                <a:cs typeface="Arial" pitchFamily="34" charset="0"/>
              </a:rPr>
              <a:t>A1.2  </a:t>
            </a:r>
            <a:r>
              <a:rPr lang="en-US" kern="0" dirty="0" err="1" smtClean="0">
                <a:cs typeface="Arial" pitchFamily="34" charset="0"/>
              </a:rPr>
              <a:t>Hubungan</a:t>
            </a:r>
            <a:r>
              <a:rPr lang="en-US" kern="0" dirty="0" smtClean="0">
                <a:cs typeface="Arial" pitchFamily="34" charset="0"/>
              </a:rPr>
              <a:t> </a:t>
            </a:r>
            <a:r>
              <a:rPr lang="en-US" kern="0" dirty="0" err="1" smtClean="0">
                <a:cs typeface="Arial" pitchFamily="34" charset="0"/>
              </a:rPr>
              <a:t>dengan</a:t>
            </a:r>
            <a:r>
              <a:rPr lang="en-US" kern="0" dirty="0" smtClean="0">
                <a:cs typeface="Arial" pitchFamily="34" charset="0"/>
              </a:rPr>
              <a:t> </a:t>
            </a:r>
            <a:r>
              <a:rPr lang="en-US" kern="0" dirty="0" err="1" smtClean="0">
                <a:cs typeface="Arial" pitchFamily="34" charset="0"/>
              </a:rPr>
              <a:t>pelanggan</a:t>
            </a:r>
            <a:endParaRPr lang="en-US" kern="0" dirty="0">
              <a:cs typeface="Arial" pitchFamily="34" charset="0"/>
            </a:endParaRPr>
          </a:p>
        </p:txBody>
      </p:sp>
      <p:sp>
        <p:nvSpPr>
          <p:cNvPr id="19" name="Tekstboks 34"/>
          <p:cNvSpPr txBox="1">
            <a:spLocks noChangeArrowheads="1"/>
          </p:cNvSpPr>
          <p:nvPr/>
        </p:nvSpPr>
        <p:spPr bwMode="auto">
          <a:xfrm>
            <a:off x="5055453" y="1949450"/>
            <a:ext cx="3857625" cy="1754326"/>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kern="0" dirty="0" smtClean="0">
                <a:cs typeface="Arial" pitchFamily="34" charset="0"/>
              </a:rPr>
              <a:t>A2.1  </a:t>
            </a:r>
            <a:r>
              <a:rPr lang="en-US" kern="0" dirty="0" err="1" smtClean="0">
                <a:cs typeface="Arial" pitchFamily="34" charset="0"/>
              </a:rPr>
              <a:t>Mengutamakan</a:t>
            </a:r>
            <a:r>
              <a:rPr lang="en-US" kern="0" dirty="0" smtClean="0">
                <a:cs typeface="Arial" pitchFamily="34" charset="0"/>
              </a:rPr>
              <a:t> </a:t>
            </a:r>
            <a:r>
              <a:rPr lang="en-US" kern="0" dirty="0" err="1" smtClean="0">
                <a:cs typeface="Arial" pitchFamily="34" charset="0"/>
              </a:rPr>
              <a:t>pencapaian</a:t>
            </a:r>
            <a:endParaRPr lang="en-US" kern="0" dirty="0" smtClean="0">
              <a:cs typeface="Arial" pitchFamily="34" charset="0"/>
            </a:endParaRPr>
          </a:p>
          <a:p>
            <a:pPr marL="342900" indent="-342900" fontAlgn="auto">
              <a:spcBef>
                <a:spcPts val="0"/>
              </a:spcBef>
              <a:spcAft>
                <a:spcPts val="0"/>
              </a:spcAft>
              <a:defRPr/>
            </a:pPr>
            <a:r>
              <a:rPr lang="en-US" kern="0" dirty="0" smtClean="0">
                <a:cs typeface="Arial" pitchFamily="34" charset="0"/>
              </a:rPr>
              <a:t>A2.2  </a:t>
            </a:r>
            <a:r>
              <a:rPr lang="en-US" kern="0" dirty="0" err="1" smtClean="0">
                <a:cs typeface="Arial" pitchFamily="34" charset="0"/>
              </a:rPr>
              <a:t>Kepantasan</a:t>
            </a:r>
            <a:r>
              <a:rPr lang="en-US" kern="0" dirty="0" smtClean="0">
                <a:cs typeface="Arial" pitchFamily="34" charset="0"/>
              </a:rPr>
              <a:t> </a:t>
            </a:r>
            <a:r>
              <a:rPr lang="en-US" kern="0" dirty="0" err="1" smtClean="0">
                <a:cs typeface="Arial" pitchFamily="34" charset="0"/>
              </a:rPr>
              <a:t>bertindak</a:t>
            </a:r>
            <a:endParaRPr lang="en-US" kern="0" dirty="0" smtClean="0">
              <a:cs typeface="Arial" pitchFamily="34" charset="0"/>
            </a:endParaRPr>
          </a:p>
          <a:p>
            <a:pPr marL="342900" indent="-342900" fontAlgn="auto">
              <a:spcBef>
                <a:spcPts val="0"/>
              </a:spcBef>
              <a:spcAft>
                <a:spcPts val="0"/>
              </a:spcAft>
              <a:defRPr/>
            </a:pPr>
            <a:r>
              <a:rPr lang="en-US" kern="0" dirty="0" smtClean="0">
                <a:cs typeface="Arial" pitchFamily="34" charset="0"/>
              </a:rPr>
              <a:t>A2.3  </a:t>
            </a:r>
            <a:r>
              <a:rPr lang="en-US" kern="0" dirty="0" err="1" smtClean="0">
                <a:cs typeface="Arial" pitchFamily="34" charset="0"/>
              </a:rPr>
              <a:t>Kematangan</a:t>
            </a:r>
            <a:r>
              <a:rPr lang="en-US" kern="0" dirty="0" smtClean="0">
                <a:cs typeface="Arial" pitchFamily="34" charset="0"/>
              </a:rPr>
              <a:t> </a:t>
            </a:r>
            <a:r>
              <a:rPr lang="en-US" kern="0" dirty="0" err="1" smtClean="0">
                <a:cs typeface="Arial" pitchFamily="34" charset="0"/>
              </a:rPr>
              <a:t>emosi</a:t>
            </a:r>
            <a:r>
              <a:rPr lang="en-US" kern="0" dirty="0" smtClean="0">
                <a:cs typeface="Arial" pitchFamily="34" charset="0"/>
              </a:rPr>
              <a:t> </a:t>
            </a:r>
            <a:r>
              <a:rPr lang="en-US" kern="0" dirty="0" err="1" smtClean="0">
                <a:cs typeface="Arial" pitchFamily="34" charset="0"/>
              </a:rPr>
              <a:t>dan</a:t>
            </a:r>
            <a:r>
              <a:rPr lang="en-US" kern="0" dirty="0" smtClean="0">
                <a:cs typeface="Arial" pitchFamily="34" charset="0"/>
              </a:rPr>
              <a:t> </a:t>
            </a:r>
          </a:p>
          <a:p>
            <a:pPr marL="342900" indent="-342900" fontAlgn="auto">
              <a:spcBef>
                <a:spcPts val="0"/>
              </a:spcBef>
              <a:spcAft>
                <a:spcPts val="0"/>
              </a:spcAft>
              <a:defRPr/>
            </a:pPr>
            <a:r>
              <a:rPr lang="en-US" kern="0" dirty="0" smtClean="0">
                <a:cs typeface="Arial" pitchFamily="34" charset="0"/>
              </a:rPr>
              <a:t>          </a:t>
            </a:r>
            <a:r>
              <a:rPr lang="en-US" kern="0" dirty="0" err="1" smtClean="0">
                <a:cs typeface="Arial" pitchFamily="34" charset="0"/>
              </a:rPr>
              <a:t>keyakinan</a:t>
            </a:r>
            <a:r>
              <a:rPr lang="en-US" kern="0" dirty="0" smtClean="0">
                <a:cs typeface="Arial" pitchFamily="34" charset="0"/>
              </a:rPr>
              <a:t> </a:t>
            </a:r>
            <a:r>
              <a:rPr lang="en-US" kern="0" dirty="0" err="1" smtClean="0">
                <a:cs typeface="Arial" pitchFamily="34" charset="0"/>
              </a:rPr>
              <a:t>diri</a:t>
            </a:r>
            <a:endParaRPr lang="en-US" kern="0" dirty="0" smtClean="0">
              <a:cs typeface="Arial" pitchFamily="34" charset="0"/>
            </a:endParaRPr>
          </a:p>
          <a:p>
            <a:pPr marL="342900" indent="-342900" fontAlgn="auto">
              <a:spcBef>
                <a:spcPts val="0"/>
              </a:spcBef>
              <a:spcAft>
                <a:spcPts val="0"/>
              </a:spcAft>
              <a:defRPr/>
            </a:pPr>
            <a:r>
              <a:rPr lang="en-US" kern="0" dirty="0" smtClean="0">
                <a:cs typeface="Arial" pitchFamily="34" charset="0"/>
              </a:rPr>
              <a:t>A2.4  </a:t>
            </a:r>
            <a:r>
              <a:rPr lang="en-US" kern="0" dirty="0" err="1" smtClean="0">
                <a:cs typeface="Arial" pitchFamily="34" charset="0"/>
              </a:rPr>
              <a:t>Budaya</a:t>
            </a:r>
            <a:r>
              <a:rPr lang="en-US" kern="0" dirty="0" smtClean="0">
                <a:cs typeface="Arial" pitchFamily="34" charset="0"/>
              </a:rPr>
              <a:t> </a:t>
            </a:r>
            <a:r>
              <a:rPr lang="en-US" kern="0" dirty="0" err="1" smtClean="0">
                <a:cs typeface="Arial" pitchFamily="34" charset="0"/>
              </a:rPr>
              <a:t>kerja</a:t>
            </a:r>
            <a:r>
              <a:rPr lang="en-US" kern="0" dirty="0" smtClean="0">
                <a:cs typeface="Arial" pitchFamily="34" charset="0"/>
              </a:rPr>
              <a:t> </a:t>
            </a:r>
            <a:r>
              <a:rPr lang="en-US" kern="0" dirty="0" err="1" smtClean="0">
                <a:cs typeface="Arial" pitchFamily="34" charset="0"/>
              </a:rPr>
              <a:t>sepasukan</a:t>
            </a:r>
            <a:endParaRPr lang="en-US" kern="0" dirty="0" smtClean="0">
              <a:cs typeface="Arial" pitchFamily="34" charset="0"/>
            </a:endParaRPr>
          </a:p>
          <a:p>
            <a:pPr marL="342900" indent="-342900" fontAlgn="auto">
              <a:spcBef>
                <a:spcPts val="0"/>
              </a:spcBef>
              <a:spcAft>
                <a:spcPts val="0"/>
              </a:spcAft>
              <a:defRPr/>
            </a:pPr>
            <a:r>
              <a:rPr lang="en-US" kern="0" dirty="0" smtClean="0">
                <a:cs typeface="Arial" pitchFamily="34" charset="0"/>
              </a:rPr>
              <a:t>A2.5  </a:t>
            </a:r>
            <a:r>
              <a:rPr lang="en-US" kern="0" dirty="0" err="1" smtClean="0">
                <a:cs typeface="Arial" pitchFamily="34" charset="0"/>
              </a:rPr>
              <a:t>Berfokuskan</a:t>
            </a:r>
            <a:r>
              <a:rPr lang="en-US" kern="0" dirty="0" smtClean="0">
                <a:cs typeface="Arial" pitchFamily="34" charset="0"/>
              </a:rPr>
              <a:t> </a:t>
            </a:r>
            <a:r>
              <a:rPr lang="en-US" kern="0" dirty="0" err="1" smtClean="0">
                <a:cs typeface="Arial" pitchFamily="34" charset="0"/>
              </a:rPr>
              <a:t>pelanggan</a:t>
            </a:r>
            <a:endParaRPr lang="en-US" kern="0" dirty="0">
              <a:cs typeface="Arial" pitchFamily="34" charset="0"/>
            </a:endParaRPr>
          </a:p>
        </p:txBody>
      </p:sp>
      <p:sp>
        <p:nvSpPr>
          <p:cNvPr id="20" name="Tekstboks 36"/>
          <p:cNvSpPr txBox="1">
            <a:spLocks noChangeArrowheads="1"/>
          </p:cNvSpPr>
          <p:nvPr/>
        </p:nvSpPr>
        <p:spPr bwMode="auto">
          <a:xfrm>
            <a:off x="794881" y="4534588"/>
            <a:ext cx="3857624" cy="1477328"/>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kern="0" dirty="0" smtClean="0">
                <a:cs typeface="Arial" pitchFamily="34" charset="0"/>
              </a:rPr>
              <a:t>A3.1  </a:t>
            </a:r>
            <a:r>
              <a:rPr lang="en-US" kern="0" dirty="0" err="1" smtClean="0">
                <a:cs typeface="Arial" pitchFamily="34" charset="0"/>
              </a:rPr>
              <a:t>Kepimpinan</a:t>
            </a:r>
            <a:r>
              <a:rPr lang="en-US" kern="0" dirty="0" smtClean="0">
                <a:cs typeface="Arial" pitchFamily="34" charset="0"/>
              </a:rPr>
              <a:t> </a:t>
            </a:r>
            <a:r>
              <a:rPr lang="en-US" kern="0" dirty="0" err="1" smtClean="0">
                <a:cs typeface="Arial" pitchFamily="34" charset="0"/>
              </a:rPr>
              <a:t>berwawasan</a:t>
            </a:r>
            <a:r>
              <a:rPr lang="en-US" kern="0" dirty="0" smtClean="0">
                <a:cs typeface="Arial" pitchFamily="34" charset="0"/>
              </a:rPr>
              <a:t> </a:t>
            </a:r>
            <a:r>
              <a:rPr lang="en-US" kern="0" dirty="0" err="1" smtClean="0">
                <a:cs typeface="Arial" pitchFamily="34" charset="0"/>
              </a:rPr>
              <a:t>dan</a:t>
            </a:r>
            <a:r>
              <a:rPr lang="en-US" kern="0" dirty="0" smtClean="0">
                <a:cs typeface="Arial" pitchFamily="34" charset="0"/>
              </a:rPr>
              <a:t> </a:t>
            </a:r>
          </a:p>
          <a:p>
            <a:pPr marL="342900" indent="-342900" fontAlgn="auto">
              <a:spcBef>
                <a:spcPts val="0"/>
              </a:spcBef>
              <a:spcAft>
                <a:spcPts val="0"/>
              </a:spcAft>
              <a:defRPr/>
            </a:pPr>
            <a:r>
              <a:rPr lang="en-US" kern="0" dirty="0" smtClean="0">
                <a:cs typeface="Arial" pitchFamily="34" charset="0"/>
              </a:rPr>
              <a:t>          </a:t>
            </a:r>
            <a:r>
              <a:rPr lang="en-US" kern="0" dirty="0" err="1" smtClean="0">
                <a:cs typeface="Arial" pitchFamily="34" charset="0"/>
              </a:rPr>
              <a:t>membuat</a:t>
            </a:r>
            <a:r>
              <a:rPr lang="en-US" kern="0" dirty="0" smtClean="0">
                <a:cs typeface="Arial" pitchFamily="34" charset="0"/>
              </a:rPr>
              <a:t> </a:t>
            </a:r>
            <a:r>
              <a:rPr lang="en-US" kern="0" dirty="0" err="1" smtClean="0">
                <a:cs typeface="Arial" pitchFamily="34" charset="0"/>
              </a:rPr>
              <a:t>keputusan</a:t>
            </a:r>
            <a:endParaRPr lang="en-US" kern="0" dirty="0" smtClean="0">
              <a:cs typeface="Arial" pitchFamily="34" charset="0"/>
            </a:endParaRPr>
          </a:p>
          <a:p>
            <a:pPr marL="342900" indent="-342900" fontAlgn="auto">
              <a:spcBef>
                <a:spcPts val="0"/>
              </a:spcBef>
              <a:spcAft>
                <a:spcPts val="0"/>
              </a:spcAft>
              <a:defRPr/>
            </a:pPr>
            <a:r>
              <a:rPr lang="en-US" kern="0" dirty="0" smtClean="0">
                <a:cs typeface="Arial" pitchFamily="34" charset="0"/>
              </a:rPr>
              <a:t>A3.2  </a:t>
            </a:r>
            <a:r>
              <a:rPr lang="en-US" kern="0" dirty="0" err="1" smtClean="0">
                <a:cs typeface="Arial" pitchFamily="34" charset="0"/>
              </a:rPr>
              <a:t>Penyesuaian</a:t>
            </a:r>
            <a:r>
              <a:rPr lang="en-US" kern="0" dirty="0" smtClean="0">
                <a:cs typeface="Arial" pitchFamily="34" charset="0"/>
              </a:rPr>
              <a:t> </a:t>
            </a:r>
            <a:r>
              <a:rPr lang="en-US" kern="0" dirty="0" err="1" smtClean="0">
                <a:cs typeface="Arial" pitchFamily="34" charset="0"/>
              </a:rPr>
              <a:t>perubahan</a:t>
            </a:r>
            <a:endParaRPr lang="en-US" kern="0" dirty="0" smtClean="0">
              <a:cs typeface="Arial" pitchFamily="34" charset="0"/>
            </a:endParaRPr>
          </a:p>
          <a:p>
            <a:pPr marL="342900" indent="-342900" fontAlgn="auto">
              <a:spcBef>
                <a:spcPts val="0"/>
              </a:spcBef>
              <a:spcAft>
                <a:spcPts val="0"/>
              </a:spcAft>
              <a:defRPr/>
            </a:pPr>
            <a:r>
              <a:rPr lang="en-US" kern="0" dirty="0" smtClean="0">
                <a:cs typeface="Arial" pitchFamily="34" charset="0"/>
              </a:rPr>
              <a:t>A3.3  </a:t>
            </a:r>
            <a:r>
              <a:rPr lang="en-US" kern="0" dirty="0" err="1" smtClean="0">
                <a:cs typeface="Arial" pitchFamily="34" charset="0"/>
              </a:rPr>
              <a:t>Keinginan</a:t>
            </a:r>
            <a:r>
              <a:rPr lang="en-US" kern="0" dirty="0" smtClean="0">
                <a:cs typeface="Arial" pitchFamily="34" charset="0"/>
              </a:rPr>
              <a:t> </a:t>
            </a:r>
            <a:r>
              <a:rPr lang="en-US" kern="0" dirty="0" err="1" smtClean="0">
                <a:cs typeface="Arial" pitchFamily="34" charset="0"/>
              </a:rPr>
              <a:t>menimba</a:t>
            </a:r>
            <a:r>
              <a:rPr lang="en-US" kern="0" dirty="0" smtClean="0">
                <a:cs typeface="Arial" pitchFamily="34" charset="0"/>
              </a:rPr>
              <a:t> </a:t>
            </a:r>
            <a:r>
              <a:rPr lang="en-US" kern="0" dirty="0" err="1" smtClean="0">
                <a:cs typeface="Arial" pitchFamily="34" charset="0"/>
              </a:rPr>
              <a:t>pengetahuan</a:t>
            </a:r>
            <a:endParaRPr lang="en-US" kern="0" dirty="0" smtClean="0">
              <a:cs typeface="Arial" pitchFamily="34" charset="0"/>
            </a:endParaRPr>
          </a:p>
          <a:p>
            <a:pPr marL="342900" indent="-342900" fontAlgn="auto">
              <a:spcBef>
                <a:spcPts val="0"/>
              </a:spcBef>
              <a:spcAft>
                <a:spcPts val="0"/>
              </a:spcAft>
              <a:defRPr/>
            </a:pPr>
            <a:r>
              <a:rPr lang="en-US" kern="0" dirty="0" smtClean="0">
                <a:cs typeface="Arial" pitchFamily="34" charset="0"/>
              </a:rPr>
              <a:t>A3.4  </a:t>
            </a:r>
            <a:r>
              <a:rPr lang="en-US" kern="0" dirty="0" err="1" smtClean="0">
                <a:cs typeface="Arial" pitchFamily="34" charset="0"/>
              </a:rPr>
              <a:t>Pemikiran</a:t>
            </a:r>
            <a:r>
              <a:rPr lang="en-US" kern="0" dirty="0" smtClean="0">
                <a:cs typeface="Arial" pitchFamily="34" charset="0"/>
              </a:rPr>
              <a:t> </a:t>
            </a:r>
            <a:r>
              <a:rPr lang="en-US" kern="0" dirty="0" err="1" smtClean="0">
                <a:cs typeface="Arial" pitchFamily="34" charset="0"/>
              </a:rPr>
              <a:t>kreatif</a:t>
            </a:r>
            <a:r>
              <a:rPr lang="en-US" kern="0" dirty="0" smtClean="0">
                <a:cs typeface="Arial" pitchFamily="34" charset="0"/>
              </a:rPr>
              <a:t> </a:t>
            </a:r>
            <a:r>
              <a:rPr lang="en-US" kern="0" dirty="0" err="1" smtClean="0">
                <a:cs typeface="Arial" pitchFamily="34" charset="0"/>
              </a:rPr>
              <a:t>dan</a:t>
            </a:r>
            <a:r>
              <a:rPr lang="en-US" kern="0" dirty="0" smtClean="0">
                <a:cs typeface="Arial" pitchFamily="34" charset="0"/>
              </a:rPr>
              <a:t> </a:t>
            </a:r>
            <a:r>
              <a:rPr lang="en-US" kern="0" dirty="0" err="1" smtClean="0">
                <a:cs typeface="Arial" pitchFamily="34" charset="0"/>
              </a:rPr>
              <a:t>inovatif</a:t>
            </a:r>
            <a:endParaRPr lang="en-US" kern="0" dirty="0">
              <a:cs typeface="Arial" pitchFamily="34" charset="0"/>
            </a:endParaRPr>
          </a:p>
        </p:txBody>
      </p:sp>
      <p:sp>
        <p:nvSpPr>
          <p:cNvPr id="21" name="Tekstboks 37"/>
          <p:cNvSpPr txBox="1">
            <a:spLocks noChangeArrowheads="1"/>
          </p:cNvSpPr>
          <p:nvPr/>
        </p:nvSpPr>
        <p:spPr bwMode="auto">
          <a:xfrm>
            <a:off x="5126891" y="4565584"/>
            <a:ext cx="3904120" cy="1477328"/>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kern="0" dirty="0" smtClean="0">
                <a:cs typeface="Arial" pitchFamily="34" charset="0"/>
              </a:rPr>
              <a:t>A4.1  </a:t>
            </a:r>
            <a:r>
              <a:rPr lang="en-US" kern="0" dirty="0" err="1" smtClean="0">
                <a:cs typeface="Arial" pitchFamily="34" charset="0"/>
              </a:rPr>
              <a:t>Dasar-dasar</a:t>
            </a:r>
            <a:r>
              <a:rPr lang="en-US" kern="0" dirty="0" smtClean="0">
                <a:cs typeface="Arial" pitchFamily="34" charset="0"/>
              </a:rPr>
              <a:t> </a:t>
            </a:r>
            <a:r>
              <a:rPr lang="en-US" kern="0" dirty="0" err="1" smtClean="0">
                <a:cs typeface="Arial" pitchFamily="34" charset="0"/>
              </a:rPr>
              <a:t>kerajaan</a:t>
            </a:r>
            <a:endParaRPr lang="en-US" kern="0" dirty="0" smtClean="0">
              <a:cs typeface="Arial" pitchFamily="34" charset="0"/>
            </a:endParaRPr>
          </a:p>
          <a:p>
            <a:pPr marL="342900" indent="-342900" fontAlgn="auto">
              <a:spcBef>
                <a:spcPts val="0"/>
              </a:spcBef>
              <a:spcAft>
                <a:spcPts val="0"/>
              </a:spcAft>
              <a:defRPr/>
            </a:pPr>
            <a:r>
              <a:rPr lang="en-US" kern="0" dirty="0" smtClean="0">
                <a:cs typeface="Arial" pitchFamily="34" charset="0"/>
              </a:rPr>
              <a:t>A4.2  </a:t>
            </a:r>
            <a:r>
              <a:rPr lang="en-US" kern="0" dirty="0" err="1" smtClean="0">
                <a:cs typeface="Arial" pitchFamily="34" charset="0"/>
              </a:rPr>
              <a:t>Peraturan</a:t>
            </a:r>
            <a:r>
              <a:rPr lang="en-US" kern="0" dirty="0" smtClean="0">
                <a:cs typeface="Arial" pitchFamily="34" charset="0"/>
              </a:rPr>
              <a:t> </a:t>
            </a:r>
            <a:r>
              <a:rPr lang="en-US" kern="0" dirty="0" err="1" smtClean="0">
                <a:cs typeface="Arial" pitchFamily="34" charset="0"/>
              </a:rPr>
              <a:t>dan</a:t>
            </a:r>
            <a:r>
              <a:rPr lang="en-US" kern="0" dirty="0" smtClean="0">
                <a:cs typeface="Arial" pitchFamily="34" charset="0"/>
              </a:rPr>
              <a:t> </a:t>
            </a:r>
            <a:r>
              <a:rPr lang="en-US" kern="0" dirty="0" err="1" smtClean="0">
                <a:cs typeface="Arial" pitchFamily="34" charset="0"/>
              </a:rPr>
              <a:t>pekeliling</a:t>
            </a:r>
            <a:endParaRPr lang="en-US" kern="0" dirty="0" smtClean="0">
              <a:cs typeface="Arial" pitchFamily="34" charset="0"/>
            </a:endParaRPr>
          </a:p>
          <a:p>
            <a:pPr marL="342900" indent="-342900" fontAlgn="auto">
              <a:spcBef>
                <a:spcPts val="0"/>
              </a:spcBef>
              <a:spcAft>
                <a:spcPts val="0"/>
              </a:spcAft>
              <a:defRPr/>
            </a:pPr>
            <a:r>
              <a:rPr lang="en-US" kern="0" dirty="0" smtClean="0">
                <a:cs typeface="Arial" pitchFamily="34" charset="0"/>
              </a:rPr>
              <a:t>A4.3  </a:t>
            </a:r>
            <a:r>
              <a:rPr lang="en-US" kern="0" dirty="0" err="1" smtClean="0">
                <a:cs typeface="Arial" pitchFamily="34" charset="0"/>
              </a:rPr>
              <a:t>Penguasaan</a:t>
            </a:r>
            <a:r>
              <a:rPr lang="en-US" kern="0" dirty="0" smtClean="0">
                <a:cs typeface="Arial" pitchFamily="34" charset="0"/>
              </a:rPr>
              <a:t> </a:t>
            </a:r>
            <a:r>
              <a:rPr lang="en-US" kern="0" dirty="0" err="1" smtClean="0">
                <a:cs typeface="Arial" pitchFamily="34" charset="0"/>
              </a:rPr>
              <a:t>bidang</a:t>
            </a:r>
            <a:r>
              <a:rPr lang="en-US" kern="0" dirty="0" smtClean="0">
                <a:cs typeface="Arial" pitchFamily="34" charset="0"/>
              </a:rPr>
              <a:t> </a:t>
            </a:r>
            <a:r>
              <a:rPr lang="en-US" kern="0" dirty="0" err="1" smtClean="0">
                <a:cs typeface="Arial" pitchFamily="34" charset="0"/>
              </a:rPr>
              <a:t>tugas</a:t>
            </a:r>
            <a:endParaRPr lang="en-US" kern="0" dirty="0" smtClean="0">
              <a:cs typeface="Arial" pitchFamily="34" charset="0"/>
            </a:endParaRPr>
          </a:p>
          <a:p>
            <a:pPr marL="342900" indent="-342900" fontAlgn="auto">
              <a:spcBef>
                <a:spcPts val="0"/>
              </a:spcBef>
              <a:spcAft>
                <a:spcPts val="0"/>
              </a:spcAft>
              <a:defRPr/>
            </a:pPr>
            <a:r>
              <a:rPr lang="en-US" kern="0" dirty="0" smtClean="0">
                <a:cs typeface="Arial" pitchFamily="34" charset="0"/>
              </a:rPr>
              <a:t>A4.4  </a:t>
            </a:r>
            <a:r>
              <a:rPr lang="en-US" kern="0" dirty="0" err="1" smtClean="0">
                <a:cs typeface="Arial" pitchFamily="34" charset="0"/>
              </a:rPr>
              <a:t>Teknologi</a:t>
            </a:r>
            <a:r>
              <a:rPr lang="en-US" kern="0" dirty="0" smtClean="0">
                <a:cs typeface="Arial" pitchFamily="34" charset="0"/>
              </a:rPr>
              <a:t> </a:t>
            </a:r>
            <a:r>
              <a:rPr lang="en-US" kern="0" dirty="0" err="1" smtClean="0">
                <a:cs typeface="Arial" pitchFamily="34" charset="0"/>
              </a:rPr>
              <a:t>maklumat</a:t>
            </a:r>
            <a:r>
              <a:rPr lang="en-US" kern="0" dirty="0" smtClean="0">
                <a:cs typeface="Arial" pitchFamily="34" charset="0"/>
              </a:rPr>
              <a:t> </a:t>
            </a:r>
            <a:r>
              <a:rPr lang="en-US" kern="0" dirty="0" err="1" smtClean="0">
                <a:cs typeface="Arial" pitchFamily="34" charset="0"/>
              </a:rPr>
              <a:t>dan</a:t>
            </a:r>
            <a:r>
              <a:rPr lang="en-US" kern="0" dirty="0">
                <a:cs typeface="Arial" pitchFamily="34" charset="0"/>
              </a:rPr>
              <a:t> </a:t>
            </a:r>
            <a:r>
              <a:rPr lang="en-US" kern="0" dirty="0" smtClean="0">
                <a:cs typeface="Arial" pitchFamily="34" charset="0"/>
              </a:rPr>
              <a:t>			 </a:t>
            </a:r>
            <a:r>
              <a:rPr lang="en-US" kern="0" dirty="0" err="1" smtClean="0">
                <a:cs typeface="Arial" pitchFamily="34" charset="0"/>
              </a:rPr>
              <a:t>komunikasi</a:t>
            </a:r>
            <a:r>
              <a:rPr lang="en-US" kern="0" dirty="0" smtClean="0">
                <a:cs typeface="Arial" pitchFamily="34" charset="0"/>
              </a:rPr>
              <a:t>  (TMK)</a:t>
            </a:r>
            <a:endParaRPr lang="en-US" kern="0" dirty="0">
              <a:cs typeface="Arial" pitchFamily="34" charset="0"/>
            </a:endParaRPr>
          </a:p>
        </p:txBody>
      </p:sp>
      <p:sp>
        <p:nvSpPr>
          <p:cNvPr id="25" name="TextBox 24"/>
          <p:cNvSpPr txBox="1"/>
          <p:nvPr/>
        </p:nvSpPr>
        <p:spPr>
          <a:xfrm>
            <a:off x="46494" y="1829177"/>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rPr>
              <a:t>E1</a:t>
            </a:r>
            <a:endParaRPr lang="en-US" sz="4400" b="1" dirty="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endParaRPr>
          </a:p>
        </p:txBody>
      </p:sp>
      <p:sp>
        <p:nvSpPr>
          <p:cNvPr id="26" name="TextBox 25"/>
          <p:cNvSpPr txBox="1"/>
          <p:nvPr/>
        </p:nvSpPr>
        <p:spPr>
          <a:xfrm>
            <a:off x="4305941" y="1857593"/>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rPr>
              <a:t>E2</a:t>
            </a:r>
            <a:endParaRPr lang="en-US" sz="4400" b="1" dirty="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endParaRPr>
          </a:p>
        </p:txBody>
      </p:sp>
      <p:sp>
        <p:nvSpPr>
          <p:cNvPr id="27" name="TextBox 26"/>
          <p:cNvSpPr txBox="1"/>
          <p:nvPr/>
        </p:nvSpPr>
        <p:spPr>
          <a:xfrm>
            <a:off x="92988" y="4395106"/>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8000"/>
                </a:solidFill>
                <a:effectLst>
                  <a:outerShdw blurRad="50000" dist="50800" dir="7500000" algn="tl">
                    <a:srgbClr val="000000">
                      <a:shade val="5000"/>
                      <a:alpha val="35000"/>
                    </a:srgbClr>
                  </a:outerShdw>
                </a:effectLst>
                <a:latin typeface="Rockwell"/>
                <a:cs typeface="Rockwell"/>
              </a:rPr>
              <a:t>E3</a:t>
            </a:r>
            <a:endParaRPr lang="en-US" sz="4400" b="1" dirty="0">
              <a:ln w="19050">
                <a:solidFill>
                  <a:schemeClr val="tx2">
                    <a:tint val="1000"/>
                  </a:schemeClr>
                </a:solidFill>
                <a:prstDash val="solid"/>
              </a:ln>
              <a:solidFill>
                <a:srgbClr val="008000"/>
              </a:solidFill>
              <a:effectLst>
                <a:outerShdw blurRad="50000" dist="50800" dir="7500000" algn="tl">
                  <a:srgbClr val="000000">
                    <a:shade val="5000"/>
                    <a:alpha val="35000"/>
                  </a:srgbClr>
                </a:outerShdw>
              </a:effectLst>
              <a:latin typeface="Rockwell"/>
              <a:cs typeface="Rockwell"/>
            </a:endParaRPr>
          </a:p>
        </p:txBody>
      </p:sp>
      <p:sp>
        <p:nvSpPr>
          <p:cNvPr id="28" name="TextBox 27"/>
          <p:cNvSpPr txBox="1"/>
          <p:nvPr/>
        </p:nvSpPr>
        <p:spPr>
          <a:xfrm>
            <a:off x="4387445" y="4418324"/>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C00000"/>
                </a:solidFill>
                <a:effectLst>
                  <a:outerShdw blurRad="50000" dist="50800" dir="7500000" algn="tl">
                    <a:srgbClr val="000000">
                      <a:shade val="5000"/>
                      <a:alpha val="35000"/>
                    </a:srgbClr>
                  </a:outerShdw>
                </a:effectLst>
                <a:latin typeface="Rockwell"/>
                <a:cs typeface="Rockwell"/>
              </a:rPr>
              <a:t>E4</a:t>
            </a:r>
            <a:endParaRPr lang="en-US" sz="4400" b="1" dirty="0">
              <a:ln w="19050">
                <a:solidFill>
                  <a:schemeClr val="tx2">
                    <a:tint val="1000"/>
                  </a:schemeClr>
                </a:solidFill>
                <a:prstDash val="solid"/>
              </a:ln>
              <a:solidFill>
                <a:srgbClr val="C00000"/>
              </a:solidFill>
              <a:effectLst>
                <a:outerShdw blurRad="50000" dist="50800" dir="7500000" algn="tl">
                  <a:srgbClr val="000000">
                    <a:shade val="5000"/>
                    <a:alpha val="35000"/>
                  </a:srgbClr>
                </a:outerShdw>
              </a:effectLst>
              <a:latin typeface="Rockwell"/>
              <a:cs typeface="Rockwell"/>
            </a:endParaRPr>
          </a:p>
        </p:txBody>
      </p:sp>
      <p:sp>
        <p:nvSpPr>
          <p:cNvPr id="31" name="Rectangle 30"/>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DIMENSI 1 – PROFESIONALISME          </a:t>
            </a:r>
            <a:endParaRPr lang="en-US" sz="2800" b="1" dirty="0">
              <a:solidFill>
                <a:schemeClr val="bg1"/>
              </a:solidFill>
              <a:latin typeface="Segoe UI" pitchFamily="34" charset="0"/>
              <a:ea typeface="Segoe UI" pitchFamily="34" charset="0"/>
              <a:cs typeface="Segoe UI" pitchFamily="34" charset="0"/>
            </a:endParaRPr>
          </a:p>
        </p:txBody>
      </p:sp>
      <p:sp>
        <p:nvSpPr>
          <p:cNvPr id="33" name="TextBox 32"/>
          <p:cNvSpPr txBox="1"/>
          <p:nvPr/>
        </p:nvSpPr>
        <p:spPr>
          <a:xfrm>
            <a:off x="7353056" y="456516"/>
            <a:ext cx="1648660" cy="830997"/>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r>
              <a:rPr lang="en-US" sz="4800" dirty="0">
                <a:solidFill>
                  <a:srgbClr val="FF0000"/>
                </a:solidFill>
                <a:effectLst>
                  <a:outerShdw blurRad="38100" dist="38100" dir="2700000" algn="tl">
                    <a:srgbClr val="000000">
                      <a:alpha val="43137"/>
                    </a:srgbClr>
                  </a:outerShdw>
                </a:effectLst>
              </a:rPr>
              <a:t>2</a:t>
            </a:r>
            <a:r>
              <a:rPr lang="en-US" sz="4800" dirty="0" smtClean="0">
                <a:solidFill>
                  <a:srgbClr val="FF0000"/>
                </a:solidFill>
                <a:effectLst>
                  <a:outerShdw blurRad="38100" dist="38100" dir="2700000" algn="tl">
                    <a:srgbClr val="000000">
                      <a:alpha val="43137"/>
                    </a:srgbClr>
                  </a:outerShdw>
                </a:effectLst>
              </a:rPr>
              <a:t>0%</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ox(in)">
                                      <p:cBhvr>
                                        <p:cTn id="10" dur="500"/>
                                        <p:tgtEl>
                                          <p:spTgt spid="18"/>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box(in)">
                                      <p:cBhvr>
                                        <p:cTn id="13" dur="500"/>
                                        <p:tgtEl>
                                          <p:spTgt spid="25"/>
                                        </p:tgtEl>
                                      </p:cBhvr>
                                    </p:animEffect>
                                  </p:childTnLst>
                                </p:cTn>
                              </p:par>
                            </p:childTnLst>
                          </p:cTn>
                        </p:par>
                      </p:childTnLst>
                    </p:cTn>
                  </p:par>
                  <p:par>
                    <p:cTn id="14" fill="hold">
                      <p:stCondLst>
                        <p:cond delay="indefinite"/>
                      </p:stCondLst>
                      <p:childTnLst>
                        <p:par>
                          <p:cTn id="15" fill="hold">
                            <p:stCondLst>
                              <p:cond delay="0"/>
                            </p:stCondLst>
                            <p:childTnLst>
                              <p:par>
                                <p:cTn id="16" presetID="4" presetClass="entr" presetSubtype="16"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box(in)">
                                      <p:cBhvr>
                                        <p:cTn id="18" dur="500"/>
                                        <p:tgtEl>
                                          <p:spTgt spid="3"/>
                                        </p:tgtEl>
                                      </p:cBhvr>
                                    </p:animEffect>
                                  </p:childTnLst>
                                </p:cTn>
                              </p:par>
                              <p:par>
                                <p:cTn id="19" presetID="4" presetClass="entr" presetSubtype="16"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box(in)">
                                      <p:cBhvr>
                                        <p:cTn id="21" dur="500"/>
                                        <p:tgtEl>
                                          <p:spTgt spid="19"/>
                                        </p:tgtEl>
                                      </p:cBhvr>
                                    </p:animEffect>
                                  </p:childTnLst>
                                </p:cTn>
                              </p:par>
                              <p:par>
                                <p:cTn id="22" presetID="4" presetClass="entr" presetSubtype="16" fill="hold" grpId="0" nodeType="with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box(in)">
                                      <p:cBhvr>
                                        <p:cTn id="24" dur="500"/>
                                        <p:tgtEl>
                                          <p:spTgt spid="26"/>
                                        </p:tgtEl>
                                      </p:cBhvr>
                                    </p:animEffect>
                                  </p:childTnLst>
                                </p:cTn>
                              </p:par>
                            </p:childTnLst>
                          </p:cTn>
                        </p:par>
                      </p:childTnLst>
                    </p:cTn>
                  </p:par>
                  <p:par>
                    <p:cTn id="25" fill="hold">
                      <p:stCondLst>
                        <p:cond delay="indefinite"/>
                      </p:stCondLst>
                      <p:childTnLst>
                        <p:par>
                          <p:cTn id="26" fill="hold">
                            <p:stCondLst>
                              <p:cond delay="0"/>
                            </p:stCondLst>
                            <p:childTnLst>
                              <p:par>
                                <p:cTn id="27" presetID="4" presetClass="entr" presetSubtype="16"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box(in)">
                                      <p:cBhvr>
                                        <p:cTn id="29" dur="500"/>
                                        <p:tgtEl>
                                          <p:spTgt spid="11"/>
                                        </p:tgtEl>
                                      </p:cBhvr>
                                    </p:animEffect>
                                  </p:childTnLst>
                                </p:cTn>
                              </p:par>
                              <p:par>
                                <p:cTn id="30" presetID="4" presetClass="entr" presetSubtype="16"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box(in)">
                                      <p:cBhvr>
                                        <p:cTn id="32" dur="500"/>
                                        <p:tgtEl>
                                          <p:spTgt spid="16"/>
                                        </p:tgtEl>
                                      </p:cBhvr>
                                    </p:animEffect>
                                  </p:childTnLst>
                                </p:cTn>
                              </p:par>
                              <p:par>
                                <p:cTn id="33" presetID="4" presetClass="entr" presetSubtype="16"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box(in)">
                                      <p:cBhvr>
                                        <p:cTn id="35" dur="500"/>
                                        <p:tgtEl>
                                          <p:spTgt spid="27"/>
                                        </p:tgtEl>
                                      </p:cBhvr>
                                    </p:animEffect>
                                  </p:childTnLst>
                                </p:cTn>
                              </p:par>
                              <p:par>
                                <p:cTn id="36" presetID="4" presetClass="entr" presetSubtype="16"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box(in)">
                                      <p:cBhvr>
                                        <p:cTn id="38" dur="500"/>
                                        <p:tgtEl>
                                          <p:spTgt spid="20"/>
                                        </p:tgtEl>
                                      </p:cBhvr>
                                    </p:animEffect>
                                  </p:childTnLst>
                                </p:cTn>
                              </p:par>
                            </p:childTnLst>
                          </p:cTn>
                        </p:par>
                      </p:childTnLst>
                    </p:cTn>
                  </p:par>
                  <p:par>
                    <p:cTn id="39" fill="hold">
                      <p:stCondLst>
                        <p:cond delay="indefinite"/>
                      </p:stCondLst>
                      <p:childTnLst>
                        <p:par>
                          <p:cTn id="40" fill="hold">
                            <p:stCondLst>
                              <p:cond delay="0"/>
                            </p:stCondLst>
                            <p:childTnLst>
                              <p:par>
                                <p:cTn id="41" presetID="4" presetClass="entr" presetSubtype="16" fill="hold" nodeType="click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box(in)">
                                      <p:cBhvr>
                                        <p:cTn id="43" dur="500"/>
                                        <p:tgtEl>
                                          <p:spTgt spid="22"/>
                                        </p:tgtEl>
                                      </p:cBhvr>
                                    </p:animEffect>
                                  </p:childTnLst>
                                </p:cTn>
                              </p:par>
                              <p:par>
                                <p:cTn id="44" presetID="4" presetClass="entr" presetSubtype="16" fill="hold" grpId="0" nodeType="with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box(in)">
                                      <p:cBhvr>
                                        <p:cTn id="46" dur="500"/>
                                        <p:tgtEl>
                                          <p:spTgt spid="28"/>
                                        </p:tgtEl>
                                      </p:cBhvr>
                                    </p:animEffect>
                                  </p:childTnLst>
                                </p:cTn>
                              </p:par>
                              <p:par>
                                <p:cTn id="47" presetID="4" presetClass="entr" presetSubtype="16" fill="hold" grpId="0" nodeType="with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box(in)">
                                      <p:cBhvr>
                                        <p:cTn id="4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8" grpId="0"/>
      <p:bldP spid="19" grpId="0"/>
      <p:bldP spid="20" grpId="0"/>
      <p:bldP spid="21" grpId="0"/>
      <p:bldP spid="25" grpId="0"/>
      <p:bldP spid="26" grpId="0"/>
      <p:bldP spid="27" grpId="0"/>
      <p:bldP spid="28"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59</a:t>
            </a:fld>
            <a:endParaRPr lang="en-US"/>
          </a:p>
        </p:txBody>
      </p:sp>
      <p:grpSp>
        <p:nvGrpSpPr>
          <p:cNvPr id="2" name="Group 21"/>
          <p:cNvGrpSpPr/>
          <p:nvPr/>
        </p:nvGrpSpPr>
        <p:grpSpPr>
          <a:xfrm>
            <a:off x="616182" y="1818745"/>
            <a:ext cx="3938398" cy="308352"/>
            <a:chOff x="769938" y="1520825"/>
            <a:chExt cx="3938398" cy="308352"/>
          </a:xfrm>
        </p:grpSpPr>
        <p:sp>
          <p:nvSpPr>
            <p:cNvPr id="23" name="Rectangle 39"/>
            <p:cNvSpPr>
              <a:spLocks noChangeArrowheads="1"/>
            </p:cNvSpPr>
            <p:nvPr/>
          </p:nvSpPr>
          <p:spPr bwMode="auto">
            <a:xfrm>
              <a:off x="769938" y="1520825"/>
              <a:ext cx="3857625" cy="296863"/>
            </a:xfrm>
            <a:prstGeom prst="rect">
              <a:avLst/>
            </a:prstGeom>
            <a:gradFill rotWithShape="1">
              <a:gsLst>
                <a:gs pos="0">
                  <a:srgbClr val="03C6ED"/>
                </a:gs>
                <a:gs pos="100000">
                  <a:srgbClr val="004D86"/>
                </a:gs>
              </a:gsLst>
              <a:lin ang="16200000"/>
            </a:gradFill>
            <a:ln w="9525">
              <a:noFill/>
              <a:miter lim="800000"/>
              <a:headEnd/>
              <a:tailEnd/>
            </a:ln>
            <a:effectLst>
              <a:outerShdw blurRad="63500" dist="23000" dir="5400000" rotWithShape="0">
                <a:srgbClr val="000000">
                  <a:alpha val="34998"/>
                </a:srgbClr>
              </a:outerShdw>
            </a:effectLst>
          </p:spPr>
          <p:txBody>
            <a:bodyPr anchor="ctr"/>
            <a:lstStyle/>
            <a:p>
              <a:pPr algn="ctr" defTabSz="914400" fontAlgn="auto">
                <a:spcBef>
                  <a:spcPts val="0"/>
                </a:spcBef>
                <a:spcAft>
                  <a:spcPts val="0"/>
                </a:spcAft>
                <a:defRPr/>
              </a:pPr>
              <a:endParaRPr lang="en-US" sz="1400" b="1" kern="0" noProof="1">
                <a:solidFill>
                  <a:sysClr val="window" lastClr="FFFFFF"/>
                </a:solidFill>
                <a:latin typeface="Calibri" pitchFamily="34" charset="0"/>
                <a:ea typeface="ＭＳ Ｐゴシック" pitchFamily="-97" charset="-128"/>
              </a:endParaRPr>
            </a:p>
          </p:txBody>
        </p:sp>
        <p:sp>
          <p:nvSpPr>
            <p:cNvPr id="24" name="Rectangle 39"/>
            <p:cNvSpPr>
              <a:spLocks noChangeArrowheads="1"/>
            </p:cNvSpPr>
            <p:nvPr/>
          </p:nvSpPr>
          <p:spPr bwMode="auto">
            <a:xfrm>
              <a:off x="850711" y="1532314"/>
              <a:ext cx="3857625" cy="296863"/>
            </a:xfrm>
            <a:prstGeom prst="rect">
              <a:avLst/>
            </a:prstGeom>
            <a:noFill/>
            <a:ln w="9525">
              <a:noFill/>
              <a:miter lim="800000"/>
              <a:headEnd/>
              <a:tailEnd/>
            </a:ln>
            <a:effectLst>
              <a:outerShdw blurRad="63500" dist="23000" dir="5400000" rotWithShape="0">
                <a:srgbClr val="000000">
                  <a:alpha val="34998"/>
                </a:srgbClr>
              </a:outerShdw>
            </a:effectLst>
          </p:spPr>
          <p:txBody>
            <a:bodyPr anchor="ctr"/>
            <a:lstStyle/>
            <a:p>
              <a:pPr fontAlgn="auto">
                <a:spcBef>
                  <a:spcPts val="0"/>
                </a:spcBef>
                <a:spcAft>
                  <a:spcPts val="0"/>
                </a:spcAft>
                <a:defRPr/>
              </a:pPr>
              <a:r>
                <a:rPr lang="en-US" sz="1600" b="1" dirty="0" err="1" smtClean="0">
                  <a:solidFill>
                    <a:schemeClr val="bg1"/>
                  </a:solidFill>
                  <a:latin typeface="Arial" pitchFamily="34" charset="0"/>
                  <a:cs typeface="Arial" pitchFamily="34" charset="0"/>
                </a:rPr>
                <a:t>Hubungan</a:t>
              </a:r>
              <a:r>
                <a:rPr lang="en-US" sz="1600" b="1" dirty="0" smtClean="0">
                  <a:solidFill>
                    <a:schemeClr val="bg1"/>
                  </a:solidFill>
                  <a:latin typeface="Arial" pitchFamily="34" charset="0"/>
                  <a:cs typeface="Arial" pitchFamily="34" charset="0"/>
                </a:rPr>
                <a:t> </a:t>
              </a:r>
              <a:r>
                <a:rPr lang="en-US" sz="1600" b="1" dirty="0" err="1" smtClean="0">
                  <a:solidFill>
                    <a:schemeClr val="bg1"/>
                  </a:solidFill>
                  <a:latin typeface="Arial" pitchFamily="34" charset="0"/>
                  <a:cs typeface="Arial" pitchFamily="34" charset="0"/>
                </a:rPr>
                <a:t>Luar</a:t>
              </a:r>
              <a:r>
                <a:rPr lang="en-US" sz="1600" b="1" dirty="0" smtClean="0">
                  <a:solidFill>
                    <a:schemeClr val="bg1"/>
                  </a:solidFill>
                  <a:latin typeface="Arial" pitchFamily="34" charset="0"/>
                  <a:cs typeface="Arial" pitchFamily="34" charset="0"/>
                </a:rPr>
                <a:t> (4%)</a:t>
              </a:r>
              <a:endParaRPr lang="en-US" sz="1600" b="1" dirty="0">
                <a:solidFill>
                  <a:schemeClr val="bg1"/>
                </a:solidFill>
                <a:latin typeface="Arial" pitchFamily="34" charset="0"/>
                <a:cs typeface="Arial" pitchFamily="34" charset="0"/>
              </a:endParaRPr>
            </a:p>
          </p:txBody>
        </p:sp>
      </p:grpSp>
      <p:grpSp>
        <p:nvGrpSpPr>
          <p:cNvPr id="3" name="Group 24"/>
          <p:cNvGrpSpPr/>
          <p:nvPr/>
        </p:nvGrpSpPr>
        <p:grpSpPr>
          <a:xfrm>
            <a:off x="5098603" y="1803663"/>
            <a:ext cx="3857625" cy="296864"/>
            <a:chOff x="4699000" y="1520824"/>
            <a:chExt cx="3857625" cy="296864"/>
          </a:xfrm>
        </p:grpSpPr>
        <p:sp>
          <p:nvSpPr>
            <p:cNvPr id="26" name="Rectangle 39"/>
            <p:cNvSpPr>
              <a:spLocks noChangeArrowheads="1"/>
            </p:cNvSpPr>
            <p:nvPr/>
          </p:nvSpPr>
          <p:spPr bwMode="auto">
            <a:xfrm>
              <a:off x="4699000" y="1520825"/>
              <a:ext cx="3857625" cy="296863"/>
            </a:xfrm>
            <a:prstGeom prst="rect">
              <a:avLst/>
            </a:prstGeom>
            <a:gradFill rotWithShape="1">
              <a:gsLst>
                <a:gs pos="0">
                  <a:srgbClr val="FFC000"/>
                </a:gs>
                <a:gs pos="70000">
                  <a:srgbClr val="FFFF00"/>
                </a:gs>
                <a:gs pos="100000">
                  <a:srgbClr val="FFFF00"/>
                </a:gs>
              </a:gsLst>
              <a:lin ang="5400000" scaled="1"/>
            </a:gradFill>
            <a:ln w="3175">
              <a:solidFill>
                <a:srgbClr val="FFCC00"/>
              </a:solidFill>
              <a:miter lim="800000"/>
              <a:headEnd/>
              <a:tailEnd/>
            </a:ln>
          </p:spPr>
          <p:txBody>
            <a:bodyPr anchor="ctr"/>
            <a:lstStyle/>
            <a:p>
              <a:pPr algn="ctr" defTabSz="914400" fontAlgn="auto">
                <a:spcBef>
                  <a:spcPts val="0"/>
                </a:spcBef>
                <a:spcAft>
                  <a:spcPts val="0"/>
                </a:spcAft>
                <a:defRPr/>
              </a:pPr>
              <a:endParaRPr lang="en-US" sz="1400" b="1" kern="0" noProof="1">
                <a:solidFill>
                  <a:sysClr val="windowText" lastClr="000000"/>
                </a:solidFill>
                <a:latin typeface="Calibri" pitchFamily="34" charset="0"/>
                <a:ea typeface="ＭＳ Ｐゴシック" pitchFamily="-97" charset="-128"/>
              </a:endParaRPr>
            </a:p>
          </p:txBody>
        </p:sp>
        <p:sp>
          <p:nvSpPr>
            <p:cNvPr id="27" name="Rectangle 39"/>
            <p:cNvSpPr>
              <a:spLocks noChangeArrowheads="1"/>
            </p:cNvSpPr>
            <p:nvPr/>
          </p:nvSpPr>
          <p:spPr bwMode="auto">
            <a:xfrm>
              <a:off x="4699000" y="1520824"/>
              <a:ext cx="3857625" cy="296863"/>
            </a:xfrm>
            <a:prstGeom prst="rect">
              <a:avLst/>
            </a:prstGeom>
            <a:noFill/>
            <a:ln w="3175">
              <a:noFill/>
              <a:miter lim="800000"/>
              <a:headEnd/>
              <a:tailEnd/>
            </a:ln>
          </p:spPr>
          <p:txBody>
            <a:bodyPr anchor="ctr"/>
            <a:lstStyle/>
            <a:p>
              <a:pPr fontAlgn="auto">
                <a:spcBef>
                  <a:spcPts val="0"/>
                </a:spcBef>
                <a:spcAft>
                  <a:spcPts val="0"/>
                </a:spcAft>
                <a:defRPr/>
              </a:pPr>
              <a:r>
                <a:rPr lang="en-US" sz="1600" b="1" dirty="0" err="1" smtClean="0">
                  <a:latin typeface="Arial" pitchFamily="34" charset="0"/>
                  <a:cs typeface="Arial" pitchFamily="34" charset="0"/>
                </a:rPr>
                <a:t>Tugasan</a:t>
              </a:r>
              <a:r>
                <a:rPr lang="en-US" sz="1600" b="1" dirty="0" smtClean="0">
                  <a:latin typeface="Arial" pitchFamily="34" charset="0"/>
                  <a:cs typeface="Arial" pitchFamily="34" charset="0"/>
                </a:rPr>
                <a:t> </a:t>
              </a:r>
              <a:r>
                <a:rPr lang="en-US" sz="1600" b="1" dirty="0" err="1" smtClean="0">
                  <a:latin typeface="Arial" pitchFamily="34" charset="0"/>
                  <a:cs typeface="Arial" pitchFamily="34" charset="0"/>
                </a:rPr>
                <a:t>Sampingan</a:t>
              </a:r>
              <a:r>
                <a:rPr lang="en-US" sz="1600" b="1" dirty="0" smtClean="0">
                  <a:latin typeface="Arial" pitchFamily="34" charset="0"/>
                  <a:cs typeface="Arial" pitchFamily="34" charset="0"/>
                </a:rPr>
                <a:t> (6%)</a:t>
              </a:r>
              <a:endParaRPr lang="en-US" sz="1600" b="1" dirty="0">
                <a:latin typeface="Arial" pitchFamily="34" charset="0"/>
                <a:cs typeface="Arial" pitchFamily="34" charset="0"/>
              </a:endParaRPr>
            </a:p>
          </p:txBody>
        </p:sp>
      </p:grpSp>
      <p:sp>
        <p:nvSpPr>
          <p:cNvPr id="28" name="Tekstboks 31"/>
          <p:cNvSpPr txBox="1">
            <a:spLocks noChangeArrowheads="1"/>
          </p:cNvSpPr>
          <p:nvPr/>
        </p:nvSpPr>
        <p:spPr bwMode="auto">
          <a:xfrm>
            <a:off x="616181" y="2247370"/>
            <a:ext cx="3857625" cy="646331"/>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kern="0" dirty="0" smtClean="0">
                <a:solidFill>
                  <a:sysClr val="windowText" lastClr="000000">
                    <a:lumMod val="85000"/>
                    <a:lumOff val="15000"/>
                  </a:sysClr>
                </a:solidFill>
                <a:cs typeface="Arial" pitchFamily="34" charset="0"/>
              </a:rPr>
              <a:t>A1.1 </a:t>
            </a:r>
            <a:r>
              <a:rPr lang="en-US" kern="0" dirty="0" err="1" smtClean="0">
                <a:solidFill>
                  <a:sysClr val="windowText" lastClr="000000">
                    <a:lumMod val="85000"/>
                    <a:lumOff val="15000"/>
                  </a:sysClr>
                </a:solidFill>
                <a:cs typeface="Arial" pitchFamily="34" charset="0"/>
              </a:rPr>
              <a:t>Jalinan</a:t>
            </a:r>
            <a:r>
              <a:rPr lang="en-US" kern="0" dirty="0" smtClean="0">
                <a:solidFill>
                  <a:sysClr val="windowText" lastClr="000000">
                    <a:lumMod val="85000"/>
                    <a:lumOff val="15000"/>
                  </a:sysClr>
                </a:solidFill>
                <a:cs typeface="Arial" pitchFamily="34" charset="0"/>
              </a:rPr>
              <a:t> </a:t>
            </a:r>
            <a:r>
              <a:rPr lang="en-US" kern="0" dirty="0" err="1" smtClean="0">
                <a:solidFill>
                  <a:sysClr val="windowText" lastClr="000000">
                    <a:lumMod val="85000"/>
                    <a:lumOff val="15000"/>
                  </a:sysClr>
                </a:solidFill>
                <a:cs typeface="Arial" pitchFamily="34" charset="0"/>
              </a:rPr>
              <a:t>dan</a:t>
            </a:r>
            <a:r>
              <a:rPr lang="en-US" kern="0" dirty="0" smtClean="0">
                <a:solidFill>
                  <a:sysClr val="windowText" lastClr="000000">
                    <a:lumMod val="85000"/>
                    <a:lumOff val="15000"/>
                  </a:sysClr>
                </a:solidFill>
                <a:cs typeface="Arial" pitchFamily="34" charset="0"/>
              </a:rPr>
              <a:t> </a:t>
            </a:r>
            <a:r>
              <a:rPr lang="en-US" kern="0" dirty="0" err="1" smtClean="0">
                <a:solidFill>
                  <a:sysClr val="windowText" lastClr="000000">
                    <a:lumMod val="85000"/>
                    <a:lumOff val="15000"/>
                  </a:sysClr>
                </a:solidFill>
                <a:cs typeface="Arial" pitchFamily="34" charset="0"/>
              </a:rPr>
              <a:t>jaringan</a:t>
            </a:r>
            <a:r>
              <a:rPr lang="en-US" kern="0" dirty="0" smtClean="0">
                <a:solidFill>
                  <a:sysClr val="windowText" lastClr="000000">
                    <a:lumMod val="85000"/>
                    <a:lumOff val="15000"/>
                  </a:sysClr>
                </a:solidFill>
                <a:cs typeface="Arial" pitchFamily="34" charset="0"/>
              </a:rPr>
              <a:t> </a:t>
            </a:r>
            <a:r>
              <a:rPr lang="en-US" i="1" kern="0" dirty="0" smtClean="0">
                <a:solidFill>
                  <a:sysClr val="windowText" lastClr="000000">
                    <a:lumMod val="85000"/>
                    <a:lumOff val="15000"/>
                  </a:sysClr>
                </a:solidFill>
                <a:cs typeface="Arial" pitchFamily="34" charset="0"/>
              </a:rPr>
              <a:t>(Networking and linkages)</a:t>
            </a:r>
            <a:endParaRPr lang="en-US" kern="0" dirty="0">
              <a:cs typeface="Arial" pitchFamily="34" charset="0"/>
            </a:endParaRPr>
          </a:p>
        </p:txBody>
      </p:sp>
      <p:sp>
        <p:nvSpPr>
          <p:cNvPr id="29" name="Tekstboks 34"/>
          <p:cNvSpPr txBox="1">
            <a:spLocks noChangeArrowheads="1"/>
          </p:cNvSpPr>
          <p:nvPr/>
        </p:nvSpPr>
        <p:spPr bwMode="auto">
          <a:xfrm>
            <a:off x="5052108" y="2232289"/>
            <a:ext cx="3857625" cy="646331"/>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kern="0" dirty="0" smtClean="0">
                <a:solidFill>
                  <a:sysClr val="windowText" lastClr="000000">
                    <a:lumMod val="85000"/>
                    <a:lumOff val="15000"/>
                  </a:sysClr>
                </a:solidFill>
                <a:cs typeface="Arial" pitchFamily="34" charset="0"/>
              </a:rPr>
              <a:t>A2.1  </a:t>
            </a:r>
            <a:r>
              <a:rPr lang="en-US" kern="0" dirty="0" err="1" smtClean="0">
                <a:solidFill>
                  <a:sysClr val="windowText" lastClr="000000">
                    <a:lumMod val="85000"/>
                    <a:lumOff val="15000"/>
                  </a:sysClr>
                </a:solidFill>
                <a:cs typeface="Arial" pitchFamily="34" charset="0"/>
              </a:rPr>
              <a:t>Tugas-tugas</a:t>
            </a:r>
            <a:r>
              <a:rPr lang="en-US" kern="0" dirty="0" smtClean="0">
                <a:solidFill>
                  <a:sysClr val="windowText" lastClr="000000">
                    <a:lumMod val="85000"/>
                    <a:lumOff val="15000"/>
                  </a:sysClr>
                </a:solidFill>
                <a:cs typeface="Arial" pitchFamily="34" charset="0"/>
              </a:rPr>
              <a:t> lain </a:t>
            </a:r>
            <a:r>
              <a:rPr lang="en-US" kern="0" dirty="0" err="1" smtClean="0">
                <a:solidFill>
                  <a:sysClr val="windowText" lastClr="000000">
                    <a:lumMod val="85000"/>
                    <a:lumOff val="15000"/>
                  </a:sysClr>
                </a:solidFill>
                <a:cs typeface="Arial" pitchFamily="34" charset="0"/>
              </a:rPr>
              <a:t>selain</a:t>
            </a:r>
            <a:r>
              <a:rPr lang="en-US" kern="0" dirty="0" smtClean="0">
                <a:solidFill>
                  <a:sysClr val="windowText" lastClr="000000">
                    <a:lumMod val="85000"/>
                    <a:lumOff val="15000"/>
                  </a:sysClr>
                </a:solidFill>
                <a:cs typeface="Arial" pitchFamily="34" charset="0"/>
              </a:rPr>
              <a:t> </a:t>
            </a:r>
            <a:r>
              <a:rPr lang="en-US" kern="0" dirty="0" err="1" smtClean="0">
                <a:solidFill>
                  <a:sysClr val="windowText" lastClr="000000">
                    <a:lumMod val="85000"/>
                    <a:lumOff val="15000"/>
                  </a:sysClr>
                </a:solidFill>
                <a:cs typeface="Arial" pitchFamily="34" charset="0"/>
              </a:rPr>
              <a:t>tugasan</a:t>
            </a:r>
            <a:r>
              <a:rPr lang="en-US" kern="0" dirty="0" smtClean="0">
                <a:solidFill>
                  <a:sysClr val="windowText" lastClr="000000">
                    <a:lumMod val="85000"/>
                    <a:lumOff val="15000"/>
                  </a:sysClr>
                </a:solidFill>
                <a:cs typeface="Arial" pitchFamily="34" charset="0"/>
              </a:rPr>
              <a:t> 	  	  </a:t>
            </a:r>
            <a:r>
              <a:rPr lang="en-US" kern="0" dirty="0" err="1" smtClean="0">
                <a:solidFill>
                  <a:sysClr val="windowText" lastClr="000000">
                    <a:lumMod val="85000"/>
                    <a:lumOff val="15000"/>
                  </a:sysClr>
                </a:solidFill>
                <a:cs typeface="Arial" pitchFamily="34" charset="0"/>
              </a:rPr>
              <a:t>hakiki</a:t>
            </a:r>
            <a:endParaRPr lang="en-US" kern="0" dirty="0">
              <a:solidFill>
                <a:sysClr val="windowText" lastClr="000000">
                  <a:lumMod val="85000"/>
                  <a:lumOff val="15000"/>
                </a:sysClr>
              </a:solidFill>
              <a:cs typeface="Arial" pitchFamily="34" charset="0"/>
            </a:endParaRPr>
          </a:p>
        </p:txBody>
      </p:sp>
      <p:sp>
        <p:nvSpPr>
          <p:cNvPr id="30" name="TextBox 29"/>
          <p:cNvSpPr txBox="1"/>
          <p:nvPr/>
        </p:nvSpPr>
        <p:spPr>
          <a:xfrm>
            <a:off x="-107262" y="2127097"/>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rPr>
              <a:t>E1</a:t>
            </a:r>
            <a:endParaRPr lang="en-US" sz="4400" b="1" dirty="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endParaRPr>
          </a:p>
        </p:txBody>
      </p:sp>
      <p:sp>
        <p:nvSpPr>
          <p:cNvPr id="31" name="TextBox 30"/>
          <p:cNvSpPr txBox="1"/>
          <p:nvPr/>
        </p:nvSpPr>
        <p:spPr>
          <a:xfrm>
            <a:off x="4302596" y="2140432"/>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rPr>
              <a:t>E2</a:t>
            </a:r>
            <a:endParaRPr lang="en-US" sz="4400" b="1" dirty="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endParaRPr>
          </a:p>
        </p:txBody>
      </p:sp>
      <p:sp>
        <p:nvSpPr>
          <p:cNvPr id="21" name="Rectangle 20"/>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DIMENSI 2 – TUGASAN TAMBAHAN   </a:t>
            </a:r>
            <a:endParaRPr lang="en-US" sz="2800" b="1" dirty="0">
              <a:solidFill>
                <a:schemeClr val="bg1"/>
              </a:solidFill>
              <a:latin typeface="Segoe UI" pitchFamily="34" charset="0"/>
              <a:ea typeface="Segoe UI" pitchFamily="34" charset="0"/>
              <a:cs typeface="Segoe UI" pitchFamily="34" charset="0"/>
            </a:endParaRPr>
          </a:p>
        </p:txBody>
      </p:sp>
      <p:sp>
        <p:nvSpPr>
          <p:cNvPr id="32" name="TextBox 31"/>
          <p:cNvSpPr txBox="1"/>
          <p:nvPr/>
        </p:nvSpPr>
        <p:spPr>
          <a:xfrm>
            <a:off x="7495340" y="476259"/>
            <a:ext cx="1648660" cy="830997"/>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r>
              <a:rPr lang="en-US" sz="4800" dirty="0" smtClean="0">
                <a:solidFill>
                  <a:srgbClr val="FF0000"/>
                </a:solidFill>
                <a:effectLst>
                  <a:outerShdw blurRad="38100" dist="38100" dir="2700000" algn="tl">
                    <a:srgbClr val="000000">
                      <a:alpha val="43137"/>
                    </a:srgbClr>
                  </a:outerShdw>
                </a:effectLst>
              </a:rPr>
              <a:t>10%</a:t>
            </a:r>
          </a:p>
        </p:txBody>
      </p:sp>
      <p:grpSp>
        <p:nvGrpSpPr>
          <p:cNvPr id="6" name="Group 15"/>
          <p:cNvGrpSpPr/>
          <p:nvPr/>
        </p:nvGrpSpPr>
        <p:grpSpPr>
          <a:xfrm>
            <a:off x="752205" y="4736870"/>
            <a:ext cx="3938398" cy="308352"/>
            <a:chOff x="769938" y="1520825"/>
            <a:chExt cx="3938398" cy="308352"/>
          </a:xfrm>
        </p:grpSpPr>
        <p:sp>
          <p:nvSpPr>
            <p:cNvPr id="17" name="Rectangle 39"/>
            <p:cNvSpPr>
              <a:spLocks noChangeArrowheads="1"/>
            </p:cNvSpPr>
            <p:nvPr/>
          </p:nvSpPr>
          <p:spPr bwMode="auto">
            <a:xfrm>
              <a:off x="769938" y="1520825"/>
              <a:ext cx="3857625" cy="296863"/>
            </a:xfrm>
            <a:prstGeom prst="rect">
              <a:avLst/>
            </a:prstGeom>
            <a:gradFill rotWithShape="1">
              <a:gsLst>
                <a:gs pos="0">
                  <a:srgbClr val="03C6ED"/>
                </a:gs>
                <a:gs pos="100000">
                  <a:srgbClr val="004D86"/>
                </a:gs>
              </a:gsLst>
              <a:lin ang="16200000"/>
            </a:gradFill>
            <a:ln w="9525">
              <a:noFill/>
              <a:miter lim="800000"/>
              <a:headEnd/>
              <a:tailEnd/>
            </a:ln>
            <a:effectLst>
              <a:outerShdw blurRad="63500" dist="23000" dir="5400000" rotWithShape="0">
                <a:srgbClr val="000000">
                  <a:alpha val="34998"/>
                </a:srgbClr>
              </a:outerShdw>
            </a:effectLst>
          </p:spPr>
          <p:txBody>
            <a:bodyPr anchor="ctr"/>
            <a:lstStyle/>
            <a:p>
              <a:pPr algn="ctr" defTabSz="914400" fontAlgn="auto">
                <a:spcBef>
                  <a:spcPts val="0"/>
                </a:spcBef>
                <a:spcAft>
                  <a:spcPts val="0"/>
                </a:spcAft>
                <a:defRPr/>
              </a:pPr>
              <a:endParaRPr lang="en-US" sz="1400" b="1" kern="0" noProof="1">
                <a:solidFill>
                  <a:sysClr val="window" lastClr="FFFFFF"/>
                </a:solidFill>
                <a:latin typeface="Calibri" pitchFamily="34" charset="0"/>
                <a:ea typeface="ＭＳ Ｐゴシック" pitchFamily="-97" charset="-128"/>
              </a:endParaRPr>
            </a:p>
          </p:txBody>
        </p:sp>
        <p:sp>
          <p:nvSpPr>
            <p:cNvPr id="18" name="Rectangle 39"/>
            <p:cNvSpPr>
              <a:spLocks noChangeArrowheads="1"/>
            </p:cNvSpPr>
            <p:nvPr/>
          </p:nvSpPr>
          <p:spPr bwMode="auto">
            <a:xfrm>
              <a:off x="850711" y="1532314"/>
              <a:ext cx="3857625" cy="296863"/>
            </a:xfrm>
            <a:prstGeom prst="rect">
              <a:avLst/>
            </a:prstGeom>
            <a:noFill/>
            <a:ln w="9525">
              <a:noFill/>
              <a:miter lim="800000"/>
              <a:headEnd/>
              <a:tailEnd/>
            </a:ln>
            <a:effectLst>
              <a:outerShdw blurRad="63500" dist="23000" dir="5400000" rotWithShape="0">
                <a:srgbClr val="000000">
                  <a:alpha val="34998"/>
                </a:srgbClr>
              </a:outerShdw>
            </a:effectLst>
          </p:spPr>
          <p:txBody>
            <a:bodyPr anchor="ctr"/>
            <a:lstStyle/>
            <a:p>
              <a:pPr fontAlgn="auto">
                <a:spcBef>
                  <a:spcPts val="0"/>
                </a:spcBef>
                <a:spcAft>
                  <a:spcPts val="0"/>
                </a:spcAft>
                <a:defRPr/>
              </a:pPr>
              <a:r>
                <a:rPr lang="en-US" sz="1600" b="1" dirty="0" err="1" smtClean="0">
                  <a:solidFill>
                    <a:schemeClr val="bg1"/>
                  </a:solidFill>
                  <a:effectLst>
                    <a:outerShdw blurRad="38100" dist="38100" dir="2700000" algn="tl">
                      <a:srgbClr val="000000">
                        <a:alpha val="43137"/>
                      </a:srgbClr>
                    </a:outerShdw>
                  </a:effectLst>
                  <a:latin typeface="Arial" pitchFamily="34" charset="0"/>
                  <a:cs typeface="Arial" pitchFamily="34" charset="0"/>
                </a:rPr>
                <a:t>Sumbangan</a:t>
              </a:r>
              <a:r>
                <a:rPr lang="en-US" sz="1600" b="1" dirty="0" smtClean="0">
                  <a:solidFill>
                    <a:schemeClr val="bg1"/>
                  </a:solidFill>
                  <a:effectLst>
                    <a:outerShdw blurRad="38100" dist="38100" dir="2700000" algn="tl">
                      <a:srgbClr val="000000">
                        <a:alpha val="43137"/>
                      </a:srgbClr>
                    </a:outerShdw>
                  </a:effectLst>
                  <a:latin typeface="Arial" pitchFamily="34" charset="0"/>
                  <a:cs typeface="Arial" pitchFamily="34" charset="0"/>
                </a:rPr>
                <a:t> (10%)</a:t>
              </a:r>
              <a:endParaRPr lang="en-US" sz="1600" b="1" dirty="0">
                <a:solidFill>
                  <a:schemeClr val="bg1"/>
                </a:solidFill>
                <a:effectLst>
                  <a:outerShdw blurRad="38100" dist="38100" dir="2700000" algn="tl">
                    <a:srgbClr val="000000">
                      <a:alpha val="43137"/>
                    </a:srgbClr>
                  </a:outerShdw>
                </a:effectLst>
                <a:latin typeface="Arial" pitchFamily="34" charset="0"/>
                <a:cs typeface="Arial" pitchFamily="34" charset="0"/>
              </a:endParaRPr>
            </a:p>
          </p:txBody>
        </p:sp>
      </p:grpSp>
      <p:sp>
        <p:nvSpPr>
          <p:cNvPr id="19" name="Tekstboks 31"/>
          <p:cNvSpPr txBox="1">
            <a:spLocks noChangeArrowheads="1"/>
          </p:cNvSpPr>
          <p:nvPr/>
        </p:nvSpPr>
        <p:spPr bwMode="auto">
          <a:xfrm>
            <a:off x="752204" y="5165495"/>
            <a:ext cx="3857625" cy="923330"/>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kern="0" dirty="0" smtClean="0">
                <a:solidFill>
                  <a:sysClr val="windowText" lastClr="000000">
                    <a:lumMod val="85000"/>
                    <a:lumOff val="15000"/>
                  </a:sysClr>
                </a:solidFill>
                <a:cs typeface="Arial" pitchFamily="34" charset="0"/>
              </a:rPr>
              <a:t>A1.1   </a:t>
            </a:r>
            <a:r>
              <a:rPr lang="en-US" kern="0" dirty="0" err="1" smtClean="0">
                <a:solidFill>
                  <a:sysClr val="windowText" lastClr="000000">
                    <a:lumMod val="85000"/>
                    <a:lumOff val="15000"/>
                  </a:sysClr>
                </a:solidFill>
                <a:cs typeface="Arial" pitchFamily="34" charset="0"/>
              </a:rPr>
              <a:t>Bimbingan</a:t>
            </a:r>
            <a:r>
              <a:rPr lang="en-US" kern="0" dirty="0" smtClean="0">
                <a:solidFill>
                  <a:sysClr val="windowText" lastClr="000000">
                    <a:lumMod val="85000"/>
                    <a:lumOff val="15000"/>
                  </a:sysClr>
                </a:solidFill>
                <a:cs typeface="Arial" pitchFamily="34" charset="0"/>
              </a:rPr>
              <a:t> </a:t>
            </a:r>
            <a:r>
              <a:rPr lang="en-US" kern="0" dirty="0" err="1" smtClean="0">
                <a:solidFill>
                  <a:sysClr val="windowText" lastClr="000000">
                    <a:lumMod val="85000"/>
                    <a:lumOff val="15000"/>
                  </a:sysClr>
                </a:solidFill>
                <a:cs typeface="Arial" pitchFamily="34" charset="0"/>
              </a:rPr>
              <a:t>dan</a:t>
            </a:r>
            <a:r>
              <a:rPr lang="en-US" kern="0" dirty="0" smtClean="0">
                <a:solidFill>
                  <a:sysClr val="windowText" lastClr="000000">
                    <a:lumMod val="85000"/>
                    <a:lumOff val="15000"/>
                  </a:sysClr>
                </a:solidFill>
                <a:cs typeface="Arial" pitchFamily="34" charset="0"/>
              </a:rPr>
              <a:t> </a:t>
            </a:r>
            <a:r>
              <a:rPr lang="en-US" kern="0" dirty="0" err="1" smtClean="0">
                <a:solidFill>
                  <a:sysClr val="windowText" lastClr="000000">
                    <a:lumMod val="85000"/>
                    <a:lumOff val="15000"/>
                  </a:sysClr>
                </a:solidFill>
                <a:cs typeface="Arial" pitchFamily="34" charset="0"/>
              </a:rPr>
              <a:t>pementoran</a:t>
            </a:r>
            <a:endParaRPr lang="en-US" i="1" kern="0" dirty="0" smtClean="0">
              <a:solidFill>
                <a:sysClr val="windowText" lastClr="000000">
                  <a:lumMod val="85000"/>
                  <a:lumOff val="15000"/>
                </a:sysClr>
              </a:solidFill>
              <a:cs typeface="Arial" pitchFamily="34" charset="0"/>
            </a:endParaRPr>
          </a:p>
          <a:p>
            <a:pPr marL="342900" indent="-342900" fontAlgn="auto">
              <a:spcBef>
                <a:spcPts val="0"/>
              </a:spcBef>
              <a:spcAft>
                <a:spcPts val="0"/>
              </a:spcAft>
              <a:defRPr/>
            </a:pPr>
            <a:r>
              <a:rPr lang="en-US" kern="0" dirty="0" smtClean="0">
                <a:solidFill>
                  <a:sysClr val="windowText" lastClr="000000">
                    <a:lumMod val="85000"/>
                    <a:lumOff val="15000"/>
                  </a:sysClr>
                </a:solidFill>
                <a:cs typeface="Arial" pitchFamily="34" charset="0"/>
              </a:rPr>
              <a:t>A1.2   </a:t>
            </a:r>
            <a:r>
              <a:rPr lang="en-US" kern="0" dirty="0" err="1" smtClean="0">
                <a:solidFill>
                  <a:sysClr val="windowText" lastClr="000000">
                    <a:lumMod val="85000"/>
                    <a:lumOff val="15000"/>
                  </a:sysClr>
                </a:solidFill>
                <a:cs typeface="Arial" pitchFamily="34" charset="0"/>
              </a:rPr>
              <a:t>Sumbangan</a:t>
            </a:r>
            <a:r>
              <a:rPr lang="en-US" kern="0" dirty="0" smtClean="0">
                <a:solidFill>
                  <a:sysClr val="windowText" lastClr="000000">
                    <a:lumMod val="85000"/>
                    <a:lumOff val="15000"/>
                  </a:sysClr>
                </a:solidFill>
                <a:cs typeface="Arial" pitchFamily="34" charset="0"/>
              </a:rPr>
              <a:t> </a:t>
            </a:r>
            <a:r>
              <a:rPr lang="en-US" kern="0" dirty="0" err="1" smtClean="0">
                <a:solidFill>
                  <a:sysClr val="windowText" lastClr="000000">
                    <a:lumMod val="85000"/>
                    <a:lumOff val="15000"/>
                  </a:sysClr>
                </a:solidFill>
                <a:cs typeface="Arial" pitchFamily="34" charset="0"/>
              </a:rPr>
              <a:t>profesional</a:t>
            </a:r>
            <a:r>
              <a:rPr lang="en-US" kern="0" dirty="0" smtClean="0">
                <a:solidFill>
                  <a:sysClr val="windowText" lastClr="000000">
                    <a:lumMod val="85000"/>
                    <a:lumOff val="15000"/>
                  </a:sysClr>
                </a:solidFill>
                <a:cs typeface="Arial" pitchFamily="34" charset="0"/>
              </a:rPr>
              <a:t> </a:t>
            </a:r>
          </a:p>
          <a:p>
            <a:pPr marL="342900" indent="-342900" fontAlgn="auto">
              <a:spcBef>
                <a:spcPts val="0"/>
              </a:spcBef>
              <a:spcAft>
                <a:spcPts val="0"/>
              </a:spcAft>
              <a:defRPr/>
            </a:pPr>
            <a:r>
              <a:rPr lang="en-US" kern="0" dirty="0" smtClean="0">
                <a:solidFill>
                  <a:sysClr val="windowText" lastClr="000000">
                    <a:lumMod val="85000"/>
                    <a:lumOff val="15000"/>
                  </a:sysClr>
                </a:solidFill>
                <a:cs typeface="Arial" pitchFamily="34" charset="0"/>
              </a:rPr>
              <a:t>          </a:t>
            </a:r>
            <a:r>
              <a:rPr lang="en-US" kern="0" dirty="0" err="1" smtClean="0">
                <a:solidFill>
                  <a:sysClr val="windowText" lastClr="000000">
                    <a:lumMod val="85000"/>
                    <a:lumOff val="15000"/>
                  </a:sysClr>
                </a:solidFill>
                <a:cs typeface="Arial" pitchFamily="34" charset="0"/>
              </a:rPr>
              <a:t>dan</a:t>
            </a:r>
            <a:r>
              <a:rPr lang="en-US" kern="0" dirty="0" smtClean="0">
                <a:solidFill>
                  <a:sysClr val="windowText" lastClr="000000">
                    <a:lumMod val="85000"/>
                    <a:lumOff val="15000"/>
                  </a:sysClr>
                </a:solidFill>
                <a:cs typeface="Arial" pitchFamily="34" charset="0"/>
              </a:rPr>
              <a:t> </a:t>
            </a:r>
            <a:r>
              <a:rPr lang="en-US" kern="0" dirty="0" err="1" smtClean="0">
                <a:solidFill>
                  <a:sysClr val="windowText" lastClr="000000">
                    <a:lumMod val="85000"/>
                    <a:lumOff val="15000"/>
                  </a:sysClr>
                </a:solidFill>
                <a:cs typeface="Arial" pitchFamily="34" charset="0"/>
              </a:rPr>
              <a:t>sosial</a:t>
            </a:r>
            <a:endParaRPr lang="en-US" kern="0" dirty="0">
              <a:solidFill>
                <a:sysClr val="windowText" lastClr="000000">
                  <a:lumMod val="85000"/>
                  <a:lumOff val="15000"/>
                </a:sysClr>
              </a:solidFill>
              <a:cs typeface="Arial" pitchFamily="34" charset="0"/>
            </a:endParaRPr>
          </a:p>
        </p:txBody>
      </p:sp>
      <p:sp>
        <p:nvSpPr>
          <p:cNvPr id="20" name="TextBox 19"/>
          <p:cNvSpPr txBox="1"/>
          <p:nvPr/>
        </p:nvSpPr>
        <p:spPr>
          <a:xfrm>
            <a:off x="28761" y="5045222"/>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rPr>
              <a:t>E1</a:t>
            </a:r>
            <a:endParaRPr lang="en-US" sz="4400" b="1" dirty="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endParaRPr>
          </a:p>
        </p:txBody>
      </p:sp>
      <p:sp>
        <p:nvSpPr>
          <p:cNvPr id="33" name="Rectangle 32"/>
          <p:cNvSpPr/>
          <p:nvPr/>
        </p:nvSpPr>
        <p:spPr>
          <a:xfrm>
            <a:off x="7038" y="3619500"/>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DIMENSI 3 – PENGLIBATAN</a:t>
            </a:r>
            <a:endParaRPr lang="en-US" sz="2800" b="1" dirty="0">
              <a:solidFill>
                <a:schemeClr val="bg1"/>
              </a:solidFill>
              <a:latin typeface="Segoe UI" pitchFamily="34" charset="0"/>
              <a:ea typeface="Segoe UI" pitchFamily="34" charset="0"/>
              <a:cs typeface="Segoe UI" pitchFamily="34" charset="0"/>
            </a:endParaRPr>
          </a:p>
        </p:txBody>
      </p:sp>
      <p:sp>
        <p:nvSpPr>
          <p:cNvPr id="34" name="TextBox 33"/>
          <p:cNvSpPr txBox="1"/>
          <p:nvPr/>
        </p:nvSpPr>
        <p:spPr>
          <a:xfrm>
            <a:off x="7038140" y="3529483"/>
            <a:ext cx="1648660" cy="830997"/>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r>
              <a:rPr lang="en-US" sz="4800" dirty="0" smtClean="0">
                <a:solidFill>
                  <a:srgbClr val="FF0000"/>
                </a:solidFill>
                <a:effectLst>
                  <a:outerShdw blurRad="38100" dist="38100" dir="2700000" algn="tl">
                    <a:srgbClr val="000000">
                      <a:alpha val="43137"/>
                    </a:srgbClr>
                  </a:outerShdw>
                </a:effectLst>
              </a:rPr>
              <a:t>10%</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box(in)">
                                      <p:cBhvr>
                                        <p:cTn id="10" dur="500"/>
                                        <p:tgtEl>
                                          <p:spTgt spid="28"/>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box(in)">
                                      <p:cBhvr>
                                        <p:cTn id="13" dur="500"/>
                                        <p:tgtEl>
                                          <p:spTgt spid="30"/>
                                        </p:tgtEl>
                                      </p:cBhvr>
                                    </p:animEffect>
                                  </p:childTnLst>
                                </p:cTn>
                              </p:par>
                            </p:childTnLst>
                          </p:cTn>
                        </p:par>
                      </p:childTnLst>
                    </p:cTn>
                  </p:par>
                  <p:par>
                    <p:cTn id="14" fill="hold">
                      <p:stCondLst>
                        <p:cond delay="indefinite"/>
                      </p:stCondLst>
                      <p:childTnLst>
                        <p:par>
                          <p:cTn id="15" fill="hold">
                            <p:stCondLst>
                              <p:cond delay="0"/>
                            </p:stCondLst>
                            <p:childTnLst>
                              <p:par>
                                <p:cTn id="16" presetID="4" presetClass="entr" presetSubtype="16" fill="hold" grpId="0" nodeType="click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box(in)">
                                      <p:cBhvr>
                                        <p:cTn id="18" dur="500"/>
                                        <p:tgtEl>
                                          <p:spTgt spid="31"/>
                                        </p:tgtEl>
                                      </p:cBhvr>
                                    </p:animEffect>
                                  </p:childTnLst>
                                </p:cTn>
                              </p:par>
                              <p:par>
                                <p:cTn id="19" presetID="4" presetClass="entr" presetSubtype="16" fill="hold"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box(in)">
                                      <p:cBhvr>
                                        <p:cTn id="21" dur="500"/>
                                        <p:tgtEl>
                                          <p:spTgt spid="3"/>
                                        </p:tgtEl>
                                      </p:cBhvr>
                                    </p:animEffect>
                                  </p:childTnLst>
                                </p:cTn>
                              </p:par>
                              <p:par>
                                <p:cTn id="22" presetID="4" presetClass="entr" presetSubtype="16" fill="hold" grpId="0"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box(in)">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4" presetClass="entr" presetSubtype="16" fill="hold" grpId="0" nodeType="click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box(in)">
                                      <p:cBhvr>
                                        <p:cTn id="29" dur="500"/>
                                        <p:tgtEl>
                                          <p:spTgt spid="33"/>
                                        </p:tgtEl>
                                      </p:cBhvr>
                                    </p:animEffect>
                                  </p:childTnLst>
                                </p:cTn>
                              </p:par>
                              <p:par>
                                <p:cTn id="30" presetID="4" presetClass="entr" presetSubtype="16" fill="hold" grpId="0"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box(in)">
                                      <p:cBhvr>
                                        <p:cTn id="32" dur="500"/>
                                        <p:tgtEl>
                                          <p:spTgt spid="34"/>
                                        </p:tgtEl>
                                      </p:cBhvr>
                                    </p:animEffect>
                                  </p:childTnLst>
                                </p:cTn>
                              </p:par>
                            </p:childTnLst>
                          </p:cTn>
                        </p:par>
                      </p:childTnLst>
                    </p:cTn>
                  </p:par>
                  <p:par>
                    <p:cTn id="33" fill="hold">
                      <p:stCondLst>
                        <p:cond delay="indefinite"/>
                      </p:stCondLst>
                      <p:childTnLst>
                        <p:par>
                          <p:cTn id="34" fill="hold">
                            <p:stCondLst>
                              <p:cond delay="0"/>
                            </p:stCondLst>
                            <p:childTnLst>
                              <p:par>
                                <p:cTn id="35" presetID="4" presetClass="entr" presetSubtype="16"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box(in)">
                                      <p:cBhvr>
                                        <p:cTn id="37" dur="500"/>
                                        <p:tgtEl>
                                          <p:spTgt spid="6"/>
                                        </p:tgtEl>
                                      </p:cBhvr>
                                    </p:animEffect>
                                  </p:childTnLst>
                                </p:cTn>
                              </p:par>
                              <p:par>
                                <p:cTn id="38" presetID="4" presetClass="entr" presetSubtype="16" fill="hold" grpId="0"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box(in)">
                                      <p:cBhvr>
                                        <p:cTn id="40" dur="500"/>
                                        <p:tgtEl>
                                          <p:spTgt spid="19"/>
                                        </p:tgtEl>
                                      </p:cBhvr>
                                    </p:animEffect>
                                  </p:childTnLst>
                                </p:cTn>
                              </p:par>
                              <p:par>
                                <p:cTn id="41" presetID="4" presetClass="entr" presetSubtype="16"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box(in)">
                                      <p:cBhvr>
                                        <p:cTn id="4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P spid="19" grpId="0"/>
      <p:bldP spid="20" grpId="0"/>
      <p:bldP spid="33" grpId="0" animBg="1"/>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6"/>
          <p:cNvSpPr>
            <a:spLocks/>
          </p:cNvSpPr>
          <p:nvPr>
            <p:custDataLst>
              <p:tags r:id="rId1"/>
            </p:custDataLst>
          </p:nvPr>
        </p:nvSpPr>
        <p:spPr bwMode="gray">
          <a:xfrm flipH="1">
            <a:off x="4628851" y="1082782"/>
            <a:ext cx="4381799" cy="5792955"/>
          </a:xfrm>
          <a:custGeom>
            <a:avLst/>
            <a:gdLst/>
            <a:ahLst/>
            <a:cxnLst>
              <a:cxn ang="0">
                <a:pos x="0" y="0"/>
              </a:cxn>
              <a:cxn ang="0">
                <a:pos x="0" y="3198"/>
              </a:cxn>
              <a:cxn ang="0">
                <a:pos x="228" y="3300"/>
              </a:cxn>
              <a:cxn ang="0">
                <a:pos x="558" y="3222"/>
              </a:cxn>
              <a:cxn ang="0">
                <a:pos x="762" y="3312"/>
              </a:cxn>
              <a:cxn ang="0">
                <a:pos x="1104" y="3240"/>
              </a:cxn>
              <a:cxn ang="0">
                <a:pos x="1440" y="3366"/>
              </a:cxn>
              <a:cxn ang="0">
                <a:pos x="1710" y="3270"/>
              </a:cxn>
              <a:cxn ang="0">
                <a:pos x="1758" y="3312"/>
              </a:cxn>
              <a:cxn ang="0">
                <a:pos x="2028" y="3204"/>
              </a:cxn>
              <a:cxn ang="0">
                <a:pos x="2214" y="3288"/>
              </a:cxn>
              <a:cxn ang="0">
                <a:pos x="2490" y="3228"/>
              </a:cxn>
              <a:cxn ang="0">
                <a:pos x="2598" y="3246"/>
              </a:cxn>
              <a:cxn ang="0">
                <a:pos x="2694" y="3264"/>
              </a:cxn>
              <a:cxn ang="0">
                <a:pos x="2904" y="3228"/>
              </a:cxn>
              <a:cxn ang="0">
                <a:pos x="3060" y="3294"/>
              </a:cxn>
              <a:cxn ang="0">
                <a:pos x="3096" y="3306"/>
              </a:cxn>
              <a:cxn ang="0">
                <a:pos x="3330" y="3180"/>
              </a:cxn>
              <a:cxn ang="0">
                <a:pos x="3648" y="3276"/>
              </a:cxn>
              <a:cxn ang="0">
                <a:pos x="3960" y="3246"/>
              </a:cxn>
              <a:cxn ang="0">
                <a:pos x="4056" y="3336"/>
              </a:cxn>
              <a:cxn ang="0">
                <a:pos x="4200" y="3174"/>
              </a:cxn>
              <a:cxn ang="0">
                <a:pos x="4398" y="3270"/>
              </a:cxn>
              <a:cxn ang="0">
                <a:pos x="4530" y="3144"/>
              </a:cxn>
              <a:cxn ang="0">
                <a:pos x="4530" y="0"/>
              </a:cxn>
              <a:cxn ang="0">
                <a:pos x="0" y="0"/>
              </a:cxn>
            </a:cxnLst>
            <a:rect l="0" t="0" r="r" b="b"/>
            <a:pathLst>
              <a:path w="4530" h="3366">
                <a:moveTo>
                  <a:pt x="0" y="0"/>
                </a:moveTo>
                <a:lnTo>
                  <a:pt x="0" y="3198"/>
                </a:lnTo>
                <a:lnTo>
                  <a:pt x="228" y="3300"/>
                </a:lnTo>
                <a:lnTo>
                  <a:pt x="558" y="3222"/>
                </a:lnTo>
                <a:lnTo>
                  <a:pt x="762" y="3312"/>
                </a:lnTo>
                <a:lnTo>
                  <a:pt x="1104" y="3240"/>
                </a:lnTo>
                <a:lnTo>
                  <a:pt x="1440" y="3366"/>
                </a:lnTo>
                <a:lnTo>
                  <a:pt x="1710" y="3270"/>
                </a:lnTo>
                <a:lnTo>
                  <a:pt x="1758" y="3312"/>
                </a:lnTo>
                <a:lnTo>
                  <a:pt x="2028" y="3204"/>
                </a:lnTo>
                <a:lnTo>
                  <a:pt x="2214" y="3288"/>
                </a:lnTo>
                <a:cubicBezTo>
                  <a:pt x="2419" y="3182"/>
                  <a:pt x="2311" y="3194"/>
                  <a:pt x="2490" y="3228"/>
                </a:cubicBezTo>
                <a:cubicBezTo>
                  <a:pt x="2526" y="3235"/>
                  <a:pt x="2562" y="3240"/>
                  <a:pt x="2598" y="3246"/>
                </a:cubicBezTo>
                <a:cubicBezTo>
                  <a:pt x="2630" y="3252"/>
                  <a:pt x="2694" y="3264"/>
                  <a:pt x="2694" y="3264"/>
                </a:cubicBezTo>
                <a:lnTo>
                  <a:pt x="2904" y="3228"/>
                </a:lnTo>
                <a:lnTo>
                  <a:pt x="3060" y="3294"/>
                </a:lnTo>
                <a:lnTo>
                  <a:pt x="3096" y="3306"/>
                </a:lnTo>
                <a:lnTo>
                  <a:pt x="3330" y="3180"/>
                </a:lnTo>
                <a:lnTo>
                  <a:pt x="3648" y="3276"/>
                </a:lnTo>
                <a:lnTo>
                  <a:pt x="3960" y="3246"/>
                </a:lnTo>
                <a:lnTo>
                  <a:pt x="4056" y="3336"/>
                </a:lnTo>
                <a:lnTo>
                  <a:pt x="4200" y="3174"/>
                </a:lnTo>
                <a:lnTo>
                  <a:pt x="4398" y="3270"/>
                </a:lnTo>
                <a:lnTo>
                  <a:pt x="4530" y="3144"/>
                </a:lnTo>
                <a:lnTo>
                  <a:pt x="4530" y="0"/>
                </a:lnTo>
                <a:lnTo>
                  <a:pt x="0" y="0"/>
                </a:lnTo>
                <a:close/>
              </a:path>
            </a:pathLst>
          </a:custGeom>
          <a:solidFill>
            <a:srgbClr val="E8ECEA">
              <a:alpha val="16000"/>
            </a:srgbClr>
          </a:solidFill>
          <a:ln w="9525">
            <a:solidFill>
              <a:schemeClr val="tx1"/>
            </a:solidFill>
            <a:round/>
            <a:headEnd/>
            <a:tailEnd/>
          </a:ln>
          <a:effectLst>
            <a:outerShdw dist="107763" dir="2700000" algn="ctr" rotWithShape="0">
              <a:srgbClr val="D5DDD9">
                <a:alpha val="50000"/>
              </a:srgbClr>
            </a:outerShdw>
          </a:effectLst>
        </p:spPr>
        <p:txBody>
          <a:bodyPr/>
          <a:lstStyle/>
          <a:p>
            <a:pPr fontAlgn="auto">
              <a:spcBef>
                <a:spcPts val="0"/>
              </a:spcBef>
              <a:spcAft>
                <a:spcPts val="0"/>
              </a:spcAft>
              <a:defRPr/>
            </a:pPr>
            <a:endParaRPr lang="en-US" sz="1600" b="1">
              <a:latin typeface="Arial" charset="0"/>
              <a:cs typeface="Arial" charset="0"/>
            </a:endParaRPr>
          </a:p>
        </p:txBody>
      </p:sp>
      <p:sp>
        <p:nvSpPr>
          <p:cNvPr id="9" name="Freeform 6"/>
          <p:cNvSpPr>
            <a:spLocks/>
          </p:cNvSpPr>
          <p:nvPr>
            <p:custDataLst>
              <p:tags r:id="rId2"/>
            </p:custDataLst>
          </p:nvPr>
        </p:nvSpPr>
        <p:spPr bwMode="gray">
          <a:xfrm flipH="1">
            <a:off x="152398" y="1063732"/>
            <a:ext cx="4381799" cy="5792955"/>
          </a:xfrm>
          <a:custGeom>
            <a:avLst/>
            <a:gdLst/>
            <a:ahLst/>
            <a:cxnLst>
              <a:cxn ang="0">
                <a:pos x="0" y="0"/>
              </a:cxn>
              <a:cxn ang="0">
                <a:pos x="0" y="3198"/>
              </a:cxn>
              <a:cxn ang="0">
                <a:pos x="228" y="3300"/>
              </a:cxn>
              <a:cxn ang="0">
                <a:pos x="558" y="3222"/>
              </a:cxn>
              <a:cxn ang="0">
                <a:pos x="762" y="3312"/>
              </a:cxn>
              <a:cxn ang="0">
                <a:pos x="1104" y="3240"/>
              </a:cxn>
              <a:cxn ang="0">
                <a:pos x="1440" y="3366"/>
              </a:cxn>
              <a:cxn ang="0">
                <a:pos x="1710" y="3270"/>
              </a:cxn>
              <a:cxn ang="0">
                <a:pos x="1758" y="3312"/>
              </a:cxn>
              <a:cxn ang="0">
                <a:pos x="2028" y="3204"/>
              </a:cxn>
              <a:cxn ang="0">
                <a:pos x="2214" y="3288"/>
              </a:cxn>
              <a:cxn ang="0">
                <a:pos x="2490" y="3228"/>
              </a:cxn>
              <a:cxn ang="0">
                <a:pos x="2598" y="3246"/>
              </a:cxn>
              <a:cxn ang="0">
                <a:pos x="2694" y="3264"/>
              </a:cxn>
              <a:cxn ang="0">
                <a:pos x="2904" y="3228"/>
              </a:cxn>
              <a:cxn ang="0">
                <a:pos x="3060" y="3294"/>
              </a:cxn>
              <a:cxn ang="0">
                <a:pos x="3096" y="3306"/>
              </a:cxn>
              <a:cxn ang="0">
                <a:pos x="3330" y="3180"/>
              </a:cxn>
              <a:cxn ang="0">
                <a:pos x="3648" y="3276"/>
              </a:cxn>
              <a:cxn ang="0">
                <a:pos x="3960" y="3246"/>
              </a:cxn>
              <a:cxn ang="0">
                <a:pos x="4056" y="3336"/>
              </a:cxn>
              <a:cxn ang="0">
                <a:pos x="4200" y="3174"/>
              </a:cxn>
              <a:cxn ang="0">
                <a:pos x="4398" y="3270"/>
              </a:cxn>
              <a:cxn ang="0">
                <a:pos x="4530" y="3144"/>
              </a:cxn>
              <a:cxn ang="0">
                <a:pos x="4530" y="0"/>
              </a:cxn>
              <a:cxn ang="0">
                <a:pos x="0" y="0"/>
              </a:cxn>
            </a:cxnLst>
            <a:rect l="0" t="0" r="r" b="b"/>
            <a:pathLst>
              <a:path w="4530" h="3366">
                <a:moveTo>
                  <a:pt x="0" y="0"/>
                </a:moveTo>
                <a:lnTo>
                  <a:pt x="0" y="3198"/>
                </a:lnTo>
                <a:lnTo>
                  <a:pt x="228" y="3300"/>
                </a:lnTo>
                <a:lnTo>
                  <a:pt x="558" y="3222"/>
                </a:lnTo>
                <a:lnTo>
                  <a:pt x="762" y="3312"/>
                </a:lnTo>
                <a:lnTo>
                  <a:pt x="1104" y="3240"/>
                </a:lnTo>
                <a:lnTo>
                  <a:pt x="1440" y="3366"/>
                </a:lnTo>
                <a:lnTo>
                  <a:pt x="1710" y="3270"/>
                </a:lnTo>
                <a:lnTo>
                  <a:pt x="1758" y="3312"/>
                </a:lnTo>
                <a:lnTo>
                  <a:pt x="2028" y="3204"/>
                </a:lnTo>
                <a:lnTo>
                  <a:pt x="2214" y="3288"/>
                </a:lnTo>
                <a:cubicBezTo>
                  <a:pt x="2419" y="3182"/>
                  <a:pt x="2311" y="3194"/>
                  <a:pt x="2490" y="3228"/>
                </a:cubicBezTo>
                <a:cubicBezTo>
                  <a:pt x="2526" y="3235"/>
                  <a:pt x="2562" y="3240"/>
                  <a:pt x="2598" y="3246"/>
                </a:cubicBezTo>
                <a:cubicBezTo>
                  <a:pt x="2630" y="3252"/>
                  <a:pt x="2694" y="3264"/>
                  <a:pt x="2694" y="3264"/>
                </a:cubicBezTo>
                <a:lnTo>
                  <a:pt x="2904" y="3228"/>
                </a:lnTo>
                <a:lnTo>
                  <a:pt x="3060" y="3294"/>
                </a:lnTo>
                <a:lnTo>
                  <a:pt x="3096" y="3306"/>
                </a:lnTo>
                <a:lnTo>
                  <a:pt x="3330" y="3180"/>
                </a:lnTo>
                <a:lnTo>
                  <a:pt x="3648" y="3276"/>
                </a:lnTo>
                <a:lnTo>
                  <a:pt x="3960" y="3246"/>
                </a:lnTo>
                <a:lnTo>
                  <a:pt x="4056" y="3336"/>
                </a:lnTo>
                <a:lnTo>
                  <a:pt x="4200" y="3174"/>
                </a:lnTo>
                <a:lnTo>
                  <a:pt x="4398" y="3270"/>
                </a:lnTo>
                <a:lnTo>
                  <a:pt x="4530" y="3144"/>
                </a:lnTo>
                <a:lnTo>
                  <a:pt x="4530" y="0"/>
                </a:lnTo>
                <a:lnTo>
                  <a:pt x="0" y="0"/>
                </a:lnTo>
                <a:close/>
              </a:path>
            </a:pathLst>
          </a:custGeom>
          <a:solidFill>
            <a:srgbClr val="E8ECEA">
              <a:alpha val="16000"/>
            </a:srgbClr>
          </a:solidFill>
          <a:ln w="9525">
            <a:solidFill>
              <a:schemeClr val="tx1"/>
            </a:solidFill>
            <a:round/>
            <a:headEnd/>
            <a:tailEnd/>
          </a:ln>
          <a:effectLst>
            <a:outerShdw dist="107763" dir="2700000" algn="ctr" rotWithShape="0">
              <a:srgbClr val="D5DDD9">
                <a:alpha val="50000"/>
              </a:srgbClr>
            </a:outerShdw>
          </a:effectLst>
        </p:spPr>
        <p:txBody>
          <a:bodyPr/>
          <a:lstStyle/>
          <a:p>
            <a:pPr fontAlgn="auto">
              <a:spcBef>
                <a:spcPts val="0"/>
              </a:spcBef>
              <a:spcAft>
                <a:spcPts val="0"/>
              </a:spcAft>
              <a:defRPr/>
            </a:pPr>
            <a:endParaRPr lang="en-US" sz="1600" b="1">
              <a:latin typeface="Arial" charset="0"/>
              <a:cs typeface="Arial" charset="0"/>
            </a:endParaRPr>
          </a:p>
        </p:txBody>
      </p:sp>
      <p:pic>
        <p:nvPicPr>
          <p:cNvPr id="46082" name="Picture 2"/>
          <p:cNvPicPr>
            <a:picLocks noChangeAspect="1" noChangeArrowheads="1"/>
          </p:cNvPicPr>
          <p:nvPr/>
        </p:nvPicPr>
        <p:blipFill>
          <a:blip r:embed="rId5"/>
          <a:srcRect b="6540"/>
          <a:stretch>
            <a:fillRect/>
          </a:stretch>
        </p:blipFill>
        <p:spPr bwMode="auto">
          <a:xfrm>
            <a:off x="322628" y="1158982"/>
            <a:ext cx="4002021" cy="5290869"/>
          </a:xfrm>
          <a:prstGeom prst="rect">
            <a:avLst/>
          </a:prstGeom>
          <a:noFill/>
          <a:ln w="9525">
            <a:noFill/>
            <a:miter lim="800000"/>
            <a:headEnd/>
            <a:tailEnd/>
          </a:ln>
          <a:effectLst/>
        </p:spPr>
      </p:pic>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6</a:t>
            </a:fld>
            <a:endParaRPr lang="en-US"/>
          </a:p>
        </p:txBody>
      </p:sp>
      <p:pic>
        <p:nvPicPr>
          <p:cNvPr id="46083" name="Picture 3"/>
          <p:cNvPicPr>
            <a:picLocks noChangeAspect="1" noChangeArrowheads="1"/>
          </p:cNvPicPr>
          <p:nvPr/>
        </p:nvPicPr>
        <p:blipFill>
          <a:blip r:embed="rId6"/>
          <a:srcRect b="9008"/>
          <a:stretch>
            <a:fillRect/>
          </a:stretch>
        </p:blipFill>
        <p:spPr bwMode="auto">
          <a:xfrm>
            <a:off x="4856229" y="1205186"/>
            <a:ext cx="4002021" cy="5151165"/>
          </a:xfrm>
          <a:prstGeom prst="rect">
            <a:avLst/>
          </a:prstGeom>
          <a:noFill/>
          <a:ln w="9525">
            <a:noFill/>
            <a:miter lim="800000"/>
            <a:headEnd/>
            <a:tailEnd/>
          </a:ln>
          <a:effectLst/>
        </p:spPr>
      </p:pic>
      <p:sp>
        <p:nvSpPr>
          <p:cNvPr id="8" name="Rectangle 7"/>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smtClean="0">
                <a:solidFill>
                  <a:schemeClr val="bg1"/>
                </a:solidFill>
                <a:latin typeface="Segoe UI" pitchFamily="34" charset="0"/>
                <a:ea typeface="Segoe UI" pitchFamily="34" charset="0"/>
                <a:cs typeface="Segoe UI" pitchFamily="34" charset="0"/>
              </a:rPr>
              <a:t>SURAT ARAHAN PBPPP 2015</a:t>
            </a:r>
            <a:endParaRPr lang="en-US" sz="36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FUNGSIONAL 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60</a:t>
            </a:fld>
            <a:endParaRPr lang="en-US"/>
          </a:p>
        </p:txBody>
      </p:sp>
    </p:spTree>
    <p:extLst>
      <p:ext uri="{BB962C8B-B14F-4D97-AF65-F5344CB8AC3E}">
        <p14:creationId xmlns:p14="http://schemas.microsoft.com/office/powerpoint/2010/main" val="1771352396"/>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61</a:t>
            </a:fld>
            <a:endParaRPr lang="en-US"/>
          </a:p>
        </p:txBody>
      </p:sp>
      <p:sp>
        <p:nvSpPr>
          <p:cNvPr id="6" name="Oval 5"/>
          <p:cNvSpPr/>
          <p:nvPr/>
        </p:nvSpPr>
        <p:spPr>
          <a:xfrm>
            <a:off x="5790810" y="5573404"/>
            <a:ext cx="2380260" cy="381000"/>
          </a:xfrm>
          <a:prstGeom prst="ellipse">
            <a:avLst/>
          </a:prstGeom>
          <a:gradFill flip="none" rotWithShape="1">
            <a:gsLst>
              <a:gs pos="0">
                <a:sysClr val="windowText" lastClr="000000">
                  <a:lumMod val="50000"/>
                  <a:lumOff val="50000"/>
                  <a:alpha val="70000"/>
                </a:sys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7" name="Freeform 6"/>
          <p:cNvSpPr>
            <a:spLocks noEditPoints="1"/>
          </p:cNvSpPr>
          <p:nvPr/>
        </p:nvSpPr>
        <p:spPr bwMode="auto">
          <a:xfrm>
            <a:off x="1143343" y="1433592"/>
            <a:ext cx="2261882" cy="2256690"/>
          </a:xfrm>
          <a:custGeom>
            <a:avLst/>
            <a:gdLst>
              <a:gd name="T0" fmla="*/ 242 w 553"/>
              <a:gd name="T1" fmla="*/ 35 h 552"/>
              <a:gd name="T2" fmla="*/ 310 w 553"/>
              <a:gd name="T3" fmla="*/ 35 h 552"/>
              <a:gd name="T4" fmla="*/ 326 w 553"/>
              <a:gd name="T5" fmla="*/ 0 h 552"/>
              <a:gd name="T6" fmla="*/ 399 w 553"/>
              <a:gd name="T7" fmla="*/ 24 h 552"/>
              <a:gd name="T8" fmla="*/ 390 w 553"/>
              <a:gd name="T9" fmla="*/ 59 h 552"/>
              <a:gd name="T10" fmla="*/ 447 w 553"/>
              <a:gd name="T11" fmla="*/ 101 h 552"/>
              <a:gd name="T12" fmla="*/ 479 w 553"/>
              <a:gd name="T13" fmla="*/ 81 h 552"/>
              <a:gd name="T14" fmla="*/ 524 w 553"/>
              <a:gd name="T15" fmla="*/ 145 h 552"/>
              <a:gd name="T16" fmla="*/ 496 w 553"/>
              <a:gd name="T17" fmla="*/ 168 h 552"/>
              <a:gd name="T18" fmla="*/ 517 w 553"/>
              <a:gd name="T19" fmla="*/ 233 h 552"/>
              <a:gd name="T20" fmla="*/ 553 w 553"/>
              <a:gd name="T21" fmla="*/ 237 h 552"/>
              <a:gd name="T22" fmla="*/ 553 w 553"/>
              <a:gd name="T23" fmla="*/ 316 h 552"/>
              <a:gd name="T24" fmla="*/ 520 w 553"/>
              <a:gd name="T25" fmla="*/ 317 h 552"/>
              <a:gd name="T26" fmla="*/ 497 w 553"/>
              <a:gd name="T27" fmla="*/ 383 h 552"/>
              <a:gd name="T28" fmla="*/ 524 w 553"/>
              <a:gd name="T29" fmla="*/ 407 h 552"/>
              <a:gd name="T30" fmla="*/ 477 w 553"/>
              <a:gd name="T31" fmla="*/ 470 h 552"/>
              <a:gd name="T32" fmla="*/ 449 w 553"/>
              <a:gd name="T33" fmla="*/ 452 h 552"/>
              <a:gd name="T34" fmla="*/ 390 w 553"/>
              <a:gd name="T35" fmla="*/ 493 h 552"/>
              <a:gd name="T36" fmla="*/ 399 w 553"/>
              <a:gd name="T37" fmla="*/ 529 h 552"/>
              <a:gd name="T38" fmla="*/ 324 w 553"/>
              <a:gd name="T39" fmla="*/ 552 h 552"/>
              <a:gd name="T40" fmla="*/ 313 w 553"/>
              <a:gd name="T41" fmla="*/ 520 h 552"/>
              <a:gd name="T42" fmla="*/ 242 w 553"/>
              <a:gd name="T43" fmla="*/ 520 h 552"/>
              <a:gd name="T44" fmla="*/ 229 w 553"/>
              <a:gd name="T45" fmla="*/ 552 h 552"/>
              <a:gd name="T46" fmla="*/ 154 w 553"/>
              <a:gd name="T47" fmla="*/ 529 h 552"/>
              <a:gd name="T48" fmla="*/ 163 w 553"/>
              <a:gd name="T49" fmla="*/ 494 h 552"/>
              <a:gd name="T50" fmla="*/ 107 w 553"/>
              <a:gd name="T51" fmla="*/ 452 h 552"/>
              <a:gd name="T52" fmla="*/ 77 w 553"/>
              <a:gd name="T53" fmla="*/ 470 h 552"/>
              <a:gd name="T54" fmla="*/ 29 w 553"/>
              <a:gd name="T55" fmla="*/ 409 h 552"/>
              <a:gd name="T56" fmla="*/ 58 w 553"/>
              <a:gd name="T57" fmla="*/ 385 h 552"/>
              <a:gd name="T58" fmla="*/ 35 w 553"/>
              <a:gd name="T59" fmla="*/ 317 h 552"/>
              <a:gd name="T60" fmla="*/ 0 w 553"/>
              <a:gd name="T61" fmla="*/ 316 h 552"/>
              <a:gd name="T62" fmla="*/ 0 w 553"/>
              <a:gd name="T63" fmla="*/ 237 h 552"/>
              <a:gd name="T64" fmla="*/ 35 w 553"/>
              <a:gd name="T65" fmla="*/ 234 h 552"/>
              <a:gd name="T66" fmla="*/ 58 w 553"/>
              <a:gd name="T67" fmla="*/ 170 h 552"/>
              <a:gd name="T68" fmla="*/ 29 w 553"/>
              <a:gd name="T69" fmla="*/ 146 h 552"/>
              <a:gd name="T70" fmla="*/ 74 w 553"/>
              <a:gd name="T71" fmla="*/ 81 h 552"/>
              <a:gd name="T72" fmla="*/ 105 w 553"/>
              <a:gd name="T73" fmla="*/ 101 h 552"/>
              <a:gd name="T74" fmla="*/ 163 w 553"/>
              <a:gd name="T75" fmla="*/ 60 h 552"/>
              <a:gd name="T76" fmla="*/ 154 w 553"/>
              <a:gd name="T77" fmla="*/ 24 h 552"/>
              <a:gd name="T78" fmla="*/ 226 w 553"/>
              <a:gd name="T79" fmla="*/ 0 h 552"/>
              <a:gd name="T80" fmla="*/ 242 w 553"/>
              <a:gd name="T81" fmla="*/ 35 h 552"/>
              <a:gd name="T82" fmla="*/ 167 w 553"/>
              <a:gd name="T83" fmla="*/ 98 h 552"/>
              <a:gd name="T84" fmla="*/ 81 w 553"/>
              <a:gd name="T85" fmla="*/ 351 h 552"/>
              <a:gd name="T86" fmla="*/ 204 w 553"/>
              <a:gd name="T87" fmla="*/ 473 h 552"/>
              <a:gd name="T88" fmla="*/ 397 w 553"/>
              <a:gd name="T89" fmla="*/ 448 h 552"/>
              <a:gd name="T90" fmla="*/ 486 w 553"/>
              <a:gd name="T91" fmla="*/ 292 h 552"/>
              <a:gd name="T92" fmla="*/ 426 w 553"/>
              <a:gd name="T93" fmla="*/ 129 h 552"/>
              <a:gd name="T94" fmla="*/ 261 w 553"/>
              <a:gd name="T95" fmla="*/ 69 h 552"/>
              <a:gd name="T96" fmla="*/ 167 w 553"/>
              <a:gd name="T97" fmla="*/ 9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 h="552">
                <a:moveTo>
                  <a:pt x="242" y="35"/>
                </a:moveTo>
                <a:cubicBezTo>
                  <a:pt x="261" y="31"/>
                  <a:pt x="291" y="31"/>
                  <a:pt x="310" y="35"/>
                </a:cubicBezTo>
                <a:cubicBezTo>
                  <a:pt x="318" y="25"/>
                  <a:pt x="320" y="11"/>
                  <a:pt x="326" y="0"/>
                </a:cubicBezTo>
                <a:cubicBezTo>
                  <a:pt x="349" y="8"/>
                  <a:pt x="374" y="16"/>
                  <a:pt x="399" y="24"/>
                </a:cubicBezTo>
                <a:cubicBezTo>
                  <a:pt x="397" y="36"/>
                  <a:pt x="393" y="47"/>
                  <a:pt x="390" y="59"/>
                </a:cubicBezTo>
                <a:cubicBezTo>
                  <a:pt x="410" y="72"/>
                  <a:pt x="430" y="84"/>
                  <a:pt x="447" y="101"/>
                </a:cubicBezTo>
                <a:cubicBezTo>
                  <a:pt x="458" y="95"/>
                  <a:pt x="467" y="87"/>
                  <a:pt x="479" y="81"/>
                </a:cubicBezTo>
                <a:cubicBezTo>
                  <a:pt x="493" y="103"/>
                  <a:pt x="509" y="123"/>
                  <a:pt x="524" y="145"/>
                </a:cubicBezTo>
                <a:cubicBezTo>
                  <a:pt x="515" y="153"/>
                  <a:pt x="505" y="160"/>
                  <a:pt x="496" y="168"/>
                </a:cubicBezTo>
                <a:cubicBezTo>
                  <a:pt x="505" y="187"/>
                  <a:pt x="513" y="208"/>
                  <a:pt x="517" y="233"/>
                </a:cubicBezTo>
                <a:cubicBezTo>
                  <a:pt x="526" y="238"/>
                  <a:pt x="543" y="234"/>
                  <a:pt x="553" y="237"/>
                </a:cubicBezTo>
                <a:cubicBezTo>
                  <a:pt x="553" y="263"/>
                  <a:pt x="553" y="290"/>
                  <a:pt x="553" y="316"/>
                </a:cubicBezTo>
                <a:cubicBezTo>
                  <a:pt x="542" y="316"/>
                  <a:pt x="532" y="318"/>
                  <a:pt x="520" y="317"/>
                </a:cubicBezTo>
                <a:cubicBezTo>
                  <a:pt x="512" y="339"/>
                  <a:pt x="507" y="364"/>
                  <a:pt x="497" y="383"/>
                </a:cubicBezTo>
                <a:cubicBezTo>
                  <a:pt x="504" y="394"/>
                  <a:pt x="515" y="399"/>
                  <a:pt x="524" y="407"/>
                </a:cubicBezTo>
                <a:cubicBezTo>
                  <a:pt x="509" y="429"/>
                  <a:pt x="494" y="451"/>
                  <a:pt x="477" y="470"/>
                </a:cubicBezTo>
                <a:cubicBezTo>
                  <a:pt x="467" y="465"/>
                  <a:pt x="458" y="459"/>
                  <a:pt x="449" y="452"/>
                </a:cubicBezTo>
                <a:cubicBezTo>
                  <a:pt x="430" y="466"/>
                  <a:pt x="413" y="483"/>
                  <a:pt x="390" y="493"/>
                </a:cubicBezTo>
                <a:cubicBezTo>
                  <a:pt x="393" y="506"/>
                  <a:pt x="397" y="516"/>
                  <a:pt x="399" y="529"/>
                </a:cubicBezTo>
                <a:cubicBezTo>
                  <a:pt x="373" y="536"/>
                  <a:pt x="351" y="546"/>
                  <a:pt x="324" y="552"/>
                </a:cubicBezTo>
                <a:cubicBezTo>
                  <a:pt x="322" y="540"/>
                  <a:pt x="316" y="531"/>
                  <a:pt x="313" y="520"/>
                </a:cubicBezTo>
                <a:cubicBezTo>
                  <a:pt x="291" y="521"/>
                  <a:pt x="264" y="522"/>
                  <a:pt x="242" y="520"/>
                </a:cubicBezTo>
                <a:cubicBezTo>
                  <a:pt x="236" y="529"/>
                  <a:pt x="232" y="540"/>
                  <a:pt x="229" y="552"/>
                </a:cubicBezTo>
                <a:cubicBezTo>
                  <a:pt x="202" y="546"/>
                  <a:pt x="180" y="536"/>
                  <a:pt x="154" y="529"/>
                </a:cubicBezTo>
                <a:cubicBezTo>
                  <a:pt x="157" y="517"/>
                  <a:pt x="160" y="506"/>
                  <a:pt x="163" y="494"/>
                </a:cubicBezTo>
                <a:cubicBezTo>
                  <a:pt x="143" y="481"/>
                  <a:pt x="123" y="469"/>
                  <a:pt x="107" y="452"/>
                </a:cubicBezTo>
                <a:cubicBezTo>
                  <a:pt x="96" y="457"/>
                  <a:pt x="87" y="464"/>
                  <a:pt x="77" y="470"/>
                </a:cubicBezTo>
                <a:cubicBezTo>
                  <a:pt x="58" y="453"/>
                  <a:pt x="46" y="429"/>
                  <a:pt x="29" y="409"/>
                </a:cubicBezTo>
                <a:cubicBezTo>
                  <a:pt x="38" y="400"/>
                  <a:pt x="48" y="392"/>
                  <a:pt x="58" y="385"/>
                </a:cubicBezTo>
                <a:cubicBezTo>
                  <a:pt x="47" y="365"/>
                  <a:pt x="41" y="341"/>
                  <a:pt x="35" y="317"/>
                </a:cubicBezTo>
                <a:cubicBezTo>
                  <a:pt x="22" y="318"/>
                  <a:pt x="12" y="316"/>
                  <a:pt x="0" y="316"/>
                </a:cubicBezTo>
                <a:cubicBezTo>
                  <a:pt x="0" y="290"/>
                  <a:pt x="0" y="263"/>
                  <a:pt x="0" y="237"/>
                </a:cubicBezTo>
                <a:cubicBezTo>
                  <a:pt x="10" y="235"/>
                  <a:pt x="25" y="237"/>
                  <a:pt x="35" y="234"/>
                </a:cubicBezTo>
                <a:cubicBezTo>
                  <a:pt x="42" y="212"/>
                  <a:pt x="47" y="188"/>
                  <a:pt x="58" y="170"/>
                </a:cubicBezTo>
                <a:cubicBezTo>
                  <a:pt x="50" y="160"/>
                  <a:pt x="39" y="153"/>
                  <a:pt x="29" y="146"/>
                </a:cubicBezTo>
                <a:cubicBezTo>
                  <a:pt x="43" y="123"/>
                  <a:pt x="61" y="104"/>
                  <a:pt x="74" y="81"/>
                </a:cubicBezTo>
                <a:cubicBezTo>
                  <a:pt x="85" y="87"/>
                  <a:pt x="95" y="94"/>
                  <a:pt x="105" y="101"/>
                </a:cubicBezTo>
                <a:cubicBezTo>
                  <a:pt x="124" y="87"/>
                  <a:pt x="141" y="71"/>
                  <a:pt x="163" y="60"/>
                </a:cubicBezTo>
                <a:cubicBezTo>
                  <a:pt x="161" y="47"/>
                  <a:pt x="157" y="37"/>
                  <a:pt x="154" y="24"/>
                </a:cubicBezTo>
                <a:cubicBezTo>
                  <a:pt x="178" y="16"/>
                  <a:pt x="204" y="9"/>
                  <a:pt x="226" y="0"/>
                </a:cubicBezTo>
                <a:cubicBezTo>
                  <a:pt x="234" y="9"/>
                  <a:pt x="236" y="24"/>
                  <a:pt x="242" y="35"/>
                </a:cubicBezTo>
                <a:close/>
                <a:moveTo>
                  <a:pt x="167" y="98"/>
                </a:moveTo>
                <a:cubicBezTo>
                  <a:pt x="97" y="141"/>
                  <a:pt x="40" y="241"/>
                  <a:pt x="81" y="351"/>
                </a:cubicBezTo>
                <a:cubicBezTo>
                  <a:pt x="103" y="407"/>
                  <a:pt x="147" y="452"/>
                  <a:pt x="204" y="473"/>
                </a:cubicBezTo>
                <a:cubicBezTo>
                  <a:pt x="270" y="498"/>
                  <a:pt x="345" y="485"/>
                  <a:pt x="397" y="448"/>
                </a:cubicBezTo>
                <a:cubicBezTo>
                  <a:pt x="444" y="415"/>
                  <a:pt x="481" y="363"/>
                  <a:pt x="486" y="292"/>
                </a:cubicBezTo>
                <a:cubicBezTo>
                  <a:pt x="491" y="221"/>
                  <a:pt x="459" y="163"/>
                  <a:pt x="426" y="129"/>
                </a:cubicBezTo>
                <a:cubicBezTo>
                  <a:pt x="389" y="93"/>
                  <a:pt x="330" y="63"/>
                  <a:pt x="261" y="69"/>
                </a:cubicBezTo>
                <a:cubicBezTo>
                  <a:pt x="224" y="72"/>
                  <a:pt x="192" y="83"/>
                  <a:pt x="167" y="98"/>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noEditPoints="1"/>
          </p:cNvSpPr>
          <p:nvPr/>
        </p:nvSpPr>
        <p:spPr bwMode="auto">
          <a:xfrm>
            <a:off x="3528928" y="1906294"/>
            <a:ext cx="2261882" cy="2256690"/>
          </a:xfrm>
          <a:custGeom>
            <a:avLst/>
            <a:gdLst>
              <a:gd name="T0" fmla="*/ 242 w 553"/>
              <a:gd name="T1" fmla="*/ 35 h 552"/>
              <a:gd name="T2" fmla="*/ 310 w 553"/>
              <a:gd name="T3" fmla="*/ 35 h 552"/>
              <a:gd name="T4" fmla="*/ 326 w 553"/>
              <a:gd name="T5" fmla="*/ 0 h 552"/>
              <a:gd name="T6" fmla="*/ 399 w 553"/>
              <a:gd name="T7" fmla="*/ 24 h 552"/>
              <a:gd name="T8" fmla="*/ 390 w 553"/>
              <a:gd name="T9" fmla="*/ 59 h 552"/>
              <a:gd name="T10" fmla="*/ 447 w 553"/>
              <a:gd name="T11" fmla="*/ 101 h 552"/>
              <a:gd name="T12" fmla="*/ 479 w 553"/>
              <a:gd name="T13" fmla="*/ 81 h 552"/>
              <a:gd name="T14" fmla="*/ 524 w 553"/>
              <a:gd name="T15" fmla="*/ 145 h 552"/>
              <a:gd name="T16" fmla="*/ 496 w 553"/>
              <a:gd name="T17" fmla="*/ 168 h 552"/>
              <a:gd name="T18" fmla="*/ 517 w 553"/>
              <a:gd name="T19" fmla="*/ 233 h 552"/>
              <a:gd name="T20" fmla="*/ 553 w 553"/>
              <a:gd name="T21" fmla="*/ 237 h 552"/>
              <a:gd name="T22" fmla="*/ 553 w 553"/>
              <a:gd name="T23" fmla="*/ 316 h 552"/>
              <a:gd name="T24" fmla="*/ 520 w 553"/>
              <a:gd name="T25" fmla="*/ 317 h 552"/>
              <a:gd name="T26" fmla="*/ 497 w 553"/>
              <a:gd name="T27" fmla="*/ 383 h 552"/>
              <a:gd name="T28" fmla="*/ 524 w 553"/>
              <a:gd name="T29" fmla="*/ 407 h 552"/>
              <a:gd name="T30" fmla="*/ 477 w 553"/>
              <a:gd name="T31" fmla="*/ 470 h 552"/>
              <a:gd name="T32" fmla="*/ 449 w 553"/>
              <a:gd name="T33" fmla="*/ 452 h 552"/>
              <a:gd name="T34" fmla="*/ 390 w 553"/>
              <a:gd name="T35" fmla="*/ 493 h 552"/>
              <a:gd name="T36" fmla="*/ 399 w 553"/>
              <a:gd name="T37" fmla="*/ 529 h 552"/>
              <a:gd name="T38" fmla="*/ 324 w 553"/>
              <a:gd name="T39" fmla="*/ 552 h 552"/>
              <a:gd name="T40" fmla="*/ 313 w 553"/>
              <a:gd name="T41" fmla="*/ 520 h 552"/>
              <a:gd name="T42" fmla="*/ 242 w 553"/>
              <a:gd name="T43" fmla="*/ 520 h 552"/>
              <a:gd name="T44" fmla="*/ 229 w 553"/>
              <a:gd name="T45" fmla="*/ 552 h 552"/>
              <a:gd name="T46" fmla="*/ 154 w 553"/>
              <a:gd name="T47" fmla="*/ 529 h 552"/>
              <a:gd name="T48" fmla="*/ 163 w 553"/>
              <a:gd name="T49" fmla="*/ 494 h 552"/>
              <a:gd name="T50" fmla="*/ 107 w 553"/>
              <a:gd name="T51" fmla="*/ 452 h 552"/>
              <a:gd name="T52" fmla="*/ 77 w 553"/>
              <a:gd name="T53" fmla="*/ 470 h 552"/>
              <a:gd name="T54" fmla="*/ 29 w 553"/>
              <a:gd name="T55" fmla="*/ 409 h 552"/>
              <a:gd name="T56" fmla="*/ 58 w 553"/>
              <a:gd name="T57" fmla="*/ 385 h 552"/>
              <a:gd name="T58" fmla="*/ 35 w 553"/>
              <a:gd name="T59" fmla="*/ 317 h 552"/>
              <a:gd name="T60" fmla="*/ 0 w 553"/>
              <a:gd name="T61" fmla="*/ 316 h 552"/>
              <a:gd name="T62" fmla="*/ 0 w 553"/>
              <a:gd name="T63" fmla="*/ 237 h 552"/>
              <a:gd name="T64" fmla="*/ 35 w 553"/>
              <a:gd name="T65" fmla="*/ 234 h 552"/>
              <a:gd name="T66" fmla="*/ 58 w 553"/>
              <a:gd name="T67" fmla="*/ 170 h 552"/>
              <a:gd name="T68" fmla="*/ 29 w 553"/>
              <a:gd name="T69" fmla="*/ 146 h 552"/>
              <a:gd name="T70" fmla="*/ 74 w 553"/>
              <a:gd name="T71" fmla="*/ 81 h 552"/>
              <a:gd name="T72" fmla="*/ 105 w 553"/>
              <a:gd name="T73" fmla="*/ 101 h 552"/>
              <a:gd name="T74" fmla="*/ 163 w 553"/>
              <a:gd name="T75" fmla="*/ 60 h 552"/>
              <a:gd name="T76" fmla="*/ 154 w 553"/>
              <a:gd name="T77" fmla="*/ 24 h 552"/>
              <a:gd name="T78" fmla="*/ 226 w 553"/>
              <a:gd name="T79" fmla="*/ 0 h 552"/>
              <a:gd name="T80" fmla="*/ 242 w 553"/>
              <a:gd name="T81" fmla="*/ 35 h 552"/>
              <a:gd name="T82" fmla="*/ 167 w 553"/>
              <a:gd name="T83" fmla="*/ 98 h 552"/>
              <a:gd name="T84" fmla="*/ 81 w 553"/>
              <a:gd name="T85" fmla="*/ 351 h 552"/>
              <a:gd name="T86" fmla="*/ 204 w 553"/>
              <a:gd name="T87" fmla="*/ 473 h 552"/>
              <a:gd name="T88" fmla="*/ 397 w 553"/>
              <a:gd name="T89" fmla="*/ 448 h 552"/>
              <a:gd name="T90" fmla="*/ 486 w 553"/>
              <a:gd name="T91" fmla="*/ 292 h 552"/>
              <a:gd name="T92" fmla="*/ 426 w 553"/>
              <a:gd name="T93" fmla="*/ 129 h 552"/>
              <a:gd name="T94" fmla="*/ 261 w 553"/>
              <a:gd name="T95" fmla="*/ 69 h 552"/>
              <a:gd name="T96" fmla="*/ 167 w 553"/>
              <a:gd name="T97" fmla="*/ 9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 h="552">
                <a:moveTo>
                  <a:pt x="242" y="35"/>
                </a:moveTo>
                <a:cubicBezTo>
                  <a:pt x="261" y="31"/>
                  <a:pt x="291" y="31"/>
                  <a:pt x="310" y="35"/>
                </a:cubicBezTo>
                <a:cubicBezTo>
                  <a:pt x="318" y="25"/>
                  <a:pt x="320" y="11"/>
                  <a:pt x="326" y="0"/>
                </a:cubicBezTo>
                <a:cubicBezTo>
                  <a:pt x="349" y="8"/>
                  <a:pt x="374" y="16"/>
                  <a:pt x="399" y="24"/>
                </a:cubicBezTo>
                <a:cubicBezTo>
                  <a:pt x="397" y="36"/>
                  <a:pt x="393" y="47"/>
                  <a:pt x="390" y="59"/>
                </a:cubicBezTo>
                <a:cubicBezTo>
                  <a:pt x="410" y="72"/>
                  <a:pt x="430" y="84"/>
                  <a:pt x="447" y="101"/>
                </a:cubicBezTo>
                <a:cubicBezTo>
                  <a:pt x="458" y="95"/>
                  <a:pt x="467" y="87"/>
                  <a:pt x="479" y="81"/>
                </a:cubicBezTo>
                <a:cubicBezTo>
                  <a:pt x="493" y="103"/>
                  <a:pt x="509" y="123"/>
                  <a:pt x="524" y="145"/>
                </a:cubicBezTo>
                <a:cubicBezTo>
                  <a:pt x="515" y="153"/>
                  <a:pt x="505" y="160"/>
                  <a:pt x="496" y="168"/>
                </a:cubicBezTo>
                <a:cubicBezTo>
                  <a:pt x="505" y="187"/>
                  <a:pt x="513" y="208"/>
                  <a:pt x="517" y="233"/>
                </a:cubicBezTo>
                <a:cubicBezTo>
                  <a:pt x="526" y="238"/>
                  <a:pt x="543" y="234"/>
                  <a:pt x="553" y="237"/>
                </a:cubicBezTo>
                <a:cubicBezTo>
                  <a:pt x="553" y="263"/>
                  <a:pt x="553" y="290"/>
                  <a:pt x="553" y="316"/>
                </a:cubicBezTo>
                <a:cubicBezTo>
                  <a:pt x="542" y="316"/>
                  <a:pt x="532" y="318"/>
                  <a:pt x="520" y="317"/>
                </a:cubicBezTo>
                <a:cubicBezTo>
                  <a:pt x="512" y="339"/>
                  <a:pt x="507" y="364"/>
                  <a:pt x="497" y="383"/>
                </a:cubicBezTo>
                <a:cubicBezTo>
                  <a:pt x="504" y="394"/>
                  <a:pt x="515" y="399"/>
                  <a:pt x="524" y="407"/>
                </a:cubicBezTo>
                <a:cubicBezTo>
                  <a:pt x="509" y="429"/>
                  <a:pt x="494" y="451"/>
                  <a:pt x="477" y="470"/>
                </a:cubicBezTo>
                <a:cubicBezTo>
                  <a:pt x="467" y="465"/>
                  <a:pt x="458" y="459"/>
                  <a:pt x="449" y="452"/>
                </a:cubicBezTo>
                <a:cubicBezTo>
                  <a:pt x="430" y="466"/>
                  <a:pt x="413" y="483"/>
                  <a:pt x="390" y="493"/>
                </a:cubicBezTo>
                <a:cubicBezTo>
                  <a:pt x="393" y="506"/>
                  <a:pt x="397" y="516"/>
                  <a:pt x="399" y="529"/>
                </a:cubicBezTo>
                <a:cubicBezTo>
                  <a:pt x="373" y="536"/>
                  <a:pt x="351" y="546"/>
                  <a:pt x="324" y="552"/>
                </a:cubicBezTo>
                <a:cubicBezTo>
                  <a:pt x="322" y="540"/>
                  <a:pt x="316" y="531"/>
                  <a:pt x="313" y="520"/>
                </a:cubicBezTo>
                <a:cubicBezTo>
                  <a:pt x="291" y="521"/>
                  <a:pt x="264" y="522"/>
                  <a:pt x="242" y="520"/>
                </a:cubicBezTo>
                <a:cubicBezTo>
                  <a:pt x="236" y="529"/>
                  <a:pt x="232" y="540"/>
                  <a:pt x="229" y="552"/>
                </a:cubicBezTo>
                <a:cubicBezTo>
                  <a:pt x="202" y="546"/>
                  <a:pt x="180" y="536"/>
                  <a:pt x="154" y="529"/>
                </a:cubicBezTo>
                <a:cubicBezTo>
                  <a:pt x="157" y="517"/>
                  <a:pt x="160" y="506"/>
                  <a:pt x="163" y="494"/>
                </a:cubicBezTo>
                <a:cubicBezTo>
                  <a:pt x="143" y="481"/>
                  <a:pt x="123" y="469"/>
                  <a:pt x="107" y="452"/>
                </a:cubicBezTo>
                <a:cubicBezTo>
                  <a:pt x="96" y="457"/>
                  <a:pt x="87" y="464"/>
                  <a:pt x="77" y="470"/>
                </a:cubicBezTo>
                <a:cubicBezTo>
                  <a:pt x="58" y="453"/>
                  <a:pt x="46" y="429"/>
                  <a:pt x="29" y="409"/>
                </a:cubicBezTo>
                <a:cubicBezTo>
                  <a:pt x="38" y="400"/>
                  <a:pt x="48" y="392"/>
                  <a:pt x="58" y="385"/>
                </a:cubicBezTo>
                <a:cubicBezTo>
                  <a:pt x="47" y="365"/>
                  <a:pt x="41" y="341"/>
                  <a:pt x="35" y="317"/>
                </a:cubicBezTo>
                <a:cubicBezTo>
                  <a:pt x="22" y="318"/>
                  <a:pt x="12" y="316"/>
                  <a:pt x="0" y="316"/>
                </a:cubicBezTo>
                <a:cubicBezTo>
                  <a:pt x="0" y="290"/>
                  <a:pt x="0" y="263"/>
                  <a:pt x="0" y="237"/>
                </a:cubicBezTo>
                <a:cubicBezTo>
                  <a:pt x="10" y="235"/>
                  <a:pt x="25" y="237"/>
                  <a:pt x="35" y="234"/>
                </a:cubicBezTo>
                <a:cubicBezTo>
                  <a:pt x="42" y="212"/>
                  <a:pt x="47" y="188"/>
                  <a:pt x="58" y="170"/>
                </a:cubicBezTo>
                <a:cubicBezTo>
                  <a:pt x="50" y="160"/>
                  <a:pt x="39" y="153"/>
                  <a:pt x="29" y="146"/>
                </a:cubicBezTo>
                <a:cubicBezTo>
                  <a:pt x="43" y="123"/>
                  <a:pt x="61" y="104"/>
                  <a:pt x="74" y="81"/>
                </a:cubicBezTo>
                <a:cubicBezTo>
                  <a:pt x="85" y="87"/>
                  <a:pt x="95" y="94"/>
                  <a:pt x="105" y="101"/>
                </a:cubicBezTo>
                <a:cubicBezTo>
                  <a:pt x="124" y="87"/>
                  <a:pt x="141" y="71"/>
                  <a:pt x="163" y="60"/>
                </a:cubicBezTo>
                <a:cubicBezTo>
                  <a:pt x="161" y="47"/>
                  <a:pt x="157" y="37"/>
                  <a:pt x="154" y="24"/>
                </a:cubicBezTo>
                <a:cubicBezTo>
                  <a:pt x="178" y="16"/>
                  <a:pt x="204" y="9"/>
                  <a:pt x="226" y="0"/>
                </a:cubicBezTo>
                <a:cubicBezTo>
                  <a:pt x="234" y="9"/>
                  <a:pt x="236" y="24"/>
                  <a:pt x="242" y="35"/>
                </a:cubicBezTo>
                <a:close/>
                <a:moveTo>
                  <a:pt x="167" y="98"/>
                </a:moveTo>
                <a:cubicBezTo>
                  <a:pt x="97" y="141"/>
                  <a:pt x="40" y="241"/>
                  <a:pt x="81" y="351"/>
                </a:cubicBezTo>
                <a:cubicBezTo>
                  <a:pt x="103" y="407"/>
                  <a:pt x="147" y="452"/>
                  <a:pt x="204" y="473"/>
                </a:cubicBezTo>
                <a:cubicBezTo>
                  <a:pt x="270" y="498"/>
                  <a:pt x="345" y="485"/>
                  <a:pt x="397" y="448"/>
                </a:cubicBezTo>
                <a:cubicBezTo>
                  <a:pt x="444" y="415"/>
                  <a:pt x="481" y="363"/>
                  <a:pt x="486" y="292"/>
                </a:cubicBezTo>
                <a:cubicBezTo>
                  <a:pt x="491" y="221"/>
                  <a:pt x="459" y="163"/>
                  <a:pt x="426" y="129"/>
                </a:cubicBezTo>
                <a:cubicBezTo>
                  <a:pt x="389" y="93"/>
                  <a:pt x="330" y="63"/>
                  <a:pt x="261" y="69"/>
                </a:cubicBezTo>
                <a:cubicBezTo>
                  <a:pt x="224" y="72"/>
                  <a:pt x="192" y="83"/>
                  <a:pt x="167" y="98"/>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p:nvSpPr>
        <p:spPr bwMode="auto">
          <a:xfrm>
            <a:off x="2103805" y="3676793"/>
            <a:ext cx="2261882" cy="2256690"/>
          </a:xfrm>
          <a:custGeom>
            <a:avLst/>
            <a:gdLst>
              <a:gd name="T0" fmla="*/ 242 w 553"/>
              <a:gd name="T1" fmla="*/ 35 h 552"/>
              <a:gd name="T2" fmla="*/ 310 w 553"/>
              <a:gd name="T3" fmla="*/ 35 h 552"/>
              <a:gd name="T4" fmla="*/ 326 w 553"/>
              <a:gd name="T5" fmla="*/ 0 h 552"/>
              <a:gd name="T6" fmla="*/ 399 w 553"/>
              <a:gd name="T7" fmla="*/ 24 h 552"/>
              <a:gd name="T8" fmla="*/ 390 w 553"/>
              <a:gd name="T9" fmla="*/ 59 h 552"/>
              <a:gd name="T10" fmla="*/ 447 w 553"/>
              <a:gd name="T11" fmla="*/ 101 h 552"/>
              <a:gd name="T12" fmla="*/ 479 w 553"/>
              <a:gd name="T13" fmla="*/ 81 h 552"/>
              <a:gd name="T14" fmla="*/ 524 w 553"/>
              <a:gd name="T15" fmla="*/ 145 h 552"/>
              <a:gd name="T16" fmla="*/ 496 w 553"/>
              <a:gd name="T17" fmla="*/ 168 h 552"/>
              <a:gd name="T18" fmla="*/ 517 w 553"/>
              <a:gd name="T19" fmla="*/ 233 h 552"/>
              <a:gd name="T20" fmla="*/ 553 w 553"/>
              <a:gd name="T21" fmla="*/ 237 h 552"/>
              <a:gd name="T22" fmla="*/ 553 w 553"/>
              <a:gd name="T23" fmla="*/ 316 h 552"/>
              <a:gd name="T24" fmla="*/ 520 w 553"/>
              <a:gd name="T25" fmla="*/ 317 h 552"/>
              <a:gd name="T26" fmla="*/ 497 w 553"/>
              <a:gd name="T27" fmla="*/ 383 h 552"/>
              <a:gd name="T28" fmla="*/ 524 w 553"/>
              <a:gd name="T29" fmla="*/ 407 h 552"/>
              <a:gd name="T30" fmla="*/ 477 w 553"/>
              <a:gd name="T31" fmla="*/ 470 h 552"/>
              <a:gd name="T32" fmla="*/ 449 w 553"/>
              <a:gd name="T33" fmla="*/ 452 h 552"/>
              <a:gd name="T34" fmla="*/ 390 w 553"/>
              <a:gd name="T35" fmla="*/ 493 h 552"/>
              <a:gd name="T36" fmla="*/ 399 w 553"/>
              <a:gd name="T37" fmla="*/ 529 h 552"/>
              <a:gd name="T38" fmla="*/ 324 w 553"/>
              <a:gd name="T39" fmla="*/ 552 h 552"/>
              <a:gd name="T40" fmla="*/ 313 w 553"/>
              <a:gd name="T41" fmla="*/ 520 h 552"/>
              <a:gd name="T42" fmla="*/ 242 w 553"/>
              <a:gd name="T43" fmla="*/ 520 h 552"/>
              <a:gd name="T44" fmla="*/ 229 w 553"/>
              <a:gd name="T45" fmla="*/ 552 h 552"/>
              <a:gd name="T46" fmla="*/ 154 w 553"/>
              <a:gd name="T47" fmla="*/ 529 h 552"/>
              <a:gd name="T48" fmla="*/ 163 w 553"/>
              <a:gd name="T49" fmla="*/ 494 h 552"/>
              <a:gd name="T50" fmla="*/ 107 w 553"/>
              <a:gd name="T51" fmla="*/ 452 h 552"/>
              <a:gd name="T52" fmla="*/ 77 w 553"/>
              <a:gd name="T53" fmla="*/ 470 h 552"/>
              <a:gd name="T54" fmla="*/ 29 w 553"/>
              <a:gd name="T55" fmla="*/ 409 h 552"/>
              <a:gd name="T56" fmla="*/ 58 w 553"/>
              <a:gd name="T57" fmla="*/ 385 h 552"/>
              <a:gd name="T58" fmla="*/ 35 w 553"/>
              <a:gd name="T59" fmla="*/ 317 h 552"/>
              <a:gd name="T60" fmla="*/ 0 w 553"/>
              <a:gd name="T61" fmla="*/ 316 h 552"/>
              <a:gd name="T62" fmla="*/ 0 w 553"/>
              <a:gd name="T63" fmla="*/ 237 h 552"/>
              <a:gd name="T64" fmla="*/ 35 w 553"/>
              <a:gd name="T65" fmla="*/ 234 h 552"/>
              <a:gd name="T66" fmla="*/ 58 w 553"/>
              <a:gd name="T67" fmla="*/ 170 h 552"/>
              <a:gd name="T68" fmla="*/ 29 w 553"/>
              <a:gd name="T69" fmla="*/ 146 h 552"/>
              <a:gd name="T70" fmla="*/ 74 w 553"/>
              <a:gd name="T71" fmla="*/ 81 h 552"/>
              <a:gd name="T72" fmla="*/ 105 w 553"/>
              <a:gd name="T73" fmla="*/ 101 h 552"/>
              <a:gd name="T74" fmla="*/ 163 w 553"/>
              <a:gd name="T75" fmla="*/ 60 h 552"/>
              <a:gd name="T76" fmla="*/ 154 w 553"/>
              <a:gd name="T77" fmla="*/ 24 h 552"/>
              <a:gd name="T78" fmla="*/ 226 w 553"/>
              <a:gd name="T79" fmla="*/ 0 h 552"/>
              <a:gd name="T80" fmla="*/ 242 w 553"/>
              <a:gd name="T81" fmla="*/ 35 h 552"/>
              <a:gd name="T82" fmla="*/ 167 w 553"/>
              <a:gd name="T83" fmla="*/ 98 h 552"/>
              <a:gd name="T84" fmla="*/ 81 w 553"/>
              <a:gd name="T85" fmla="*/ 351 h 552"/>
              <a:gd name="T86" fmla="*/ 204 w 553"/>
              <a:gd name="T87" fmla="*/ 473 h 552"/>
              <a:gd name="T88" fmla="*/ 397 w 553"/>
              <a:gd name="T89" fmla="*/ 448 h 552"/>
              <a:gd name="T90" fmla="*/ 486 w 553"/>
              <a:gd name="T91" fmla="*/ 292 h 552"/>
              <a:gd name="T92" fmla="*/ 426 w 553"/>
              <a:gd name="T93" fmla="*/ 129 h 552"/>
              <a:gd name="T94" fmla="*/ 261 w 553"/>
              <a:gd name="T95" fmla="*/ 69 h 552"/>
              <a:gd name="T96" fmla="*/ 167 w 553"/>
              <a:gd name="T97" fmla="*/ 9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 h="552">
                <a:moveTo>
                  <a:pt x="242" y="35"/>
                </a:moveTo>
                <a:cubicBezTo>
                  <a:pt x="261" y="31"/>
                  <a:pt x="291" y="31"/>
                  <a:pt x="310" y="35"/>
                </a:cubicBezTo>
                <a:cubicBezTo>
                  <a:pt x="318" y="25"/>
                  <a:pt x="320" y="11"/>
                  <a:pt x="326" y="0"/>
                </a:cubicBezTo>
                <a:cubicBezTo>
                  <a:pt x="349" y="8"/>
                  <a:pt x="374" y="16"/>
                  <a:pt x="399" y="24"/>
                </a:cubicBezTo>
                <a:cubicBezTo>
                  <a:pt x="397" y="36"/>
                  <a:pt x="393" y="47"/>
                  <a:pt x="390" y="59"/>
                </a:cubicBezTo>
                <a:cubicBezTo>
                  <a:pt x="410" y="72"/>
                  <a:pt x="430" y="84"/>
                  <a:pt x="447" y="101"/>
                </a:cubicBezTo>
                <a:cubicBezTo>
                  <a:pt x="458" y="95"/>
                  <a:pt x="467" y="87"/>
                  <a:pt x="479" y="81"/>
                </a:cubicBezTo>
                <a:cubicBezTo>
                  <a:pt x="493" y="103"/>
                  <a:pt x="509" y="123"/>
                  <a:pt x="524" y="145"/>
                </a:cubicBezTo>
                <a:cubicBezTo>
                  <a:pt x="515" y="153"/>
                  <a:pt x="505" y="160"/>
                  <a:pt x="496" y="168"/>
                </a:cubicBezTo>
                <a:cubicBezTo>
                  <a:pt x="505" y="187"/>
                  <a:pt x="513" y="208"/>
                  <a:pt x="517" y="233"/>
                </a:cubicBezTo>
                <a:cubicBezTo>
                  <a:pt x="526" y="238"/>
                  <a:pt x="543" y="234"/>
                  <a:pt x="553" y="237"/>
                </a:cubicBezTo>
                <a:cubicBezTo>
                  <a:pt x="553" y="263"/>
                  <a:pt x="553" y="290"/>
                  <a:pt x="553" y="316"/>
                </a:cubicBezTo>
                <a:cubicBezTo>
                  <a:pt x="542" y="316"/>
                  <a:pt x="532" y="318"/>
                  <a:pt x="520" y="317"/>
                </a:cubicBezTo>
                <a:cubicBezTo>
                  <a:pt x="512" y="339"/>
                  <a:pt x="507" y="364"/>
                  <a:pt x="497" y="383"/>
                </a:cubicBezTo>
                <a:cubicBezTo>
                  <a:pt x="504" y="394"/>
                  <a:pt x="515" y="399"/>
                  <a:pt x="524" y="407"/>
                </a:cubicBezTo>
                <a:cubicBezTo>
                  <a:pt x="509" y="429"/>
                  <a:pt x="494" y="451"/>
                  <a:pt x="477" y="470"/>
                </a:cubicBezTo>
                <a:cubicBezTo>
                  <a:pt x="467" y="465"/>
                  <a:pt x="458" y="459"/>
                  <a:pt x="449" y="452"/>
                </a:cubicBezTo>
                <a:cubicBezTo>
                  <a:pt x="430" y="466"/>
                  <a:pt x="413" y="483"/>
                  <a:pt x="390" y="493"/>
                </a:cubicBezTo>
                <a:cubicBezTo>
                  <a:pt x="393" y="506"/>
                  <a:pt x="397" y="516"/>
                  <a:pt x="399" y="529"/>
                </a:cubicBezTo>
                <a:cubicBezTo>
                  <a:pt x="373" y="536"/>
                  <a:pt x="351" y="546"/>
                  <a:pt x="324" y="552"/>
                </a:cubicBezTo>
                <a:cubicBezTo>
                  <a:pt x="322" y="540"/>
                  <a:pt x="316" y="531"/>
                  <a:pt x="313" y="520"/>
                </a:cubicBezTo>
                <a:cubicBezTo>
                  <a:pt x="291" y="521"/>
                  <a:pt x="264" y="522"/>
                  <a:pt x="242" y="520"/>
                </a:cubicBezTo>
                <a:cubicBezTo>
                  <a:pt x="236" y="529"/>
                  <a:pt x="232" y="540"/>
                  <a:pt x="229" y="552"/>
                </a:cubicBezTo>
                <a:cubicBezTo>
                  <a:pt x="202" y="546"/>
                  <a:pt x="180" y="536"/>
                  <a:pt x="154" y="529"/>
                </a:cubicBezTo>
                <a:cubicBezTo>
                  <a:pt x="157" y="517"/>
                  <a:pt x="160" y="506"/>
                  <a:pt x="163" y="494"/>
                </a:cubicBezTo>
                <a:cubicBezTo>
                  <a:pt x="143" y="481"/>
                  <a:pt x="123" y="469"/>
                  <a:pt x="107" y="452"/>
                </a:cubicBezTo>
                <a:cubicBezTo>
                  <a:pt x="96" y="457"/>
                  <a:pt x="87" y="464"/>
                  <a:pt x="77" y="470"/>
                </a:cubicBezTo>
                <a:cubicBezTo>
                  <a:pt x="58" y="453"/>
                  <a:pt x="46" y="429"/>
                  <a:pt x="29" y="409"/>
                </a:cubicBezTo>
                <a:cubicBezTo>
                  <a:pt x="38" y="400"/>
                  <a:pt x="48" y="392"/>
                  <a:pt x="58" y="385"/>
                </a:cubicBezTo>
                <a:cubicBezTo>
                  <a:pt x="47" y="365"/>
                  <a:pt x="41" y="341"/>
                  <a:pt x="35" y="317"/>
                </a:cubicBezTo>
                <a:cubicBezTo>
                  <a:pt x="22" y="318"/>
                  <a:pt x="12" y="316"/>
                  <a:pt x="0" y="316"/>
                </a:cubicBezTo>
                <a:cubicBezTo>
                  <a:pt x="0" y="290"/>
                  <a:pt x="0" y="263"/>
                  <a:pt x="0" y="237"/>
                </a:cubicBezTo>
                <a:cubicBezTo>
                  <a:pt x="10" y="235"/>
                  <a:pt x="25" y="237"/>
                  <a:pt x="35" y="234"/>
                </a:cubicBezTo>
                <a:cubicBezTo>
                  <a:pt x="42" y="212"/>
                  <a:pt x="47" y="188"/>
                  <a:pt x="58" y="170"/>
                </a:cubicBezTo>
                <a:cubicBezTo>
                  <a:pt x="50" y="160"/>
                  <a:pt x="39" y="153"/>
                  <a:pt x="29" y="146"/>
                </a:cubicBezTo>
                <a:cubicBezTo>
                  <a:pt x="43" y="123"/>
                  <a:pt x="61" y="104"/>
                  <a:pt x="74" y="81"/>
                </a:cubicBezTo>
                <a:cubicBezTo>
                  <a:pt x="85" y="87"/>
                  <a:pt x="95" y="94"/>
                  <a:pt x="105" y="101"/>
                </a:cubicBezTo>
                <a:cubicBezTo>
                  <a:pt x="124" y="87"/>
                  <a:pt x="141" y="71"/>
                  <a:pt x="163" y="60"/>
                </a:cubicBezTo>
                <a:cubicBezTo>
                  <a:pt x="161" y="47"/>
                  <a:pt x="157" y="37"/>
                  <a:pt x="154" y="24"/>
                </a:cubicBezTo>
                <a:cubicBezTo>
                  <a:pt x="178" y="16"/>
                  <a:pt x="204" y="9"/>
                  <a:pt x="226" y="0"/>
                </a:cubicBezTo>
                <a:cubicBezTo>
                  <a:pt x="234" y="9"/>
                  <a:pt x="236" y="24"/>
                  <a:pt x="242" y="35"/>
                </a:cubicBezTo>
                <a:close/>
                <a:moveTo>
                  <a:pt x="167" y="98"/>
                </a:moveTo>
                <a:cubicBezTo>
                  <a:pt x="97" y="141"/>
                  <a:pt x="40" y="241"/>
                  <a:pt x="81" y="351"/>
                </a:cubicBezTo>
                <a:cubicBezTo>
                  <a:pt x="103" y="407"/>
                  <a:pt x="147" y="452"/>
                  <a:pt x="204" y="473"/>
                </a:cubicBezTo>
                <a:cubicBezTo>
                  <a:pt x="270" y="498"/>
                  <a:pt x="345" y="485"/>
                  <a:pt x="397" y="448"/>
                </a:cubicBezTo>
                <a:cubicBezTo>
                  <a:pt x="444" y="415"/>
                  <a:pt x="481" y="363"/>
                  <a:pt x="486" y="292"/>
                </a:cubicBezTo>
                <a:cubicBezTo>
                  <a:pt x="491" y="221"/>
                  <a:pt x="459" y="163"/>
                  <a:pt x="426" y="129"/>
                </a:cubicBezTo>
                <a:cubicBezTo>
                  <a:pt x="389" y="93"/>
                  <a:pt x="330" y="63"/>
                  <a:pt x="261" y="69"/>
                </a:cubicBezTo>
                <a:cubicBezTo>
                  <a:pt x="224" y="72"/>
                  <a:pt x="192" y="83"/>
                  <a:pt x="167" y="98"/>
                </a:cubicBezTo>
                <a:close/>
              </a:path>
            </a:pathLst>
          </a:custGeom>
          <a:solidFill>
            <a:srgbClr val="008000"/>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10-Point Star 2"/>
          <p:cNvSpPr/>
          <p:nvPr/>
        </p:nvSpPr>
        <p:spPr>
          <a:xfrm rot="1638505">
            <a:off x="5546462" y="2765032"/>
            <a:ext cx="2665403" cy="2717920"/>
          </a:xfrm>
          <a:custGeom>
            <a:avLst/>
            <a:gdLst/>
            <a:ahLst/>
            <a:cxnLst/>
            <a:rect l="l" t="t" r="r" b="b"/>
            <a:pathLst>
              <a:path w="2240712" h="2284862">
                <a:moveTo>
                  <a:pt x="1120356" y="502351"/>
                </a:moveTo>
                <a:cubicBezTo>
                  <a:pt x="766850" y="502351"/>
                  <a:pt x="480276" y="788925"/>
                  <a:pt x="480276" y="1142431"/>
                </a:cubicBezTo>
                <a:cubicBezTo>
                  <a:pt x="480276" y="1495937"/>
                  <a:pt x="766850" y="1782511"/>
                  <a:pt x="1120356" y="1782511"/>
                </a:cubicBezTo>
                <a:cubicBezTo>
                  <a:pt x="1473862" y="1782511"/>
                  <a:pt x="1760436" y="1495937"/>
                  <a:pt x="1760436" y="1142431"/>
                </a:cubicBezTo>
                <a:cubicBezTo>
                  <a:pt x="1760436" y="788925"/>
                  <a:pt x="1473862" y="502351"/>
                  <a:pt x="1120356" y="502351"/>
                </a:cubicBezTo>
                <a:close/>
                <a:moveTo>
                  <a:pt x="1120356" y="0"/>
                </a:moveTo>
                <a:lnTo>
                  <a:pt x="1235916" y="5835"/>
                </a:lnTo>
                <a:lnTo>
                  <a:pt x="1272936" y="262306"/>
                </a:lnTo>
                <a:cubicBezTo>
                  <a:pt x="1366250" y="277385"/>
                  <a:pt x="1454469" y="307832"/>
                  <a:pt x="1535137" y="350778"/>
                </a:cubicBezTo>
                <a:lnTo>
                  <a:pt x="1717618" y="169909"/>
                </a:lnTo>
                <a:cubicBezTo>
                  <a:pt x="1784880" y="209765"/>
                  <a:pt x="1846933" y="257376"/>
                  <a:pt x="1902771" y="311520"/>
                </a:cubicBezTo>
                <a:lnTo>
                  <a:pt x="1776181" y="536209"/>
                </a:lnTo>
                <a:cubicBezTo>
                  <a:pt x="1832789" y="595961"/>
                  <a:pt x="1880432" y="664114"/>
                  <a:pt x="1917285" y="738603"/>
                </a:cubicBezTo>
                <a:lnTo>
                  <a:pt x="2171750" y="695132"/>
                </a:lnTo>
                <a:cubicBezTo>
                  <a:pt x="2202288" y="766468"/>
                  <a:pt x="2225640" y="841587"/>
                  <a:pt x="2240712" y="919627"/>
                </a:cubicBezTo>
                <a:lnTo>
                  <a:pt x="2006230" y="1027513"/>
                </a:lnTo>
                <a:cubicBezTo>
                  <a:pt x="2011939" y="1065062"/>
                  <a:pt x="2014433" y="1103455"/>
                  <a:pt x="2014433" y="1142431"/>
                </a:cubicBezTo>
                <a:cubicBezTo>
                  <a:pt x="2014433" y="1181407"/>
                  <a:pt x="2011939" y="1219801"/>
                  <a:pt x="2006230" y="1257349"/>
                </a:cubicBezTo>
                <a:lnTo>
                  <a:pt x="2240712" y="1365235"/>
                </a:lnTo>
                <a:cubicBezTo>
                  <a:pt x="2225640" y="1443275"/>
                  <a:pt x="2202288" y="1518394"/>
                  <a:pt x="2171750" y="1589731"/>
                </a:cubicBezTo>
                <a:lnTo>
                  <a:pt x="1917285" y="1546259"/>
                </a:lnTo>
                <a:cubicBezTo>
                  <a:pt x="1880432" y="1620748"/>
                  <a:pt x="1832789" y="1688902"/>
                  <a:pt x="1776181" y="1748654"/>
                </a:cubicBezTo>
                <a:lnTo>
                  <a:pt x="1902771" y="1973343"/>
                </a:lnTo>
                <a:cubicBezTo>
                  <a:pt x="1846933" y="2027487"/>
                  <a:pt x="1784879" y="2075098"/>
                  <a:pt x="1717617" y="2114954"/>
                </a:cubicBezTo>
                <a:lnTo>
                  <a:pt x="1535137" y="1934085"/>
                </a:lnTo>
                <a:cubicBezTo>
                  <a:pt x="1454469" y="1977030"/>
                  <a:pt x="1366250" y="2007478"/>
                  <a:pt x="1272936" y="2022557"/>
                </a:cubicBezTo>
                <a:lnTo>
                  <a:pt x="1235916" y="2279027"/>
                </a:lnTo>
                <a:cubicBezTo>
                  <a:pt x="1197918" y="2282907"/>
                  <a:pt x="1159366" y="2284862"/>
                  <a:pt x="1120356" y="2284862"/>
                </a:cubicBezTo>
                <a:lnTo>
                  <a:pt x="1004797" y="2279027"/>
                </a:lnTo>
                <a:lnTo>
                  <a:pt x="967776" y="2022557"/>
                </a:lnTo>
                <a:cubicBezTo>
                  <a:pt x="874463" y="2007478"/>
                  <a:pt x="786243" y="1977030"/>
                  <a:pt x="705576" y="1934085"/>
                </a:cubicBezTo>
                <a:lnTo>
                  <a:pt x="523095" y="2114954"/>
                </a:lnTo>
                <a:cubicBezTo>
                  <a:pt x="455833" y="2075098"/>
                  <a:pt x="393780" y="2027487"/>
                  <a:pt x="337942" y="1973343"/>
                </a:cubicBezTo>
                <a:lnTo>
                  <a:pt x="464531" y="1748654"/>
                </a:lnTo>
                <a:cubicBezTo>
                  <a:pt x="407924" y="1688902"/>
                  <a:pt x="360280" y="1620748"/>
                  <a:pt x="323426" y="1546259"/>
                </a:cubicBezTo>
                <a:lnTo>
                  <a:pt x="68962" y="1589731"/>
                </a:lnTo>
                <a:cubicBezTo>
                  <a:pt x="38425" y="1518394"/>
                  <a:pt x="15072" y="1443275"/>
                  <a:pt x="0" y="1365235"/>
                </a:cubicBezTo>
                <a:lnTo>
                  <a:pt x="234482" y="1257349"/>
                </a:lnTo>
                <a:cubicBezTo>
                  <a:pt x="228773" y="1219801"/>
                  <a:pt x="226279" y="1181407"/>
                  <a:pt x="226279" y="1142431"/>
                </a:cubicBezTo>
                <a:cubicBezTo>
                  <a:pt x="226279" y="1103455"/>
                  <a:pt x="228773" y="1065062"/>
                  <a:pt x="234482" y="1027513"/>
                </a:cubicBezTo>
                <a:lnTo>
                  <a:pt x="0" y="919627"/>
                </a:lnTo>
                <a:cubicBezTo>
                  <a:pt x="15072" y="841587"/>
                  <a:pt x="38425" y="766468"/>
                  <a:pt x="68962" y="695132"/>
                </a:cubicBezTo>
                <a:lnTo>
                  <a:pt x="323426" y="738603"/>
                </a:lnTo>
                <a:cubicBezTo>
                  <a:pt x="360280" y="664114"/>
                  <a:pt x="407924" y="595961"/>
                  <a:pt x="464531" y="536209"/>
                </a:cubicBezTo>
                <a:lnTo>
                  <a:pt x="337941" y="311520"/>
                </a:lnTo>
                <a:cubicBezTo>
                  <a:pt x="393779" y="257376"/>
                  <a:pt x="455833" y="209765"/>
                  <a:pt x="523094" y="169908"/>
                </a:cubicBezTo>
                <a:lnTo>
                  <a:pt x="705576" y="350778"/>
                </a:lnTo>
                <a:cubicBezTo>
                  <a:pt x="786243" y="307832"/>
                  <a:pt x="874463" y="277385"/>
                  <a:pt x="967776" y="262306"/>
                </a:cubicBezTo>
                <a:lnTo>
                  <a:pt x="1004797" y="5835"/>
                </a:lnTo>
                <a:cubicBezTo>
                  <a:pt x="1042794" y="1955"/>
                  <a:pt x="1081347" y="0"/>
                  <a:pt x="1120356" y="0"/>
                </a:cubicBezTo>
                <a:close/>
              </a:path>
            </a:pathLst>
          </a:cu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1479067" y="2061274"/>
            <a:ext cx="1589594" cy="923330"/>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5400" dirty="0" err="1" smtClean="0">
                <a:solidFill>
                  <a:srgbClr val="0000FF"/>
                </a:solidFill>
              </a:rPr>
              <a:t>Pdp</a:t>
            </a:r>
            <a:endParaRPr lang="en-US" sz="5400" dirty="0" smtClean="0">
              <a:solidFill>
                <a:srgbClr val="0000FF"/>
              </a:solidFill>
            </a:endParaRPr>
          </a:p>
        </p:txBody>
      </p:sp>
      <p:sp>
        <p:nvSpPr>
          <p:cNvPr id="13" name="TextBox 12"/>
          <p:cNvSpPr txBox="1"/>
          <p:nvPr/>
        </p:nvSpPr>
        <p:spPr>
          <a:xfrm>
            <a:off x="3858526" y="2551989"/>
            <a:ext cx="1642521" cy="923330"/>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5400" dirty="0" smtClean="0">
                <a:solidFill>
                  <a:srgbClr val="FF0000"/>
                </a:solidFill>
              </a:rPr>
              <a:t>PTA</a:t>
            </a:r>
          </a:p>
        </p:txBody>
      </p:sp>
      <p:sp>
        <p:nvSpPr>
          <p:cNvPr id="14" name="TextBox 13"/>
          <p:cNvSpPr txBox="1"/>
          <p:nvPr/>
        </p:nvSpPr>
        <p:spPr>
          <a:xfrm>
            <a:off x="6052949" y="3815233"/>
            <a:ext cx="1702710" cy="523220"/>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r>
              <a:rPr lang="en-US" sz="2800" dirty="0" err="1" smtClean="0">
                <a:solidFill>
                  <a:srgbClr val="660066"/>
                </a:solidFill>
              </a:rPr>
              <a:t>Jurulatih</a:t>
            </a:r>
            <a:endParaRPr lang="en-US" sz="2800" dirty="0" smtClean="0">
              <a:solidFill>
                <a:srgbClr val="660066"/>
              </a:solidFill>
            </a:endParaRPr>
          </a:p>
        </p:txBody>
      </p:sp>
      <p:sp>
        <p:nvSpPr>
          <p:cNvPr id="16" name="TextBox 15"/>
          <p:cNvSpPr txBox="1"/>
          <p:nvPr/>
        </p:nvSpPr>
        <p:spPr>
          <a:xfrm>
            <a:off x="2515191" y="4338453"/>
            <a:ext cx="1553310" cy="83099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r>
              <a:rPr lang="en-US" sz="4800" dirty="0" smtClean="0">
                <a:solidFill>
                  <a:srgbClr val="008000"/>
                </a:solidFill>
              </a:rPr>
              <a:t>FASI</a:t>
            </a:r>
          </a:p>
        </p:txBody>
      </p:sp>
      <p:sp>
        <p:nvSpPr>
          <p:cNvPr id="17" name="Oval 16"/>
          <p:cNvSpPr/>
          <p:nvPr/>
        </p:nvSpPr>
        <p:spPr>
          <a:xfrm>
            <a:off x="1886921" y="5763904"/>
            <a:ext cx="2668356" cy="381000"/>
          </a:xfrm>
          <a:prstGeom prst="ellipse">
            <a:avLst/>
          </a:prstGeom>
          <a:gradFill flip="none" rotWithShape="1">
            <a:gsLst>
              <a:gs pos="0">
                <a:sysClr val="windowText" lastClr="000000">
                  <a:lumMod val="50000"/>
                  <a:lumOff val="50000"/>
                  <a:alpha val="70000"/>
                </a:sys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23" name="Rectangle 22"/>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US" sz="2800" b="1" dirty="0" smtClean="0">
                <a:solidFill>
                  <a:schemeClr val="bg1"/>
                </a:solidFill>
                <a:latin typeface="Segoe UI" pitchFamily="34" charset="0"/>
                <a:ea typeface="Segoe UI" pitchFamily="34" charset="0"/>
                <a:cs typeface="Segoe UI" pitchFamily="34" charset="0"/>
              </a:rPr>
              <a:t>   		KATEGORI KUMPULAN MENGIKUT JAWATAN</a:t>
            </a:r>
            <a:endParaRPr lang="en-US" sz="2800" b="1" dirty="0">
              <a:solidFill>
                <a:schemeClr val="bg1"/>
              </a:solidFill>
              <a:latin typeface="Segoe UI" pitchFamily="34" charset="0"/>
              <a:ea typeface="Segoe UI" pitchFamily="34" charset="0"/>
              <a:cs typeface="Segoe UI" pitchFamily="34" charset="0"/>
            </a:endParaRPr>
          </a:p>
        </p:txBody>
      </p:sp>
      <p:sp>
        <p:nvSpPr>
          <p:cNvPr id="26" name="TextBox 25"/>
          <p:cNvSpPr txBox="1"/>
          <p:nvPr/>
        </p:nvSpPr>
        <p:spPr>
          <a:xfrm>
            <a:off x="7838240" y="941947"/>
            <a:ext cx="1648660" cy="830997"/>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r>
              <a:rPr lang="en-US" sz="4800" dirty="0">
                <a:solidFill>
                  <a:srgbClr val="FF0000"/>
                </a:solidFill>
                <a:effectLst>
                  <a:outerShdw blurRad="38100" dist="38100" dir="2700000" algn="tl">
                    <a:srgbClr val="000000">
                      <a:alpha val="43137"/>
                    </a:srgbClr>
                  </a:outerShdw>
                </a:effectLst>
              </a:rPr>
              <a:t>6</a:t>
            </a:r>
            <a:r>
              <a:rPr lang="en-US" sz="4800" dirty="0" smtClean="0">
                <a:solidFill>
                  <a:srgbClr val="FF0000"/>
                </a:solidFill>
                <a:effectLst>
                  <a:outerShdw blurRad="38100" dist="38100" dir="2700000" algn="tl">
                    <a:srgbClr val="000000">
                      <a:alpha val="43137"/>
                    </a:srgbClr>
                  </a:outerShdw>
                </a:effectLst>
              </a:rPr>
              <a:t>0%</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box(in)">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ikgu.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787" y="2719777"/>
            <a:ext cx="5297601" cy="4276487"/>
          </a:xfrm>
          <a:prstGeom prst="rect">
            <a:avLst/>
          </a:prstGeom>
        </p:spPr>
      </p:pic>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62</a:t>
            </a:fld>
            <a:endParaRPr lang="en-US"/>
          </a:p>
        </p:txBody>
      </p:sp>
      <p:sp>
        <p:nvSpPr>
          <p:cNvPr id="6" name="Rectangle 27"/>
          <p:cNvSpPr>
            <a:spLocks noChangeArrowheads="1"/>
          </p:cNvSpPr>
          <p:nvPr/>
        </p:nvSpPr>
        <p:spPr bwMode="auto">
          <a:xfrm>
            <a:off x="769938" y="1566352"/>
            <a:ext cx="4420211" cy="1811848"/>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algn="ctr" defTabSz="914400" fontAlgn="auto">
              <a:spcBef>
                <a:spcPts val="0"/>
              </a:spcBef>
              <a:spcAft>
                <a:spcPts val="0"/>
              </a:spcAft>
              <a:defRPr/>
            </a:pPr>
            <a:endParaRPr lang="de-DE" kern="0" dirty="0">
              <a:solidFill>
                <a:srgbClr val="FFFFFF"/>
              </a:solidFill>
              <a:latin typeface="Calibri" pitchFamily="34" charset="0"/>
              <a:ea typeface="ＭＳ Ｐゴシック" pitchFamily="-97" charset="-128"/>
            </a:endParaRPr>
          </a:p>
        </p:txBody>
      </p:sp>
      <p:sp>
        <p:nvSpPr>
          <p:cNvPr id="7" name="Rectangle 27"/>
          <p:cNvSpPr>
            <a:spLocks noChangeArrowheads="1"/>
          </p:cNvSpPr>
          <p:nvPr/>
        </p:nvSpPr>
        <p:spPr bwMode="auto">
          <a:xfrm>
            <a:off x="4699000" y="175895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kern="0" dirty="0">
              <a:solidFill>
                <a:srgbClr val="FFFFFF"/>
              </a:solidFill>
              <a:latin typeface="Calibri" pitchFamily="34" charset="0"/>
              <a:ea typeface="ＭＳ Ｐゴシック" pitchFamily="-97" charset="-128"/>
            </a:endParaRPr>
          </a:p>
        </p:txBody>
      </p:sp>
      <p:sp>
        <p:nvSpPr>
          <p:cNvPr id="8" name="Rectangle 27"/>
          <p:cNvSpPr>
            <a:spLocks noChangeArrowheads="1"/>
          </p:cNvSpPr>
          <p:nvPr/>
        </p:nvSpPr>
        <p:spPr bwMode="auto">
          <a:xfrm>
            <a:off x="769938" y="375920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sz="1600" kern="0" dirty="0">
              <a:solidFill>
                <a:srgbClr val="FFFFFF"/>
              </a:solidFill>
              <a:latin typeface="Calibri" pitchFamily="34" charset="0"/>
              <a:ea typeface="ＭＳ Ｐゴシック" pitchFamily="-97" charset="-128"/>
            </a:endParaRPr>
          </a:p>
        </p:txBody>
      </p:sp>
      <p:sp>
        <p:nvSpPr>
          <p:cNvPr id="10" name="Rectangle 27"/>
          <p:cNvSpPr>
            <a:spLocks noChangeArrowheads="1"/>
          </p:cNvSpPr>
          <p:nvPr/>
        </p:nvSpPr>
        <p:spPr bwMode="auto">
          <a:xfrm>
            <a:off x="4699000" y="375920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sz="1600" kern="0" dirty="0">
              <a:solidFill>
                <a:srgbClr val="FFFFFF"/>
              </a:solidFill>
              <a:latin typeface="Calibri" pitchFamily="34" charset="0"/>
              <a:ea typeface="ＭＳ Ｐゴシック" pitchFamily="-97" charset="-128"/>
            </a:endParaRPr>
          </a:p>
        </p:txBody>
      </p:sp>
      <p:grpSp>
        <p:nvGrpSpPr>
          <p:cNvPr id="3" name="Group 10"/>
          <p:cNvGrpSpPr/>
          <p:nvPr/>
        </p:nvGrpSpPr>
        <p:grpSpPr>
          <a:xfrm>
            <a:off x="5086449" y="1165175"/>
            <a:ext cx="3938398" cy="308352"/>
            <a:chOff x="769938" y="1520825"/>
            <a:chExt cx="3938398" cy="308352"/>
          </a:xfrm>
        </p:grpSpPr>
        <p:sp>
          <p:nvSpPr>
            <p:cNvPr id="12" name="Rectangle 39"/>
            <p:cNvSpPr>
              <a:spLocks noChangeArrowheads="1"/>
            </p:cNvSpPr>
            <p:nvPr/>
          </p:nvSpPr>
          <p:spPr bwMode="auto">
            <a:xfrm>
              <a:off x="769938" y="1520825"/>
              <a:ext cx="3857625" cy="296863"/>
            </a:xfrm>
            <a:prstGeom prst="rect">
              <a:avLst/>
            </a:prstGeom>
            <a:gradFill rotWithShape="1">
              <a:gsLst>
                <a:gs pos="0">
                  <a:srgbClr val="03C6ED"/>
                </a:gs>
                <a:gs pos="100000">
                  <a:srgbClr val="004D86"/>
                </a:gs>
              </a:gsLst>
              <a:lin ang="16200000"/>
            </a:gradFill>
            <a:ln w="9525">
              <a:noFill/>
              <a:miter lim="800000"/>
              <a:headEnd/>
              <a:tailEnd/>
            </a:ln>
            <a:effectLst>
              <a:outerShdw blurRad="63500" dist="23000" dir="5400000" rotWithShape="0">
                <a:srgbClr val="000000">
                  <a:alpha val="34998"/>
                </a:srgbClr>
              </a:outerShdw>
            </a:effectLst>
          </p:spPr>
          <p:txBody>
            <a:bodyPr anchor="ctr"/>
            <a:lstStyle/>
            <a:p>
              <a:pPr algn="ctr" defTabSz="914400" fontAlgn="auto">
                <a:spcBef>
                  <a:spcPts val="0"/>
                </a:spcBef>
                <a:spcAft>
                  <a:spcPts val="0"/>
                </a:spcAft>
                <a:defRPr/>
              </a:pPr>
              <a:endParaRPr lang="en-US" sz="1400" b="1" kern="0" noProof="1">
                <a:solidFill>
                  <a:sysClr val="window" lastClr="FFFFFF"/>
                </a:solidFill>
                <a:latin typeface="Calibri" pitchFamily="34" charset="0"/>
                <a:ea typeface="ＭＳ Ｐゴシック" pitchFamily="-97" charset="-128"/>
              </a:endParaRPr>
            </a:p>
          </p:txBody>
        </p:sp>
        <p:sp>
          <p:nvSpPr>
            <p:cNvPr id="13" name="Rectangle 39"/>
            <p:cNvSpPr>
              <a:spLocks noChangeArrowheads="1"/>
            </p:cNvSpPr>
            <p:nvPr/>
          </p:nvSpPr>
          <p:spPr bwMode="auto">
            <a:xfrm>
              <a:off x="850711" y="1532314"/>
              <a:ext cx="3857625" cy="296863"/>
            </a:xfrm>
            <a:prstGeom prst="rect">
              <a:avLst/>
            </a:prstGeom>
            <a:noFill/>
            <a:ln w="9525">
              <a:noFill/>
              <a:miter lim="800000"/>
              <a:headEnd/>
              <a:tailEnd/>
            </a:ln>
            <a:effectLst>
              <a:outerShdw blurRad="63500" dist="23000" dir="5400000" rotWithShape="0">
                <a:srgbClr val="000000">
                  <a:alpha val="34998"/>
                </a:srgbClr>
              </a:outerShdw>
            </a:effectLst>
          </p:spPr>
          <p:txBody>
            <a:bodyPr anchor="ctr"/>
            <a:lstStyle/>
            <a:p>
              <a:pPr fontAlgn="auto">
                <a:spcBef>
                  <a:spcPts val="0"/>
                </a:spcBef>
                <a:spcAft>
                  <a:spcPts val="0"/>
                </a:spcAft>
                <a:defRPr/>
              </a:pPr>
              <a:r>
                <a:rPr lang="en-US" sz="1600" b="1" dirty="0" err="1" smtClean="0">
                  <a:solidFill>
                    <a:schemeClr val="bg1"/>
                  </a:solidFill>
                  <a:latin typeface="Arial" pitchFamily="34" charset="0"/>
                  <a:cs typeface="Arial" pitchFamily="34" charset="0"/>
                </a:rPr>
                <a:t>Perancangan</a:t>
              </a:r>
              <a:r>
                <a:rPr lang="en-US" sz="1600" b="1" dirty="0" smtClean="0">
                  <a:solidFill>
                    <a:schemeClr val="bg1"/>
                  </a:solidFill>
                  <a:latin typeface="Arial" pitchFamily="34" charset="0"/>
                  <a:cs typeface="Arial" pitchFamily="34" charset="0"/>
                </a:rPr>
                <a:t> </a:t>
              </a:r>
              <a:r>
                <a:rPr lang="en-US" sz="1600" b="1" dirty="0" err="1" smtClean="0">
                  <a:solidFill>
                    <a:schemeClr val="bg1"/>
                  </a:solidFill>
                  <a:latin typeface="Arial" pitchFamily="34" charset="0"/>
                  <a:cs typeface="Arial" pitchFamily="34" charset="0"/>
                </a:rPr>
                <a:t>PdP</a:t>
              </a:r>
              <a:r>
                <a:rPr lang="en-US" sz="1600" b="1" dirty="0" smtClean="0">
                  <a:solidFill>
                    <a:schemeClr val="bg1"/>
                  </a:solidFill>
                  <a:latin typeface="Arial" pitchFamily="34" charset="0"/>
                  <a:cs typeface="Arial" pitchFamily="34" charset="0"/>
                </a:rPr>
                <a:t> (20%)</a:t>
              </a:r>
              <a:endParaRPr lang="en-US" sz="1600" b="1" dirty="0">
                <a:solidFill>
                  <a:schemeClr val="bg1"/>
                </a:solidFill>
                <a:latin typeface="Arial" pitchFamily="34" charset="0"/>
                <a:cs typeface="Arial" pitchFamily="34" charset="0"/>
              </a:endParaRPr>
            </a:p>
          </p:txBody>
        </p:sp>
      </p:grpSp>
      <p:grpSp>
        <p:nvGrpSpPr>
          <p:cNvPr id="11" name="Group 13"/>
          <p:cNvGrpSpPr/>
          <p:nvPr/>
        </p:nvGrpSpPr>
        <p:grpSpPr>
          <a:xfrm>
            <a:off x="5132944" y="2900146"/>
            <a:ext cx="3857625" cy="296864"/>
            <a:chOff x="4699000" y="1520824"/>
            <a:chExt cx="3857625" cy="296864"/>
          </a:xfrm>
        </p:grpSpPr>
        <p:sp>
          <p:nvSpPr>
            <p:cNvPr id="15" name="Rectangle 39"/>
            <p:cNvSpPr>
              <a:spLocks noChangeArrowheads="1"/>
            </p:cNvSpPr>
            <p:nvPr/>
          </p:nvSpPr>
          <p:spPr bwMode="auto">
            <a:xfrm>
              <a:off x="4699000" y="1520825"/>
              <a:ext cx="3857625" cy="296863"/>
            </a:xfrm>
            <a:prstGeom prst="rect">
              <a:avLst/>
            </a:prstGeom>
            <a:gradFill rotWithShape="1">
              <a:gsLst>
                <a:gs pos="0">
                  <a:srgbClr val="FFC000"/>
                </a:gs>
                <a:gs pos="70000">
                  <a:srgbClr val="FFFF00"/>
                </a:gs>
                <a:gs pos="100000">
                  <a:srgbClr val="FFFF00"/>
                </a:gs>
              </a:gsLst>
              <a:lin ang="5400000" scaled="1"/>
            </a:gradFill>
            <a:ln w="3175">
              <a:solidFill>
                <a:srgbClr val="FFCC00"/>
              </a:solidFill>
              <a:miter lim="800000"/>
              <a:headEnd/>
              <a:tailEnd/>
            </a:ln>
          </p:spPr>
          <p:txBody>
            <a:bodyPr anchor="ctr"/>
            <a:lstStyle/>
            <a:p>
              <a:pPr algn="ctr" defTabSz="914400" fontAlgn="auto">
                <a:spcBef>
                  <a:spcPts val="0"/>
                </a:spcBef>
                <a:spcAft>
                  <a:spcPts val="0"/>
                </a:spcAft>
                <a:defRPr/>
              </a:pPr>
              <a:endParaRPr lang="en-US" sz="1400" b="1" kern="0" noProof="1">
                <a:solidFill>
                  <a:sysClr val="windowText" lastClr="000000"/>
                </a:solidFill>
                <a:latin typeface="Calibri" pitchFamily="34" charset="0"/>
                <a:ea typeface="ＭＳ Ｐゴシック" pitchFamily="-97" charset="-128"/>
              </a:endParaRPr>
            </a:p>
          </p:txBody>
        </p:sp>
        <p:sp>
          <p:nvSpPr>
            <p:cNvPr id="16" name="Rectangle 39"/>
            <p:cNvSpPr>
              <a:spLocks noChangeArrowheads="1"/>
            </p:cNvSpPr>
            <p:nvPr/>
          </p:nvSpPr>
          <p:spPr bwMode="auto">
            <a:xfrm>
              <a:off x="4699000" y="1520824"/>
              <a:ext cx="3857625" cy="296863"/>
            </a:xfrm>
            <a:prstGeom prst="rect">
              <a:avLst/>
            </a:prstGeom>
            <a:noFill/>
            <a:ln w="3175">
              <a:noFill/>
              <a:miter lim="800000"/>
              <a:headEnd/>
              <a:tailEnd/>
            </a:ln>
          </p:spPr>
          <p:txBody>
            <a:bodyPr anchor="ctr"/>
            <a:lstStyle/>
            <a:p>
              <a:pPr fontAlgn="auto">
                <a:spcBef>
                  <a:spcPts val="0"/>
                </a:spcBef>
                <a:spcAft>
                  <a:spcPts val="0"/>
                </a:spcAft>
                <a:defRPr/>
              </a:pPr>
              <a:r>
                <a:rPr lang="en-US" sz="1600" b="1" dirty="0" err="1" smtClean="0">
                  <a:latin typeface="Arial" pitchFamily="34" charset="0"/>
                  <a:cs typeface="Arial" pitchFamily="34" charset="0"/>
                </a:rPr>
                <a:t>Pelaksanaan</a:t>
              </a:r>
              <a:r>
                <a:rPr lang="en-US" sz="1600" b="1" dirty="0" smtClean="0">
                  <a:latin typeface="Arial" pitchFamily="34" charset="0"/>
                  <a:cs typeface="Arial" pitchFamily="34" charset="0"/>
                </a:rPr>
                <a:t> </a:t>
              </a:r>
              <a:r>
                <a:rPr lang="en-US" sz="1600" b="1" dirty="0" err="1" smtClean="0">
                  <a:latin typeface="Arial" pitchFamily="34" charset="0"/>
                  <a:cs typeface="Arial" pitchFamily="34" charset="0"/>
                </a:rPr>
                <a:t>PdP</a:t>
              </a:r>
              <a:r>
                <a:rPr lang="en-US" sz="1600" b="1" dirty="0" smtClean="0">
                  <a:latin typeface="Arial" pitchFamily="34" charset="0"/>
                  <a:cs typeface="Arial" pitchFamily="34" charset="0"/>
                </a:rPr>
                <a:t> (30%)</a:t>
              </a:r>
              <a:endParaRPr lang="en-US" sz="1600" b="1" dirty="0">
                <a:latin typeface="Arial" pitchFamily="34" charset="0"/>
                <a:cs typeface="Arial" pitchFamily="34" charset="0"/>
              </a:endParaRPr>
            </a:p>
          </p:txBody>
        </p:sp>
      </p:grpSp>
      <p:grpSp>
        <p:nvGrpSpPr>
          <p:cNvPr id="14" name="Group 28"/>
          <p:cNvGrpSpPr/>
          <p:nvPr/>
        </p:nvGrpSpPr>
        <p:grpSpPr>
          <a:xfrm>
            <a:off x="5147316" y="4992409"/>
            <a:ext cx="3873123" cy="322204"/>
            <a:chOff x="794881" y="3657262"/>
            <a:chExt cx="3873123" cy="322204"/>
          </a:xfrm>
        </p:grpSpPr>
        <p:sp>
          <p:nvSpPr>
            <p:cNvPr id="9" name="Rectangle 39"/>
            <p:cNvSpPr>
              <a:spLocks noChangeArrowheads="1"/>
            </p:cNvSpPr>
            <p:nvPr/>
          </p:nvSpPr>
          <p:spPr bwMode="auto">
            <a:xfrm>
              <a:off x="794881" y="3682603"/>
              <a:ext cx="3857625" cy="296863"/>
            </a:xfrm>
            <a:prstGeom prst="rect">
              <a:avLst/>
            </a:prstGeom>
            <a:gradFill rotWithShape="1">
              <a:gsLst>
                <a:gs pos="0">
                  <a:srgbClr val="208A00"/>
                </a:gs>
                <a:gs pos="100000">
                  <a:srgbClr val="5AF300"/>
                </a:gs>
              </a:gsLst>
              <a:lin ang="5400000" scaled="1"/>
            </a:gradFill>
            <a:ln w="19050">
              <a:noFill/>
              <a:round/>
              <a:headEnd/>
              <a:tailEnd/>
            </a:ln>
          </p:spPr>
          <p:txBody>
            <a:bodyPr/>
            <a:lstStyle/>
            <a:p>
              <a:pPr algn="ctr" defTabSz="914400" fontAlgn="auto">
                <a:spcBef>
                  <a:spcPts val="0"/>
                </a:spcBef>
                <a:spcAft>
                  <a:spcPts val="0"/>
                </a:spcAft>
                <a:defRPr/>
              </a:pPr>
              <a:endParaRPr lang="en-US" sz="1400" b="1" kern="0" noProof="1">
                <a:solidFill>
                  <a:srgbClr val="000000"/>
                </a:solidFill>
                <a:latin typeface="Calibri" pitchFamily="34" charset="0"/>
                <a:ea typeface="ＭＳ Ｐゴシック" pitchFamily="-97" charset="-128"/>
              </a:endParaRPr>
            </a:p>
          </p:txBody>
        </p:sp>
        <p:sp>
          <p:nvSpPr>
            <p:cNvPr id="17" name="Rectangle 39"/>
            <p:cNvSpPr>
              <a:spLocks noChangeArrowheads="1"/>
            </p:cNvSpPr>
            <p:nvPr/>
          </p:nvSpPr>
          <p:spPr bwMode="auto">
            <a:xfrm>
              <a:off x="810379" y="3657262"/>
              <a:ext cx="3857625" cy="296863"/>
            </a:xfrm>
            <a:prstGeom prst="rect">
              <a:avLst/>
            </a:prstGeom>
            <a:noFill/>
            <a:ln w="19050">
              <a:noFill/>
              <a:round/>
              <a:headEnd/>
              <a:tailEnd/>
            </a:ln>
          </p:spPr>
          <p:txBody>
            <a:bodyPr/>
            <a:lstStyle/>
            <a:p>
              <a:pPr fontAlgn="auto">
                <a:spcBef>
                  <a:spcPts val="0"/>
                </a:spcBef>
                <a:spcAft>
                  <a:spcPts val="0"/>
                </a:spcAft>
                <a:defRPr/>
              </a:pPr>
              <a:r>
                <a:rPr lang="en-US" sz="1600" b="1" dirty="0" err="1" smtClean="0">
                  <a:solidFill>
                    <a:schemeClr val="bg1"/>
                  </a:solidFill>
                  <a:latin typeface="Arial" pitchFamily="34" charset="0"/>
                  <a:cs typeface="Arial" pitchFamily="34" charset="0"/>
                </a:rPr>
                <a:t>Pentaksiran</a:t>
              </a:r>
              <a:r>
                <a:rPr lang="en-US" sz="1600" b="1" dirty="0" smtClean="0">
                  <a:solidFill>
                    <a:schemeClr val="bg1"/>
                  </a:solidFill>
                  <a:latin typeface="Arial" pitchFamily="34" charset="0"/>
                  <a:cs typeface="Arial" pitchFamily="34" charset="0"/>
                </a:rPr>
                <a:t> </a:t>
              </a:r>
              <a:r>
                <a:rPr lang="en-US" sz="1600" b="1" dirty="0" err="1" smtClean="0">
                  <a:solidFill>
                    <a:schemeClr val="bg1"/>
                  </a:solidFill>
                  <a:latin typeface="Arial" pitchFamily="34" charset="0"/>
                  <a:cs typeface="Arial" pitchFamily="34" charset="0"/>
                </a:rPr>
                <a:t>PdP</a:t>
              </a:r>
              <a:r>
                <a:rPr lang="en-US" sz="1600" b="1" dirty="0" smtClean="0">
                  <a:solidFill>
                    <a:schemeClr val="bg1"/>
                  </a:solidFill>
                  <a:latin typeface="Arial" pitchFamily="34" charset="0"/>
                  <a:cs typeface="Arial" pitchFamily="34" charset="0"/>
                </a:rPr>
                <a:t> (10%) </a:t>
              </a:r>
              <a:endParaRPr lang="en-US" sz="1600" b="1" dirty="0">
                <a:solidFill>
                  <a:schemeClr val="bg1"/>
                </a:solidFill>
                <a:latin typeface="Arial" pitchFamily="34" charset="0"/>
                <a:cs typeface="Arial" pitchFamily="34" charset="0"/>
              </a:endParaRPr>
            </a:p>
          </p:txBody>
        </p:sp>
      </p:grpSp>
      <p:sp>
        <p:nvSpPr>
          <p:cNvPr id="21" name="Tekstboks 31"/>
          <p:cNvSpPr txBox="1">
            <a:spLocks noChangeArrowheads="1"/>
          </p:cNvSpPr>
          <p:nvPr/>
        </p:nvSpPr>
        <p:spPr bwMode="auto">
          <a:xfrm>
            <a:off x="5086448" y="1593800"/>
            <a:ext cx="3857625" cy="830997"/>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1  </a:t>
            </a:r>
            <a:r>
              <a:rPr lang="en-US" sz="1600" kern="0" dirty="0" err="1" smtClean="0">
                <a:solidFill>
                  <a:sysClr val="windowText" lastClr="000000">
                    <a:lumMod val="85000"/>
                    <a:lumOff val="15000"/>
                  </a:sysClr>
                </a:solidFill>
                <a:cs typeface="Arial" pitchFamily="34" charset="0"/>
              </a:rPr>
              <a:t>Pengetahuan</a:t>
            </a:r>
            <a:endParaRPr lang="en-US" sz="1600" kern="0" dirty="0" smtClean="0">
              <a:solidFill>
                <a:sysClr val="windowText" lastClr="000000">
                  <a:lumMod val="85000"/>
                  <a:lumOff val="15000"/>
                </a:sysClr>
              </a:solidFill>
              <a:cs typeface="Arial" pitchFamily="34" charset="0"/>
            </a:endParaRP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2  </a:t>
            </a:r>
            <a:r>
              <a:rPr lang="en-US" sz="1600" kern="0" dirty="0" err="1" smtClean="0">
                <a:cs typeface="Arial" pitchFamily="34" charset="0"/>
              </a:rPr>
              <a:t>Perancangan</a:t>
            </a:r>
            <a:endParaRPr lang="en-US" sz="1600" kern="0" dirty="0" smtClean="0">
              <a:cs typeface="Arial" pitchFamily="34" charset="0"/>
            </a:endParaRP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3  </a:t>
            </a:r>
            <a:r>
              <a:rPr lang="en-US" sz="1600" kern="0" dirty="0" err="1" smtClean="0">
                <a:solidFill>
                  <a:sysClr val="windowText" lastClr="000000">
                    <a:lumMod val="85000"/>
                    <a:lumOff val="15000"/>
                  </a:sysClr>
                </a:solidFill>
                <a:cs typeface="Arial" pitchFamily="34" charset="0"/>
              </a:rPr>
              <a:t>Pengetahu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ntaksiran</a:t>
            </a:r>
            <a:endParaRPr lang="en-US" sz="1600" kern="0" dirty="0">
              <a:solidFill>
                <a:sysClr val="windowText" lastClr="000000">
                  <a:lumMod val="85000"/>
                  <a:lumOff val="15000"/>
                </a:sysClr>
              </a:solidFill>
              <a:cs typeface="Arial" pitchFamily="34" charset="0"/>
            </a:endParaRPr>
          </a:p>
        </p:txBody>
      </p:sp>
      <p:sp>
        <p:nvSpPr>
          <p:cNvPr id="22" name="Tekstboks 34"/>
          <p:cNvSpPr txBox="1">
            <a:spLocks noChangeArrowheads="1"/>
          </p:cNvSpPr>
          <p:nvPr/>
        </p:nvSpPr>
        <p:spPr bwMode="auto">
          <a:xfrm>
            <a:off x="5086449" y="3328772"/>
            <a:ext cx="3857625" cy="1569660"/>
          </a:xfrm>
          <a:prstGeom prst="rect">
            <a:avLst/>
          </a:prstGeom>
          <a:noFill/>
          <a:ln w="9525">
            <a:noFill/>
            <a:miter lim="800000"/>
            <a:headEnd/>
            <a:tailEnd/>
          </a:ln>
        </p:spPr>
        <p:txBody>
          <a:bodyPr wrap="square">
            <a:spAutoFit/>
          </a:bodyPr>
          <a:lstStyle/>
          <a:p>
            <a:pPr marL="452438" indent="-452438" algn="just"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1  </a:t>
            </a:r>
            <a:r>
              <a:rPr lang="en-US" sz="1600" kern="0" dirty="0" err="1" smtClean="0">
                <a:cs typeface="Arial" pitchFamily="34" charset="0"/>
              </a:rPr>
              <a:t>Penyampaian</a:t>
            </a:r>
            <a:endParaRPr lang="en-US" sz="1600" kern="0" dirty="0" smtClean="0">
              <a:cs typeface="Arial" pitchFamily="34" charset="0"/>
            </a:endParaRPr>
          </a:p>
          <a:p>
            <a:pPr marL="531813" indent="-531813" algn="just"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2  </a:t>
            </a:r>
            <a:r>
              <a:rPr lang="en-US" sz="1600" kern="0" dirty="0" err="1" smtClean="0">
                <a:solidFill>
                  <a:sysClr val="windowText" lastClr="000000">
                    <a:lumMod val="85000"/>
                    <a:lumOff val="15000"/>
                  </a:sysClr>
                </a:solidFill>
                <a:cs typeface="Arial" pitchFamily="34" charset="0"/>
              </a:rPr>
              <a:t>Pengguna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sumber</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ndidikan</a:t>
            </a:r>
            <a:endParaRPr lang="en-US" sz="1600" kern="0" dirty="0" smtClean="0">
              <a:solidFill>
                <a:sysClr val="windowText" lastClr="000000">
                  <a:lumMod val="85000"/>
                  <a:lumOff val="15000"/>
                </a:sysClr>
              </a:solidFill>
              <a:cs typeface="Arial" pitchFamily="34" charset="0"/>
            </a:endParaRPr>
          </a:p>
          <a:p>
            <a:pPr marL="452438" indent="-452438" algn="just"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3  </a:t>
            </a:r>
            <a:r>
              <a:rPr lang="en-US" sz="1600" kern="0" dirty="0" err="1" smtClean="0">
                <a:solidFill>
                  <a:sysClr val="windowText" lastClr="000000">
                    <a:lumMod val="85000"/>
                    <a:lumOff val="15000"/>
                  </a:sysClr>
                </a:solidFill>
                <a:cs typeface="Arial" pitchFamily="34" charset="0"/>
              </a:rPr>
              <a:t>Kemahir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komunikasi</a:t>
            </a:r>
            <a:endParaRPr lang="en-US" sz="1600" kern="0" dirty="0" smtClean="0">
              <a:solidFill>
                <a:sysClr val="windowText" lastClr="000000">
                  <a:lumMod val="85000"/>
                  <a:lumOff val="15000"/>
                </a:sysClr>
              </a:solidFill>
              <a:cs typeface="Arial" pitchFamily="34" charset="0"/>
            </a:endParaRPr>
          </a:p>
          <a:p>
            <a:pPr marL="452438" indent="-452438" algn="just"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4  </a:t>
            </a:r>
            <a:r>
              <a:rPr lang="en-US" sz="1600" kern="0" dirty="0" err="1" smtClean="0">
                <a:solidFill>
                  <a:sysClr val="windowText" lastClr="000000">
                    <a:lumMod val="85000"/>
                    <a:lumOff val="15000"/>
                  </a:sysClr>
                </a:solidFill>
                <a:cs typeface="Arial" pitchFamily="34" charset="0"/>
              </a:rPr>
              <a:t>Teknik</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nyoalan</a:t>
            </a:r>
            <a:endParaRPr lang="en-US" sz="1600" kern="0" dirty="0" smtClean="0">
              <a:solidFill>
                <a:sysClr val="windowText" lastClr="000000">
                  <a:lumMod val="85000"/>
                  <a:lumOff val="15000"/>
                </a:sysClr>
              </a:solidFill>
              <a:cs typeface="Arial" pitchFamily="34" charset="0"/>
            </a:endParaRPr>
          </a:p>
          <a:p>
            <a:pPr marL="452438" indent="-452438" algn="just"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5  </a:t>
            </a:r>
            <a:r>
              <a:rPr lang="en-US" sz="1600" kern="0" dirty="0" err="1" smtClean="0">
                <a:solidFill>
                  <a:sysClr val="windowText" lastClr="000000">
                    <a:lumMod val="85000"/>
                    <a:lumOff val="15000"/>
                  </a:sysClr>
                </a:solidFill>
                <a:cs typeface="Arial" pitchFamily="34" charset="0"/>
              </a:rPr>
              <a:t>Penglibat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nguasaan</a:t>
            </a:r>
            <a:r>
              <a:rPr lang="en-US" sz="1600" kern="0" dirty="0" smtClean="0">
                <a:solidFill>
                  <a:sysClr val="windowText" lastClr="000000">
                    <a:lumMod val="85000"/>
                    <a:lumOff val="15000"/>
                  </a:sysClr>
                </a:solidFill>
                <a:cs typeface="Arial" pitchFamily="34" charset="0"/>
              </a:rPr>
              <a:t> </a:t>
            </a:r>
          </a:p>
          <a:p>
            <a:pPr marL="452438" indent="-452438" algn="just"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mbelajar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murid</a:t>
            </a:r>
            <a:endParaRPr lang="en-US" sz="1600" kern="0" dirty="0">
              <a:solidFill>
                <a:sysClr val="windowText" lastClr="000000">
                  <a:lumMod val="85000"/>
                  <a:lumOff val="15000"/>
                </a:sysClr>
              </a:solidFill>
              <a:cs typeface="Arial" pitchFamily="34" charset="0"/>
            </a:endParaRPr>
          </a:p>
        </p:txBody>
      </p:sp>
      <p:sp>
        <p:nvSpPr>
          <p:cNvPr id="23" name="Tekstboks 36"/>
          <p:cNvSpPr txBox="1">
            <a:spLocks noChangeArrowheads="1"/>
          </p:cNvSpPr>
          <p:nvPr/>
        </p:nvSpPr>
        <p:spPr bwMode="auto">
          <a:xfrm>
            <a:off x="5147316" y="5446375"/>
            <a:ext cx="3857624" cy="338554"/>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3.1  </a:t>
            </a:r>
            <a:r>
              <a:rPr lang="en-US" sz="1600" kern="0" dirty="0" err="1" smtClean="0">
                <a:solidFill>
                  <a:sysClr val="windowText" lastClr="000000">
                    <a:lumMod val="85000"/>
                    <a:lumOff val="15000"/>
                  </a:sysClr>
                </a:solidFill>
                <a:cs typeface="Arial" pitchFamily="34" charset="0"/>
              </a:rPr>
              <a:t>Penilai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restasi</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murid</a:t>
            </a:r>
            <a:endParaRPr lang="en-US" sz="1600" kern="0" dirty="0">
              <a:solidFill>
                <a:sysClr val="windowText" lastClr="000000">
                  <a:lumMod val="85000"/>
                  <a:lumOff val="15000"/>
                </a:sysClr>
              </a:solidFill>
              <a:cs typeface="Arial" pitchFamily="34" charset="0"/>
            </a:endParaRPr>
          </a:p>
        </p:txBody>
      </p:sp>
      <p:sp>
        <p:nvSpPr>
          <p:cNvPr id="25" name="TextBox 24"/>
          <p:cNvSpPr txBox="1"/>
          <p:nvPr/>
        </p:nvSpPr>
        <p:spPr>
          <a:xfrm>
            <a:off x="4363005" y="1473527"/>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rPr>
              <a:t>E1</a:t>
            </a:r>
            <a:endParaRPr lang="en-US" sz="4400" b="1" dirty="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endParaRPr>
          </a:p>
        </p:txBody>
      </p:sp>
      <p:sp>
        <p:nvSpPr>
          <p:cNvPr id="26" name="TextBox 25"/>
          <p:cNvSpPr txBox="1"/>
          <p:nvPr/>
        </p:nvSpPr>
        <p:spPr>
          <a:xfrm>
            <a:off x="4336937" y="3236915"/>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rPr>
              <a:t>E2</a:t>
            </a:r>
            <a:endParaRPr lang="en-US" sz="4400" b="1" dirty="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endParaRPr>
          </a:p>
        </p:txBody>
      </p:sp>
      <p:sp>
        <p:nvSpPr>
          <p:cNvPr id="27" name="TextBox 26"/>
          <p:cNvSpPr txBox="1"/>
          <p:nvPr/>
        </p:nvSpPr>
        <p:spPr>
          <a:xfrm>
            <a:off x="4445423" y="5306893"/>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8000"/>
                </a:solidFill>
                <a:effectLst>
                  <a:outerShdw blurRad="50000" dist="50800" dir="7500000" algn="tl">
                    <a:srgbClr val="000000">
                      <a:shade val="5000"/>
                      <a:alpha val="35000"/>
                    </a:srgbClr>
                  </a:outerShdw>
                </a:effectLst>
                <a:latin typeface="Rockwell"/>
                <a:cs typeface="Rockwell"/>
              </a:rPr>
              <a:t>E3</a:t>
            </a:r>
            <a:endParaRPr lang="en-US" sz="4400" b="1" dirty="0">
              <a:ln w="19050">
                <a:solidFill>
                  <a:schemeClr val="tx2">
                    <a:tint val="1000"/>
                  </a:schemeClr>
                </a:solidFill>
                <a:prstDash val="solid"/>
              </a:ln>
              <a:solidFill>
                <a:srgbClr val="008000"/>
              </a:solidFill>
              <a:effectLst>
                <a:outerShdw blurRad="50000" dist="50800" dir="7500000" algn="tl">
                  <a:srgbClr val="000000">
                    <a:shade val="5000"/>
                    <a:alpha val="35000"/>
                  </a:srgbClr>
                </a:outerShdw>
              </a:effectLst>
              <a:latin typeface="Rockwell"/>
              <a:cs typeface="Rockwell"/>
            </a:endParaRPr>
          </a:p>
        </p:txBody>
      </p:sp>
      <p:grpSp>
        <p:nvGrpSpPr>
          <p:cNvPr id="18" name="Group 2"/>
          <p:cNvGrpSpPr/>
          <p:nvPr/>
        </p:nvGrpSpPr>
        <p:grpSpPr>
          <a:xfrm>
            <a:off x="1341870" y="630605"/>
            <a:ext cx="2261882" cy="2256690"/>
            <a:chOff x="1143343" y="1433592"/>
            <a:chExt cx="2261882" cy="2256690"/>
          </a:xfrm>
        </p:grpSpPr>
        <p:sp>
          <p:nvSpPr>
            <p:cNvPr id="33" name="Freeform 32"/>
            <p:cNvSpPr>
              <a:spLocks noEditPoints="1"/>
            </p:cNvSpPr>
            <p:nvPr/>
          </p:nvSpPr>
          <p:spPr bwMode="auto">
            <a:xfrm>
              <a:off x="1143343" y="1433592"/>
              <a:ext cx="2261882" cy="2256690"/>
            </a:xfrm>
            <a:custGeom>
              <a:avLst/>
              <a:gdLst>
                <a:gd name="T0" fmla="*/ 242 w 553"/>
                <a:gd name="T1" fmla="*/ 35 h 552"/>
                <a:gd name="T2" fmla="*/ 310 w 553"/>
                <a:gd name="T3" fmla="*/ 35 h 552"/>
                <a:gd name="T4" fmla="*/ 326 w 553"/>
                <a:gd name="T5" fmla="*/ 0 h 552"/>
                <a:gd name="T6" fmla="*/ 399 w 553"/>
                <a:gd name="T7" fmla="*/ 24 h 552"/>
                <a:gd name="T8" fmla="*/ 390 w 553"/>
                <a:gd name="T9" fmla="*/ 59 h 552"/>
                <a:gd name="T10" fmla="*/ 447 w 553"/>
                <a:gd name="T11" fmla="*/ 101 h 552"/>
                <a:gd name="T12" fmla="*/ 479 w 553"/>
                <a:gd name="T13" fmla="*/ 81 h 552"/>
                <a:gd name="T14" fmla="*/ 524 w 553"/>
                <a:gd name="T15" fmla="*/ 145 h 552"/>
                <a:gd name="T16" fmla="*/ 496 w 553"/>
                <a:gd name="T17" fmla="*/ 168 h 552"/>
                <a:gd name="T18" fmla="*/ 517 w 553"/>
                <a:gd name="T19" fmla="*/ 233 h 552"/>
                <a:gd name="T20" fmla="*/ 553 w 553"/>
                <a:gd name="T21" fmla="*/ 237 h 552"/>
                <a:gd name="T22" fmla="*/ 553 w 553"/>
                <a:gd name="T23" fmla="*/ 316 h 552"/>
                <a:gd name="T24" fmla="*/ 520 w 553"/>
                <a:gd name="T25" fmla="*/ 317 h 552"/>
                <a:gd name="T26" fmla="*/ 497 w 553"/>
                <a:gd name="T27" fmla="*/ 383 h 552"/>
                <a:gd name="T28" fmla="*/ 524 w 553"/>
                <a:gd name="T29" fmla="*/ 407 h 552"/>
                <a:gd name="T30" fmla="*/ 477 w 553"/>
                <a:gd name="T31" fmla="*/ 470 h 552"/>
                <a:gd name="T32" fmla="*/ 449 w 553"/>
                <a:gd name="T33" fmla="*/ 452 h 552"/>
                <a:gd name="T34" fmla="*/ 390 w 553"/>
                <a:gd name="T35" fmla="*/ 493 h 552"/>
                <a:gd name="T36" fmla="*/ 399 w 553"/>
                <a:gd name="T37" fmla="*/ 529 h 552"/>
                <a:gd name="T38" fmla="*/ 324 w 553"/>
                <a:gd name="T39" fmla="*/ 552 h 552"/>
                <a:gd name="T40" fmla="*/ 313 w 553"/>
                <a:gd name="T41" fmla="*/ 520 h 552"/>
                <a:gd name="T42" fmla="*/ 242 w 553"/>
                <a:gd name="T43" fmla="*/ 520 h 552"/>
                <a:gd name="T44" fmla="*/ 229 w 553"/>
                <a:gd name="T45" fmla="*/ 552 h 552"/>
                <a:gd name="T46" fmla="*/ 154 w 553"/>
                <a:gd name="T47" fmla="*/ 529 h 552"/>
                <a:gd name="T48" fmla="*/ 163 w 553"/>
                <a:gd name="T49" fmla="*/ 494 h 552"/>
                <a:gd name="T50" fmla="*/ 107 w 553"/>
                <a:gd name="T51" fmla="*/ 452 h 552"/>
                <a:gd name="T52" fmla="*/ 77 w 553"/>
                <a:gd name="T53" fmla="*/ 470 h 552"/>
                <a:gd name="T54" fmla="*/ 29 w 553"/>
                <a:gd name="T55" fmla="*/ 409 h 552"/>
                <a:gd name="T56" fmla="*/ 58 w 553"/>
                <a:gd name="T57" fmla="*/ 385 h 552"/>
                <a:gd name="T58" fmla="*/ 35 w 553"/>
                <a:gd name="T59" fmla="*/ 317 h 552"/>
                <a:gd name="T60" fmla="*/ 0 w 553"/>
                <a:gd name="T61" fmla="*/ 316 h 552"/>
                <a:gd name="T62" fmla="*/ 0 w 553"/>
                <a:gd name="T63" fmla="*/ 237 h 552"/>
                <a:gd name="T64" fmla="*/ 35 w 553"/>
                <a:gd name="T65" fmla="*/ 234 h 552"/>
                <a:gd name="T66" fmla="*/ 58 w 553"/>
                <a:gd name="T67" fmla="*/ 170 h 552"/>
                <a:gd name="T68" fmla="*/ 29 w 553"/>
                <a:gd name="T69" fmla="*/ 146 h 552"/>
                <a:gd name="T70" fmla="*/ 74 w 553"/>
                <a:gd name="T71" fmla="*/ 81 h 552"/>
                <a:gd name="T72" fmla="*/ 105 w 553"/>
                <a:gd name="T73" fmla="*/ 101 h 552"/>
                <a:gd name="T74" fmla="*/ 163 w 553"/>
                <a:gd name="T75" fmla="*/ 60 h 552"/>
                <a:gd name="T76" fmla="*/ 154 w 553"/>
                <a:gd name="T77" fmla="*/ 24 h 552"/>
                <a:gd name="T78" fmla="*/ 226 w 553"/>
                <a:gd name="T79" fmla="*/ 0 h 552"/>
                <a:gd name="T80" fmla="*/ 242 w 553"/>
                <a:gd name="T81" fmla="*/ 35 h 552"/>
                <a:gd name="T82" fmla="*/ 167 w 553"/>
                <a:gd name="T83" fmla="*/ 98 h 552"/>
                <a:gd name="T84" fmla="*/ 81 w 553"/>
                <a:gd name="T85" fmla="*/ 351 h 552"/>
                <a:gd name="T86" fmla="*/ 204 w 553"/>
                <a:gd name="T87" fmla="*/ 473 h 552"/>
                <a:gd name="T88" fmla="*/ 397 w 553"/>
                <a:gd name="T89" fmla="*/ 448 h 552"/>
                <a:gd name="T90" fmla="*/ 486 w 553"/>
                <a:gd name="T91" fmla="*/ 292 h 552"/>
                <a:gd name="T92" fmla="*/ 426 w 553"/>
                <a:gd name="T93" fmla="*/ 129 h 552"/>
                <a:gd name="T94" fmla="*/ 261 w 553"/>
                <a:gd name="T95" fmla="*/ 69 h 552"/>
                <a:gd name="T96" fmla="*/ 167 w 553"/>
                <a:gd name="T97" fmla="*/ 9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 h="552">
                  <a:moveTo>
                    <a:pt x="242" y="35"/>
                  </a:moveTo>
                  <a:cubicBezTo>
                    <a:pt x="261" y="31"/>
                    <a:pt x="291" y="31"/>
                    <a:pt x="310" y="35"/>
                  </a:cubicBezTo>
                  <a:cubicBezTo>
                    <a:pt x="318" y="25"/>
                    <a:pt x="320" y="11"/>
                    <a:pt x="326" y="0"/>
                  </a:cubicBezTo>
                  <a:cubicBezTo>
                    <a:pt x="349" y="8"/>
                    <a:pt x="374" y="16"/>
                    <a:pt x="399" y="24"/>
                  </a:cubicBezTo>
                  <a:cubicBezTo>
                    <a:pt x="397" y="36"/>
                    <a:pt x="393" y="47"/>
                    <a:pt x="390" y="59"/>
                  </a:cubicBezTo>
                  <a:cubicBezTo>
                    <a:pt x="410" y="72"/>
                    <a:pt x="430" y="84"/>
                    <a:pt x="447" y="101"/>
                  </a:cubicBezTo>
                  <a:cubicBezTo>
                    <a:pt x="458" y="95"/>
                    <a:pt x="467" y="87"/>
                    <a:pt x="479" y="81"/>
                  </a:cubicBezTo>
                  <a:cubicBezTo>
                    <a:pt x="493" y="103"/>
                    <a:pt x="509" y="123"/>
                    <a:pt x="524" y="145"/>
                  </a:cubicBezTo>
                  <a:cubicBezTo>
                    <a:pt x="515" y="153"/>
                    <a:pt x="505" y="160"/>
                    <a:pt x="496" y="168"/>
                  </a:cubicBezTo>
                  <a:cubicBezTo>
                    <a:pt x="505" y="187"/>
                    <a:pt x="513" y="208"/>
                    <a:pt x="517" y="233"/>
                  </a:cubicBezTo>
                  <a:cubicBezTo>
                    <a:pt x="526" y="238"/>
                    <a:pt x="543" y="234"/>
                    <a:pt x="553" y="237"/>
                  </a:cubicBezTo>
                  <a:cubicBezTo>
                    <a:pt x="553" y="263"/>
                    <a:pt x="553" y="290"/>
                    <a:pt x="553" y="316"/>
                  </a:cubicBezTo>
                  <a:cubicBezTo>
                    <a:pt x="542" y="316"/>
                    <a:pt x="532" y="318"/>
                    <a:pt x="520" y="317"/>
                  </a:cubicBezTo>
                  <a:cubicBezTo>
                    <a:pt x="512" y="339"/>
                    <a:pt x="507" y="364"/>
                    <a:pt x="497" y="383"/>
                  </a:cubicBezTo>
                  <a:cubicBezTo>
                    <a:pt x="504" y="394"/>
                    <a:pt x="515" y="399"/>
                    <a:pt x="524" y="407"/>
                  </a:cubicBezTo>
                  <a:cubicBezTo>
                    <a:pt x="509" y="429"/>
                    <a:pt x="494" y="451"/>
                    <a:pt x="477" y="470"/>
                  </a:cubicBezTo>
                  <a:cubicBezTo>
                    <a:pt x="467" y="465"/>
                    <a:pt x="458" y="459"/>
                    <a:pt x="449" y="452"/>
                  </a:cubicBezTo>
                  <a:cubicBezTo>
                    <a:pt x="430" y="466"/>
                    <a:pt x="413" y="483"/>
                    <a:pt x="390" y="493"/>
                  </a:cubicBezTo>
                  <a:cubicBezTo>
                    <a:pt x="393" y="506"/>
                    <a:pt x="397" y="516"/>
                    <a:pt x="399" y="529"/>
                  </a:cubicBezTo>
                  <a:cubicBezTo>
                    <a:pt x="373" y="536"/>
                    <a:pt x="351" y="546"/>
                    <a:pt x="324" y="552"/>
                  </a:cubicBezTo>
                  <a:cubicBezTo>
                    <a:pt x="322" y="540"/>
                    <a:pt x="316" y="531"/>
                    <a:pt x="313" y="520"/>
                  </a:cubicBezTo>
                  <a:cubicBezTo>
                    <a:pt x="291" y="521"/>
                    <a:pt x="264" y="522"/>
                    <a:pt x="242" y="520"/>
                  </a:cubicBezTo>
                  <a:cubicBezTo>
                    <a:pt x="236" y="529"/>
                    <a:pt x="232" y="540"/>
                    <a:pt x="229" y="552"/>
                  </a:cubicBezTo>
                  <a:cubicBezTo>
                    <a:pt x="202" y="546"/>
                    <a:pt x="180" y="536"/>
                    <a:pt x="154" y="529"/>
                  </a:cubicBezTo>
                  <a:cubicBezTo>
                    <a:pt x="157" y="517"/>
                    <a:pt x="160" y="506"/>
                    <a:pt x="163" y="494"/>
                  </a:cubicBezTo>
                  <a:cubicBezTo>
                    <a:pt x="143" y="481"/>
                    <a:pt x="123" y="469"/>
                    <a:pt x="107" y="452"/>
                  </a:cubicBezTo>
                  <a:cubicBezTo>
                    <a:pt x="96" y="457"/>
                    <a:pt x="87" y="464"/>
                    <a:pt x="77" y="470"/>
                  </a:cubicBezTo>
                  <a:cubicBezTo>
                    <a:pt x="58" y="453"/>
                    <a:pt x="46" y="429"/>
                    <a:pt x="29" y="409"/>
                  </a:cubicBezTo>
                  <a:cubicBezTo>
                    <a:pt x="38" y="400"/>
                    <a:pt x="48" y="392"/>
                    <a:pt x="58" y="385"/>
                  </a:cubicBezTo>
                  <a:cubicBezTo>
                    <a:pt x="47" y="365"/>
                    <a:pt x="41" y="341"/>
                    <a:pt x="35" y="317"/>
                  </a:cubicBezTo>
                  <a:cubicBezTo>
                    <a:pt x="22" y="318"/>
                    <a:pt x="12" y="316"/>
                    <a:pt x="0" y="316"/>
                  </a:cubicBezTo>
                  <a:cubicBezTo>
                    <a:pt x="0" y="290"/>
                    <a:pt x="0" y="263"/>
                    <a:pt x="0" y="237"/>
                  </a:cubicBezTo>
                  <a:cubicBezTo>
                    <a:pt x="10" y="235"/>
                    <a:pt x="25" y="237"/>
                    <a:pt x="35" y="234"/>
                  </a:cubicBezTo>
                  <a:cubicBezTo>
                    <a:pt x="42" y="212"/>
                    <a:pt x="47" y="188"/>
                    <a:pt x="58" y="170"/>
                  </a:cubicBezTo>
                  <a:cubicBezTo>
                    <a:pt x="50" y="160"/>
                    <a:pt x="39" y="153"/>
                    <a:pt x="29" y="146"/>
                  </a:cubicBezTo>
                  <a:cubicBezTo>
                    <a:pt x="43" y="123"/>
                    <a:pt x="61" y="104"/>
                    <a:pt x="74" y="81"/>
                  </a:cubicBezTo>
                  <a:cubicBezTo>
                    <a:pt x="85" y="87"/>
                    <a:pt x="95" y="94"/>
                    <a:pt x="105" y="101"/>
                  </a:cubicBezTo>
                  <a:cubicBezTo>
                    <a:pt x="124" y="87"/>
                    <a:pt x="141" y="71"/>
                    <a:pt x="163" y="60"/>
                  </a:cubicBezTo>
                  <a:cubicBezTo>
                    <a:pt x="161" y="47"/>
                    <a:pt x="157" y="37"/>
                    <a:pt x="154" y="24"/>
                  </a:cubicBezTo>
                  <a:cubicBezTo>
                    <a:pt x="178" y="16"/>
                    <a:pt x="204" y="9"/>
                    <a:pt x="226" y="0"/>
                  </a:cubicBezTo>
                  <a:cubicBezTo>
                    <a:pt x="234" y="9"/>
                    <a:pt x="236" y="24"/>
                    <a:pt x="242" y="35"/>
                  </a:cubicBezTo>
                  <a:close/>
                  <a:moveTo>
                    <a:pt x="167" y="98"/>
                  </a:moveTo>
                  <a:cubicBezTo>
                    <a:pt x="97" y="141"/>
                    <a:pt x="40" y="241"/>
                    <a:pt x="81" y="351"/>
                  </a:cubicBezTo>
                  <a:cubicBezTo>
                    <a:pt x="103" y="407"/>
                    <a:pt x="147" y="452"/>
                    <a:pt x="204" y="473"/>
                  </a:cubicBezTo>
                  <a:cubicBezTo>
                    <a:pt x="270" y="498"/>
                    <a:pt x="345" y="485"/>
                    <a:pt x="397" y="448"/>
                  </a:cubicBezTo>
                  <a:cubicBezTo>
                    <a:pt x="444" y="415"/>
                    <a:pt x="481" y="363"/>
                    <a:pt x="486" y="292"/>
                  </a:cubicBezTo>
                  <a:cubicBezTo>
                    <a:pt x="491" y="221"/>
                    <a:pt x="459" y="163"/>
                    <a:pt x="426" y="129"/>
                  </a:cubicBezTo>
                  <a:cubicBezTo>
                    <a:pt x="389" y="93"/>
                    <a:pt x="330" y="63"/>
                    <a:pt x="261" y="69"/>
                  </a:cubicBezTo>
                  <a:cubicBezTo>
                    <a:pt x="224" y="72"/>
                    <a:pt x="192" y="83"/>
                    <a:pt x="167" y="98"/>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TextBox 33"/>
            <p:cNvSpPr txBox="1"/>
            <p:nvPr/>
          </p:nvSpPr>
          <p:spPr>
            <a:xfrm>
              <a:off x="1479067" y="2061274"/>
              <a:ext cx="1589594" cy="923330"/>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5400" dirty="0" err="1" smtClean="0">
                  <a:solidFill>
                    <a:srgbClr val="0000FF"/>
                  </a:solidFill>
                </a:rPr>
                <a:t>Pdp</a:t>
              </a:r>
              <a:endParaRPr lang="en-US" sz="5400" dirty="0" smtClean="0">
                <a:solidFill>
                  <a:srgbClr val="0000FF"/>
                </a:solidFill>
              </a:endParaRPr>
            </a:p>
          </p:txBody>
        </p:sp>
      </p:grpSp>
      <p:sp>
        <p:nvSpPr>
          <p:cNvPr id="28" name="Rectangle 27"/>
          <p:cNvSpPr/>
          <p:nvPr/>
        </p:nvSpPr>
        <p:spPr>
          <a:xfrm>
            <a:off x="1996170" y="4651990"/>
            <a:ext cx="1271018" cy="365760"/>
          </a:xfrm>
          <a:prstGeom prst="rect">
            <a:avLst/>
          </a:prstGeom>
          <a:gradFill flip="none" rotWithShape="1">
            <a:gsLst>
              <a:gs pos="100000">
                <a:schemeClr val="bg1"/>
              </a:gs>
              <a:gs pos="100000">
                <a:srgbClr val="0070C0"/>
              </a:gs>
              <a:gs pos="56000">
                <a:srgbClr val="0066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smtClean="0">
                <a:solidFill>
                  <a:schemeClr val="bg1"/>
                </a:solidFill>
                <a:effectLst>
                  <a:outerShdw blurRad="38100" dist="38100" dir="2700000" algn="tl">
                    <a:srgbClr val="000000">
                      <a:alpha val="43137"/>
                    </a:srgbClr>
                  </a:outerShdw>
                </a:effectLst>
              </a:rPr>
              <a:t>Guru</a:t>
            </a:r>
            <a:endParaRPr lang="en-US" sz="2400" b="1" dirty="0">
              <a:solidFill>
                <a:schemeClr val="bg1"/>
              </a:solidFill>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ox(in)">
                                      <p:cBhvr>
                                        <p:cTn id="7" dur="500"/>
                                        <p:tgtEl>
                                          <p:spTgt spid="3"/>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box(in)">
                                      <p:cBhvr>
                                        <p:cTn id="10" dur="500"/>
                                        <p:tgtEl>
                                          <p:spTgt spid="25"/>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box(in)">
                                      <p:cBhvr>
                                        <p:cTn id="13" dur="500"/>
                                        <p:tgtEl>
                                          <p:spTgt spid="21"/>
                                        </p:tgtEl>
                                      </p:cBhvr>
                                    </p:animEffect>
                                  </p:childTnLst>
                                </p:cTn>
                              </p:par>
                            </p:childTnLst>
                          </p:cTn>
                        </p:par>
                      </p:childTnLst>
                    </p:cTn>
                  </p:par>
                  <p:par>
                    <p:cTn id="14" fill="hold">
                      <p:stCondLst>
                        <p:cond delay="indefinite"/>
                      </p:stCondLst>
                      <p:childTnLst>
                        <p:par>
                          <p:cTn id="15" fill="hold">
                            <p:stCondLst>
                              <p:cond delay="0"/>
                            </p:stCondLst>
                            <p:childTnLst>
                              <p:par>
                                <p:cTn id="16" presetID="4" presetClass="entr" presetSubtype="16"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box(in)">
                                      <p:cBhvr>
                                        <p:cTn id="18" dur="500"/>
                                        <p:tgtEl>
                                          <p:spTgt spid="11"/>
                                        </p:tgtEl>
                                      </p:cBhvr>
                                    </p:animEffect>
                                  </p:childTnLst>
                                </p:cTn>
                              </p:par>
                              <p:par>
                                <p:cTn id="19" presetID="4" presetClass="entr" presetSubtype="16"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box(in)">
                                      <p:cBhvr>
                                        <p:cTn id="21" dur="500"/>
                                        <p:tgtEl>
                                          <p:spTgt spid="26"/>
                                        </p:tgtEl>
                                      </p:cBhvr>
                                    </p:animEffect>
                                  </p:childTnLst>
                                </p:cTn>
                              </p:par>
                              <p:par>
                                <p:cTn id="22" presetID="4" presetClass="entr" presetSubtype="16" fill="hold" grpId="0"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box(in)">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4" presetClass="entr" presetSubtype="16"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box(in)">
                                      <p:cBhvr>
                                        <p:cTn id="29" dur="500"/>
                                        <p:tgtEl>
                                          <p:spTgt spid="14"/>
                                        </p:tgtEl>
                                      </p:cBhvr>
                                    </p:animEffect>
                                  </p:childTnLst>
                                </p:cTn>
                              </p:par>
                              <p:par>
                                <p:cTn id="30" presetID="4" presetClass="entr" presetSubtype="16"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box(in)">
                                      <p:cBhvr>
                                        <p:cTn id="32" dur="500"/>
                                        <p:tgtEl>
                                          <p:spTgt spid="27"/>
                                        </p:tgtEl>
                                      </p:cBhvr>
                                    </p:animEffect>
                                  </p:childTnLst>
                                </p:cTn>
                              </p:par>
                              <p:par>
                                <p:cTn id="33" presetID="4" presetClass="entr" presetSubtype="16"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box(in)">
                                      <p:cBhvr>
                                        <p:cTn id="3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5" grpId="0"/>
      <p:bldP spid="26" grpId="0"/>
      <p:bldP spid="27"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63</a:t>
            </a:fld>
            <a:endParaRPr lang="en-US"/>
          </a:p>
        </p:txBody>
      </p:sp>
      <p:sp>
        <p:nvSpPr>
          <p:cNvPr id="6" name="Rectangle 27"/>
          <p:cNvSpPr>
            <a:spLocks noChangeArrowheads="1"/>
          </p:cNvSpPr>
          <p:nvPr/>
        </p:nvSpPr>
        <p:spPr bwMode="auto">
          <a:xfrm>
            <a:off x="769938" y="1566352"/>
            <a:ext cx="4420211" cy="1811848"/>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algn="ctr" defTabSz="914400" fontAlgn="auto">
              <a:spcBef>
                <a:spcPts val="0"/>
              </a:spcBef>
              <a:spcAft>
                <a:spcPts val="0"/>
              </a:spcAft>
              <a:defRPr/>
            </a:pPr>
            <a:endParaRPr lang="de-DE" kern="0" dirty="0">
              <a:solidFill>
                <a:srgbClr val="FFFFFF"/>
              </a:solidFill>
              <a:latin typeface="Calibri" pitchFamily="34" charset="0"/>
              <a:ea typeface="ＭＳ Ｐゴシック" pitchFamily="-97" charset="-128"/>
            </a:endParaRPr>
          </a:p>
        </p:txBody>
      </p:sp>
      <p:sp>
        <p:nvSpPr>
          <p:cNvPr id="7" name="Rectangle 27"/>
          <p:cNvSpPr>
            <a:spLocks noChangeArrowheads="1"/>
          </p:cNvSpPr>
          <p:nvPr/>
        </p:nvSpPr>
        <p:spPr bwMode="auto">
          <a:xfrm>
            <a:off x="450641" y="2019211"/>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kern="0" dirty="0">
              <a:solidFill>
                <a:srgbClr val="FFFFFF"/>
              </a:solidFill>
              <a:latin typeface="Calibri" pitchFamily="34" charset="0"/>
              <a:ea typeface="ＭＳ Ｐゴシック" pitchFamily="-97" charset="-128"/>
            </a:endParaRPr>
          </a:p>
        </p:txBody>
      </p:sp>
      <p:sp>
        <p:nvSpPr>
          <p:cNvPr id="8" name="Rectangle 27"/>
          <p:cNvSpPr>
            <a:spLocks noChangeArrowheads="1"/>
          </p:cNvSpPr>
          <p:nvPr/>
        </p:nvSpPr>
        <p:spPr bwMode="auto">
          <a:xfrm>
            <a:off x="769938" y="375920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sz="1600" kern="0" dirty="0">
              <a:solidFill>
                <a:srgbClr val="FFFFFF"/>
              </a:solidFill>
              <a:latin typeface="Calibri" pitchFamily="34" charset="0"/>
              <a:ea typeface="ＭＳ Ｐゴシック" pitchFamily="-97" charset="-128"/>
            </a:endParaRPr>
          </a:p>
        </p:txBody>
      </p:sp>
      <p:sp>
        <p:nvSpPr>
          <p:cNvPr id="10" name="Rectangle 27"/>
          <p:cNvSpPr>
            <a:spLocks noChangeArrowheads="1"/>
          </p:cNvSpPr>
          <p:nvPr/>
        </p:nvSpPr>
        <p:spPr bwMode="auto">
          <a:xfrm>
            <a:off x="450641" y="4019461"/>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sz="1600" kern="0" dirty="0">
              <a:solidFill>
                <a:srgbClr val="FFFFFF"/>
              </a:solidFill>
              <a:latin typeface="Calibri" pitchFamily="34" charset="0"/>
              <a:ea typeface="ＭＳ Ｐゴシック" pitchFamily="-97" charset="-128"/>
            </a:endParaRPr>
          </a:p>
        </p:txBody>
      </p:sp>
      <p:grpSp>
        <p:nvGrpSpPr>
          <p:cNvPr id="2" name="Group 10"/>
          <p:cNvGrpSpPr/>
          <p:nvPr/>
        </p:nvGrpSpPr>
        <p:grpSpPr>
          <a:xfrm>
            <a:off x="838090" y="1161970"/>
            <a:ext cx="3938398" cy="308352"/>
            <a:chOff x="769938" y="1520825"/>
            <a:chExt cx="3938398" cy="308352"/>
          </a:xfrm>
        </p:grpSpPr>
        <p:sp>
          <p:nvSpPr>
            <p:cNvPr id="12" name="Rectangle 39"/>
            <p:cNvSpPr>
              <a:spLocks noChangeArrowheads="1"/>
            </p:cNvSpPr>
            <p:nvPr/>
          </p:nvSpPr>
          <p:spPr bwMode="auto">
            <a:xfrm>
              <a:off x="769938" y="1520825"/>
              <a:ext cx="3857625" cy="296863"/>
            </a:xfrm>
            <a:prstGeom prst="rect">
              <a:avLst/>
            </a:prstGeom>
            <a:gradFill rotWithShape="1">
              <a:gsLst>
                <a:gs pos="0">
                  <a:srgbClr val="03C6ED"/>
                </a:gs>
                <a:gs pos="100000">
                  <a:srgbClr val="004D86"/>
                </a:gs>
              </a:gsLst>
              <a:lin ang="16200000"/>
            </a:gradFill>
            <a:ln w="9525">
              <a:noFill/>
              <a:miter lim="800000"/>
              <a:headEnd/>
              <a:tailEnd/>
            </a:ln>
            <a:effectLst>
              <a:outerShdw blurRad="63500" dist="23000" dir="5400000" rotWithShape="0">
                <a:srgbClr val="000000">
                  <a:alpha val="34998"/>
                </a:srgbClr>
              </a:outerShdw>
            </a:effectLst>
          </p:spPr>
          <p:txBody>
            <a:bodyPr anchor="ctr"/>
            <a:lstStyle/>
            <a:p>
              <a:pPr algn="ctr" defTabSz="914400" fontAlgn="auto">
                <a:spcBef>
                  <a:spcPts val="0"/>
                </a:spcBef>
                <a:spcAft>
                  <a:spcPts val="0"/>
                </a:spcAft>
                <a:defRPr/>
              </a:pPr>
              <a:endParaRPr lang="en-US" sz="1400" b="1" kern="0" noProof="1">
                <a:solidFill>
                  <a:sysClr val="window" lastClr="FFFFFF"/>
                </a:solidFill>
                <a:latin typeface="Calibri" pitchFamily="34" charset="0"/>
                <a:ea typeface="ＭＳ Ｐゴシック" pitchFamily="-97" charset="-128"/>
              </a:endParaRPr>
            </a:p>
          </p:txBody>
        </p:sp>
        <p:sp>
          <p:nvSpPr>
            <p:cNvPr id="13" name="Rectangle 39"/>
            <p:cNvSpPr>
              <a:spLocks noChangeArrowheads="1"/>
            </p:cNvSpPr>
            <p:nvPr/>
          </p:nvSpPr>
          <p:spPr bwMode="auto">
            <a:xfrm>
              <a:off x="850711" y="1532314"/>
              <a:ext cx="3857625" cy="296863"/>
            </a:xfrm>
            <a:prstGeom prst="rect">
              <a:avLst/>
            </a:prstGeom>
            <a:noFill/>
            <a:ln w="9525">
              <a:noFill/>
              <a:miter lim="800000"/>
              <a:headEnd/>
              <a:tailEnd/>
            </a:ln>
            <a:effectLst>
              <a:outerShdw blurRad="63500" dist="23000" dir="5400000" rotWithShape="0">
                <a:srgbClr val="000000">
                  <a:alpha val="34998"/>
                </a:srgbClr>
              </a:outerShdw>
            </a:effectLst>
          </p:spPr>
          <p:txBody>
            <a:bodyPr anchor="ctr"/>
            <a:lstStyle/>
            <a:p>
              <a:pPr fontAlgn="auto">
                <a:spcBef>
                  <a:spcPts val="0"/>
                </a:spcBef>
                <a:spcAft>
                  <a:spcPts val="0"/>
                </a:spcAft>
                <a:defRPr/>
              </a:pPr>
              <a:r>
                <a:rPr lang="en-US" sz="1600" b="1" dirty="0" err="1" smtClean="0">
                  <a:solidFill>
                    <a:schemeClr val="bg1"/>
                  </a:solidFill>
                  <a:latin typeface="Arial" pitchFamily="34" charset="0"/>
                  <a:cs typeface="Arial" pitchFamily="34" charset="0"/>
                </a:rPr>
                <a:t>Kepimpinan</a:t>
              </a:r>
              <a:r>
                <a:rPr lang="en-US" sz="1600" b="1" dirty="0" smtClean="0">
                  <a:solidFill>
                    <a:schemeClr val="bg1"/>
                  </a:solidFill>
                  <a:latin typeface="Arial" pitchFamily="34" charset="0"/>
                  <a:cs typeface="Arial" pitchFamily="34" charset="0"/>
                </a:rPr>
                <a:t> </a:t>
              </a:r>
              <a:r>
                <a:rPr lang="en-US" sz="1600" b="1" dirty="0" err="1" smtClean="0">
                  <a:solidFill>
                    <a:schemeClr val="bg1"/>
                  </a:solidFill>
                  <a:latin typeface="Arial" pitchFamily="34" charset="0"/>
                  <a:cs typeface="Arial" pitchFamily="34" charset="0"/>
                </a:rPr>
                <a:t>Instruksional</a:t>
              </a:r>
              <a:r>
                <a:rPr lang="en-US" sz="1600" b="1" dirty="0" smtClean="0">
                  <a:solidFill>
                    <a:schemeClr val="bg1"/>
                  </a:solidFill>
                  <a:latin typeface="Arial" pitchFamily="34" charset="0"/>
                  <a:cs typeface="Arial" pitchFamily="34" charset="0"/>
                </a:rPr>
                <a:t> (25%)</a:t>
              </a:r>
              <a:endParaRPr lang="en-US" sz="1600" b="1" dirty="0">
                <a:solidFill>
                  <a:schemeClr val="bg1"/>
                </a:solidFill>
                <a:latin typeface="Arial" pitchFamily="34" charset="0"/>
                <a:cs typeface="Arial" pitchFamily="34" charset="0"/>
              </a:endParaRPr>
            </a:p>
          </p:txBody>
        </p:sp>
      </p:grpSp>
      <p:grpSp>
        <p:nvGrpSpPr>
          <p:cNvPr id="3" name="Group 13"/>
          <p:cNvGrpSpPr/>
          <p:nvPr/>
        </p:nvGrpSpPr>
        <p:grpSpPr>
          <a:xfrm>
            <a:off x="838091" y="3578853"/>
            <a:ext cx="3857625" cy="296864"/>
            <a:chOff x="4699000" y="1520824"/>
            <a:chExt cx="3857625" cy="296864"/>
          </a:xfrm>
        </p:grpSpPr>
        <p:sp>
          <p:nvSpPr>
            <p:cNvPr id="15" name="Rectangle 39"/>
            <p:cNvSpPr>
              <a:spLocks noChangeArrowheads="1"/>
            </p:cNvSpPr>
            <p:nvPr/>
          </p:nvSpPr>
          <p:spPr bwMode="auto">
            <a:xfrm>
              <a:off x="4699000" y="1520825"/>
              <a:ext cx="3857625" cy="296863"/>
            </a:xfrm>
            <a:prstGeom prst="rect">
              <a:avLst/>
            </a:prstGeom>
            <a:gradFill rotWithShape="1">
              <a:gsLst>
                <a:gs pos="0">
                  <a:srgbClr val="FFC000"/>
                </a:gs>
                <a:gs pos="70000">
                  <a:srgbClr val="FFFF00"/>
                </a:gs>
                <a:gs pos="100000">
                  <a:srgbClr val="FFFF00"/>
                </a:gs>
              </a:gsLst>
              <a:lin ang="5400000" scaled="1"/>
            </a:gradFill>
            <a:ln w="3175">
              <a:solidFill>
                <a:srgbClr val="FFCC00"/>
              </a:solidFill>
              <a:miter lim="800000"/>
              <a:headEnd/>
              <a:tailEnd/>
            </a:ln>
          </p:spPr>
          <p:txBody>
            <a:bodyPr anchor="ctr"/>
            <a:lstStyle/>
            <a:p>
              <a:pPr algn="ctr" defTabSz="914400" fontAlgn="auto">
                <a:spcBef>
                  <a:spcPts val="0"/>
                </a:spcBef>
                <a:spcAft>
                  <a:spcPts val="0"/>
                </a:spcAft>
                <a:defRPr/>
              </a:pPr>
              <a:endParaRPr lang="en-US" sz="1400" b="1" kern="0" noProof="1">
                <a:solidFill>
                  <a:sysClr val="windowText" lastClr="000000"/>
                </a:solidFill>
                <a:latin typeface="Calibri" pitchFamily="34" charset="0"/>
                <a:ea typeface="ＭＳ Ｐゴシック" pitchFamily="-97" charset="-128"/>
              </a:endParaRPr>
            </a:p>
          </p:txBody>
        </p:sp>
        <p:sp>
          <p:nvSpPr>
            <p:cNvPr id="16" name="Rectangle 39"/>
            <p:cNvSpPr>
              <a:spLocks noChangeArrowheads="1"/>
            </p:cNvSpPr>
            <p:nvPr/>
          </p:nvSpPr>
          <p:spPr bwMode="auto">
            <a:xfrm>
              <a:off x="4699000" y="1520824"/>
              <a:ext cx="3857625" cy="296863"/>
            </a:xfrm>
            <a:prstGeom prst="rect">
              <a:avLst/>
            </a:prstGeom>
            <a:noFill/>
            <a:ln w="3175">
              <a:noFill/>
              <a:miter lim="800000"/>
              <a:headEnd/>
              <a:tailEnd/>
            </a:ln>
          </p:spPr>
          <p:txBody>
            <a:bodyPr anchor="ctr"/>
            <a:lstStyle/>
            <a:p>
              <a:pPr fontAlgn="auto">
                <a:spcBef>
                  <a:spcPts val="0"/>
                </a:spcBef>
                <a:spcAft>
                  <a:spcPts val="0"/>
                </a:spcAft>
                <a:defRPr/>
              </a:pPr>
              <a:r>
                <a:rPr lang="en-US" sz="1600" b="1" dirty="0" smtClean="0">
                  <a:latin typeface="Arial" pitchFamily="34" charset="0"/>
                  <a:cs typeface="Arial" pitchFamily="34" charset="0"/>
                </a:rPr>
                <a:t>Pengurusan (25%)</a:t>
              </a:r>
              <a:endParaRPr lang="en-US" sz="1600" b="1" dirty="0">
                <a:latin typeface="Arial" pitchFamily="34" charset="0"/>
                <a:cs typeface="Arial" pitchFamily="34" charset="0"/>
              </a:endParaRPr>
            </a:p>
          </p:txBody>
        </p:sp>
      </p:grpSp>
      <p:grpSp>
        <p:nvGrpSpPr>
          <p:cNvPr id="11" name="Group 28"/>
          <p:cNvGrpSpPr/>
          <p:nvPr/>
        </p:nvGrpSpPr>
        <p:grpSpPr>
          <a:xfrm>
            <a:off x="898957" y="5361156"/>
            <a:ext cx="3873123" cy="322204"/>
            <a:chOff x="794881" y="3657262"/>
            <a:chExt cx="3873123" cy="322204"/>
          </a:xfrm>
        </p:grpSpPr>
        <p:sp>
          <p:nvSpPr>
            <p:cNvPr id="9" name="Rectangle 39"/>
            <p:cNvSpPr>
              <a:spLocks noChangeArrowheads="1"/>
            </p:cNvSpPr>
            <p:nvPr/>
          </p:nvSpPr>
          <p:spPr bwMode="auto">
            <a:xfrm>
              <a:off x="794881" y="3682603"/>
              <a:ext cx="3857625" cy="296863"/>
            </a:xfrm>
            <a:prstGeom prst="rect">
              <a:avLst/>
            </a:prstGeom>
            <a:gradFill rotWithShape="1">
              <a:gsLst>
                <a:gs pos="0">
                  <a:srgbClr val="208A00"/>
                </a:gs>
                <a:gs pos="100000">
                  <a:srgbClr val="5AF300"/>
                </a:gs>
              </a:gsLst>
              <a:lin ang="5400000" scaled="1"/>
            </a:gradFill>
            <a:ln w="19050">
              <a:noFill/>
              <a:round/>
              <a:headEnd/>
              <a:tailEnd/>
            </a:ln>
          </p:spPr>
          <p:txBody>
            <a:bodyPr/>
            <a:lstStyle/>
            <a:p>
              <a:pPr algn="ctr" defTabSz="914400" fontAlgn="auto">
                <a:spcBef>
                  <a:spcPts val="0"/>
                </a:spcBef>
                <a:spcAft>
                  <a:spcPts val="0"/>
                </a:spcAft>
                <a:defRPr/>
              </a:pPr>
              <a:endParaRPr lang="en-US" sz="1400" b="1" kern="0" noProof="1">
                <a:solidFill>
                  <a:srgbClr val="000000"/>
                </a:solidFill>
                <a:latin typeface="Calibri" pitchFamily="34" charset="0"/>
                <a:ea typeface="ＭＳ Ｐゴシック" pitchFamily="-97" charset="-128"/>
              </a:endParaRPr>
            </a:p>
          </p:txBody>
        </p:sp>
        <p:sp>
          <p:nvSpPr>
            <p:cNvPr id="17" name="Rectangle 39"/>
            <p:cNvSpPr>
              <a:spLocks noChangeArrowheads="1"/>
            </p:cNvSpPr>
            <p:nvPr/>
          </p:nvSpPr>
          <p:spPr bwMode="auto">
            <a:xfrm>
              <a:off x="810379" y="3657262"/>
              <a:ext cx="3857625" cy="296863"/>
            </a:xfrm>
            <a:prstGeom prst="rect">
              <a:avLst/>
            </a:prstGeom>
            <a:noFill/>
            <a:ln w="19050">
              <a:noFill/>
              <a:round/>
              <a:headEnd/>
              <a:tailEnd/>
            </a:ln>
          </p:spPr>
          <p:txBody>
            <a:bodyPr/>
            <a:lstStyle/>
            <a:p>
              <a:pPr fontAlgn="auto">
                <a:spcBef>
                  <a:spcPts val="0"/>
                </a:spcBef>
                <a:spcAft>
                  <a:spcPts val="0"/>
                </a:spcAft>
                <a:defRPr/>
              </a:pPr>
              <a:r>
                <a:rPr lang="en-US" sz="1600" b="1" dirty="0" smtClean="0">
                  <a:solidFill>
                    <a:schemeClr val="bg1"/>
                  </a:solidFill>
                  <a:latin typeface="Arial" pitchFamily="34" charset="0"/>
                  <a:cs typeface="Arial" pitchFamily="34" charset="0"/>
                </a:rPr>
                <a:t> </a:t>
              </a:r>
              <a:r>
                <a:rPr lang="en-US" sz="1600" b="1" dirty="0" err="1" smtClean="0">
                  <a:solidFill>
                    <a:schemeClr val="bg1"/>
                  </a:solidFill>
                  <a:latin typeface="Arial" pitchFamily="34" charset="0"/>
                  <a:cs typeface="Arial" pitchFamily="34" charset="0"/>
                </a:rPr>
                <a:t>Kepimpinan</a:t>
              </a:r>
              <a:r>
                <a:rPr lang="en-US" sz="1600" b="1" dirty="0" smtClean="0">
                  <a:solidFill>
                    <a:schemeClr val="bg1"/>
                  </a:solidFill>
                  <a:latin typeface="Arial" pitchFamily="34" charset="0"/>
                  <a:cs typeface="Arial" pitchFamily="34" charset="0"/>
                </a:rPr>
                <a:t> </a:t>
              </a:r>
              <a:r>
                <a:rPr lang="en-US" sz="1600" b="1" dirty="0" err="1" smtClean="0">
                  <a:solidFill>
                    <a:schemeClr val="bg1"/>
                  </a:solidFill>
                  <a:latin typeface="Arial" pitchFamily="34" charset="0"/>
                  <a:cs typeface="Arial" pitchFamily="34" charset="0"/>
                </a:rPr>
                <a:t>Organisasi</a:t>
              </a:r>
              <a:r>
                <a:rPr lang="en-US" sz="1600" b="1" dirty="0" smtClean="0">
                  <a:solidFill>
                    <a:schemeClr val="bg1"/>
                  </a:solidFill>
                  <a:latin typeface="Arial" pitchFamily="34" charset="0"/>
                  <a:cs typeface="Arial" pitchFamily="34" charset="0"/>
                </a:rPr>
                <a:t> (10%)</a:t>
              </a:r>
              <a:endParaRPr lang="en-US" sz="1600" b="1" dirty="0">
                <a:solidFill>
                  <a:schemeClr val="bg1"/>
                </a:solidFill>
                <a:latin typeface="Arial" pitchFamily="34" charset="0"/>
                <a:cs typeface="Arial" pitchFamily="34" charset="0"/>
              </a:endParaRPr>
            </a:p>
          </p:txBody>
        </p:sp>
      </p:grpSp>
      <p:sp>
        <p:nvSpPr>
          <p:cNvPr id="21" name="Tekstboks 31"/>
          <p:cNvSpPr txBox="1">
            <a:spLocks noChangeArrowheads="1"/>
          </p:cNvSpPr>
          <p:nvPr/>
        </p:nvSpPr>
        <p:spPr bwMode="auto">
          <a:xfrm>
            <a:off x="838089" y="1590595"/>
            <a:ext cx="3857625" cy="1815882"/>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1  </a:t>
            </a:r>
            <a:r>
              <a:rPr lang="en-US" sz="1600" kern="0" dirty="0" err="1" smtClean="0">
                <a:cs typeface="Arial" pitchFamily="34" charset="0"/>
              </a:rPr>
              <a:t>Pencapaian</a:t>
            </a:r>
            <a:r>
              <a:rPr lang="en-US" sz="1600" kern="0" dirty="0" smtClean="0">
                <a:cs typeface="Arial" pitchFamily="34" charset="0"/>
              </a:rPr>
              <a:t> </a:t>
            </a:r>
            <a:r>
              <a:rPr lang="en-US" sz="1600" kern="0" dirty="0" err="1" smtClean="0">
                <a:cs typeface="Arial" pitchFamily="34" charset="0"/>
              </a:rPr>
              <a:t>matlamat</a:t>
            </a:r>
            <a:endParaRPr lang="en-US" sz="1600" kern="0" dirty="0" smtClean="0">
              <a:cs typeface="Arial" pitchFamily="34" charset="0"/>
            </a:endParaRP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2  </a:t>
            </a:r>
            <a:r>
              <a:rPr lang="en-US" sz="1600" kern="0" dirty="0" err="1" smtClean="0">
                <a:solidFill>
                  <a:sysClr val="windowText" lastClr="000000">
                    <a:lumMod val="85000"/>
                    <a:lumOff val="15000"/>
                  </a:sysClr>
                </a:solidFill>
                <a:cs typeface="Arial" pitchFamily="34" charset="0"/>
              </a:rPr>
              <a:t>Perancang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mbangunan</a:t>
            </a:r>
            <a:r>
              <a:rPr lang="en-US" sz="1600" kern="0" dirty="0" smtClean="0">
                <a:solidFill>
                  <a:sysClr val="windowText" lastClr="000000">
                    <a:lumMod val="85000"/>
                    <a:lumOff val="15000"/>
                  </a:sysClr>
                </a:solidFill>
                <a:cs typeface="Arial" pitchFamily="34" charset="0"/>
              </a:rPr>
              <a:t>   </a:t>
            </a: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ngajaran</a:t>
            </a:r>
            <a:endParaRPr lang="en-US" sz="1600" kern="0" dirty="0" smtClean="0">
              <a:solidFill>
                <a:sysClr val="windowText" lastClr="000000">
                  <a:lumMod val="85000"/>
                  <a:lumOff val="15000"/>
                </a:sysClr>
              </a:solidFill>
              <a:cs typeface="Arial" pitchFamily="34" charset="0"/>
            </a:endParaRP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3  </a:t>
            </a:r>
            <a:r>
              <a:rPr lang="en-US" sz="1600" kern="0" dirty="0" err="1" smtClean="0">
                <a:solidFill>
                  <a:sysClr val="windowText" lastClr="000000">
                    <a:lumMod val="85000"/>
                    <a:lumOff val="15000"/>
                  </a:sysClr>
                </a:solidFill>
                <a:cs typeface="Arial" pitchFamily="34" charset="0"/>
              </a:rPr>
              <a:t>Perkongsi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ngetahu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ngalaman</a:t>
            </a:r>
            <a:endParaRPr lang="en-US" sz="1600" kern="0" dirty="0" smtClean="0">
              <a:solidFill>
                <a:sysClr val="windowText" lastClr="000000">
                  <a:lumMod val="85000"/>
                  <a:lumOff val="15000"/>
                </a:sysClr>
              </a:solidFill>
              <a:cs typeface="Arial" pitchFamily="34" charset="0"/>
            </a:endParaRPr>
          </a:p>
          <a:p>
            <a:pPr marL="361950" indent="-3619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4  </a:t>
            </a:r>
            <a:r>
              <a:rPr lang="en-US" sz="1600" kern="0" dirty="0" err="1" smtClean="0">
                <a:solidFill>
                  <a:sysClr val="windowText" lastClr="000000">
                    <a:lumMod val="85000"/>
                    <a:lumOff val="15000"/>
                  </a:sysClr>
                </a:solidFill>
                <a:cs typeface="Arial" pitchFamily="34" charset="0"/>
              </a:rPr>
              <a:t>Penyelia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mantauan</a:t>
            </a:r>
            <a:endParaRPr lang="en-US" sz="1600" kern="0" dirty="0" smtClean="0">
              <a:solidFill>
                <a:sysClr val="windowText" lastClr="000000">
                  <a:lumMod val="85000"/>
                  <a:lumOff val="15000"/>
                </a:sysClr>
              </a:solidFill>
              <a:cs typeface="Arial" pitchFamily="34" charset="0"/>
            </a:endParaRP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5  </a:t>
            </a:r>
            <a:r>
              <a:rPr lang="en-US" sz="1600" kern="0" dirty="0" err="1" smtClean="0">
                <a:solidFill>
                  <a:sysClr val="windowText" lastClr="000000">
                    <a:lumMod val="85000"/>
                    <a:lumOff val="15000"/>
                  </a:sysClr>
                </a:solidFill>
                <a:cs typeface="Arial" pitchFamily="34" charset="0"/>
              </a:rPr>
              <a:t>Pembelajar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ngajaran</a:t>
            </a:r>
            <a:endParaRPr lang="en-US" sz="1600" kern="0" dirty="0">
              <a:solidFill>
                <a:sysClr val="windowText" lastClr="000000">
                  <a:lumMod val="85000"/>
                  <a:lumOff val="15000"/>
                </a:sysClr>
              </a:solidFill>
              <a:cs typeface="Arial" pitchFamily="34" charset="0"/>
            </a:endParaRPr>
          </a:p>
        </p:txBody>
      </p:sp>
      <p:sp>
        <p:nvSpPr>
          <p:cNvPr id="22" name="Tekstboks 34"/>
          <p:cNvSpPr txBox="1">
            <a:spLocks noChangeArrowheads="1"/>
          </p:cNvSpPr>
          <p:nvPr/>
        </p:nvSpPr>
        <p:spPr bwMode="auto">
          <a:xfrm>
            <a:off x="838090" y="3960985"/>
            <a:ext cx="3857625" cy="1323439"/>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1  </a:t>
            </a:r>
            <a:r>
              <a:rPr lang="en-US" sz="1600" kern="0" dirty="0" err="1" smtClean="0">
                <a:solidFill>
                  <a:sysClr val="windowText" lastClr="000000">
                    <a:lumMod val="85000"/>
                    <a:lumOff val="15000"/>
                  </a:sysClr>
                </a:solidFill>
                <a:cs typeface="Arial" pitchFamily="34" charset="0"/>
              </a:rPr>
              <a:t>Berfokusk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bidang</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tugas</a:t>
            </a:r>
            <a:endParaRPr lang="en-US" sz="1600" kern="0" dirty="0" smtClean="0">
              <a:solidFill>
                <a:sysClr val="windowText" lastClr="000000">
                  <a:lumMod val="85000"/>
                  <a:lumOff val="15000"/>
                </a:sysClr>
              </a:solidFill>
              <a:cs typeface="Arial" pitchFamily="34" charset="0"/>
            </a:endParaRP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2  </a:t>
            </a:r>
            <a:r>
              <a:rPr lang="en-US" sz="1600" kern="0" dirty="0" err="1" smtClean="0">
                <a:solidFill>
                  <a:sysClr val="windowText" lastClr="000000">
                    <a:lumMod val="85000"/>
                    <a:lumOff val="15000"/>
                  </a:sysClr>
                </a:solidFill>
                <a:cs typeface="Arial" pitchFamily="34" charset="0"/>
              </a:rPr>
              <a:t>Kewangan</a:t>
            </a:r>
            <a:endParaRPr lang="en-US" sz="1600" kern="0" dirty="0" smtClean="0">
              <a:solidFill>
                <a:sysClr val="windowText" lastClr="000000">
                  <a:lumMod val="85000"/>
                  <a:lumOff val="15000"/>
                </a:sysClr>
              </a:solidFill>
              <a:cs typeface="Arial" pitchFamily="34" charset="0"/>
            </a:endParaRP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3  Pembangunan </a:t>
            </a:r>
            <a:r>
              <a:rPr lang="en-US" sz="1600" kern="0" dirty="0" err="1" smtClean="0">
                <a:solidFill>
                  <a:sysClr val="windowText" lastClr="000000">
                    <a:lumMod val="85000"/>
                    <a:lumOff val="15000"/>
                  </a:sysClr>
                </a:solidFill>
                <a:cs typeface="Arial" pitchFamily="34" charset="0"/>
              </a:rPr>
              <a:t>fizikal</a:t>
            </a:r>
            <a:endParaRPr lang="en-US" sz="1600" kern="0" dirty="0" smtClean="0">
              <a:solidFill>
                <a:sysClr val="windowText" lastClr="000000">
                  <a:lumMod val="85000"/>
                  <a:lumOff val="15000"/>
                </a:sysClr>
              </a:solidFill>
              <a:cs typeface="Arial" pitchFamily="34" charset="0"/>
            </a:endParaRP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4  </a:t>
            </a:r>
            <a:r>
              <a:rPr lang="en-US" sz="1600" kern="0" dirty="0" err="1" smtClean="0">
                <a:solidFill>
                  <a:sysClr val="windowText" lastClr="000000">
                    <a:lumMod val="85000"/>
                    <a:lumOff val="15000"/>
                  </a:sysClr>
                </a:solidFill>
                <a:cs typeface="Arial" pitchFamily="34" charset="0"/>
              </a:rPr>
              <a:t>Sumber</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manusia</a:t>
            </a:r>
            <a:endParaRPr lang="en-US" sz="1600" kern="0" dirty="0" smtClean="0">
              <a:solidFill>
                <a:sysClr val="windowText" lastClr="000000">
                  <a:lumMod val="85000"/>
                  <a:lumOff val="15000"/>
                </a:sysClr>
              </a:solidFill>
              <a:cs typeface="Arial" pitchFamily="34" charset="0"/>
            </a:endParaRP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5  </a:t>
            </a:r>
            <a:r>
              <a:rPr lang="en-US" sz="1600" kern="0" dirty="0" err="1" smtClean="0">
                <a:solidFill>
                  <a:sysClr val="windowText" lastClr="000000">
                    <a:lumMod val="85000"/>
                    <a:lumOff val="15000"/>
                  </a:sysClr>
                </a:solidFill>
                <a:cs typeface="Arial" pitchFamily="34" charset="0"/>
              </a:rPr>
              <a:t>Maklumat</a:t>
            </a:r>
            <a:endParaRPr lang="en-US" sz="1600" kern="0" dirty="0">
              <a:solidFill>
                <a:sysClr val="windowText" lastClr="000000">
                  <a:lumMod val="85000"/>
                  <a:lumOff val="15000"/>
                </a:sysClr>
              </a:solidFill>
              <a:cs typeface="Arial" pitchFamily="34" charset="0"/>
            </a:endParaRPr>
          </a:p>
        </p:txBody>
      </p:sp>
      <p:sp>
        <p:nvSpPr>
          <p:cNvPr id="23" name="Tekstboks 36"/>
          <p:cNvSpPr txBox="1">
            <a:spLocks noChangeArrowheads="1"/>
          </p:cNvSpPr>
          <p:nvPr/>
        </p:nvSpPr>
        <p:spPr bwMode="auto">
          <a:xfrm>
            <a:off x="898957" y="5815122"/>
            <a:ext cx="3857624" cy="584775"/>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3.1  Pengurusan </a:t>
            </a:r>
            <a:r>
              <a:rPr lang="en-US" sz="1600" kern="0" dirty="0" err="1" smtClean="0">
                <a:solidFill>
                  <a:sysClr val="windowText" lastClr="000000">
                    <a:lumMod val="85000"/>
                    <a:lumOff val="15000"/>
                  </a:sysClr>
                </a:solidFill>
                <a:cs typeface="Arial" pitchFamily="34" charset="0"/>
              </a:rPr>
              <a:t>organisasi</a:t>
            </a:r>
            <a:endParaRPr lang="en-US" sz="1600" kern="0" dirty="0" smtClean="0">
              <a:solidFill>
                <a:sysClr val="windowText" lastClr="000000">
                  <a:lumMod val="85000"/>
                  <a:lumOff val="15000"/>
                </a:sysClr>
              </a:solidFill>
              <a:cs typeface="Arial" pitchFamily="34" charset="0"/>
            </a:endParaRPr>
          </a:p>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3.2  </a:t>
            </a:r>
            <a:r>
              <a:rPr lang="en-US" sz="1600" kern="0" dirty="0" err="1" smtClean="0">
                <a:solidFill>
                  <a:sysClr val="windowText" lastClr="000000">
                    <a:lumMod val="85000"/>
                    <a:lumOff val="15000"/>
                  </a:sysClr>
                </a:solidFill>
                <a:cs typeface="Arial" pitchFamily="34" charset="0"/>
              </a:rPr>
              <a:t>Proaktif</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lam</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tindakan</a:t>
            </a:r>
            <a:endParaRPr lang="en-US" sz="1600" kern="0" dirty="0">
              <a:solidFill>
                <a:sysClr val="windowText" lastClr="000000">
                  <a:lumMod val="85000"/>
                  <a:lumOff val="15000"/>
                </a:sysClr>
              </a:solidFill>
              <a:cs typeface="Arial" pitchFamily="34" charset="0"/>
            </a:endParaRPr>
          </a:p>
        </p:txBody>
      </p:sp>
      <p:sp>
        <p:nvSpPr>
          <p:cNvPr id="25" name="TextBox 24"/>
          <p:cNvSpPr txBox="1"/>
          <p:nvPr/>
        </p:nvSpPr>
        <p:spPr>
          <a:xfrm>
            <a:off x="114646" y="1470322"/>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rPr>
              <a:t>E1</a:t>
            </a:r>
            <a:endParaRPr lang="en-US" sz="4400" b="1" dirty="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endParaRPr>
          </a:p>
        </p:txBody>
      </p:sp>
      <p:sp>
        <p:nvSpPr>
          <p:cNvPr id="26" name="TextBox 25"/>
          <p:cNvSpPr txBox="1"/>
          <p:nvPr/>
        </p:nvSpPr>
        <p:spPr>
          <a:xfrm>
            <a:off x="88578" y="3869128"/>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rPr>
              <a:t>E2</a:t>
            </a:r>
            <a:endParaRPr lang="en-US" sz="4400" b="1" dirty="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endParaRPr>
          </a:p>
        </p:txBody>
      </p:sp>
      <p:sp>
        <p:nvSpPr>
          <p:cNvPr id="27" name="TextBox 26"/>
          <p:cNvSpPr txBox="1"/>
          <p:nvPr/>
        </p:nvSpPr>
        <p:spPr>
          <a:xfrm>
            <a:off x="197064" y="5675640"/>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8000"/>
                </a:solidFill>
                <a:effectLst>
                  <a:outerShdw blurRad="50000" dist="50800" dir="7500000" algn="tl">
                    <a:srgbClr val="000000">
                      <a:shade val="5000"/>
                      <a:alpha val="35000"/>
                    </a:srgbClr>
                  </a:outerShdw>
                </a:effectLst>
                <a:latin typeface="Rockwell"/>
                <a:cs typeface="Rockwell"/>
              </a:rPr>
              <a:t>E3</a:t>
            </a:r>
            <a:endParaRPr lang="en-US" sz="4400" b="1" dirty="0">
              <a:ln w="19050">
                <a:solidFill>
                  <a:schemeClr val="tx2">
                    <a:tint val="1000"/>
                  </a:schemeClr>
                </a:solidFill>
                <a:prstDash val="solid"/>
              </a:ln>
              <a:solidFill>
                <a:srgbClr val="008000"/>
              </a:solidFill>
              <a:effectLst>
                <a:outerShdw blurRad="50000" dist="50800" dir="7500000" algn="tl">
                  <a:srgbClr val="000000">
                    <a:shade val="5000"/>
                    <a:alpha val="35000"/>
                  </a:srgbClr>
                </a:outerShdw>
              </a:effectLst>
              <a:latin typeface="Rockwell"/>
              <a:cs typeface="Rockwell"/>
            </a:endParaRPr>
          </a:p>
        </p:txBody>
      </p:sp>
      <p:grpSp>
        <p:nvGrpSpPr>
          <p:cNvPr id="14" name="Group 13"/>
          <p:cNvGrpSpPr/>
          <p:nvPr/>
        </p:nvGrpSpPr>
        <p:grpSpPr>
          <a:xfrm>
            <a:off x="6578210" y="730418"/>
            <a:ext cx="2261882" cy="2256690"/>
            <a:chOff x="5790810" y="2019211"/>
            <a:chExt cx="2261882" cy="2256690"/>
          </a:xfrm>
        </p:grpSpPr>
        <p:sp>
          <p:nvSpPr>
            <p:cNvPr id="29" name="Freeform 6"/>
            <p:cNvSpPr>
              <a:spLocks noEditPoints="1"/>
            </p:cNvSpPr>
            <p:nvPr/>
          </p:nvSpPr>
          <p:spPr bwMode="auto">
            <a:xfrm>
              <a:off x="5790810" y="2019211"/>
              <a:ext cx="2261882" cy="2256690"/>
            </a:xfrm>
            <a:custGeom>
              <a:avLst/>
              <a:gdLst>
                <a:gd name="T0" fmla="*/ 242 w 553"/>
                <a:gd name="T1" fmla="*/ 35 h 552"/>
                <a:gd name="T2" fmla="*/ 310 w 553"/>
                <a:gd name="T3" fmla="*/ 35 h 552"/>
                <a:gd name="T4" fmla="*/ 326 w 553"/>
                <a:gd name="T5" fmla="*/ 0 h 552"/>
                <a:gd name="T6" fmla="*/ 399 w 553"/>
                <a:gd name="T7" fmla="*/ 24 h 552"/>
                <a:gd name="T8" fmla="*/ 390 w 553"/>
                <a:gd name="T9" fmla="*/ 59 h 552"/>
                <a:gd name="T10" fmla="*/ 447 w 553"/>
                <a:gd name="T11" fmla="*/ 101 h 552"/>
                <a:gd name="T12" fmla="*/ 479 w 553"/>
                <a:gd name="T13" fmla="*/ 81 h 552"/>
                <a:gd name="T14" fmla="*/ 524 w 553"/>
                <a:gd name="T15" fmla="*/ 145 h 552"/>
                <a:gd name="T16" fmla="*/ 496 w 553"/>
                <a:gd name="T17" fmla="*/ 168 h 552"/>
                <a:gd name="T18" fmla="*/ 517 w 553"/>
                <a:gd name="T19" fmla="*/ 233 h 552"/>
                <a:gd name="T20" fmla="*/ 553 w 553"/>
                <a:gd name="T21" fmla="*/ 237 h 552"/>
                <a:gd name="T22" fmla="*/ 553 w 553"/>
                <a:gd name="T23" fmla="*/ 316 h 552"/>
                <a:gd name="T24" fmla="*/ 520 w 553"/>
                <a:gd name="T25" fmla="*/ 317 h 552"/>
                <a:gd name="T26" fmla="*/ 497 w 553"/>
                <a:gd name="T27" fmla="*/ 383 h 552"/>
                <a:gd name="T28" fmla="*/ 524 w 553"/>
                <a:gd name="T29" fmla="*/ 407 h 552"/>
                <a:gd name="T30" fmla="*/ 477 w 553"/>
                <a:gd name="T31" fmla="*/ 470 h 552"/>
                <a:gd name="T32" fmla="*/ 449 w 553"/>
                <a:gd name="T33" fmla="*/ 452 h 552"/>
                <a:gd name="T34" fmla="*/ 390 w 553"/>
                <a:gd name="T35" fmla="*/ 493 h 552"/>
                <a:gd name="T36" fmla="*/ 399 w 553"/>
                <a:gd name="T37" fmla="*/ 529 h 552"/>
                <a:gd name="T38" fmla="*/ 324 w 553"/>
                <a:gd name="T39" fmla="*/ 552 h 552"/>
                <a:gd name="T40" fmla="*/ 313 w 553"/>
                <a:gd name="T41" fmla="*/ 520 h 552"/>
                <a:gd name="T42" fmla="*/ 242 w 553"/>
                <a:gd name="T43" fmla="*/ 520 h 552"/>
                <a:gd name="T44" fmla="*/ 229 w 553"/>
                <a:gd name="T45" fmla="*/ 552 h 552"/>
                <a:gd name="T46" fmla="*/ 154 w 553"/>
                <a:gd name="T47" fmla="*/ 529 h 552"/>
                <a:gd name="T48" fmla="*/ 163 w 553"/>
                <a:gd name="T49" fmla="*/ 494 h 552"/>
                <a:gd name="T50" fmla="*/ 107 w 553"/>
                <a:gd name="T51" fmla="*/ 452 h 552"/>
                <a:gd name="T52" fmla="*/ 77 w 553"/>
                <a:gd name="T53" fmla="*/ 470 h 552"/>
                <a:gd name="T54" fmla="*/ 29 w 553"/>
                <a:gd name="T55" fmla="*/ 409 h 552"/>
                <a:gd name="T56" fmla="*/ 58 w 553"/>
                <a:gd name="T57" fmla="*/ 385 h 552"/>
                <a:gd name="T58" fmla="*/ 35 w 553"/>
                <a:gd name="T59" fmla="*/ 317 h 552"/>
                <a:gd name="T60" fmla="*/ 0 w 553"/>
                <a:gd name="T61" fmla="*/ 316 h 552"/>
                <a:gd name="T62" fmla="*/ 0 w 553"/>
                <a:gd name="T63" fmla="*/ 237 h 552"/>
                <a:gd name="T64" fmla="*/ 35 w 553"/>
                <a:gd name="T65" fmla="*/ 234 h 552"/>
                <a:gd name="T66" fmla="*/ 58 w 553"/>
                <a:gd name="T67" fmla="*/ 170 h 552"/>
                <a:gd name="T68" fmla="*/ 29 w 553"/>
                <a:gd name="T69" fmla="*/ 146 h 552"/>
                <a:gd name="T70" fmla="*/ 74 w 553"/>
                <a:gd name="T71" fmla="*/ 81 h 552"/>
                <a:gd name="T72" fmla="*/ 105 w 553"/>
                <a:gd name="T73" fmla="*/ 101 h 552"/>
                <a:gd name="T74" fmla="*/ 163 w 553"/>
                <a:gd name="T75" fmla="*/ 60 h 552"/>
                <a:gd name="T76" fmla="*/ 154 w 553"/>
                <a:gd name="T77" fmla="*/ 24 h 552"/>
                <a:gd name="T78" fmla="*/ 226 w 553"/>
                <a:gd name="T79" fmla="*/ 0 h 552"/>
                <a:gd name="T80" fmla="*/ 242 w 553"/>
                <a:gd name="T81" fmla="*/ 35 h 552"/>
                <a:gd name="T82" fmla="*/ 167 w 553"/>
                <a:gd name="T83" fmla="*/ 98 h 552"/>
                <a:gd name="T84" fmla="*/ 81 w 553"/>
                <a:gd name="T85" fmla="*/ 351 h 552"/>
                <a:gd name="T86" fmla="*/ 204 w 553"/>
                <a:gd name="T87" fmla="*/ 473 h 552"/>
                <a:gd name="T88" fmla="*/ 397 w 553"/>
                <a:gd name="T89" fmla="*/ 448 h 552"/>
                <a:gd name="T90" fmla="*/ 486 w 553"/>
                <a:gd name="T91" fmla="*/ 292 h 552"/>
                <a:gd name="T92" fmla="*/ 426 w 553"/>
                <a:gd name="T93" fmla="*/ 129 h 552"/>
                <a:gd name="T94" fmla="*/ 261 w 553"/>
                <a:gd name="T95" fmla="*/ 69 h 552"/>
                <a:gd name="T96" fmla="*/ 167 w 553"/>
                <a:gd name="T97" fmla="*/ 9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 h="552">
                  <a:moveTo>
                    <a:pt x="242" y="35"/>
                  </a:moveTo>
                  <a:cubicBezTo>
                    <a:pt x="261" y="31"/>
                    <a:pt x="291" y="31"/>
                    <a:pt x="310" y="35"/>
                  </a:cubicBezTo>
                  <a:cubicBezTo>
                    <a:pt x="318" y="25"/>
                    <a:pt x="320" y="11"/>
                    <a:pt x="326" y="0"/>
                  </a:cubicBezTo>
                  <a:cubicBezTo>
                    <a:pt x="349" y="8"/>
                    <a:pt x="374" y="16"/>
                    <a:pt x="399" y="24"/>
                  </a:cubicBezTo>
                  <a:cubicBezTo>
                    <a:pt x="397" y="36"/>
                    <a:pt x="393" y="47"/>
                    <a:pt x="390" y="59"/>
                  </a:cubicBezTo>
                  <a:cubicBezTo>
                    <a:pt x="410" y="72"/>
                    <a:pt x="430" y="84"/>
                    <a:pt x="447" y="101"/>
                  </a:cubicBezTo>
                  <a:cubicBezTo>
                    <a:pt x="458" y="95"/>
                    <a:pt x="467" y="87"/>
                    <a:pt x="479" y="81"/>
                  </a:cubicBezTo>
                  <a:cubicBezTo>
                    <a:pt x="493" y="103"/>
                    <a:pt x="509" y="123"/>
                    <a:pt x="524" y="145"/>
                  </a:cubicBezTo>
                  <a:cubicBezTo>
                    <a:pt x="515" y="153"/>
                    <a:pt x="505" y="160"/>
                    <a:pt x="496" y="168"/>
                  </a:cubicBezTo>
                  <a:cubicBezTo>
                    <a:pt x="505" y="187"/>
                    <a:pt x="513" y="208"/>
                    <a:pt x="517" y="233"/>
                  </a:cubicBezTo>
                  <a:cubicBezTo>
                    <a:pt x="526" y="238"/>
                    <a:pt x="543" y="234"/>
                    <a:pt x="553" y="237"/>
                  </a:cubicBezTo>
                  <a:cubicBezTo>
                    <a:pt x="553" y="263"/>
                    <a:pt x="553" y="290"/>
                    <a:pt x="553" y="316"/>
                  </a:cubicBezTo>
                  <a:cubicBezTo>
                    <a:pt x="542" y="316"/>
                    <a:pt x="532" y="318"/>
                    <a:pt x="520" y="317"/>
                  </a:cubicBezTo>
                  <a:cubicBezTo>
                    <a:pt x="512" y="339"/>
                    <a:pt x="507" y="364"/>
                    <a:pt x="497" y="383"/>
                  </a:cubicBezTo>
                  <a:cubicBezTo>
                    <a:pt x="504" y="394"/>
                    <a:pt x="515" y="399"/>
                    <a:pt x="524" y="407"/>
                  </a:cubicBezTo>
                  <a:cubicBezTo>
                    <a:pt x="509" y="429"/>
                    <a:pt x="494" y="451"/>
                    <a:pt x="477" y="470"/>
                  </a:cubicBezTo>
                  <a:cubicBezTo>
                    <a:pt x="467" y="465"/>
                    <a:pt x="458" y="459"/>
                    <a:pt x="449" y="452"/>
                  </a:cubicBezTo>
                  <a:cubicBezTo>
                    <a:pt x="430" y="466"/>
                    <a:pt x="413" y="483"/>
                    <a:pt x="390" y="493"/>
                  </a:cubicBezTo>
                  <a:cubicBezTo>
                    <a:pt x="393" y="506"/>
                    <a:pt x="397" y="516"/>
                    <a:pt x="399" y="529"/>
                  </a:cubicBezTo>
                  <a:cubicBezTo>
                    <a:pt x="373" y="536"/>
                    <a:pt x="351" y="546"/>
                    <a:pt x="324" y="552"/>
                  </a:cubicBezTo>
                  <a:cubicBezTo>
                    <a:pt x="322" y="540"/>
                    <a:pt x="316" y="531"/>
                    <a:pt x="313" y="520"/>
                  </a:cubicBezTo>
                  <a:cubicBezTo>
                    <a:pt x="291" y="521"/>
                    <a:pt x="264" y="522"/>
                    <a:pt x="242" y="520"/>
                  </a:cubicBezTo>
                  <a:cubicBezTo>
                    <a:pt x="236" y="529"/>
                    <a:pt x="232" y="540"/>
                    <a:pt x="229" y="552"/>
                  </a:cubicBezTo>
                  <a:cubicBezTo>
                    <a:pt x="202" y="546"/>
                    <a:pt x="180" y="536"/>
                    <a:pt x="154" y="529"/>
                  </a:cubicBezTo>
                  <a:cubicBezTo>
                    <a:pt x="157" y="517"/>
                    <a:pt x="160" y="506"/>
                    <a:pt x="163" y="494"/>
                  </a:cubicBezTo>
                  <a:cubicBezTo>
                    <a:pt x="143" y="481"/>
                    <a:pt x="123" y="469"/>
                    <a:pt x="107" y="452"/>
                  </a:cubicBezTo>
                  <a:cubicBezTo>
                    <a:pt x="96" y="457"/>
                    <a:pt x="87" y="464"/>
                    <a:pt x="77" y="470"/>
                  </a:cubicBezTo>
                  <a:cubicBezTo>
                    <a:pt x="58" y="453"/>
                    <a:pt x="46" y="429"/>
                    <a:pt x="29" y="409"/>
                  </a:cubicBezTo>
                  <a:cubicBezTo>
                    <a:pt x="38" y="400"/>
                    <a:pt x="48" y="392"/>
                    <a:pt x="58" y="385"/>
                  </a:cubicBezTo>
                  <a:cubicBezTo>
                    <a:pt x="47" y="365"/>
                    <a:pt x="41" y="341"/>
                    <a:pt x="35" y="317"/>
                  </a:cubicBezTo>
                  <a:cubicBezTo>
                    <a:pt x="22" y="318"/>
                    <a:pt x="12" y="316"/>
                    <a:pt x="0" y="316"/>
                  </a:cubicBezTo>
                  <a:cubicBezTo>
                    <a:pt x="0" y="290"/>
                    <a:pt x="0" y="263"/>
                    <a:pt x="0" y="237"/>
                  </a:cubicBezTo>
                  <a:cubicBezTo>
                    <a:pt x="10" y="235"/>
                    <a:pt x="25" y="237"/>
                    <a:pt x="35" y="234"/>
                  </a:cubicBezTo>
                  <a:cubicBezTo>
                    <a:pt x="42" y="212"/>
                    <a:pt x="47" y="188"/>
                    <a:pt x="58" y="170"/>
                  </a:cubicBezTo>
                  <a:cubicBezTo>
                    <a:pt x="50" y="160"/>
                    <a:pt x="39" y="153"/>
                    <a:pt x="29" y="146"/>
                  </a:cubicBezTo>
                  <a:cubicBezTo>
                    <a:pt x="43" y="123"/>
                    <a:pt x="61" y="104"/>
                    <a:pt x="74" y="81"/>
                  </a:cubicBezTo>
                  <a:cubicBezTo>
                    <a:pt x="85" y="87"/>
                    <a:pt x="95" y="94"/>
                    <a:pt x="105" y="101"/>
                  </a:cubicBezTo>
                  <a:cubicBezTo>
                    <a:pt x="124" y="87"/>
                    <a:pt x="141" y="71"/>
                    <a:pt x="163" y="60"/>
                  </a:cubicBezTo>
                  <a:cubicBezTo>
                    <a:pt x="161" y="47"/>
                    <a:pt x="157" y="37"/>
                    <a:pt x="154" y="24"/>
                  </a:cubicBezTo>
                  <a:cubicBezTo>
                    <a:pt x="178" y="16"/>
                    <a:pt x="204" y="9"/>
                    <a:pt x="226" y="0"/>
                  </a:cubicBezTo>
                  <a:cubicBezTo>
                    <a:pt x="234" y="9"/>
                    <a:pt x="236" y="24"/>
                    <a:pt x="242" y="35"/>
                  </a:cubicBezTo>
                  <a:close/>
                  <a:moveTo>
                    <a:pt x="167" y="98"/>
                  </a:moveTo>
                  <a:cubicBezTo>
                    <a:pt x="97" y="141"/>
                    <a:pt x="40" y="241"/>
                    <a:pt x="81" y="351"/>
                  </a:cubicBezTo>
                  <a:cubicBezTo>
                    <a:pt x="103" y="407"/>
                    <a:pt x="147" y="452"/>
                    <a:pt x="204" y="473"/>
                  </a:cubicBezTo>
                  <a:cubicBezTo>
                    <a:pt x="270" y="498"/>
                    <a:pt x="345" y="485"/>
                    <a:pt x="397" y="448"/>
                  </a:cubicBezTo>
                  <a:cubicBezTo>
                    <a:pt x="444" y="415"/>
                    <a:pt x="481" y="363"/>
                    <a:pt x="486" y="292"/>
                  </a:cubicBezTo>
                  <a:cubicBezTo>
                    <a:pt x="491" y="221"/>
                    <a:pt x="459" y="163"/>
                    <a:pt x="426" y="129"/>
                  </a:cubicBezTo>
                  <a:cubicBezTo>
                    <a:pt x="389" y="93"/>
                    <a:pt x="330" y="63"/>
                    <a:pt x="261" y="69"/>
                  </a:cubicBezTo>
                  <a:cubicBezTo>
                    <a:pt x="224" y="72"/>
                    <a:pt x="192" y="83"/>
                    <a:pt x="167" y="98"/>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TextBox 32"/>
            <p:cNvSpPr txBox="1"/>
            <p:nvPr/>
          </p:nvSpPr>
          <p:spPr>
            <a:xfrm>
              <a:off x="6120408" y="2664906"/>
              <a:ext cx="1642521" cy="923330"/>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5400" dirty="0" smtClean="0">
                  <a:solidFill>
                    <a:srgbClr val="FF0000"/>
                  </a:solidFill>
                </a:rPr>
                <a:t>PTA</a:t>
              </a:r>
            </a:p>
          </p:txBody>
        </p:sp>
      </p:grpSp>
      <p:pic>
        <p:nvPicPr>
          <p:cNvPr id="30" name="Picture 29" descr="businessman copy.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5650" y="1212024"/>
            <a:ext cx="1981152" cy="4818388"/>
          </a:xfrm>
          <a:prstGeom prst="rect">
            <a:avLst/>
          </a:prstGeom>
        </p:spPr>
      </p:pic>
      <p:sp>
        <p:nvSpPr>
          <p:cNvPr id="28" name="Rectangle 27"/>
          <p:cNvSpPr/>
          <p:nvPr/>
        </p:nvSpPr>
        <p:spPr bwMode="auto">
          <a:xfrm>
            <a:off x="6167249" y="3123118"/>
            <a:ext cx="2672843" cy="481049"/>
          </a:xfrm>
          <a:prstGeom prst="rect">
            <a:avLst/>
          </a:prstGeom>
          <a:gradFill flip="none" rotWithShape="1">
            <a:gsLst>
              <a:gs pos="100000">
                <a:schemeClr val="bg1">
                  <a:alpha val="0"/>
                </a:schemeClr>
              </a:gs>
              <a:gs pos="98000">
                <a:srgbClr val="F86969"/>
              </a:gs>
              <a:gs pos="47000">
                <a:srgbClr val="F63C3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000" b="1" dirty="0" err="1" smtClean="0">
                <a:solidFill>
                  <a:schemeClr val="bg1"/>
                </a:solidFill>
                <a:effectLst>
                  <a:outerShdw blurRad="38100" dist="38100" dir="2700000" algn="tl">
                    <a:srgbClr val="000000">
                      <a:alpha val="43137"/>
                    </a:srgbClr>
                  </a:outerShdw>
                </a:effectLst>
              </a:rPr>
              <a:t>Pengetua</a:t>
            </a:r>
            <a:r>
              <a:rPr lang="en-US" sz="2000" b="1" dirty="0" smtClean="0">
                <a:solidFill>
                  <a:schemeClr val="bg1"/>
                </a:solidFill>
                <a:effectLst>
                  <a:outerShdw blurRad="38100" dist="38100" dir="2700000" algn="tl">
                    <a:srgbClr val="000000">
                      <a:alpha val="43137"/>
                    </a:srgbClr>
                  </a:outerShdw>
                </a:effectLst>
              </a:rPr>
              <a:t>/ Guru </a:t>
            </a:r>
            <a:r>
              <a:rPr lang="en-US" sz="2000" b="1" dirty="0" err="1" smtClean="0">
                <a:solidFill>
                  <a:schemeClr val="bg1"/>
                </a:solidFill>
                <a:effectLst>
                  <a:outerShdw blurRad="38100" dist="38100" dir="2700000" algn="tl">
                    <a:srgbClr val="000000">
                      <a:alpha val="43137"/>
                    </a:srgbClr>
                  </a:outerShdw>
                </a:effectLst>
              </a:rPr>
              <a:t>Besar</a:t>
            </a:r>
            <a:endParaRPr lang="en-US" sz="2000" b="1" dirty="0">
              <a:solidFill>
                <a:schemeClr val="bg1"/>
              </a:solidFill>
              <a:effectLst>
                <a:outerShdw blurRad="38100" dist="38100" dir="2700000" algn="tl">
                  <a:srgbClr val="000000">
                    <a:alpha val="43137"/>
                  </a:srgbClr>
                </a:outerShdw>
              </a:effectLst>
            </a:endParaRPr>
          </a:p>
        </p:txBody>
      </p:sp>
      <p:sp>
        <p:nvSpPr>
          <p:cNvPr id="31" name="Rectangle 30"/>
          <p:cNvSpPr/>
          <p:nvPr/>
        </p:nvSpPr>
        <p:spPr bwMode="auto">
          <a:xfrm>
            <a:off x="6167249" y="3744242"/>
            <a:ext cx="2672843" cy="481049"/>
          </a:xfrm>
          <a:prstGeom prst="rect">
            <a:avLst/>
          </a:prstGeom>
          <a:gradFill flip="none" rotWithShape="1">
            <a:gsLst>
              <a:gs pos="100000">
                <a:schemeClr val="bg1">
                  <a:alpha val="0"/>
                </a:schemeClr>
              </a:gs>
              <a:gs pos="98000">
                <a:srgbClr val="F86969"/>
              </a:gs>
              <a:gs pos="47000">
                <a:srgbClr val="F63C3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000" b="1" dirty="0" smtClean="0">
                <a:solidFill>
                  <a:schemeClr val="bg1"/>
                </a:solidFill>
                <a:effectLst>
                  <a:outerShdw blurRad="38100" dist="38100" dir="2700000" algn="tl">
                    <a:srgbClr val="000000">
                      <a:alpha val="43137"/>
                    </a:srgbClr>
                  </a:outerShdw>
                </a:effectLst>
              </a:rPr>
              <a:t>Guru </a:t>
            </a:r>
            <a:r>
              <a:rPr lang="en-US" sz="2000" b="1" dirty="0" err="1" smtClean="0">
                <a:solidFill>
                  <a:schemeClr val="bg1"/>
                </a:solidFill>
                <a:effectLst>
                  <a:outerShdw blurRad="38100" dist="38100" dir="2700000" algn="tl">
                    <a:srgbClr val="000000">
                      <a:alpha val="43137"/>
                    </a:srgbClr>
                  </a:outerShdw>
                </a:effectLst>
              </a:rPr>
              <a:t>Penolong</a:t>
            </a:r>
            <a:r>
              <a:rPr lang="en-US" sz="2000" b="1" dirty="0" smtClean="0">
                <a:solidFill>
                  <a:schemeClr val="bg1"/>
                </a:solidFill>
                <a:effectLst>
                  <a:outerShdw blurRad="38100" dist="38100" dir="2700000" algn="tl">
                    <a:srgbClr val="000000">
                      <a:alpha val="43137"/>
                    </a:srgbClr>
                  </a:outerShdw>
                </a:effectLst>
              </a:rPr>
              <a:t> </a:t>
            </a:r>
            <a:r>
              <a:rPr lang="en-US" sz="2000" b="1" dirty="0" err="1" smtClean="0">
                <a:solidFill>
                  <a:schemeClr val="bg1"/>
                </a:solidFill>
                <a:effectLst>
                  <a:outerShdw blurRad="38100" dist="38100" dir="2700000" algn="tl">
                    <a:srgbClr val="000000">
                      <a:alpha val="43137"/>
                    </a:srgbClr>
                  </a:outerShdw>
                </a:effectLst>
              </a:rPr>
              <a:t>Kanan</a:t>
            </a:r>
            <a:endParaRPr lang="en-US" sz="2000" b="1" dirty="0">
              <a:solidFill>
                <a:schemeClr val="bg1"/>
              </a:solidFill>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box(in)">
                                      <p:cBhvr>
                                        <p:cTn id="10" dur="500"/>
                                        <p:tgtEl>
                                          <p:spTgt spid="25"/>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box(in)">
                                      <p:cBhvr>
                                        <p:cTn id="13" dur="500"/>
                                        <p:tgtEl>
                                          <p:spTgt spid="21"/>
                                        </p:tgtEl>
                                      </p:cBhvr>
                                    </p:animEffect>
                                  </p:childTnLst>
                                </p:cTn>
                              </p:par>
                            </p:childTnLst>
                          </p:cTn>
                        </p:par>
                      </p:childTnLst>
                    </p:cTn>
                  </p:par>
                  <p:par>
                    <p:cTn id="14" fill="hold">
                      <p:stCondLst>
                        <p:cond delay="indefinite"/>
                      </p:stCondLst>
                      <p:childTnLst>
                        <p:par>
                          <p:cTn id="15" fill="hold">
                            <p:stCondLst>
                              <p:cond delay="0"/>
                            </p:stCondLst>
                            <p:childTnLst>
                              <p:par>
                                <p:cTn id="16" presetID="47" presetClass="entr" presetSubtype="0"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anim calcmode="lin" valueType="num">
                                      <p:cBhvr>
                                        <p:cTn id="19" dur="500" fill="hold"/>
                                        <p:tgtEl>
                                          <p:spTgt spid="3"/>
                                        </p:tgtEl>
                                        <p:attrNameLst>
                                          <p:attrName>ppt_x</p:attrName>
                                        </p:attrNameLst>
                                      </p:cBhvr>
                                      <p:tavLst>
                                        <p:tav tm="0">
                                          <p:val>
                                            <p:strVal val="#ppt_x"/>
                                          </p:val>
                                        </p:tav>
                                        <p:tav tm="100000">
                                          <p:val>
                                            <p:strVal val="#ppt_x"/>
                                          </p:val>
                                        </p:tav>
                                      </p:tavLst>
                                    </p:anim>
                                    <p:anim calcmode="lin" valueType="num">
                                      <p:cBhvr>
                                        <p:cTn id="20" dur="500" fill="hold"/>
                                        <p:tgtEl>
                                          <p:spTgt spid="3"/>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anim calcmode="lin" valueType="num">
                                      <p:cBhvr>
                                        <p:cTn id="24" dur="500" fill="hold"/>
                                        <p:tgtEl>
                                          <p:spTgt spid="22"/>
                                        </p:tgtEl>
                                        <p:attrNameLst>
                                          <p:attrName>ppt_x</p:attrName>
                                        </p:attrNameLst>
                                      </p:cBhvr>
                                      <p:tavLst>
                                        <p:tav tm="0">
                                          <p:val>
                                            <p:strVal val="#ppt_x"/>
                                          </p:val>
                                        </p:tav>
                                        <p:tav tm="100000">
                                          <p:val>
                                            <p:strVal val="#ppt_x"/>
                                          </p:val>
                                        </p:tav>
                                      </p:tavLst>
                                    </p:anim>
                                    <p:anim calcmode="lin" valueType="num">
                                      <p:cBhvr>
                                        <p:cTn id="25" dur="500" fill="hold"/>
                                        <p:tgtEl>
                                          <p:spTgt spid="22"/>
                                        </p:tgtEl>
                                        <p:attrNameLst>
                                          <p:attrName>ppt_y</p:attrName>
                                        </p:attrNameLst>
                                      </p:cBhvr>
                                      <p:tavLst>
                                        <p:tav tm="0">
                                          <p:val>
                                            <p:strVal val="#ppt_y-.1"/>
                                          </p:val>
                                        </p:tav>
                                        <p:tav tm="100000">
                                          <p:val>
                                            <p:strVal val="#ppt_y"/>
                                          </p:val>
                                        </p:tav>
                                      </p:tavLst>
                                    </p:anim>
                                  </p:childTnLst>
                                </p:cTn>
                              </p:par>
                              <p:par>
                                <p:cTn id="26" presetID="47" presetClass="entr" presetSubtype="0" fill="hold" grpId="0"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anim calcmode="lin" valueType="num">
                                      <p:cBhvr>
                                        <p:cTn id="29" dur="500" fill="hold"/>
                                        <p:tgtEl>
                                          <p:spTgt spid="26"/>
                                        </p:tgtEl>
                                        <p:attrNameLst>
                                          <p:attrName>ppt_x</p:attrName>
                                        </p:attrNameLst>
                                      </p:cBhvr>
                                      <p:tavLst>
                                        <p:tav tm="0">
                                          <p:val>
                                            <p:strVal val="#ppt_x"/>
                                          </p:val>
                                        </p:tav>
                                        <p:tav tm="100000">
                                          <p:val>
                                            <p:strVal val="#ppt_x"/>
                                          </p:val>
                                        </p:tav>
                                      </p:tavLst>
                                    </p:anim>
                                    <p:anim calcmode="lin" valueType="num">
                                      <p:cBhvr>
                                        <p:cTn id="30" dur="5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1000"/>
                                        <p:tgtEl>
                                          <p:spTgt spid="11"/>
                                        </p:tgtEl>
                                      </p:cBhvr>
                                    </p:animEffect>
                                    <p:anim calcmode="lin" valueType="num">
                                      <p:cBhvr>
                                        <p:cTn id="36" dur="1000" fill="hold"/>
                                        <p:tgtEl>
                                          <p:spTgt spid="11"/>
                                        </p:tgtEl>
                                        <p:attrNameLst>
                                          <p:attrName>ppt_x</p:attrName>
                                        </p:attrNameLst>
                                      </p:cBhvr>
                                      <p:tavLst>
                                        <p:tav tm="0">
                                          <p:val>
                                            <p:strVal val="#ppt_x"/>
                                          </p:val>
                                        </p:tav>
                                        <p:tav tm="100000">
                                          <p:val>
                                            <p:strVal val="#ppt_x"/>
                                          </p:val>
                                        </p:tav>
                                      </p:tavLst>
                                    </p:anim>
                                    <p:anim calcmode="lin" valueType="num">
                                      <p:cBhvr>
                                        <p:cTn id="37" dur="1000" fill="hold"/>
                                        <p:tgtEl>
                                          <p:spTgt spid="11"/>
                                        </p:tgtEl>
                                        <p:attrNameLst>
                                          <p:attrName>ppt_y</p:attrName>
                                        </p:attrNameLst>
                                      </p:cBhvr>
                                      <p:tavLst>
                                        <p:tav tm="0">
                                          <p:val>
                                            <p:strVal val="#ppt_y-.1"/>
                                          </p:val>
                                        </p:tav>
                                        <p:tav tm="100000">
                                          <p:val>
                                            <p:strVal val="#ppt_y"/>
                                          </p:val>
                                        </p:tav>
                                      </p:tavLst>
                                    </p:anim>
                                  </p:childTnLst>
                                </p:cTn>
                              </p:par>
                              <p:par>
                                <p:cTn id="38" presetID="47"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7" presetClass="entr" presetSubtype="0"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1000"/>
                                        <p:tgtEl>
                                          <p:spTgt spid="27"/>
                                        </p:tgtEl>
                                      </p:cBhvr>
                                    </p:animEffect>
                                    <p:anim calcmode="lin" valueType="num">
                                      <p:cBhvr>
                                        <p:cTn id="46" dur="1000" fill="hold"/>
                                        <p:tgtEl>
                                          <p:spTgt spid="27"/>
                                        </p:tgtEl>
                                        <p:attrNameLst>
                                          <p:attrName>ppt_x</p:attrName>
                                        </p:attrNameLst>
                                      </p:cBhvr>
                                      <p:tavLst>
                                        <p:tav tm="0">
                                          <p:val>
                                            <p:strVal val="#ppt_x"/>
                                          </p:val>
                                        </p:tav>
                                        <p:tav tm="100000">
                                          <p:val>
                                            <p:strVal val="#ppt_x"/>
                                          </p:val>
                                        </p:tav>
                                      </p:tavLst>
                                    </p:anim>
                                    <p:anim calcmode="lin" valueType="num">
                                      <p:cBhvr>
                                        <p:cTn id="47"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5" grpId="0"/>
      <p:bldP spid="26" grpId="0"/>
      <p:bldP spid="27"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kaunselin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2881997"/>
            <a:ext cx="3290958" cy="1905567"/>
          </a:xfrm>
          <a:prstGeom prst="rect">
            <a:avLst/>
          </a:prstGeom>
        </p:spPr>
      </p:pic>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64</a:t>
            </a:fld>
            <a:endParaRPr lang="en-US"/>
          </a:p>
        </p:txBody>
      </p:sp>
      <p:sp>
        <p:nvSpPr>
          <p:cNvPr id="6" name="Footer Placeholder 3"/>
          <p:cNvSpPr txBox="1">
            <a:spLocks/>
          </p:cNvSpPr>
          <p:nvPr/>
        </p:nvSpPr>
        <p:spPr>
          <a:xfrm>
            <a:off x="3290958" y="6367394"/>
            <a:ext cx="4958521" cy="365125"/>
          </a:xfrm>
          <a:prstGeom prst="rect">
            <a:avLst/>
          </a:prstGeom>
        </p:spPr>
        <p:txBody>
          <a:bodyPr vert="horz" lIns="91440" tIns="45720" rIns="91440" bIns="45720"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chemeClr val="tx1">
                    <a:tint val="75000"/>
                  </a:schemeClr>
                </a:solidFill>
                <a:effectLst/>
                <a:uLnTx/>
                <a:uFillTx/>
                <a:latin typeface="+mn-lt"/>
                <a:ea typeface="+mn-ea"/>
                <a:cs typeface="+mn-cs"/>
              </a:rPr>
              <a:t>BAHAGIAN, JABATAN PENDIDIKAN NEGERI &amp; PEJABAT PENDIDIKAN DAERAH</a:t>
            </a:r>
            <a:endParaRPr kumimoji="0" 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7" name="Slide Number Placeholder 4"/>
          <p:cNvSpPr txBox="1">
            <a:spLocks/>
          </p:cNvSpPr>
          <p:nvPr/>
        </p:nvSpPr>
        <p:spPr>
          <a:xfrm>
            <a:off x="6553200" y="6356351"/>
            <a:ext cx="2133600" cy="365125"/>
          </a:xfrm>
          <a:prstGeom prst="rect">
            <a:avLst/>
          </a:prstGeom>
        </p:spPr>
        <p:txBody>
          <a:bodyPr vert="horz" lIns="91440" tIns="45720" rIns="91440" bIns="45720"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fld id="{4D86EDED-B1AF-7E4B-94C9-3F0EAA36C7D5}" type="slidenum">
              <a:rPr kumimoji="0" lang="en-US"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9" name="Rectangle 27"/>
          <p:cNvSpPr>
            <a:spLocks noChangeArrowheads="1"/>
          </p:cNvSpPr>
          <p:nvPr/>
        </p:nvSpPr>
        <p:spPr bwMode="auto">
          <a:xfrm>
            <a:off x="4699000" y="175895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kern="0" dirty="0">
              <a:solidFill>
                <a:srgbClr val="FFFFFF"/>
              </a:solidFill>
              <a:latin typeface="Calibri" pitchFamily="34" charset="0"/>
              <a:ea typeface="ＭＳ Ｐゴシック" pitchFamily="-97" charset="-128"/>
            </a:endParaRPr>
          </a:p>
        </p:txBody>
      </p:sp>
      <p:sp>
        <p:nvSpPr>
          <p:cNvPr id="10" name="Rectangle 27"/>
          <p:cNvSpPr>
            <a:spLocks noChangeArrowheads="1"/>
          </p:cNvSpPr>
          <p:nvPr/>
        </p:nvSpPr>
        <p:spPr bwMode="auto">
          <a:xfrm>
            <a:off x="769938" y="375920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sz="1600" kern="0" dirty="0">
              <a:solidFill>
                <a:srgbClr val="FFFFFF"/>
              </a:solidFill>
              <a:latin typeface="Calibri" pitchFamily="34" charset="0"/>
              <a:ea typeface="ＭＳ Ｐゴシック" pitchFamily="-97" charset="-128"/>
            </a:endParaRPr>
          </a:p>
        </p:txBody>
      </p:sp>
      <p:sp>
        <p:nvSpPr>
          <p:cNvPr id="11" name="Rectangle 27"/>
          <p:cNvSpPr>
            <a:spLocks noChangeArrowheads="1"/>
          </p:cNvSpPr>
          <p:nvPr/>
        </p:nvSpPr>
        <p:spPr bwMode="auto">
          <a:xfrm>
            <a:off x="4699000" y="375920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sz="1600" kern="0" dirty="0">
              <a:solidFill>
                <a:srgbClr val="FFFFFF"/>
              </a:solidFill>
              <a:latin typeface="Calibri" pitchFamily="34" charset="0"/>
              <a:ea typeface="ＭＳ Ｐゴシック" pitchFamily="-97" charset="-128"/>
            </a:endParaRPr>
          </a:p>
        </p:txBody>
      </p:sp>
      <p:grpSp>
        <p:nvGrpSpPr>
          <p:cNvPr id="2" name="Group 11"/>
          <p:cNvGrpSpPr/>
          <p:nvPr/>
        </p:nvGrpSpPr>
        <p:grpSpPr>
          <a:xfrm>
            <a:off x="3299857" y="688925"/>
            <a:ext cx="5771484" cy="308352"/>
            <a:chOff x="769938" y="1520825"/>
            <a:chExt cx="3938398" cy="308352"/>
          </a:xfrm>
        </p:grpSpPr>
        <p:sp>
          <p:nvSpPr>
            <p:cNvPr id="13" name="Rectangle 39"/>
            <p:cNvSpPr>
              <a:spLocks noChangeArrowheads="1"/>
            </p:cNvSpPr>
            <p:nvPr/>
          </p:nvSpPr>
          <p:spPr bwMode="auto">
            <a:xfrm>
              <a:off x="769938" y="1520825"/>
              <a:ext cx="3857625" cy="296863"/>
            </a:xfrm>
            <a:prstGeom prst="rect">
              <a:avLst/>
            </a:prstGeom>
            <a:gradFill rotWithShape="1">
              <a:gsLst>
                <a:gs pos="0">
                  <a:srgbClr val="03C6ED"/>
                </a:gs>
                <a:gs pos="100000">
                  <a:srgbClr val="004D86"/>
                </a:gs>
              </a:gsLst>
              <a:lin ang="16200000"/>
            </a:gradFill>
            <a:ln w="9525">
              <a:noFill/>
              <a:miter lim="800000"/>
              <a:headEnd/>
              <a:tailEnd/>
            </a:ln>
            <a:effectLst>
              <a:outerShdw blurRad="63500" dist="23000" dir="5400000" rotWithShape="0">
                <a:srgbClr val="000000">
                  <a:alpha val="34998"/>
                </a:srgbClr>
              </a:outerShdw>
            </a:effectLst>
          </p:spPr>
          <p:txBody>
            <a:bodyPr anchor="ctr"/>
            <a:lstStyle/>
            <a:p>
              <a:pPr algn="ctr" defTabSz="914400" fontAlgn="auto">
                <a:spcBef>
                  <a:spcPts val="0"/>
                </a:spcBef>
                <a:spcAft>
                  <a:spcPts val="0"/>
                </a:spcAft>
                <a:defRPr/>
              </a:pPr>
              <a:endParaRPr lang="en-US" sz="1400" b="1" kern="0" noProof="1">
                <a:solidFill>
                  <a:sysClr val="window" lastClr="FFFFFF"/>
                </a:solidFill>
                <a:latin typeface="Calibri" pitchFamily="34" charset="0"/>
                <a:ea typeface="ＭＳ Ｐゴシック" pitchFamily="-97" charset="-128"/>
              </a:endParaRPr>
            </a:p>
          </p:txBody>
        </p:sp>
        <p:sp>
          <p:nvSpPr>
            <p:cNvPr id="14" name="Rectangle 39"/>
            <p:cNvSpPr>
              <a:spLocks noChangeArrowheads="1"/>
            </p:cNvSpPr>
            <p:nvPr/>
          </p:nvSpPr>
          <p:spPr bwMode="auto">
            <a:xfrm>
              <a:off x="850711" y="1532314"/>
              <a:ext cx="3857625" cy="296863"/>
            </a:xfrm>
            <a:prstGeom prst="rect">
              <a:avLst/>
            </a:prstGeom>
            <a:noFill/>
            <a:ln w="9525">
              <a:noFill/>
              <a:miter lim="800000"/>
              <a:headEnd/>
              <a:tailEnd/>
            </a:ln>
            <a:effectLst>
              <a:outerShdw blurRad="63500" dist="23000" dir="5400000" rotWithShape="0">
                <a:srgbClr val="000000">
                  <a:alpha val="34998"/>
                </a:srgbClr>
              </a:outerShdw>
            </a:effectLst>
          </p:spPr>
          <p:txBody>
            <a:bodyPr anchor="ctr"/>
            <a:lstStyle/>
            <a:p>
              <a:pPr fontAlgn="auto">
                <a:spcBef>
                  <a:spcPts val="0"/>
                </a:spcBef>
                <a:spcAft>
                  <a:spcPts val="0"/>
                </a:spcAft>
                <a:defRPr/>
              </a:pPr>
              <a:r>
                <a:rPr lang="en-US" sz="1600" b="1" dirty="0" err="1" smtClean="0">
                  <a:solidFill>
                    <a:schemeClr val="bg1"/>
                  </a:solidFill>
                  <a:latin typeface="Arial" pitchFamily="34" charset="0"/>
                  <a:cs typeface="Arial" pitchFamily="34" charset="0"/>
                </a:rPr>
                <a:t>Perancangan</a:t>
              </a:r>
              <a:r>
                <a:rPr lang="en-US" sz="1600" b="1" dirty="0" smtClean="0">
                  <a:solidFill>
                    <a:schemeClr val="bg1"/>
                  </a:solidFill>
                  <a:latin typeface="Arial" pitchFamily="34" charset="0"/>
                  <a:cs typeface="Arial" pitchFamily="34" charset="0"/>
                </a:rPr>
                <a:t> (10%)</a:t>
              </a:r>
              <a:endParaRPr lang="en-US" sz="1600" b="1" dirty="0">
                <a:solidFill>
                  <a:schemeClr val="bg1"/>
                </a:solidFill>
                <a:latin typeface="Arial" pitchFamily="34" charset="0"/>
                <a:cs typeface="Arial" pitchFamily="34" charset="0"/>
              </a:endParaRPr>
            </a:p>
          </p:txBody>
        </p:sp>
      </p:grpSp>
      <p:grpSp>
        <p:nvGrpSpPr>
          <p:cNvPr id="8" name="Group 14"/>
          <p:cNvGrpSpPr/>
          <p:nvPr/>
        </p:nvGrpSpPr>
        <p:grpSpPr>
          <a:xfrm>
            <a:off x="3337454" y="1974454"/>
            <a:ext cx="5653116" cy="296864"/>
            <a:chOff x="4699000" y="1520824"/>
            <a:chExt cx="3857625" cy="296864"/>
          </a:xfrm>
        </p:grpSpPr>
        <p:sp>
          <p:nvSpPr>
            <p:cNvPr id="16" name="Rectangle 39"/>
            <p:cNvSpPr>
              <a:spLocks noChangeArrowheads="1"/>
            </p:cNvSpPr>
            <p:nvPr/>
          </p:nvSpPr>
          <p:spPr bwMode="auto">
            <a:xfrm>
              <a:off x="4699000" y="1520825"/>
              <a:ext cx="3857625" cy="296863"/>
            </a:xfrm>
            <a:prstGeom prst="rect">
              <a:avLst/>
            </a:prstGeom>
            <a:gradFill rotWithShape="1">
              <a:gsLst>
                <a:gs pos="0">
                  <a:srgbClr val="FFC000"/>
                </a:gs>
                <a:gs pos="70000">
                  <a:srgbClr val="FFFF00"/>
                </a:gs>
                <a:gs pos="100000">
                  <a:srgbClr val="FFFF00"/>
                </a:gs>
              </a:gsLst>
              <a:lin ang="5400000" scaled="1"/>
            </a:gradFill>
            <a:ln w="3175">
              <a:solidFill>
                <a:srgbClr val="FFCC00"/>
              </a:solidFill>
              <a:miter lim="800000"/>
              <a:headEnd/>
              <a:tailEnd/>
            </a:ln>
          </p:spPr>
          <p:txBody>
            <a:bodyPr anchor="ctr"/>
            <a:lstStyle/>
            <a:p>
              <a:pPr algn="ctr" defTabSz="914400" fontAlgn="auto">
                <a:spcBef>
                  <a:spcPts val="0"/>
                </a:spcBef>
                <a:spcAft>
                  <a:spcPts val="0"/>
                </a:spcAft>
                <a:defRPr/>
              </a:pPr>
              <a:endParaRPr lang="en-US" sz="1400" b="1" kern="0" noProof="1">
                <a:solidFill>
                  <a:sysClr val="windowText" lastClr="000000"/>
                </a:solidFill>
                <a:latin typeface="Calibri" pitchFamily="34" charset="0"/>
                <a:ea typeface="ＭＳ Ｐゴシック" pitchFamily="-97" charset="-128"/>
              </a:endParaRPr>
            </a:p>
          </p:txBody>
        </p:sp>
        <p:sp>
          <p:nvSpPr>
            <p:cNvPr id="17" name="Rectangle 39"/>
            <p:cNvSpPr>
              <a:spLocks noChangeArrowheads="1"/>
            </p:cNvSpPr>
            <p:nvPr/>
          </p:nvSpPr>
          <p:spPr bwMode="auto">
            <a:xfrm>
              <a:off x="4699000" y="1520824"/>
              <a:ext cx="3857625" cy="296863"/>
            </a:xfrm>
            <a:prstGeom prst="rect">
              <a:avLst/>
            </a:prstGeom>
            <a:noFill/>
            <a:ln w="3175">
              <a:noFill/>
              <a:miter lim="800000"/>
              <a:headEnd/>
              <a:tailEnd/>
            </a:ln>
          </p:spPr>
          <p:txBody>
            <a:bodyPr anchor="ctr"/>
            <a:lstStyle/>
            <a:p>
              <a:pPr fontAlgn="auto">
                <a:spcBef>
                  <a:spcPts val="0"/>
                </a:spcBef>
                <a:spcAft>
                  <a:spcPts val="0"/>
                </a:spcAft>
                <a:defRPr/>
              </a:pPr>
              <a:r>
                <a:rPr lang="en-US" sz="1600" b="1" dirty="0" err="1" smtClean="0">
                  <a:latin typeface="Arial" pitchFamily="34" charset="0"/>
                  <a:cs typeface="Arial" pitchFamily="34" charset="0"/>
                </a:rPr>
                <a:t>Pelaksanaan</a:t>
              </a:r>
              <a:r>
                <a:rPr lang="en-US" sz="1600" b="1" dirty="0" smtClean="0">
                  <a:latin typeface="Arial" pitchFamily="34" charset="0"/>
                  <a:cs typeface="Arial" pitchFamily="34" charset="0"/>
                </a:rPr>
                <a:t> (30%)</a:t>
              </a:r>
              <a:endParaRPr lang="en-US" sz="1600" b="1" dirty="0">
                <a:latin typeface="Arial" pitchFamily="34" charset="0"/>
                <a:cs typeface="Arial" pitchFamily="34" charset="0"/>
              </a:endParaRPr>
            </a:p>
          </p:txBody>
        </p:sp>
      </p:grpSp>
      <p:grpSp>
        <p:nvGrpSpPr>
          <p:cNvPr id="12" name="Group 17"/>
          <p:cNvGrpSpPr/>
          <p:nvPr/>
        </p:nvGrpSpPr>
        <p:grpSpPr>
          <a:xfrm>
            <a:off x="3392558" y="4674853"/>
            <a:ext cx="5736939" cy="366140"/>
            <a:chOff x="794881" y="3657262"/>
            <a:chExt cx="3873123" cy="322204"/>
          </a:xfrm>
        </p:grpSpPr>
        <p:sp>
          <p:nvSpPr>
            <p:cNvPr id="19" name="Rectangle 39"/>
            <p:cNvSpPr>
              <a:spLocks noChangeArrowheads="1"/>
            </p:cNvSpPr>
            <p:nvPr/>
          </p:nvSpPr>
          <p:spPr bwMode="auto">
            <a:xfrm>
              <a:off x="794881" y="3682603"/>
              <a:ext cx="3857625" cy="296863"/>
            </a:xfrm>
            <a:prstGeom prst="rect">
              <a:avLst/>
            </a:prstGeom>
            <a:gradFill rotWithShape="1">
              <a:gsLst>
                <a:gs pos="0">
                  <a:srgbClr val="208A00"/>
                </a:gs>
                <a:gs pos="100000">
                  <a:srgbClr val="5AF300"/>
                </a:gs>
              </a:gsLst>
              <a:lin ang="5400000" scaled="1"/>
            </a:gradFill>
            <a:ln w="19050">
              <a:noFill/>
              <a:round/>
              <a:headEnd/>
              <a:tailEnd/>
            </a:ln>
          </p:spPr>
          <p:txBody>
            <a:bodyPr/>
            <a:lstStyle/>
            <a:p>
              <a:pPr algn="ctr" defTabSz="914400" fontAlgn="auto">
                <a:spcBef>
                  <a:spcPts val="0"/>
                </a:spcBef>
                <a:spcAft>
                  <a:spcPts val="0"/>
                </a:spcAft>
                <a:defRPr/>
              </a:pPr>
              <a:endParaRPr lang="en-US" sz="1400" b="1" kern="0" noProof="1">
                <a:solidFill>
                  <a:srgbClr val="000000"/>
                </a:solidFill>
                <a:latin typeface="Calibri" pitchFamily="34" charset="0"/>
                <a:ea typeface="ＭＳ Ｐゴシック" pitchFamily="-97" charset="-128"/>
              </a:endParaRPr>
            </a:p>
          </p:txBody>
        </p:sp>
        <p:sp>
          <p:nvSpPr>
            <p:cNvPr id="20" name="Rectangle 39"/>
            <p:cNvSpPr>
              <a:spLocks noChangeArrowheads="1"/>
            </p:cNvSpPr>
            <p:nvPr/>
          </p:nvSpPr>
          <p:spPr bwMode="auto">
            <a:xfrm>
              <a:off x="810379" y="3657262"/>
              <a:ext cx="3857625" cy="296863"/>
            </a:xfrm>
            <a:prstGeom prst="rect">
              <a:avLst/>
            </a:prstGeom>
            <a:noFill/>
            <a:ln w="19050">
              <a:noFill/>
              <a:round/>
              <a:headEnd/>
              <a:tailEnd/>
            </a:ln>
          </p:spPr>
          <p:txBody>
            <a:bodyPr/>
            <a:lstStyle/>
            <a:p>
              <a:pPr fontAlgn="auto">
                <a:spcBef>
                  <a:spcPts val="0"/>
                </a:spcBef>
                <a:spcAft>
                  <a:spcPts val="0"/>
                </a:spcAft>
                <a:defRPr/>
              </a:pPr>
              <a:r>
                <a:rPr lang="en-US" sz="1600" b="1" dirty="0" err="1" smtClean="0">
                  <a:solidFill>
                    <a:schemeClr val="bg1"/>
                  </a:solidFill>
                  <a:latin typeface="Arial" pitchFamily="34" charset="0"/>
                  <a:cs typeface="Arial" pitchFamily="34" charset="0"/>
                </a:rPr>
                <a:t>Pentaksiran</a:t>
              </a:r>
              <a:r>
                <a:rPr lang="en-US" sz="1600" b="1" dirty="0" smtClean="0">
                  <a:solidFill>
                    <a:schemeClr val="bg1"/>
                  </a:solidFill>
                  <a:latin typeface="Arial" pitchFamily="34" charset="0"/>
                  <a:cs typeface="Arial" pitchFamily="34" charset="0"/>
                </a:rPr>
                <a:t> (20%)</a:t>
              </a:r>
              <a:endParaRPr lang="en-US" sz="1600" b="1" dirty="0">
                <a:solidFill>
                  <a:schemeClr val="bg1"/>
                </a:solidFill>
                <a:latin typeface="Arial" pitchFamily="34" charset="0"/>
                <a:cs typeface="Arial" pitchFamily="34" charset="0"/>
              </a:endParaRPr>
            </a:p>
          </p:txBody>
        </p:sp>
      </p:grpSp>
      <p:sp>
        <p:nvSpPr>
          <p:cNvPr id="21" name="Tekstboks 31"/>
          <p:cNvSpPr txBox="1">
            <a:spLocks noChangeArrowheads="1"/>
          </p:cNvSpPr>
          <p:nvPr/>
        </p:nvSpPr>
        <p:spPr bwMode="auto">
          <a:xfrm>
            <a:off x="3337452" y="1117550"/>
            <a:ext cx="5653116" cy="584775"/>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1  </a:t>
            </a:r>
            <a:r>
              <a:rPr lang="en-US" sz="1600" kern="0" dirty="0" err="1" smtClean="0">
                <a:cs typeface="Arial" pitchFamily="34" charset="0"/>
              </a:rPr>
              <a:t>Perancangan</a:t>
            </a:r>
            <a:r>
              <a:rPr lang="en-US" sz="1600" kern="0" dirty="0" smtClean="0">
                <a:cs typeface="Arial" pitchFamily="34" charset="0"/>
              </a:rPr>
              <a:t> </a:t>
            </a:r>
            <a:r>
              <a:rPr lang="en-US" sz="1600" kern="0" dirty="0" err="1" smtClean="0">
                <a:cs typeface="Arial" pitchFamily="34" charset="0"/>
              </a:rPr>
              <a:t>dan</a:t>
            </a:r>
            <a:r>
              <a:rPr lang="en-US" sz="1600" kern="0" dirty="0" smtClean="0">
                <a:cs typeface="Arial" pitchFamily="34" charset="0"/>
              </a:rPr>
              <a:t> </a:t>
            </a:r>
            <a:r>
              <a:rPr lang="en-US" sz="1600" kern="0" dirty="0" err="1" smtClean="0">
                <a:cs typeface="Arial" pitchFamily="34" charset="0"/>
              </a:rPr>
              <a:t>hala</a:t>
            </a:r>
            <a:r>
              <a:rPr lang="en-US" sz="1600" kern="0" dirty="0" smtClean="0">
                <a:cs typeface="Arial" pitchFamily="34" charset="0"/>
              </a:rPr>
              <a:t> </a:t>
            </a:r>
            <a:r>
              <a:rPr lang="en-US" sz="1600" kern="0" dirty="0" err="1" smtClean="0">
                <a:cs typeface="Arial" pitchFamily="34" charset="0"/>
              </a:rPr>
              <a:t>tuju</a:t>
            </a:r>
            <a:endParaRPr lang="en-US" sz="1600" kern="0" dirty="0" smtClean="0">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2  </a:t>
            </a:r>
            <a:r>
              <a:rPr lang="en-US" sz="1600" kern="0" dirty="0" err="1" smtClean="0">
                <a:solidFill>
                  <a:sysClr val="windowText" lastClr="000000">
                    <a:lumMod val="85000"/>
                    <a:lumOff val="15000"/>
                  </a:sysClr>
                </a:solidFill>
                <a:cs typeface="Arial" pitchFamily="34" charset="0"/>
              </a:rPr>
              <a:t>Perancangan</a:t>
            </a:r>
            <a:r>
              <a:rPr lang="en-US" sz="1600" kern="0" dirty="0" smtClean="0">
                <a:solidFill>
                  <a:sysClr val="windowText" lastClr="000000">
                    <a:lumMod val="85000"/>
                    <a:lumOff val="15000"/>
                  </a:sysClr>
                </a:solidFill>
                <a:cs typeface="Arial" pitchFamily="34" charset="0"/>
              </a:rPr>
              <a:t> Program (</a:t>
            </a:r>
            <a:r>
              <a:rPr lang="en-US" sz="1600" i="1" kern="0" dirty="0" smtClean="0">
                <a:solidFill>
                  <a:sysClr val="windowText" lastClr="000000">
                    <a:lumMod val="85000"/>
                    <a:lumOff val="15000"/>
                  </a:sysClr>
                </a:solidFill>
                <a:cs typeface="Arial" pitchFamily="34" charset="0"/>
              </a:rPr>
              <a:t>Outreach</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rkhidmatan</a:t>
            </a:r>
            <a:r>
              <a:rPr lang="en-US" sz="1600" kern="0" dirty="0" smtClean="0">
                <a:solidFill>
                  <a:sysClr val="windowText" lastClr="000000">
                    <a:lumMod val="85000"/>
                    <a:lumOff val="15000"/>
                  </a:sysClr>
                </a:solidFill>
                <a:cs typeface="Arial" pitchFamily="34" charset="0"/>
              </a:rPr>
              <a:t> B&amp;K</a:t>
            </a:r>
            <a:endParaRPr lang="en-US" sz="1600" kern="0" dirty="0">
              <a:solidFill>
                <a:sysClr val="windowText" lastClr="000000">
                  <a:lumMod val="85000"/>
                  <a:lumOff val="15000"/>
                </a:sysClr>
              </a:solidFill>
              <a:cs typeface="Arial" pitchFamily="34" charset="0"/>
            </a:endParaRPr>
          </a:p>
        </p:txBody>
      </p:sp>
      <p:sp>
        <p:nvSpPr>
          <p:cNvPr id="22" name="Tekstboks 34"/>
          <p:cNvSpPr txBox="1">
            <a:spLocks noChangeArrowheads="1"/>
          </p:cNvSpPr>
          <p:nvPr/>
        </p:nvSpPr>
        <p:spPr bwMode="auto">
          <a:xfrm>
            <a:off x="3290959" y="2403080"/>
            <a:ext cx="5653116" cy="2062103"/>
          </a:xfrm>
          <a:prstGeom prst="rect">
            <a:avLst/>
          </a:prstGeom>
          <a:noFill/>
          <a:ln w="9525">
            <a:noFill/>
            <a:miter lim="800000"/>
            <a:headEnd/>
            <a:tailEnd/>
          </a:ln>
        </p:spPr>
        <p:txBody>
          <a:bodyPr wrap="square">
            <a:spAutoFit/>
          </a:bodyPr>
          <a:lstStyle/>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1  Pengurusan Fail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Buku</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Rekod</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rkhidmatan</a:t>
            </a:r>
            <a:r>
              <a:rPr lang="en-US" sz="1600" kern="0" dirty="0" smtClean="0">
                <a:solidFill>
                  <a:sysClr val="windowText" lastClr="000000">
                    <a:lumMod val="85000"/>
                    <a:lumOff val="15000"/>
                  </a:sysClr>
                </a:solidFill>
                <a:cs typeface="Arial" pitchFamily="34" charset="0"/>
              </a:rPr>
              <a:t> B&amp;K</a:t>
            </a: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2  Pengurusan </a:t>
            </a:r>
            <a:r>
              <a:rPr lang="en-US" sz="1600" kern="0" dirty="0" err="1" smtClean="0">
                <a:solidFill>
                  <a:sysClr val="windowText" lastClr="000000">
                    <a:lumMod val="85000"/>
                    <a:lumOff val="15000"/>
                  </a:sysClr>
                </a:solidFill>
                <a:cs typeface="Arial" pitchFamily="34" charset="0"/>
              </a:rPr>
              <a:t>Bilik</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Bimbingan</a:t>
            </a:r>
            <a:r>
              <a:rPr lang="en-US" sz="1600" kern="0" dirty="0" smtClean="0">
                <a:solidFill>
                  <a:sysClr val="windowText" lastClr="000000">
                    <a:lumMod val="85000"/>
                    <a:lumOff val="15000"/>
                  </a:sysClr>
                </a:solidFill>
                <a:cs typeface="Arial" pitchFamily="34" charset="0"/>
              </a:rPr>
              <a:t> &amp; </a:t>
            </a:r>
            <a:r>
              <a:rPr lang="en-US" sz="1600" kern="0" dirty="0" err="1" smtClean="0">
                <a:solidFill>
                  <a:sysClr val="windowText" lastClr="000000">
                    <a:lumMod val="85000"/>
                    <a:lumOff val="15000"/>
                  </a:sysClr>
                </a:solidFill>
                <a:cs typeface="Arial" pitchFamily="34" charset="0"/>
              </a:rPr>
              <a:t>Kaunseling</a:t>
            </a:r>
            <a:endParaRPr lang="en-US" sz="1600" kern="0" dirty="0" smtClean="0">
              <a:solidFill>
                <a:sysClr val="windowText" lastClr="000000">
                  <a:lumMod val="85000"/>
                  <a:lumOff val="15000"/>
                </a:sysClr>
              </a:solidFill>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3  </a:t>
            </a:r>
            <a:r>
              <a:rPr lang="en-US" sz="1600" kern="0" dirty="0" err="1" smtClean="0">
                <a:solidFill>
                  <a:sysClr val="windowText" lastClr="000000">
                    <a:lumMod val="85000"/>
                    <a:lumOff val="15000"/>
                  </a:sysClr>
                </a:solidFill>
                <a:cs typeface="Arial" pitchFamily="34" charset="0"/>
              </a:rPr>
              <a:t>Melaksanakan</a:t>
            </a:r>
            <a:r>
              <a:rPr lang="en-US" sz="1600" kern="0" dirty="0" smtClean="0">
                <a:solidFill>
                  <a:sysClr val="windowText" lastClr="000000">
                    <a:lumMod val="85000"/>
                    <a:lumOff val="15000"/>
                  </a:sysClr>
                </a:solidFill>
                <a:cs typeface="Arial" pitchFamily="34" charset="0"/>
              </a:rPr>
              <a:t> Program / </a:t>
            </a:r>
            <a:r>
              <a:rPr lang="en-US" sz="1600" kern="0" dirty="0" err="1" smtClean="0">
                <a:solidFill>
                  <a:sysClr val="windowText" lastClr="000000">
                    <a:lumMod val="85000"/>
                    <a:lumOff val="15000"/>
                  </a:sysClr>
                </a:solidFill>
                <a:cs typeface="Arial" pitchFamily="34" charset="0"/>
              </a:rPr>
              <a:t>aktiviti</a:t>
            </a:r>
            <a:r>
              <a:rPr lang="en-US" sz="1600" kern="0" dirty="0" smtClean="0">
                <a:solidFill>
                  <a:sysClr val="windowText" lastClr="000000">
                    <a:lumMod val="85000"/>
                    <a:lumOff val="15000"/>
                  </a:sysClr>
                </a:solidFill>
                <a:cs typeface="Arial" pitchFamily="34" charset="0"/>
              </a:rPr>
              <a:t>  B&amp;K </a:t>
            </a: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4  </a:t>
            </a:r>
            <a:r>
              <a:rPr lang="en-US" sz="1600" kern="0" dirty="0" err="1" smtClean="0">
                <a:solidFill>
                  <a:sysClr val="windowText" lastClr="000000">
                    <a:lumMod val="85000"/>
                    <a:lumOff val="15000"/>
                  </a:sysClr>
                </a:solidFill>
                <a:cs typeface="Arial" pitchFamily="34" charset="0"/>
              </a:rPr>
              <a:t>Pengendali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lapor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Sesi</a:t>
            </a:r>
            <a:r>
              <a:rPr lang="en-US" sz="1600" kern="0" dirty="0" smtClean="0">
                <a:solidFill>
                  <a:sysClr val="windowText" lastClr="000000">
                    <a:lumMod val="85000"/>
                    <a:lumOff val="15000"/>
                  </a:sysClr>
                </a:solidFill>
                <a:cs typeface="Arial" pitchFamily="34" charset="0"/>
              </a:rPr>
              <a:t> B&amp;K</a:t>
            </a:r>
          </a:p>
          <a:p>
            <a:pPr marL="450850" indent="-450850">
              <a:defRPr/>
            </a:pPr>
            <a:r>
              <a:rPr lang="en-US" sz="1600" kern="0" dirty="0" smtClean="0">
                <a:solidFill>
                  <a:sysClr val="windowText" lastClr="000000">
                    <a:lumMod val="85000"/>
                    <a:lumOff val="15000"/>
                  </a:sysClr>
                </a:solidFill>
                <a:cs typeface="Arial" pitchFamily="34" charset="0"/>
              </a:rPr>
              <a:t>A2.5  </a:t>
            </a:r>
            <a:r>
              <a:rPr lang="en-US" sz="1600" kern="0" dirty="0" err="1" smtClean="0">
                <a:solidFill>
                  <a:sysClr val="windowText" lastClr="000000">
                    <a:lumMod val="85000"/>
                    <a:lumOff val="15000"/>
                  </a:sysClr>
                </a:solidFill>
                <a:cs typeface="Arial" pitchFamily="34" charset="0"/>
              </a:rPr>
              <a:t>Lapor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okumentasi</a:t>
            </a:r>
            <a:r>
              <a:rPr lang="en-US" sz="1600" kern="0" dirty="0" smtClean="0">
                <a:solidFill>
                  <a:sysClr val="windowText" lastClr="000000">
                    <a:lumMod val="85000"/>
                    <a:lumOff val="15000"/>
                  </a:sysClr>
                </a:solidFill>
                <a:cs typeface="Arial" pitchFamily="34" charset="0"/>
              </a:rPr>
              <a:t> Program B&amp;K</a:t>
            </a: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6	</a:t>
            </a:r>
            <a:r>
              <a:rPr lang="en-US" sz="1600" kern="0" dirty="0" err="1" smtClean="0">
                <a:solidFill>
                  <a:sysClr val="windowText" lastClr="000000">
                    <a:lumMod val="85000"/>
                    <a:lumOff val="15000"/>
                  </a:sysClr>
                </a:solidFill>
                <a:cs typeface="Arial" pitchFamily="34" charset="0"/>
              </a:rPr>
              <a:t>Pengendali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Kaunseling</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Berfokus</a:t>
            </a:r>
            <a:endParaRPr lang="en-US" sz="1600" kern="0" dirty="0" smtClean="0">
              <a:solidFill>
                <a:sysClr val="windowText" lastClr="000000">
                  <a:lumMod val="85000"/>
                  <a:lumOff val="15000"/>
                </a:sysClr>
              </a:solidFill>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7 </a:t>
            </a:r>
            <a:r>
              <a:rPr lang="en-US" sz="1600" kern="0" dirty="0" err="1" smtClean="0">
                <a:solidFill>
                  <a:sysClr val="windowText" lastClr="000000">
                    <a:lumMod val="85000"/>
                    <a:lumOff val="15000"/>
                  </a:sysClr>
                </a:solidFill>
                <a:cs typeface="Arial" pitchFamily="34" charset="0"/>
              </a:rPr>
              <a:t>Pengendali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Kelab</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Kaunseling</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Kerjaya</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mbimbing</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Rak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Sebaya</a:t>
            </a:r>
            <a:r>
              <a:rPr lang="en-US" sz="1600" kern="0" dirty="0" smtClean="0">
                <a:solidFill>
                  <a:sysClr val="windowText" lastClr="000000">
                    <a:lumMod val="85000"/>
                    <a:lumOff val="15000"/>
                  </a:sysClr>
                </a:solidFill>
                <a:cs typeface="Arial" pitchFamily="34" charset="0"/>
              </a:rPr>
              <a:t> (PRS)</a:t>
            </a:r>
            <a:endParaRPr lang="en-US" sz="1600" kern="0" dirty="0">
              <a:solidFill>
                <a:sysClr val="windowText" lastClr="000000">
                  <a:lumMod val="85000"/>
                  <a:lumOff val="15000"/>
                </a:sysClr>
              </a:solidFill>
              <a:cs typeface="Arial" pitchFamily="34" charset="0"/>
            </a:endParaRPr>
          </a:p>
        </p:txBody>
      </p:sp>
      <p:sp>
        <p:nvSpPr>
          <p:cNvPr id="23" name="Tekstboks 36"/>
          <p:cNvSpPr txBox="1">
            <a:spLocks noChangeArrowheads="1"/>
          </p:cNvSpPr>
          <p:nvPr/>
        </p:nvSpPr>
        <p:spPr bwMode="auto">
          <a:xfrm>
            <a:off x="3230093" y="5069868"/>
            <a:ext cx="5713982" cy="1569660"/>
          </a:xfrm>
          <a:prstGeom prst="rect">
            <a:avLst/>
          </a:prstGeom>
          <a:noFill/>
          <a:ln w="9525">
            <a:noFill/>
            <a:miter lim="800000"/>
            <a:headEnd/>
            <a:tailEnd/>
          </a:ln>
        </p:spPr>
        <p:txBody>
          <a:bodyPr wrap="square">
            <a:spAutoFit/>
          </a:bodyPr>
          <a:lstStyle/>
          <a:p>
            <a:pPr marL="342900" indent="-34290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3.1  </a:t>
            </a:r>
            <a:r>
              <a:rPr lang="en-US" sz="1600" kern="0" dirty="0" err="1" smtClean="0">
                <a:solidFill>
                  <a:sysClr val="windowText" lastClr="000000">
                    <a:lumMod val="85000"/>
                    <a:lumOff val="15000"/>
                  </a:sysClr>
                </a:solidFill>
                <a:cs typeface="Arial" pitchFamily="34" charset="0"/>
              </a:rPr>
              <a:t>Penilai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Khidmat</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langgan</a:t>
            </a:r>
            <a:endParaRPr lang="en-US" sz="1600" kern="0" dirty="0" smtClean="0">
              <a:solidFill>
                <a:sysClr val="windowText" lastClr="000000">
                  <a:lumMod val="85000"/>
                  <a:lumOff val="15000"/>
                </a:sysClr>
              </a:solidFill>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2  </a:t>
            </a:r>
            <a:r>
              <a:rPr lang="en-US" sz="1600" kern="0" dirty="0" err="1" smtClean="0">
                <a:solidFill>
                  <a:sysClr val="windowText" lastClr="000000">
                    <a:lumMod val="85000"/>
                    <a:lumOff val="15000"/>
                  </a:sysClr>
                </a:solidFill>
                <a:cs typeface="Arial" pitchFamily="34" charset="0"/>
              </a:rPr>
              <a:t>Pengendali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Uji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sikometrik</a:t>
            </a:r>
            <a:endParaRPr lang="en-US" sz="1600" kern="0" dirty="0" smtClean="0">
              <a:solidFill>
                <a:sysClr val="windowText" lastClr="000000">
                  <a:lumMod val="85000"/>
                  <a:lumOff val="15000"/>
                </a:sysClr>
              </a:solidFill>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3  </a:t>
            </a:r>
            <a:r>
              <a:rPr lang="en-US" sz="1600" kern="0" dirty="0" err="1" smtClean="0">
                <a:solidFill>
                  <a:sysClr val="windowText" lastClr="000000">
                    <a:lumMod val="85000"/>
                    <a:lumOff val="15000"/>
                  </a:sysClr>
                </a:solidFill>
                <a:cs typeface="Arial" pitchFamily="34" charset="0"/>
              </a:rPr>
              <a:t>Membantu</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menyelesaik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mas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membuat</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keputusan</a:t>
            </a:r>
            <a:endParaRPr lang="en-US" sz="1600" kern="0" dirty="0" smtClean="0">
              <a:solidFill>
                <a:sysClr val="windowText" lastClr="000000">
                  <a:lumMod val="85000"/>
                  <a:lumOff val="15000"/>
                </a:sysClr>
              </a:solidFill>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4  </a:t>
            </a:r>
            <a:r>
              <a:rPr lang="en-US" sz="1600" kern="0" dirty="0" err="1" smtClean="0">
                <a:solidFill>
                  <a:sysClr val="windowText" lastClr="000000">
                    <a:lumMod val="85000"/>
                    <a:lumOff val="15000"/>
                  </a:sysClr>
                </a:solidFill>
                <a:cs typeface="Arial" pitchFamily="34" charset="0"/>
              </a:rPr>
              <a:t>Penganalisis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nilaian</a:t>
            </a:r>
            <a:endParaRPr lang="en-US" sz="1600" kern="0" dirty="0" smtClean="0">
              <a:solidFill>
                <a:sysClr val="windowText" lastClr="000000">
                  <a:lumMod val="85000"/>
                  <a:lumOff val="15000"/>
                </a:sysClr>
              </a:solidFill>
              <a:cs typeface="Arial" pitchFamily="34" charset="0"/>
            </a:endParaRPr>
          </a:p>
          <a:p>
            <a:pPr marL="342900" indent="-342900" fontAlgn="auto">
              <a:spcBef>
                <a:spcPts val="0"/>
              </a:spcBef>
              <a:spcAft>
                <a:spcPts val="0"/>
              </a:spcAft>
              <a:defRPr/>
            </a:pPr>
            <a:endParaRPr lang="en-US" sz="1600" kern="0" dirty="0" smtClean="0">
              <a:solidFill>
                <a:sysClr val="windowText" lastClr="000000">
                  <a:lumMod val="85000"/>
                  <a:lumOff val="15000"/>
                </a:sysClr>
              </a:solidFill>
              <a:cs typeface="Arial" pitchFamily="34" charset="0"/>
            </a:endParaRPr>
          </a:p>
          <a:p>
            <a:pPr marL="342900" indent="-342900" fontAlgn="auto">
              <a:spcBef>
                <a:spcPts val="0"/>
              </a:spcBef>
              <a:spcAft>
                <a:spcPts val="0"/>
              </a:spcAft>
              <a:defRPr/>
            </a:pPr>
            <a:endParaRPr lang="en-US" sz="1600" kern="0" dirty="0">
              <a:solidFill>
                <a:sysClr val="windowText" lastClr="000000">
                  <a:lumMod val="85000"/>
                  <a:lumOff val="15000"/>
                </a:sysClr>
              </a:solidFill>
              <a:cs typeface="Arial" pitchFamily="34" charset="0"/>
            </a:endParaRPr>
          </a:p>
        </p:txBody>
      </p:sp>
      <p:sp>
        <p:nvSpPr>
          <p:cNvPr id="24" name="TextBox 23"/>
          <p:cNvSpPr txBox="1"/>
          <p:nvPr/>
        </p:nvSpPr>
        <p:spPr>
          <a:xfrm>
            <a:off x="2566977" y="997277"/>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rPr>
              <a:t>E1</a:t>
            </a:r>
            <a:endParaRPr lang="en-US" sz="4400" b="1" dirty="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endParaRPr>
          </a:p>
        </p:txBody>
      </p:sp>
      <p:sp>
        <p:nvSpPr>
          <p:cNvPr id="25" name="TextBox 24"/>
          <p:cNvSpPr txBox="1"/>
          <p:nvPr/>
        </p:nvSpPr>
        <p:spPr>
          <a:xfrm>
            <a:off x="2520596" y="2324803"/>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rPr>
              <a:t>E2</a:t>
            </a:r>
            <a:endParaRPr lang="en-US" sz="4400" b="1" dirty="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endParaRPr>
          </a:p>
        </p:txBody>
      </p:sp>
      <p:sp>
        <p:nvSpPr>
          <p:cNvPr id="26" name="TextBox 25"/>
          <p:cNvSpPr txBox="1"/>
          <p:nvPr/>
        </p:nvSpPr>
        <p:spPr>
          <a:xfrm>
            <a:off x="2580994" y="4989990"/>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8000"/>
                </a:solidFill>
                <a:effectLst>
                  <a:outerShdw blurRad="50000" dist="50800" dir="7500000" algn="tl">
                    <a:srgbClr val="000000">
                      <a:shade val="5000"/>
                      <a:alpha val="35000"/>
                    </a:srgbClr>
                  </a:outerShdw>
                </a:effectLst>
                <a:latin typeface="Rockwell"/>
                <a:cs typeface="Rockwell"/>
              </a:rPr>
              <a:t>E3</a:t>
            </a:r>
            <a:endParaRPr lang="en-US" sz="4400" b="1" dirty="0">
              <a:ln w="19050">
                <a:solidFill>
                  <a:schemeClr val="tx2">
                    <a:tint val="1000"/>
                  </a:schemeClr>
                </a:solidFill>
                <a:prstDash val="solid"/>
              </a:ln>
              <a:solidFill>
                <a:srgbClr val="008000"/>
              </a:solidFill>
              <a:effectLst>
                <a:outerShdw blurRad="50000" dist="50800" dir="7500000" algn="tl">
                  <a:srgbClr val="000000">
                    <a:shade val="5000"/>
                    <a:alpha val="35000"/>
                  </a:srgbClr>
                </a:outerShdw>
              </a:effectLst>
              <a:latin typeface="Rockwell"/>
              <a:cs typeface="Rockwell"/>
            </a:endParaRPr>
          </a:p>
        </p:txBody>
      </p:sp>
      <p:grpSp>
        <p:nvGrpSpPr>
          <p:cNvPr id="15" name="Group 1"/>
          <p:cNvGrpSpPr/>
          <p:nvPr/>
        </p:nvGrpSpPr>
        <p:grpSpPr>
          <a:xfrm>
            <a:off x="309514" y="1115985"/>
            <a:ext cx="2261882" cy="2256690"/>
            <a:chOff x="309514" y="1725585"/>
            <a:chExt cx="2261882" cy="2256690"/>
          </a:xfrm>
        </p:grpSpPr>
        <p:sp>
          <p:nvSpPr>
            <p:cNvPr id="29" name="Freeform 6"/>
            <p:cNvSpPr>
              <a:spLocks noEditPoints="1"/>
            </p:cNvSpPr>
            <p:nvPr/>
          </p:nvSpPr>
          <p:spPr bwMode="auto">
            <a:xfrm>
              <a:off x="309514" y="1725585"/>
              <a:ext cx="2261882" cy="2256690"/>
            </a:xfrm>
            <a:custGeom>
              <a:avLst/>
              <a:gdLst>
                <a:gd name="T0" fmla="*/ 242 w 553"/>
                <a:gd name="T1" fmla="*/ 35 h 552"/>
                <a:gd name="T2" fmla="*/ 310 w 553"/>
                <a:gd name="T3" fmla="*/ 35 h 552"/>
                <a:gd name="T4" fmla="*/ 326 w 553"/>
                <a:gd name="T5" fmla="*/ 0 h 552"/>
                <a:gd name="T6" fmla="*/ 399 w 553"/>
                <a:gd name="T7" fmla="*/ 24 h 552"/>
                <a:gd name="T8" fmla="*/ 390 w 553"/>
                <a:gd name="T9" fmla="*/ 59 h 552"/>
                <a:gd name="T10" fmla="*/ 447 w 553"/>
                <a:gd name="T11" fmla="*/ 101 h 552"/>
                <a:gd name="T12" fmla="*/ 479 w 553"/>
                <a:gd name="T13" fmla="*/ 81 h 552"/>
                <a:gd name="T14" fmla="*/ 524 w 553"/>
                <a:gd name="T15" fmla="*/ 145 h 552"/>
                <a:gd name="T16" fmla="*/ 496 w 553"/>
                <a:gd name="T17" fmla="*/ 168 h 552"/>
                <a:gd name="T18" fmla="*/ 517 w 553"/>
                <a:gd name="T19" fmla="*/ 233 h 552"/>
                <a:gd name="T20" fmla="*/ 553 w 553"/>
                <a:gd name="T21" fmla="*/ 237 h 552"/>
                <a:gd name="T22" fmla="*/ 553 w 553"/>
                <a:gd name="T23" fmla="*/ 316 h 552"/>
                <a:gd name="T24" fmla="*/ 520 w 553"/>
                <a:gd name="T25" fmla="*/ 317 h 552"/>
                <a:gd name="T26" fmla="*/ 497 w 553"/>
                <a:gd name="T27" fmla="*/ 383 h 552"/>
                <a:gd name="T28" fmla="*/ 524 w 553"/>
                <a:gd name="T29" fmla="*/ 407 h 552"/>
                <a:gd name="T30" fmla="*/ 477 w 553"/>
                <a:gd name="T31" fmla="*/ 470 h 552"/>
                <a:gd name="T32" fmla="*/ 449 w 553"/>
                <a:gd name="T33" fmla="*/ 452 h 552"/>
                <a:gd name="T34" fmla="*/ 390 w 553"/>
                <a:gd name="T35" fmla="*/ 493 h 552"/>
                <a:gd name="T36" fmla="*/ 399 w 553"/>
                <a:gd name="T37" fmla="*/ 529 h 552"/>
                <a:gd name="T38" fmla="*/ 324 w 553"/>
                <a:gd name="T39" fmla="*/ 552 h 552"/>
                <a:gd name="T40" fmla="*/ 313 w 553"/>
                <a:gd name="T41" fmla="*/ 520 h 552"/>
                <a:gd name="T42" fmla="*/ 242 w 553"/>
                <a:gd name="T43" fmla="*/ 520 h 552"/>
                <a:gd name="T44" fmla="*/ 229 w 553"/>
                <a:gd name="T45" fmla="*/ 552 h 552"/>
                <a:gd name="T46" fmla="*/ 154 w 553"/>
                <a:gd name="T47" fmla="*/ 529 h 552"/>
                <a:gd name="T48" fmla="*/ 163 w 553"/>
                <a:gd name="T49" fmla="*/ 494 h 552"/>
                <a:gd name="T50" fmla="*/ 107 w 553"/>
                <a:gd name="T51" fmla="*/ 452 h 552"/>
                <a:gd name="T52" fmla="*/ 77 w 553"/>
                <a:gd name="T53" fmla="*/ 470 h 552"/>
                <a:gd name="T54" fmla="*/ 29 w 553"/>
                <a:gd name="T55" fmla="*/ 409 h 552"/>
                <a:gd name="T56" fmla="*/ 58 w 553"/>
                <a:gd name="T57" fmla="*/ 385 h 552"/>
                <a:gd name="T58" fmla="*/ 35 w 553"/>
                <a:gd name="T59" fmla="*/ 317 h 552"/>
                <a:gd name="T60" fmla="*/ 0 w 553"/>
                <a:gd name="T61" fmla="*/ 316 h 552"/>
                <a:gd name="T62" fmla="*/ 0 w 553"/>
                <a:gd name="T63" fmla="*/ 237 h 552"/>
                <a:gd name="T64" fmla="*/ 35 w 553"/>
                <a:gd name="T65" fmla="*/ 234 h 552"/>
                <a:gd name="T66" fmla="*/ 58 w 553"/>
                <a:gd name="T67" fmla="*/ 170 h 552"/>
                <a:gd name="T68" fmla="*/ 29 w 553"/>
                <a:gd name="T69" fmla="*/ 146 h 552"/>
                <a:gd name="T70" fmla="*/ 74 w 553"/>
                <a:gd name="T71" fmla="*/ 81 h 552"/>
                <a:gd name="T72" fmla="*/ 105 w 553"/>
                <a:gd name="T73" fmla="*/ 101 h 552"/>
                <a:gd name="T74" fmla="*/ 163 w 553"/>
                <a:gd name="T75" fmla="*/ 60 h 552"/>
                <a:gd name="T76" fmla="*/ 154 w 553"/>
                <a:gd name="T77" fmla="*/ 24 h 552"/>
                <a:gd name="T78" fmla="*/ 226 w 553"/>
                <a:gd name="T79" fmla="*/ 0 h 552"/>
                <a:gd name="T80" fmla="*/ 242 w 553"/>
                <a:gd name="T81" fmla="*/ 35 h 552"/>
                <a:gd name="T82" fmla="*/ 167 w 553"/>
                <a:gd name="T83" fmla="*/ 98 h 552"/>
                <a:gd name="T84" fmla="*/ 81 w 553"/>
                <a:gd name="T85" fmla="*/ 351 h 552"/>
                <a:gd name="T86" fmla="*/ 204 w 553"/>
                <a:gd name="T87" fmla="*/ 473 h 552"/>
                <a:gd name="T88" fmla="*/ 397 w 553"/>
                <a:gd name="T89" fmla="*/ 448 h 552"/>
                <a:gd name="T90" fmla="*/ 486 w 553"/>
                <a:gd name="T91" fmla="*/ 292 h 552"/>
                <a:gd name="T92" fmla="*/ 426 w 553"/>
                <a:gd name="T93" fmla="*/ 129 h 552"/>
                <a:gd name="T94" fmla="*/ 261 w 553"/>
                <a:gd name="T95" fmla="*/ 69 h 552"/>
                <a:gd name="T96" fmla="*/ 167 w 553"/>
                <a:gd name="T97" fmla="*/ 9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 h="552">
                  <a:moveTo>
                    <a:pt x="242" y="35"/>
                  </a:moveTo>
                  <a:cubicBezTo>
                    <a:pt x="261" y="31"/>
                    <a:pt x="291" y="31"/>
                    <a:pt x="310" y="35"/>
                  </a:cubicBezTo>
                  <a:cubicBezTo>
                    <a:pt x="318" y="25"/>
                    <a:pt x="320" y="11"/>
                    <a:pt x="326" y="0"/>
                  </a:cubicBezTo>
                  <a:cubicBezTo>
                    <a:pt x="349" y="8"/>
                    <a:pt x="374" y="16"/>
                    <a:pt x="399" y="24"/>
                  </a:cubicBezTo>
                  <a:cubicBezTo>
                    <a:pt x="397" y="36"/>
                    <a:pt x="393" y="47"/>
                    <a:pt x="390" y="59"/>
                  </a:cubicBezTo>
                  <a:cubicBezTo>
                    <a:pt x="410" y="72"/>
                    <a:pt x="430" y="84"/>
                    <a:pt x="447" y="101"/>
                  </a:cubicBezTo>
                  <a:cubicBezTo>
                    <a:pt x="458" y="95"/>
                    <a:pt x="467" y="87"/>
                    <a:pt x="479" y="81"/>
                  </a:cubicBezTo>
                  <a:cubicBezTo>
                    <a:pt x="493" y="103"/>
                    <a:pt x="509" y="123"/>
                    <a:pt x="524" y="145"/>
                  </a:cubicBezTo>
                  <a:cubicBezTo>
                    <a:pt x="515" y="153"/>
                    <a:pt x="505" y="160"/>
                    <a:pt x="496" y="168"/>
                  </a:cubicBezTo>
                  <a:cubicBezTo>
                    <a:pt x="505" y="187"/>
                    <a:pt x="513" y="208"/>
                    <a:pt x="517" y="233"/>
                  </a:cubicBezTo>
                  <a:cubicBezTo>
                    <a:pt x="526" y="238"/>
                    <a:pt x="543" y="234"/>
                    <a:pt x="553" y="237"/>
                  </a:cubicBezTo>
                  <a:cubicBezTo>
                    <a:pt x="553" y="263"/>
                    <a:pt x="553" y="290"/>
                    <a:pt x="553" y="316"/>
                  </a:cubicBezTo>
                  <a:cubicBezTo>
                    <a:pt x="542" y="316"/>
                    <a:pt x="532" y="318"/>
                    <a:pt x="520" y="317"/>
                  </a:cubicBezTo>
                  <a:cubicBezTo>
                    <a:pt x="512" y="339"/>
                    <a:pt x="507" y="364"/>
                    <a:pt x="497" y="383"/>
                  </a:cubicBezTo>
                  <a:cubicBezTo>
                    <a:pt x="504" y="394"/>
                    <a:pt x="515" y="399"/>
                    <a:pt x="524" y="407"/>
                  </a:cubicBezTo>
                  <a:cubicBezTo>
                    <a:pt x="509" y="429"/>
                    <a:pt x="494" y="451"/>
                    <a:pt x="477" y="470"/>
                  </a:cubicBezTo>
                  <a:cubicBezTo>
                    <a:pt x="467" y="465"/>
                    <a:pt x="458" y="459"/>
                    <a:pt x="449" y="452"/>
                  </a:cubicBezTo>
                  <a:cubicBezTo>
                    <a:pt x="430" y="466"/>
                    <a:pt x="413" y="483"/>
                    <a:pt x="390" y="493"/>
                  </a:cubicBezTo>
                  <a:cubicBezTo>
                    <a:pt x="393" y="506"/>
                    <a:pt x="397" y="516"/>
                    <a:pt x="399" y="529"/>
                  </a:cubicBezTo>
                  <a:cubicBezTo>
                    <a:pt x="373" y="536"/>
                    <a:pt x="351" y="546"/>
                    <a:pt x="324" y="552"/>
                  </a:cubicBezTo>
                  <a:cubicBezTo>
                    <a:pt x="322" y="540"/>
                    <a:pt x="316" y="531"/>
                    <a:pt x="313" y="520"/>
                  </a:cubicBezTo>
                  <a:cubicBezTo>
                    <a:pt x="291" y="521"/>
                    <a:pt x="264" y="522"/>
                    <a:pt x="242" y="520"/>
                  </a:cubicBezTo>
                  <a:cubicBezTo>
                    <a:pt x="236" y="529"/>
                    <a:pt x="232" y="540"/>
                    <a:pt x="229" y="552"/>
                  </a:cubicBezTo>
                  <a:cubicBezTo>
                    <a:pt x="202" y="546"/>
                    <a:pt x="180" y="536"/>
                    <a:pt x="154" y="529"/>
                  </a:cubicBezTo>
                  <a:cubicBezTo>
                    <a:pt x="157" y="517"/>
                    <a:pt x="160" y="506"/>
                    <a:pt x="163" y="494"/>
                  </a:cubicBezTo>
                  <a:cubicBezTo>
                    <a:pt x="143" y="481"/>
                    <a:pt x="123" y="469"/>
                    <a:pt x="107" y="452"/>
                  </a:cubicBezTo>
                  <a:cubicBezTo>
                    <a:pt x="96" y="457"/>
                    <a:pt x="87" y="464"/>
                    <a:pt x="77" y="470"/>
                  </a:cubicBezTo>
                  <a:cubicBezTo>
                    <a:pt x="58" y="453"/>
                    <a:pt x="46" y="429"/>
                    <a:pt x="29" y="409"/>
                  </a:cubicBezTo>
                  <a:cubicBezTo>
                    <a:pt x="38" y="400"/>
                    <a:pt x="48" y="392"/>
                    <a:pt x="58" y="385"/>
                  </a:cubicBezTo>
                  <a:cubicBezTo>
                    <a:pt x="47" y="365"/>
                    <a:pt x="41" y="341"/>
                    <a:pt x="35" y="317"/>
                  </a:cubicBezTo>
                  <a:cubicBezTo>
                    <a:pt x="22" y="318"/>
                    <a:pt x="12" y="316"/>
                    <a:pt x="0" y="316"/>
                  </a:cubicBezTo>
                  <a:cubicBezTo>
                    <a:pt x="0" y="290"/>
                    <a:pt x="0" y="263"/>
                    <a:pt x="0" y="237"/>
                  </a:cubicBezTo>
                  <a:cubicBezTo>
                    <a:pt x="10" y="235"/>
                    <a:pt x="25" y="237"/>
                    <a:pt x="35" y="234"/>
                  </a:cubicBezTo>
                  <a:cubicBezTo>
                    <a:pt x="42" y="212"/>
                    <a:pt x="47" y="188"/>
                    <a:pt x="58" y="170"/>
                  </a:cubicBezTo>
                  <a:cubicBezTo>
                    <a:pt x="50" y="160"/>
                    <a:pt x="39" y="153"/>
                    <a:pt x="29" y="146"/>
                  </a:cubicBezTo>
                  <a:cubicBezTo>
                    <a:pt x="43" y="123"/>
                    <a:pt x="61" y="104"/>
                    <a:pt x="74" y="81"/>
                  </a:cubicBezTo>
                  <a:cubicBezTo>
                    <a:pt x="85" y="87"/>
                    <a:pt x="95" y="94"/>
                    <a:pt x="105" y="101"/>
                  </a:cubicBezTo>
                  <a:cubicBezTo>
                    <a:pt x="124" y="87"/>
                    <a:pt x="141" y="71"/>
                    <a:pt x="163" y="60"/>
                  </a:cubicBezTo>
                  <a:cubicBezTo>
                    <a:pt x="161" y="47"/>
                    <a:pt x="157" y="37"/>
                    <a:pt x="154" y="24"/>
                  </a:cubicBezTo>
                  <a:cubicBezTo>
                    <a:pt x="178" y="16"/>
                    <a:pt x="204" y="9"/>
                    <a:pt x="226" y="0"/>
                  </a:cubicBezTo>
                  <a:cubicBezTo>
                    <a:pt x="234" y="9"/>
                    <a:pt x="236" y="24"/>
                    <a:pt x="242" y="35"/>
                  </a:cubicBezTo>
                  <a:close/>
                  <a:moveTo>
                    <a:pt x="167" y="98"/>
                  </a:moveTo>
                  <a:cubicBezTo>
                    <a:pt x="97" y="141"/>
                    <a:pt x="40" y="241"/>
                    <a:pt x="81" y="351"/>
                  </a:cubicBezTo>
                  <a:cubicBezTo>
                    <a:pt x="103" y="407"/>
                    <a:pt x="147" y="452"/>
                    <a:pt x="204" y="473"/>
                  </a:cubicBezTo>
                  <a:cubicBezTo>
                    <a:pt x="270" y="498"/>
                    <a:pt x="345" y="485"/>
                    <a:pt x="397" y="448"/>
                  </a:cubicBezTo>
                  <a:cubicBezTo>
                    <a:pt x="444" y="415"/>
                    <a:pt x="481" y="363"/>
                    <a:pt x="486" y="292"/>
                  </a:cubicBezTo>
                  <a:cubicBezTo>
                    <a:pt x="491" y="221"/>
                    <a:pt x="459" y="163"/>
                    <a:pt x="426" y="129"/>
                  </a:cubicBezTo>
                  <a:cubicBezTo>
                    <a:pt x="389" y="93"/>
                    <a:pt x="330" y="63"/>
                    <a:pt x="261" y="69"/>
                  </a:cubicBezTo>
                  <a:cubicBezTo>
                    <a:pt x="224" y="72"/>
                    <a:pt x="192" y="83"/>
                    <a:pt x="167" y="98"/>
                  </a:cubicBezTo>
                  <a:close/>
                </a:path>
              </a:pathLst>
            </a:custGeom>
            <a:solidFill>
              <a:srgbClr val="008000"/>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TextBox 29"/>
            <p:cNvSpPr txBox="1"/>
            <p:nvPr/>
          </p:nvSpPr>
          <p:spPr>
            <a:xfrm>
              <a:off x="670100" y="2412645"/>
              <a:ext cx="1553310" cy="83099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r>
                <a:rPr lang="en-US" sz="4800" dirty="0" smtClean="0">
                  <a:solidFill>
                    <a:srgbClr val="008000"/>
                  </a:solidFill>
                </a:rPr>
                <a:t>FASI</a:t>
              </a:r>
            </a:p>
          </p:txBody>
        </p:sp>
      </p:grpSp>
      <p:sp>
        <p:nvSpPr>
          <p:cNvPr id="28" name="Rectangle 27"/>
          <p:cNvSpPr/>
          <p:nvPr/>
        </p:nvSpPr>
        <p:spPr>
          <a:xfrm>
            <a:off x="101600" y="4607602"/>
            <a:ext cx="3132742" cy="530778"/>
          </a:xfrm>
          <a:prstGeom prst="rect">
            <a:avLst/>
          </a:prstGeom>
          <a:gradFill flip="none" rotWithShape="1">
            <a:gsLst>
              <a:gs pos="100000">
                <a:srgbClr val="006600"/>
              </a:gs>
              <a:gs pos="100000">
                <a:schemeClr val="bg1">
                  <a:alpha val="26000"/>
                </a:schemeClr>
              </a:gs>
              <a:gs pos="0">
                <a:srgbClr val="009E1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dirty="0" smtClean="0">
                <a:solidFill>
                  <a:schemeClr val="bg1"/>
                </a:solidFill>
                <a:effectLst>
                  <a:outerShdw blurRad="38100" dist="38100" dir="2700000" algn="tl">
                    <a:srgbClr val="000000">
                      <a:alpha val="43137"/>
                    </a:srgbClr>
                  </a:outerShdw>
                </a:effectLst>
              </a:rPr>
              <a:t>Guru </a:t>
            </a:r>
            <a:r>
              <a:rPr lang="en-US" sz="2000" b="1" dirty="0" err="1" smtClean="0">
                <a:solidFill>
                  <a:schemeClr val="bg1"/>
                </a:solidFill>
                <a:effectLst>
                  <a:outerShdw blurRad="38100" dist="38100" dir="2700000" algn="tl">
                    <a:srgbClr val="000000">
                      <a:alpha val="43137"/>
                    </a:srgbClr>
                  </a:outerShdw>
                </a:effectLst>
              </a:rPr>
              <a:t>Bimbingan</a:t>
            </a:r>
            <a:r>
              <a:rPr lang="en-US" sz="2000" b="1" dirty="0" smtClean="0">
                <a:solidFill>
                  <a:schemeClr val="bg1"/>
                </a:solidFill>
                <a:effectLst>
                  <a:outerShdw blurRad="38100" dist="38100" dir="2700000" algn="tl">
                    <a:srgbClr val="000000">
                      <a:alpha val="43137"/>
                    </a:srgbClr>
                  </a:outerShdw>
                </a:effectLst>
              </a:rPr>
              <a:t> </a:t>
            </a:r>
            <a:r>
              <a:rPr lang="en-US" sz="2000" b="1" dirty="0" err="1" smtClean="0">
                <a:solidFill>
                  <a:schemeClr val="bg1"/>
                </a:solidFill>
                <a:effectLst>
                  <a:outerShdw blurRad="38100" dist="38100" dir="2700000" algn="tl">
                    <a:srgbClr val="000000">
                      <a:alpha val="43137"/>
                    </a:srgbClr>
                  </a:outerShdw>
                </a:effectLst>
              </a:rPr>
              <a:t>Kaunseling</a:t>
            </a:r>
            <a:endParaRPr lang="en-US" sz="2000" b="1" dirty="0">
              <a:solidFill>
                <a:schemeClr val="bg1"/>
              </a:solidFill>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box(in)">
                                      <p:cBhvr>
                                        <p:cTn id="10" dur="500"/>
                                        <p:tgtEl>
                                          <p:spTgt spid="24"/>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box(in)">
                                      <p:cBhvr>
                                        <p:cTn id="13" dur="500"/>
                                        <p:tgtEl>
                                          <p:spTgt spid="21"/>
                                        </p:tgtEl>
                                      </p:cBhvr>
                                    </p:animEffect>
                                  </p:childTnLst>
                                </p:cTn>
                              </p:par>
                            </p:childTnLst>
                          </p:cTn>
                        </p:par>
                      </p:childTnLst>
                    </p:cTn>
                  </p:par>
                  <p:par>
                    <p:cTn id="14" fill="hold">
                      <p:stCondLst>
                        <p:cond delay="indefinite"/>
                      </p:stCondLst>
                      <p:childTnLst>
                        <p:par>
                          <p:cTn id="15" fill="hold">
                            <p:stCondLst>
                              <p:cond delay="0"/>
                            </p:stCondLst>
                            <p:childTnLst>
                              <p:par>
                                <p:cTn id="16" presetID="47"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anim calcmode="lin" valueType="num">
                                      <p:cBhvr>
                                        <p:cTn id="19" dur="500" fill="hold"/>
                                        <p:tgtEl>
                                          <p:spTgt spid="8"/>
                                        </p:tgtEl>
                                        <p:attrNameLst>
                                          <p:attrName>ppt_x</p:attrName>
                                        </p:attrNameLst>
                                      </p:cBhvr>
                                      <p:tavLst>
                                        <p:tav tm="0">
                                          <p:val>
                                            <p:strVal val="#ppt_x"/>
                                          </p:val>
                                        </p:tav>
                                        <p:tav tm="100000">
                                          <p:val>
                                            <p:strVal val="#ppt_x"/>
                                          </p:val>
                                        </p:tav>
                                      </p:tavLst>
                                    </p:anim>
                                    <p:anim calcmode="lin" valueType="num">
                                      <p:cBhvr>
                                        <p:cTn id="20" dur="500" fill="hold"/>
                                        <p:tgtEl>
                                          <p:spTgt spid="8"/>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anim calcmode="lin" valueType="num">
                                      <p:cBhvr>
                                        <p:cTn id="24" dur="500" fill="hold"/>
                                        <p:tgtEl>
                                          <p:spTgt spid="25"/>
                                        </p:tgtEl>
                                        <p:attrNameLst>
                                          <p:attrName>ppt_x</p:attrName>
                                        </p:attrNameLst>
                                      </p:cBhvr>
                                      <p:tavLst>
                                        <p:tav tm="0">
                                          <p:val>
                                            <p:strVal val="#ppt_x"/>
                                          </p:val>
                                        </p:tav>
                                        <p:tav tm="100000">
                                          <p:val>
                                            <p:strVal val="#ppt_x"/>
                                          </p:val>
                                        </p:tav>
                                      </p:tavLst>
                                    </p:anim>
                                    <p:anim calcmode="lin" valueType="num">
                                      <p:cBhvr>
                                        <p:cTn id="25" dur="500" fill="hold"/>
                                        <p:tgtEl>
                                          <p:spTgt spid="25"/>
                                        </p:tgtEl>
                                        <p:attrNameLst>
                                          <p:attrName>ppt_y</p:attrName>
                                        </p:attrNameLst>
                                      </p:cBhvr>
                                      <p:tavLst>
                                        <p:tav tm="0">
                                          <p:val>
                                            <p:strVal val="#ppt_y-.1"/>
                                          </p:val>
                                        </p:tav>
                                        <p:tav tm="100000">
                                          <p:val>
                                            <p:strVal val="#ppt_y"/>
                                          </p:val>
                                        </p:tav>
                                      </p:tavLst>
                                    </p:anim>
                                  </p:childTnLst>
                                </p:cTn>
                              </p:par>
                              <p:par>
                                <p:cTn id="26" presetID="47"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anim calcmode="lin" valueType="num">
                                      <p:cBhvr>
                                        <p:cTn id="29" dur="500" fill="hold"/>
                                        <p:tgtEl>
                                          <p:spTgt spid="22"/>
                                        </p:tgtEl>
                                        <p:attrNameLst>
                                          <p:attrName>ppt_x</p:attrName>
                                        </p:attrNameLst>
                                      </p:cBhvr>
                                      <p:tavLst>
                                        <p:tav tm="0">
                                          <p:val>
                                            <p:strVal val="#ppt_x"/>
                                          </p:val>
                                        </p:tav>
                                        <p:tav tm="100000">
                                          <p:val>
                                            <p:strVal val="#ppt_x"/>
                                          </p:val>
                                        </p:tav>
                                      </p:tavLst>
                                    </p:anim>
                                    <p:anim calcmode="lin" valueType="num">
                                      <p:cBhvr>
                                        <p:cTn id="30"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 presetClass="entr" presetSubtype="16" fill="hold" grpId="0"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box(in)">
                                      <p:cBhvr>
                                        <p:cTn id="35" dur="500"/>
                                        <p:tgtEl>
                                          <p:spTgt spid="23"/>
                                        </p:tgtEl>
                                      </p:cBhvr>
                                    </p:animEffect>
                                  </p:childTnLst>
                                </p:cTn>
                              </p:par>
                              <p:par>
                                <p:cTn id="36" presetID="4" presetClass="entr" presetSubtype="16" fill="hold"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box(in)">
                                      <p:cBhvr>
                                        <p:cTn id="38" dur="500"/>
                                        <p:tgtEl>
                                          <p:spTgt spid="12"/>
                                        </p:tgtEl>
                                      </p:cBhvr>
                                    </p:animEffect>
                                  </p:childTnLst>
                                </p:cTn>
                              </p:par>
                              <p:par>
                                <p:cTn id="39" presetID="4" presetClass="entr" presetSubtype="16" fill="hold" grpId="0" nodeType="withEffect">
                                  <p:stCondLst>
                                    <p:cond delay="0"/>
                                  </p:stCondLst>
                                  <p:childTnLst>
                                    <p:set>
                                      <p:cBhvr>
                                        <p:cTn id="40" dur="1" fill="hold">
                                          <p:stCondLst>
                                            <p:cond delay="0"/>
                                          </p:stCondLst>
                                        </p:cTn>
                                        <p:tgtEl>
                                          <p:spTgt spid="26"/>
                                        </p:tgtEl>
                                        <p:attrNameLst>
                                          <p:attrName>style.visibility</p:attrName>
                                        </p:attrNameLst>
                                      </p:cBhvr>
                                      <p:to>
                                        <p:strVal val="visible"/>
                                      </p:to>
                                    </p:set>
                                    <p:animEffect transition="in" filter="box(in)">
                                      <p:cBhvr>
                                        <p:cTn id="4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4" grpId="0"/>
      <p:bldP spid="25" grpId="0"/>
      <p:bldP spid="26"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65</a:t>
            </a:fld>
            <a:endParaRPr lang="en-US"/>
          </a:p>
        </p:txBody>
      </p:sp>
      <p:sp>
        <p:nvSpPr>
          <p:cNvPr id="6" name="Rectangle 27"/>
          <p:cNvSpPr>
            <a:spLocks noChangeArrowheads="1"/>
          </p:cNvSpPr>
          <p:nvPr/>
        </p:nvSpPr>
        <p:spPr bwMode="auto">
          <a:xfrm>
            <a:off x="769938" y="1566352"/>
            <a:ext cx="4420211" cy="1811848"/>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algn="ctr" defTabSz="914400" fontAlgn="auto">
              <a:spcBef>
                <a:spcPts val="0"/>
              </a:spcBef>
              <a:spcAft>
                <a:spcPts val="0"/>
              </a:spcAft>
              <a:defRPr/>
            </a:pPr>
            <a:endParaRPr lang="de-DE" kern="0" dirty="0">
              <a:solidFill>
                <a:srgbClr val="FFFFFF"/>
              </a:solidFill>
              <a:latin typeface="Calibri" pitchFamily="34" charset="0"/>
              <a:ea typeface="ＭＳ Ｐゴシック" pitchFamily="-97" charset="-128"/>
            </a:endParaRPr>
          </a:p>
        </p:txBody>
      </p:sp>
      <p:sp>
        <p:nvSpPr>
          <p:cNvPr id="7" name="Rectangle 27"/>
          <p:cNvSpPr>
            <a:spLocks noChangeArrowheads="1"/>
          </p:cNvSpPr>
          <p:nvPr/>
        </p:nvSpPr>
        <p:spPr bwMode="auto">
          <a:xfrm>
            <a:off x="450641" y="2019211"/>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kern="0" dirty="0">
              <a:solidFill>
                <a:srgbClr val="FFFFFF"/>
              </a:solidFill>
              <a:latin typeface="Calibri" pitchFamily="34" charset="0"/>
              <a:ea typeface="ＭＳ Ｐゴシック" pitchFamily="-97" charset="-128"/>
            </a:endParaRPr>
          </a:p>
        </p:txBody>
      </p:sp>
      <p:sp>
        <p:nvSpPr>
          <p:cNvPr id="8" name="Rectangle 27"/>
          <p:cNvSpPr>
            <a:spLocks noChangeArrowheads="1"/>
          </p:cNvSpPr>
          <p:nvPr/>
        </p:nvSpPr>
        <p:spPr bwMode="auto">
          <a:xfrm>
            <a:off x="769938" y="3759200"/>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sz="1600" kern="0" dirty="0">
              <a:solidFill>
                <a:srgbClr val="FFFFFF"/>
              </a:solidFill>
              <a:latin typeface="Calibri" pitchFamily="34" charset="0"/>
              <a:ea typeface="ＭＳ Ｐゴシック" pitchFamily="-97" charset="-128"/>
            </a:endParaRPr>
          </a:p>
        </p:txBody>
      </p:sp>
      <p:sp>
        <p:nvSpPr>
          <p:cNvPr id="10" name="Rectangle 27"/>
          <p:cNvSpPr>
            <a:spLocks noChangeArrowheads="1"/>
          </p:cNvSpPr>
          <p:nvPr/>
        </p:nvSpPr>
        <p:spPr bwMode="auto">
          <a:xfrm>
            <a:off x="450641" y="4019461"/>
            <a:ext cx="3857625" cy="1619250"/>
          </a:xfrm>
          <a:prstGeom prst="rect">
            <a:avLst/>
          </a:prstGeom>
          <a:noFill/>
          <a:ln w="9525">
            <a:noFill/>
            <a:miter lim="800000"/>
            <a:headEnd/>
            <a:tailEnd/>
          </a:ln>
          <a:effectLst>
            <a:outerShdw blurRad="63500" dist="38100" dir="2700000" algn="tl" rotWithShape="0">
              <a:srgbClr val="000000">
                <a:alpha val="39998"/>
              </a:srgbClr>
            </a:outerShdw>
          </a:effectLst>
        </p:spPr>
        <p:txBody>
          <a:bodyPr anchor="ctr"/>
          <a:lstStyle/>
          <a:p>
            <a:pPr marL="342900" indent="-342900" algn="ctr" defTabSz="914400" fontAlgn="auto">
              <a:spcBef>
                <a:spcPts val="0"/>
              </a:spcBef>
              <a:spcAft>
                <a:spcPts val="0"/>
              </a:spcAft>
              <a:defRPr/>
            </a:pPr>
            <a:endParaRPr lang="de-DE" sz="1600" kern="0" dirty="0">
              <a:solidFill>
                <a:srgbClr val="FFFFFF"/>
              </a:solidFill>
              <a:latin typeface="Calibri" pitchFamily="34" charset="0"/>
              <a:ea typeface="ＭＳ Ｐゴシック" pitchFamily="-97" charset="-128"/>
            </a:endParaRPr>
          </a:p>
        </p:txBody>
      </p:sp>
      <p:grpSp>
        <p:nvGrpSpPr>
          <p:cNvPr id="2" name="Group 10"/>
          <p:cNvGrpSpPr/>
          <p:nvPr/>
        </p:nvGrpSpPr>
        <p:grpSpPr>
          <a:xfrm>
            <a:off x="723790" y="914320"/>
            <a:ext cx="3938398" cy="308352"/>
            <a:chOff x="769938" y="1520825"/>
            <a:chExt cx="3938398" cy="308352"/>
          </a:xfrm>
        </p:grpSpPr>
        <p:sp>
          <p:nvSpPr>
            <p:cNvPr id="12" name="Rectangle 39"/>
            <p:cNvSpPr>
              <a:spLocks noChangeArrowheads="1"/>
            </p:cNvSpPr>
            <p:nvPr/>
          </p:nvSpPr>
          <p:spPr bwMode="auto">
            <a:xfrm>
              <a:off x="769938" y="1520825"/>
              <a:ext cx="3857625" cy="296863"/>
            </a:xfrm>
            <a:prstGeom prst="rect">
              <a:avLst/>
            </a:prstGeom>
            <a:gradFill rotWithShape="1">
              <a:gsLst>
                <a:gs pos="0">
                  <a:srgbClr val="03C6ED"/>
                </a:gs>
                <a:gs pos="100000">
                  <a:srgbClr val="004D86"/>
                </a:gs>
              </a:gsLst>
              <a:lin ang="16200000"/>
            </a:gradFill>
            <a:ln w="9525">
              <a:noFill/>
              <a:miter lim="800000"/>
              <a:headEnd/>
              <a:tailEnd/>
            </a:ln>
            <a:effectLst>
              <a:outerShdw blurRad="63500" dist="23000" dir="5400000" rotWithShape="0">
                <a:srgbClr val="000000">
                  <a:alpha val="34998"/>
                </a:srgbClr>
              </a:outerShdw>
            </a:effectLst>
          </p:spPr>
          <p:txBody>
            <a:bodyPr anchor="ctr"/>
            <a:lstStyle/>
            <a:p>
              <a:pPr algn="ctr" defTabSz="914400" fontAlgn="auto">
                <a:spcBef>
                  <a:spcPts val="0"/>
                </a:spcBef>
                <a:spcAft>
                  <a:spcPts val="0"/>
                </a:spcAft>
                <a:defRPr/>
              </a:pPr>
              <a:endParaRPr lang="en-US" sz="1400" b="1" kern="0" noProof="1">
                <a:solidFill>
                  <a:sysClr val="window" lastClr="FFFFFF"/>
                </a:solidFill>
                <a:latin typeface="Calibri" pitchFamily="34" charset="0"/>
                <a:ea typeface="ＭＳ Ｐゴシック" pitchFamily="-97" charset="-128"/>
              </a:endParaRPr>
            </a:p>
          </p:txBody>
        </p:sp>
        <p:sp>
          <p:nvSpPr>
            <p:cNvPr id="13" name="Rectangle 39"/>
            <p:cNvSpPr>
              <a:spLocks noChangeArrowheads="1"/>
            </p:cNvSpPr>
            <p:nvPr/>
          </p:nvSpPr>
          <p:spPr bwMode="auto">
            <a:xfrm>
              <a:off x="850711" y="1532314"/>
              <a:ext cx="3857625" cy="296863"/>
            </a:xfrm>
            <a:prstGeom prst="rect">
              <a:avLst/>
            </a:prstGeom>
            <a:noFill/>
            <a:ln w="9525">
              <a:noFill/>
              <a:miter lim="800000"/>
              <a:headEnd/>
              <a:tailEnd/>
            </a:ln>
            <a:effectLst>
              <a:outerShdw blurRad="63500" dist="23000" dir="5400000" rotWithShape="0">
                <a:srgbClr val="000000">
                  <a:alpha val="34998"/>
                </a:srgbClr>
              </a:outerShdw>
            </a:effectLst>
          </p:spPr>
          <p:txBody>
            <a:bodyPr anchor="ctr"/>
            <a:lstStyle/>
            <a:p>
              <a:pPr fontAlgn="auto">
                <a:spcBef>
                  <a:spcPts val="0"/>
                </a:spcBef>
                <a:spcAft>
                  <a:spcPts val="0"/>
                </a:spcAft>
                <a:defRPr/>
              </a:pPr>
              <a:r>
                <a:rPr lang="en-US" sz="1600" b="1" dirty="0" err="1" smtClean="0">
                  <a:solidFill>
                    <a:schemeClr val="bg1"/>
                  </a:solidFill>
                  <a:latin typeface="Arial" pitchFamily="34" charset="0"/>
                  <a:cs typeface="Arial" pitchFamily="34" charset="0"/>
                </a:rPr>
                <a:t>Perancangan</a:t>
              </a:r>
              <a:r>
                <a:rPr lang="en-US" sz="1600" b="1" dirty="0" smtClean="0">
                  <a:solidFill>
                    <a:schemeClr val="bg1"/>
                  </a:solidFill>
                  <a:latin typeface="Arial" pitchFamily="34" charset="0"/>
                  <a:cs typeface="Arial" pitchFamily="34" charset="0"/>
                </a:rPr>
                <a:t> (20%)</a:t>
              </a:r>
              <a:endParaRPr lang="en-US" sz="1600" b="1" dirty="0">
                <a:solidFill>
                  <a:schemeClr val="bg1"/>
                </a:solidFill>
                <a:latin typeface="Arial" pitchFamily="34" charset="0"/>
                <a:cs typeface="Arial" pitchFamily="34" charset="0"/>
              </a:endParaRPr>
            </a:p>
          </p:txBody>
        </p:sp>
      </p:grpSp>
      <p:grpSp>
        <p:nvGrpSpPr>
          <p:cNvPr id="3" name="Group 13"/>
          <p:cNvGrpSpPr/>
          <p:nvPr/>
        </p:nvGrpSpPr>
        <p:grpSpPr>
          <a:xfrm>
            <a:off x="723791" y="2525307"/>
            <a:ext cx="3857625" cy="296864"/>
            <a:chOff x="4699000" y="1520824"/>
            <a:chExt cx="3857625" cy="296864"/>
          </a:xfrm>
        </p:grpSpPr>
        <p:sp>
          <p:nvSpPr>
            <p:cNvPr id="15" name="Rectangle 39"/>
            <p:cNvSpPr>
              <a:spLocks noChangeArrowheads="1"/>
            </p:cNvSpPr>
            <p:nvPr/>
          </p:nvSpPr>
          <p:spPr bwMode="auto">
            <a:xfrm>
              <a:off x="4699000" y="1520825"/>
              <a:ext cx="3857625" cy="296863"/>
            </a:xfrm>
            <a:prstGeom prst="rect">
              <a:avLst/>
            </a:prstGeom>
            <a:gradFill rotWithShape="1">
              <a:gsLst>
                <a:gs pos="0">
                  <a:srgbClr val="FFC000"/>
                </a:gs>
                <a:gs pos="70000">
                  <a:srgbClr val="FFFF00"/>
                </a:gs>
                <a:gs pos="100000">
                  <a:srgbClr val="FFFF00"/>
                </a:gs>
              </a:gsLst>
              <a:lin ang="5400000" scaled="1"/>
            </a:gradFill>
            <a:ln w="3175">
              <a:solidFill>
                <a:srgbClr val="FFCC00"/>
              </a:solidFill>
              <a:miter lim="800000"/>
              <a:headEnd/>
              <a:tailEnd/>
            </a:ln>
          </p:spPr>
          <p:txBody>
            <a:bodyPr anchor="ctr"/>
            <a:lstStyle/>
            <a:p>
              <a:pPr algn="ctr" defTabSz="914400" fontAlgn="auto">
                <a:spcBef>
                  <a:spcPts val="0"/>
                </a:spcBef>
                <a:spcAft>
                  <a:spcPts val="0"/>
                </a:spcAft>
                <a:defRPr/>
              </a:pPr>
              <a:endParaRPr lang="en-US" sz="1400" b="1" kern="0" noProof="1">
                <a:solidFill>
                  <a:sysClr val="windowText" lastClr="000000"/>
                </a:solidFill>
                <a:latin typeface="Calibri" pitchFamily="34" charset="0"/>
                <a:ea typeface="ＭＳ Ｐゴシック" pitchFamily="-97" charset="-128"/>
              </a:endParaRPr>
            </a:p>
          </p:txBody>
        </p:sp>
        <p:sp>
          <p:nvSpPr>
            <p:cNvPr id="16" name="Rectangle 39"/>
            <p:cNvSpPr>
              <a:spLocks noChangeArrowheads="1"/>
            </p:cNvSpPr>
            <p:nvPr/>
          </p:nvSpPr>
          <p:spPr bwMode="auto">
            <a:xfrm>
              <a:off x="4699000" y="1520824"/>
              <a:ext cx="3857625" cy="296863"/>
            </a:xfrm>
            <a:prstGeom prst="rect">
              <a:avLst/>
            </a:prstGeom>
            <a:noFill/>
            <a:ln w="3175">
              <a:noFill/>
              <a:miter lim="800000"/>
              <a:headEnd/>
              <a:tailEnd/>
            </a:ln>
          </p:spPr>
          <p:txBody>
            <a:bodyPr anchor="ctr"/>
            <a:lstStyle/>
            <a:p>
              <a:pPr fontAlgn="auto">
                <a:spcBef>
                  <a:spcPts val="0"/>
                </a:spcBef>
                <a:spcAft>
                  <a:spcPts val="0"/>
                </a:spcAft>
                <a:defRPr/>
              </a:pPr>
              <a:r>
                <a:rPr lang="en-US" sz="1600" b="1" dirty="0" err="1" smtClean="0">
                  <a:latin typeface="Arial" pitchFamily="34" charset="0"/>
                  <a:cs typeface="Arial" pitchFamily="34" charset="0"/>
                </a:rPr>
                <a:t>Pelaksanaan</a:t>
              </a:r>
              <a:r>
                <a:rPr lang="en-US" sz="1600" b="1" dirty="0" smtClean="0">
                  <a:latin typeface="Arial" pitchFamily="34" charset="0"/>
                  <a:cs typeface="Arial" pitchFamily="34" charset="0"/>
                </a:rPr>
                <a:t> (30%)</a:t>
              </a:r>
              <a:endParaRPr lang="en-US" sz="1600" b="1" dirty="0">
                <a:latin typeface="Arial" pitchFamily="34" charset="0"/>
                <a:cs typeface="Arial" pitchFamily="34" charset="0"/>
              </a:endParaRPr>
            </a:p>
          </p:txBody>
        </p:sp>
      </p:grpSp>
      <p:grpSp>
        <p:nvGrpSpPr>
          <p:cNvPr id="11" name="Group 28"/>
          <p:cNvGrpSpPr/>
          <p:nvPr/>
        </p:nvGrpSpPr>
        <p:grpSpPr>
          <a:xfrm>
            <a:off x="676171" y="4726056"/>
            <a:ext cx="3873123" cy="322204"/>
            <a:chOff x="794881" y="3657262"/>
            <a:chExt cx="3873123" cy="322204"/>
          </a:xfrm>
        </p:grpSpPr>
        <p:sp>
          <p:nvSpPr>
            <p:cNvPr id="9" name="Rectangle 39"/>
            <p:cNvSpPr>
              <a:spLocks noChangeArrowheads="1"/>
            </p:cNvSpPr>
            <p:nvPr/>
          </p:nvSpPr>
          <p:spPr bwMode="auto">
            <a:xfrm>
              <a:off x="794881" y="3682603"/>
              <a:ext cx="3857625" cy="296863"/>
            </a:xfrm>
            <a:prstGeom prst="rect">
              <a:avLst/>
            </a:prstGeom>
            <a:gradFill rotWithShape="1">
              <a:gsLst>
                <a:gs pos="0">
                  <a:srgbClr val="208A00"/>
                </a:gs>
                <a:gs pos="100000">
                  <a:srgbClr val="5AF300"/>
                </a:gs>
              </a:gsLst>
              <a:lin ang="5400000" scaled="1"/>
            </a:gradFill>
            <a:ln w="19050">
              <a:noFill/>
              <a:round/>
              <a:headEnd/>
              <a:tailEnd/>
            </a:ln>
          </p:spPr>
          <p:txBody>
            <a:bodyPr/>
            <a:lstStyle/>
            <a:p>
              <a:pPr algn="ctr" defTabSz="914400" fontAlgn="auto">
                <a:spcBef>
                  <a:spcPts val="0"/>
                </a:spcBef>
                <a:spcAft>
                  <a:spcPts val="0"/>
                </a:spcAft>
                <a:defRPr/>
              </a:pPr>
              <a:endParaRPr lang="en-US" sz="1400" b="1" kern="0" noProof="1">
                <a:solidFill>
                  <a:srgbClr val="000000"/>
                </a:solidFill>
                <a:latin typeface="Calibri" pitchFamily="34" charset="0"/>
                <a:ea typeface="ＭＳ Ｐゴシック" pitchFamily="-97" charset="-128"/>
              </a:endParaRPr>
            </a:p>
          </p:txBody>
        </p:sp>
        <p:sp>
          <p:nvSpPr>
            <p:cNvPr id="17" name="Rectangle 39"/>
            <p:cNvSpPr>
              <a:spLocks noChangeArrowheads="1"/>
            </p:cNvSpPr>
            <p:nvPr/>
          </p:nvSpPr>
          <p:spPr bwMode="auto">
            <a:xfrm>
              <a:off x="810379" y="3657262"/>
              <a:ext cx="3857625" cy="296863"/>
            </a:xfrm>
            <a:prstGeom prst="rect">
              <a:avLst/>
            </a:prstGeom>
            <a:noFill/>
            <a:ln w="19050">
              <a:noFill/>
              <a:round/>
              <a:headEnd/>
              <a:tailEnd/>
            </a:ln>
          </p:spPr>
          <p:txBody>
            <a:bodyPr/>
            <a:lstStyle/>
            <a:p>
              <a:pPr fontAlgn="auto">
                <a:spcBef>
                  <a:spcPts val="0"/>
                </a:spcBef>
                <a:spcAft>
                  <a:spcPts val="0"/>
                </a:spcAft>
                <a:defRPr/>
              </a:pPr>
              <a:r>
                <a:rPr lang="en-US" sz="1600" b="1" dirty="0" err="1" smtClean="0">
                  <a:solidFill>
                    <a:schemeClr val="bg1"/>
                  </a:solidFill>
                  <a:latin typeface="Arial" pitchFamily="34" charset="0"/>
                  <a:cs typeface="Arial" pitchFamily="34" charset="0"/>
                </a:rPr>
                <a:t>Pentaksiran</a:t>
              </a:r>
              <a:r>
                <a:rPr lang="en-US" sz="1600" b="1" dirty="0" smtClean="0">
                  <a:solidFill>
                    <a:schemeClr val="bg1"/>
                  </a:solidFill>
                  <a:latin typeface="Arial" pitchFamily="34" charset="0"/>
                  <a:cs typeface="Arial" pitchFamily="34" charset="0"/>
                </a:rPr>
                <a:t> (10%)</a:t>
              </a:r>
              <a:endParaRPr lang="en-US" sz="1600" b="1" dirty="0">
                <a:solidFill>
                  <a:schemeClr val="bg1"/>
                </a:solidFill>
                <a:latin typeface="Arial" pitchFamily="34" charset="0"/>
                <a:cs typeface="Arial" pitchFamily="34" charset="0"/>
              </a:endParaRPr>
            </a:p>
          </p:txBody>
        </p:sp>
      </p:grpSp>
      <p:sp>
        <p:nvSpPr>
          <p:cNvPr id="21" name="Tekstboks 31"/>
          <p:cNvSpPr txBox="1">
            <a:spLocks noChangeArrowheads="1"/>
          </p:cNvSpPr>
          <p:nvPr/>
        </p:nvSpPr>
        <p:spPr bwMode="auto">
          <a:xfrm>
            <a:off x="723789" y="1342945"/>
            <a:ext cx="3857625" cy="830997"/>
          </a:xfrm>
          <a:prstGeom prst="rect">
            <a:avLst/>
          </a:prstGeom>
          <a:noFill/>
          <a:ln w="9525">
            <a:noFill/>
            <a:miter lim="800000"/>
            <a:headEnd/>
            <a:tailEnd/>
          </a:ln>
        </p:spPr>
        <p:txBody>
          <a:bodyPr wrap="square">
            <a:spAutoFit/>
          </a:bodyPr>
          <a:lstStyle/>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1  </a:t>
            </a:r>
            <a:r>
              <a:rPr lang="en-US" sz="1600" kern="0" dirty="0" err="1" smtClean="0">
                <a:solidFill>
                  <a:sysClr val="windowText" lastClr="000000">
                    <a:lumMod val="85000"/>
                    <a:lumOff val="15000"/>
                  </a:sysClr>
                </a:solidFill>
                <a:cs typeface="Arial" pitchFamily="34" charset="0"/>
              </a:rPr>
              <a:t>Perancangan</a:t>
            </a:r>
            <a:r>
              <a:rPr lang="en-US" sz="1600" kern="0" dirty="0" smtClean="0">
                <a:solidFill>
                  <a:sysClr val="windowText" lastClr="000000">
                    <a:lumMod val="85000"/>
                    <a:lumOff val="15000"/>
                  </a:sysClr>
                </a:solidFill>
                <a:cs typeface="Arial" pitchFamily="34" charset="0"/>
              </a:rPr>
              <a:t> Program Pembangunan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Latihan</a:t>
            </a:r>
            <a:endParaRPr lang="en-US" sz="1600" kern="0" dirty="0" smtClean="0">
              <a:solidFill>
                <a:sysClr val="windowText" lastClr="000000">
                  <a:lumMod val="85000"/>
                  <a:lumOff val="15000"/>
                </a:sysClr>
              </a:solidFill>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1.2  </a:t>
            </a:r>
            <a:r>
              <a:rPr lang="en-US" sz="1600" kern="0" dirty="0" err="1" smtClean="0">
                <a:cs typeface="Arial" pitchFamily="34" charset="0"/>
              </a:rPr>
              <a:t>Pengetahuan</a:t>
            </a:r>
            <a:r>
              <a:rPr lang="en-US" sz="1600" kern="0" dirty="0" smtClean="0">
                <a:cs typeface="Arial" pitchFamily="34" charset="0"/>
              </a:rPr>
              <a:t> </a:t>
            </a:r>
            <a:r>
              <a:rPr lang="en-US" sz="1600" kern="0" dirty="0" err="1" smtClean="0">
                <a:cs typeface="Arial" pitchFamily="34" charset="0"/>
              </a:rPr>
              <a:t>dan</a:t>
            </a:r>
            <a:r>
              <a:rPr lang="en-US" sz="1600" kern="0" dirty="0" smtClean="0">
                <a:cs typeface="Arial" pitchFamily="34" charset="0"/>
              </a:rPr>
              <a:t> </a:t>
            </a:r>
            <a:r>
              <a:rPr lang="en-US" sz="1600" kern="0" dirty="0" err="1" smtClean="0">
                <a:cs typeface="Arial" pitchFamily="34" charset="0"/>
              </a:rPr>
              <a:t>Pentaksiran</a:t>
            </a:r>
            <a:endParaRPr lang="en-US" sz="1600" kern="0" dirty="0">
              <a:solidFill>
                <a:sysClr val="windowText" lastClr="000000">
                  <a:lumMod val="85000"/>
                  <a:lumOff val="15000"/>
                </a:sysClr>
              </a:solidFill>
              <a:cs typeface="Arial" pitchFamily="34" charset="0"/>
            </a:endParaRPr>
          </a:p>
        </p:txBody>
      </p:sp>
      <p:sp>
        <p:nvSpPr>
          <p:cNvPr id="22" name="Tekstboks 34"/>
          <p:cNvSpPr txBox="1">
            <a:spLocks noChangeArrowheads="1"/>
          </p:cNvSpPr>
          <p:nvPr/>
        </p:nvSpPr>
        <p:spPr bwMode="auto">
          <a:xfrm>
            <a:off x="723790" y="2907439"/>
            <a:ext cx="3857625" cy="1569660"/>
          </a:xfrm>
          <a:prstGeom prst="rect">
            <a:avLst/>
          </a:prstGeom>
          <a:noFill/>
          <a:ln w="9525">
            <a:noFill/>
            <a:miter lim="800000"/>
            <a:headEnd/>
            <a:tailEnd/>
          </a:ln>
        </p:spPr>
        <p:txBody>
          <a:bodyPr wrap="square">
            <a:spAutoFit/>
          </a:bodyPr>
          <a:lstStyle/>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1  Pengurusan </a:t>
            </a:r>
            <a:r>
              <a:rPr lang="en-US" sz="1600" kern="0" dirty="0" err="1" smtClean="0">
                <a:solidFill>
                  <a:sysClr val="windowText" lastClr="000000">
                    <a:lumMod val="85000"/>
                    <a:lumOff val="15000"/>
                  </a:sysClr>
                </a:solidFill>
                <a:cs typeface="Arial" pitchFamily="34" charset="0"/>
              </a:rPr>
              <a:t>Latih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Aktiviti</a:t>
            </a:r>
            <a:endParaRPr lang="en-US" sz="1600" kern="0" dirty="0" smtClean="0">
              <a:solidFill>
                <a:sysClr val="windowText" lastClr="000000">
                  <a:lumMod val="85000"/>
                  <a:lumOff val="15000"/>
                </a:sysClr>
              </a:solidFill>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2  </a:t>
            </a:r>
            <a:r>
              <a:rPr lang="en-US" sz="1600" kern="0" dirty="0" err="1" smtClean="0">
                <a:solidFill>
                  <a:sysClr val="windowText" lastClr="000000">
                    <a:lumMod val="85000"/>
                    <a:lumOff val="15000"/>
                  </a:sysClr>
                </a:solidFill>
                <a:cs typeface="Arial" pitchFamily="34" charset="0"/>
              </a:rPr>
              <a:t>Pengguna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Sumber</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Peralatan</a:t>
            </a:r>
            <a:endParaRPr lang="en-US" sz="1600" kern="0" dirty="0" smtClean="0">
              <a:solidFill>
                <a:sysClr val="windowText" lastClr="000000">
                  <a:lumMod val="85000"/>
                  <a:lumOff val="15000"/>
                </a:sysClr>
              </a:solidFill>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3  </a:t>
            </a:r>
            <a:r>
              <a:rPr lang="en-US" sz="1600" kern="0" dirty="0" err="1" smtClean="0">
                <a:solidFill>
                  <a:sysClr val="windowText" lastClr="000000">
                    <a:lumMod val="85000"/>
                    <a:lumOff val="15000"/>
                  </a:sysClr>
                </a:solidFill>
                <a:cs typeface="Arial" pitchFamily="34" charset="0"/>
              </a:rPr>
              <a:t>Pengendali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Sesi</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Latih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Aktiviti</a:t>
            </a:r>
            <a:endParaRPr lang="en-US" sz="1600" kern="0" dirty="0" smtClean="0">
              <a:solidFill>
                <a:sysClr val="windowText" lastClr="000000">
                  <a:lumMod val="85000"/>
                  <a:lumOff val="15000"/>
                </a:sysClr>
              </a:solidFill>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4  </a:t>
            </a:r>
            <a:r>
              <a:rPr lang="en-US" sz="1600" kern="0" dirty="0" err="1" smtClean="0">
                <a:solidFill>
                  <a:sysClr val="windowText" lastClr="000000">
                    <a:lumMod val="85000"/>
                    <a:lumOff val="15000"/>
                  </a:sysClr>
                </a:solidFill>
                <a:cs typeface="Arial" pitchFamily="34" charset="0"/>
              </a:rPr>
              <a:t>Komunikasi</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Berkes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Sesi</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Latih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Aktiviti</a:t>
            </a:r>
            <a:endParaRPr lang="en-US" sz="1600" kern="0" dirty="0" smtClean="0">
              <a:solidFill>
                <a:sysClr val="windowText" lastClr="000000">
                  <a:lumMod val="85000"/>
                  <a:lumOff val="15000"/>
                </a:sysClr>
              </a:solidFill>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2.5  </a:t>
            </a:r>
            <a:r>
              <a:rPr lang="en-US" sz="1600" kern="0" dirty="0" err="1" smtClean="0">
                <a:solidFill>
                  <a:sysClr val="windowText" lastClr="000000">
                    <a:lumMod val="85000"/>
                    <a:lumOff val="15000"/>
                  </a:sysClr>
                </a:solidFill>
                <a:cs typeface="Arial" pitchFamily="34" charset="0"/>
              </a:rPr>
              <a:t>Laporan</a:t>
            </a:r>
            <a:r>
              <a:rPr lang="en-US" sz="1600" kern="0" dirty="0" smtClean="0">
                <a:solidFill>
                  <a:sysClr val="windowText" lastClr="000000">
                    <a:lumMod val="85000"/>
                    <a:lumOff val="15000"/>
                  </a:sysClr>
                </a:solidFill>
                <a:cs typeface="Arial" pitchFamily="34" charset="0"/>
              </a:rPr>
              <a:t> Program/ </a:t>
            </a:r>
            <a:r>
              <a:rPr lang="en-US" sz="1600" kern="0" dirty="0" err="1" smtClean="0">
                <a:solidFill>
                  <a:sysClr val="windowText" lastClr="000000">
                    <a:lumMod val="85000"/>
                    <a:lumOff val="15000"/>
                  </a:sysClr>
                </a:solidFill>
                <a:cs typeface="Arial" pitchFamily="34" charset="0"/>
              </a:rPr>
              <a:t>Aktiviti</a:t>
            </a:r>
            <a:endParaRPr lang="en-US" sz="1600" kern="0" dirty="0" smtClean="0">
              <a:solidFill>
                <a:sysClr val="windowText" lastClr="000000">
                  <a:lumMod val="85000"/>
                  <a:lumOff val="15000"/>
                </a:sysClr>
              </a:solidFill>
              <a:cs typeface="Arial" pitchFamily="34" charset="0"/>
            </a:endParaRPr>
          </a:p>
        </p:txBody>
      </p:sp>
      <p:sp>
        <p:nvSpPr>
          <p:cNvPr id="23" name="Tekstboks 36"/>
          <p:cNvSpPr txBox="1">
            <a:spLocks noChangeArrowheads="1"/>
          </p:cNvSpPr>
          <p:nvPr/>
        </p:nvSpPr>
        <p:spPr bwMode="auto">
          <a:xfrm>
            <a:off x="676171" y="5180022"/>
            <a:ext cx="3857624" cy="1077218"/>
          </a:xfrm>
          <a:prstGeom prst="rect">
            <a:avLst/>
          </a:prstGeom>
          <a:noFill/>
          <a:ln w="9525">
            <a:noFill/>
            <a:miter lim="800000"/>
            <a:headEnd/>
            <a:tailEnd/>
          </a:ln>
        </p:spPr>
        <p:txBody>
          <a:bodyPr wrap="square">
            <a:spAutoFit/>
          </a:bodyPr>
          <a:lstStyle/>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3.1  </a:t>
            </a:r>
            <a:r>
              <a:rPr lang="en-US" sz="1600" kern="0" dirty="0" err="1" smtClean="0">
                <a:solidFill>
                  <a:sysClr val="windowText" lastClr="000000">
                    <a:lumMod val="85000"/>
                    <a:lumOff val="15000"/>
                  </a:sysClr>
                </a:solidFill>
                <a:cs typeface="Arial" pitchFamily="34" charset="0"/>
              </a:rPr>
              <a:t>Penganalisisan</a:t>
            </a:r>
            <a:r>
              <a:rPr lang="en-US" sz="1600" kern="0" dirty="0" smtClean="0">
                <a:solidFill>
                  <a:sysClr val="windowText" lastClr="000000">
                    <a:lumMod val="85000"/>
                    <a:lumOff val="15000"/>
                  </a:sysClr>
                </a:solidFill>
                <a:cs typeface="Arial" pitchFamily="34" charset="0"/>
              </a:rPr>
              <a:t> Program Pembangunan </a:t>
            </a:r>
            <a:r>
              <a:rPr lang="en-US" sz="1600" kern="0" dirty="0" err="1" smtClean="0">
                <a:solidFill>
                  <a:sysClr val="windowText" lastClr="000000">
                    <a:lumMod val="85000"/>
                    <a:lumOff val="15000"/>
                  </a:sysClr>
                </a:solidFill>
                <a:cs typeface="Arial" pitchFamily="34" charset="0"/>
              </a:rPr>
              <a:t>Atlet</a:t>
            </a:r>
            <a:r>
              <a:rPr lang="en-US" sz="1600" kern="0" dirty="0" smtClean="0">
                <a:solidFill>
                  <a:sysClr val="windowText" lastClr="000000">
                    <a:lumMod val="85000"/>
                    <a:lumOff val="15000"/>
                  </a:sysClr>
                </a:solidFill>
                <a:cs typeface="Arial" pitchFamily="34" charset="0"/>
              </a:rPr>
              <a:t>/</a:t>
            </a:r>
            <a:r>
              <a:rPr lang="en-US" sz="1600" kern="0" dirty="0" err="1" smtClean="0">
                <a:solidFill>
                  <a:sysClr val="windowText" lastClr="000000">
                    <a:lumMod val="85000"/>
                    <a:lumOff val="15000"/>
                  </a:sysClr>
                </a:solidFill>
                <a:cs typeface="Arial" pitchFamily="34" charset="0"/>
              </a:rPr>
              <a:t>Murid</a:t>
            </a:r>
            <a:endParaRPr lang="en-US" sz="1600" kern="0" dirty="0" smtClean="0">
              <a:solidFill>
                <a:sysClr val="windowText" lastClr="000000">
                  <a:lumMod val="85000"/>
                  <a:lumOff val="15000"/>
                </a:sysClr>
              </a:solidFill>
              <a:cs typeface="Arial" pitchFamily="34" charset="0"/>
            </a:endParaRPr>
          </a:p>
          <a:p>
            <a:pPr marL="450850" indent="-450850" fontAlgn="auto">
              <a:spcBef>
                <a:spcPts val="0"/>
              </a:spcBef>
              <a:spcAft>
                <a:spcPts val="0"/>
              </a:spcAft>
              <a:defRPr/>
            </a:pPr>
            <a:r>
              <a:rPr lang="en-US" sz="1600" kern="0" dirty="0" smtClean="0">
                <a:solidFill>
                  <a:sysClr val="windowText" lastClr="000000">
                    <a:lumMod val="85000"/>
                    <a:lumOff val="15000"/>
                  </a:sysClr>
                </a:solidFill>
                <a:cs typeface="Arial" pitchFamily="34" charset="0"/>
              </a:rPr>
              <a:t>A3.2  </a:t>
            </a:r>
            <a:r>
              <a:rPr lang="en-US" sz="1600" kern="0" dirty="0" err="1" smtClean="0">
                <a:solidFill>
                  <a:sysClr val="windowText" lastClr="000000">
                    <a:lumMod val="85000"/>
                    <a:lumOff val="15000"/>
                  </a:sysClr>
                </a:solidFill>
                <a:cs typeface="Arial" pitchFamily="34" charset="0"/>
              </a:rPr>
              <a:t>Penilaian</a:t>
            </a:r>
            <a:r>
              <a:rPr lang="en-US" sz="1600" kern="0" dirty="0" smtClean="0">
                <a:solidFill>
                  <a:sysClr val="windowText" lastClr="000000">
                    <a:lumMod val="85000"/>
                    <a:lumOff val="15000"/>
                  </a:sysClr>
                </a:solidFill>
                <a:cs typeface="Arial" pitchFamily="34" charset="0"/>
              </a:rPr>
              <a:t> Program Pembangunan </a:t>
            </a:r>
            <a:r>
              <a:rPr lang="en-US" sz="1600" kern="0" dirty="0" err="1" smtClean="0">
                <a:solidFill>
                  <a:sysClr val="windowText" lastClr="000000">
                    <a:lumMod val="85000"/>
                    <a:lumOff val="15000"/>
                  </a:sysClr>
                </a:solidFill>
                <a:cs typeface="Arial" pitchFamily="34" charset="0"/>
              </a:rPr>
              <a:t>d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Latihan</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Aktiviti</a:t>
            </a:r>
            <a:r>
              <a:rPr lang="en-US" sz="1600" kern="0" dirty="0" smtClean="0">
                <a:solidFill>
                  <a:sysClr val="windowText" lastClr="000000">
                    <a:lumMod val="85000"/>
                    <a:lumOff val="15000"/>
                  </a:sysClr>
                </a:solidFill>
                <a:cs typeface="Arial" pitchFamily="34" charset="0"/>
              </a:rPr>
              <a:t> </a:t>
            </a:r>
            <a:r>
              <a:rPr lang="en-US" sz="1600" kern="0" dirty="0" err="1" smtClean="0">
                <a:solidFill>
                  <a:sysClr val="windowText" lastClr="000000">
                    <a:lumMod val="85000"/>
                    <a:lumOff val="15000"/>
                  </a:sysClr>
                </a:solidFill>
                <a:cs typeface="Arial" pitchFamily="34" charset="0"/>
              </a:rPr>
              <a:t>Atlet</a:t>
            </a:r>
            <a:r>
              <a:rPr lang="en-US" sz="1600" kern="0" dirty="0" smtClean="0">
                <a:solidFill>
                  <a:sysClr val="windowText" lastClr="000000">
                    <a:lumMod val="85000"/>
                    <a:lumOff val="15000"/>
                  </a:sysClr>
                </a:solidFill>
                <a:cs typeface="Arial" pitchFamily="34" charset="0"/>
              </a:rPr>
              <a:t>/</a:t>
            </a:r>
            <a:r>
              <a:rPr lang="en-US" sz="1600" kern="0" dirty="0" err="1" smtClean="0">
                <a:solidFill>
                  <a:sysClr val="windowText" lastClr="000000">
                    <a:lumMod val="85000"/>
                    <a:lumOff val="15000"/>
                  </a:sysClr>
                </a:solidFill>
                <a:cs typeface="Arial" pitchFamily="34" charset="0"/>
              </a:rPr>
              <a:t>Murid</a:t>
            </a:r>
            <a:endParaRPr lang="en-US" sz="1600" kern="0" dirty="0">
              <a:solidFill>
                <a:sysClr val="windowText" lastClr="000000">
                  <a:lumMod val="85000"/>
                  <a:lumOff val="15000"/>
                </a:sysClr>
              </a:solidFill>
              <a:cs typeface="Arial" pitchFamily="34" charset="0"/>
            </a:endParaRPr>
          </a:p>
        </p:txBody>
      </p:sp>
      <p:sp>
        <p:nvSpPr>
          <p:cNvPr id="25" name="TextBox 24"/>
          <p:cNvSpPr txBox="1"/>
          <p:nvPr/>
        </p:nvSpPr>
        <p:spPr>
          <a:xfrm>
            <a:off x="346" y="1222672"/>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rPr>
              <a:t>E1</a:t>
            </a:r>
            <a:endParaRPr lang="en-US" sz="4400" b="1" dirty="0">
              <a:ln w="19050">
                <a:solidFill>
                  <a:schemeClr val="tx2">
                    <a:tint val="1000"/>
                  </a:schemeClr>
                </a:solidFill>
                <a:prstDash val="solid"/>
              </a:ln>
              <a:solidFill>
                <a:srgbClr val="0000FF"/>
              </a:solidFill>
              <a:effectLst>
                <a:outerShdw blurRad="50000" dist="50800" dir="7500000" algn="tl">
                  <a:srgbClr val="000000">
                    <a:shade val="5000"/>
                    <a:alpha val="35000"/>
                  </a:srgbClr>
                </a:outerShdw>
              </a:effectLst>
              <a:latin typeface="Rockwell"/>
              <a:cs typeface="Rockwell"/>
            </a:endParaRPr>
          </a:p>
        </p:txBody>
      </p:sp>
      <p:sp>
        <p:nvSpPr>
          <p:cNvPr id="26" name="TextBox 25"/>
          <p:cNvSpPr txBox="1"/>
          <p:nvPr/>
        </p:nvSpPr>
        <p:spPr>
          <a:xfrm>
            <a:off x="-25722" y="2815582"/>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rPr>
              <a:t>E2</a:t>
            </a:r>
            <a:endParaRPr lang="en-US" sz="4400" b="1" dirty="0">
              <a:ln w="19050">
                <a:solidFill>
                  <a:schemeClr val="tx2">
                    <a:tint val="1000"/>
                  </a:schemeClr>
                </a:solidFill>
                <a:prstDash val="solid"/>
              </a:ln>
              <a:solidFill>
                <a:srgbClr val="FF9900"/>
              </a:solidFill>
              <a:effectLst>
                <a:outerShdw blurRad="50000" dist="50800" dir="7500000" algn="tl">
                  <a:srgbClr val="000000">
                    <a:shade val="5000"/>
                    <a:alpha val="35000"/>
                  </a:srgbClr>
                </a:outerShdw>
              </a:effectLst>
              <a:latin typeface="Rockwell"/>
              <a:cs typeface="Rockwell"/>
            </a:endParaRPr>
          </a:p>
        </p:txBody>
      </p:sp>
      <p:sp>
        <p:nvSpPr>
          <p:cNvPr id="27" name="TextBox 26"/>
          <p:cNvSpPr txBox="1"/>
          <p:nvPr/>
        </p:nvSpPr>
        <p:spPr>
          <a:xfrm>
            <a:off x="-25722" y="5040540"/>
            <a:ext cx="2885816" cy="769441"/>
          </a:xfrm>
          <a:prstGeom prst="rect">
            <a:avLst/>
          </a:prstGeom>
          <a:noFill/>
        </p:spPr>
        <p:txBody>
          <a:bodyPr wrap="square" rtlCol="0">
            <a:spAutoFit/>
          </a:bodyPr>
          <a:lstStyle/>
          <a:p>
            <a:r>
              <a:rPr lang="en-US" sz="4400" b="1" dirty="0" smtClean="0">
                <a:ln w="19050">
                  <a:solidFill>
                    <a:schemeClr val="tx2">
                      <a:tint val="1000"/>
                    </a:schemeClr>
                  </a:solidFill>
                  <a:prstDash val="solid"/>
                </a:ln>
                <a:solidFill>
                  <a:srgbClr val="008000"/>
                </a:solidFill>
                <a:effectLst>
                  <a:outerShdw blurRad="50000" dist="50800" dir="7500000" algn="tl">
                    <a:srgbClr val="000000">
                      <a:shade val="5000"/>
                      <a:alpha val="35000"/>
                    </a:srgbClr>
                  </a:outerShdw>
                </a:effectLst>
                <a:latin typeface="Rockwell"/>
                <a:cs typeface="Rockwell"/>
              </a:rPr>
              <a:t>E3</a:t>
            </a:r>
            <a:endParaRPr lang="en-US" sz="4400" b="1" dirty="0">
              <a:ln w="19050">
                <a:solidFill>
                  <a:schemeClr val="tx2">
                    <a:tint val="1000"/>
                  </a:schemeClr>
                </a:solidFill>
                <a:prstDash val="solid"/>
              </a:ln>
              <a:solidFill>
                <a:srgbClr val="008000"/>
              </a:solidFill>
              <a:effectLst>
                <a:outerShdw blurRad="50000" dist="50800" dir="7500000" algn="tl">
                  <a:srgbClr val="000000">
                    <a:shade val="5000"/>
                    <a:alpha val="35000"/>
                  </a:srgbClr>
                </a:outerShdw>
              </a:effectLst>
              <a:latin typeface="Rockwell"/>
              <a:cs typeface="Rockwell"/>
            </a:endParaRPr>
          </a:p>
        </p:txBody>
      </p:sp>
      <p:grpSp>
        <p:nvGrpSpPr>
          <p:cNvPr id="14" name="Group 13"/>
          <p:cNvGrpSpPr/>
          <p:nvPr/>
        </p:nvGrpSpPr>
        <p:grpSpPr>
          <a:xfrm>
            <a:off x="5404763" y="525980"/>
            <a:ext cx="2545437" cy="2595590"/>
            <a:chOff x="5665084" y="2208617"/>
            <a:chExt cx="2665403" cy="2717920"/>
          </a:xfrm>
        </p:grpSpPr>
        <p:sp>
          <p:nvSpPr>
            <p:cNvPr id="28" name="10-Point Star 2"/>
            <p:cNvSpPr/>
            <p:nvPr/>
          </p:nvSpPr>
          <p:spPr>
            <a:xfrm rot="1638505">
              <a:off x="5665084" y="2208617"/>
              <a:ext cx="2665403" cy="2717920"/>
            </a:xfrm>
            <a:custGeom>
              <a:avLst/>
              <a:gdLst/>
              <a:ahLst/>
              <a:cxnLst/>
              <a:rect l="l" t="t" r="r" b="b"/>
              <a:pathLst>
                <a:path w="2240712" h="2284862">
                  <a:moveTo>
                    <a:pt x="1120356" y="502351"/>
                  </a:moveTo>
                  <a:cubicBezTo>
                    <a:pt x="766850" y="502351"/>
                    <a:pt x="480276" y="788925"/>
                    <a:pt x="480276" y="1142431"/>
                  </a:cubicBezTo>
                  <a:cubicBezTo>
                    <a:pt x="480276" y="1495937"/>
                    <a:pt x="766850" y="1782511"/>
                    <a:pt x="1120356" y="1782511"/>
                  </a:cubicBezTo>
                  <a:cubicBezTo>
                    <a:pt x="1473862" y="1782511"/>
                    <a:pt x="1760436" y="1495937"/>
                    <a:pt x="1760436" y="1142431"/>
                  </a:cubicBezTo>
                  <a:cubicBezTo>
                    <a:pt x="1760436" y="788925"/>
                    <a:pt x="1473862" y="502351"/>
                    <a:pt x="1120356" y="502351"/>
                  </a:cubicBezTo>
                  <a:close/>
                  <a:moveTo>
                    <a:pt x="1120356" y="0"/>
                  </a:moveTo>
                  <a:lnTo>
                    <a:pt x="1235916" y="5835"/>
                  </a:lnTo>
                  <a:lnTo>
                    <a:pt x="1272936" y="262306"/>
                  </a:lnTo>
                  <a:cubicBezTo>
                    <a:pt x="1366250" y="277385"/>
                    <a:pt x="1454469" y="307832"/>
                    <a:pt x="1535137" y="350778"/>
                  </a:cubicBezTo>
                  <a:lnTo>
                    <a:pt x="1717618" y="169909"/>
                  </a:lnTo>
                  <a:cubicBezTo>
                    <a:pt x="1784880" y="209765"/>
                    <a:pt x="1846933" y="257376"/>
                    <a:pt x="1902771" y="311520"/>
                  </a:cubicBezTo>
                  <a:lnTo>
                    <a:pt x="1776181" y="536209"/>
                  </a:lnTo>
                  <a:cubicBezTo>
                    <a:pt x="1832789" y="595961"/>
                    <a:pt x="1880432" y="664114"/>
                    <a:pt x="1917285" y="738603"/>
                  </a:cubicBezTo>
                  <a:lnTo>
                    <a:pt x="2171750" y="695132"/>
                  </a:lnTo>
                  <a:cubicBezTo>
                    <a:pt x="2202288" y="766468"/>
                    <a:pt x="2225640" y="841587"/>
                    <a:pt x="2240712" y="919627"/>
                  </a:cubicBezTo>
                  <a:lnTo>
                    <a:pt x="2006230" y="1027513"/>
                  </a:lnTo>
                  <a:cubicBezTo>
                    <a:pt x="2011939" y="1065062"/>
                    <a:pt x="2014433" y="1103455"/>
                    <a:pt x="2014433" y="1142431"/>
                  </a:cubicBezTo>
                  <a:cubicBezTo>
                    <a:pt x="2014433" y="1181407"/>
                    <a:pt x="2011939" y="1219801"/>
                    <a:pt x="2006230" y="1257349"/>
                  </a:cubicBezTo>
                  <a:lnTo>
                    <a:pt x="2240712" y="1365235"/>
                  </a:lnTo>
                  <a:cubicBezTo>
                    <a:pt x="2225640" y="1443275"/>
                    <a:pt x="2202288" y="1518394"/>
                    <a:pt x="2171750" y="1589731"/>
                  </a:cubicBezTo>
                  <a:lnTo>
                    <a:pt x="1917285" y="1546259"/>
                  </a:lnTo>
                  <a:cubicBezTo>
                    <a:pt x="1880432" y="1620748"/>
                    <a:pt x="1832789" y="1688902"/>
                    <a:pt x="1776181" y="1748654"/>
                  </a:cubicBezTo>
                  <a:lnTo>
                    <a:pt x="1902771" y="1973343"/>
                  </a:lnTo>
                  <a:cubicBezTo>
                    <a:pt x="1846933" y="2027487"/>
                    <a:pt x="1784879" y="2075098"/>
                    <a:pt x="1717617" y="2114954"/>
                  </a:cubicBezTo>
                  <a:lnTo>
                    <a:pt x="1535137" y="1934085"/>
                  </a:lnTo>
                  <a:cubicBezTo>
                    <a:pt x="1454469" y="1977030"/>
                    <a:pt x="1366250" y="2007478"/>
                    <a:pt x="1272936" y="2022557"/>
                  </a:cubicBezTo>
                  <a:lnTo>
                    <a:pt x="1235916" y="2279027"/>
                  </a:lnTo>
                  <a:cubicBezTo>
                    <a:pt x="1197918" y="2282907"/>
                    <a:pt x="1159366" y="2284862"/>
                    <a:pt x="1120356" y="2284862"/>
                  </a:cubicBezTo>
                  <a:lnTo>
                    <a:pt x="1004797" y="2279027"/>
                  </a:lnTo>
                  <a:lnTo>
                    <a:pt x="967776" y="2022557"/>
                  </a:lnTo>
                  <a:cubicBezTo>
                    <a:pt x="874463" y="2007478"/>
                    <a:pt x="786243" y="1977030"/>
                    <a:pt x="705576" y="1934085"/>
                  </a:cubicBezTo>
                  <a:lnTo>
                    <a:pt x="523095" y="2114954"/>
                  </a:lnTo>
                  <a:cubicBezTo>
                    <a:pt x="455833" y="2075098"/>
                    <a:pt x="393780" y="2027487"/>
                    <a:pt x="337942" y="1973343"/>
                  </a:cubicBezTo>
                  <a:lnTo>
                    <a:pt x="464531" y="1748654"/>
                  </a:lnTo>
                  <a:cubicBezTo>
                    <a:pt x="407924" y="1688902"/>
                    <a:pt x="360280" y="1620748"/>
                    <a:pt x="323426" y="1546259"/>
                  </a:cubicBezTo>
                  <a:lnTo>
                    <a:pt x="68962" y="1589731"/>
                  </a:lnTo>
                  <a:cubicBezTo>
                    <a:pt x="38425" y="1518394"/>
                    <a:pt x="15072" y="1443275"/>
                    <a:pt x="0" y="1365235"/>
                  </a:cubicBezTo>
                  <a:lnTo>
                    <a:pt x="234482" y="1257349"/>
                  </a:lnTo>
                  <a:cubicBezTo>
                    <a:pt x="228773" y="1219801"/>
                    <a:pt x="226279" y="1181407"/>
                    <a:pt x="226279" y="1142431"/>
                  </a:cubicBezTo>
                  <a:cubicBezTo>
                    <a:pt x="226279" y="1103455"/>
                    <a:pt x="228773" y="1065062"/>
                    <a:pt x="234482" y="1027513"/>
                  </a:cubicBezTo>
                  <a:lnTo>
                    <a:pt x="0" y="919627"/>
                  </a:lnTo>
                  <a:cubicBezTo>
                    <a:pt x="15072" y="841587"/>
                    <a:pt x="38425" y="766468"/>
                    <a:pt x="68962" y="695132"/>
                  </a:cubicBezTo>
                  <a:lnTo>
                    <a:pt x="323426" y="738603"/>
                  </a:lnTo>
                  <a:cubicBezTo>
                    <a:pt x="360280" y="664114"/>
                    <a:pt x="407924" y="595961"/>
                    <a:pt x="464531" y="536209"/>
                  </a:cubicBezTo>
                  <a:lnTo>
                    <a:pt x="337941" y="311520"/>
                  </a:lnTo>
                  <a:cubicBezTo>
                    <a:pt x="393779" y="257376"/>
                    <a:pt x="455833" y="209765"/>
                    <a:pt x="523094" y="169908"/>
                  </a:cubicBezTo>
                  <a:lnTo>
                    <a:pt x="705576" y="350778"/>
                  </a:lnTo>
                  <a:cubicBezTo>
                    <a:pt x="786243" y="307832"/>
                    <a:pt x="874463" y="277385"/>
                    <a:pt x="967776" y="262306"/>
                  </a:cubicBezTo>
                  <a:lnTo>
                    <a:pt x="1004797" y="5835"/>
                  </a:lnTo>
                  <a:cubicBezTo>
                    <a:pt x="1042794" y="1955"/>
                    <a:pt x="1081347" y="0"/>
                    <a:pt x="1120356" y="0"/>
                  </a:cubicBezTo>
                  <a:close/>
                </a:path>
              </a:pathLst>
            </a:cu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171571" y="3258818"/>
              <a:ext cx="1702710" cy="523220"/>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r>
                <a:rPr lang="en-US" sz="2600" dirty="0" err="1" smtClean="0">
                  <a:solidFill>
                    <a:srgbClr val="660066"/>
                  </a:solidFill>
                </a:rPr>
                <a:t>Jurulatih</a:t>
              </a:r>
              <a:endParaRPr lang="en-US" sz="2600" dirty="0" smtClean="0">
                <a:solidFill>
                  <a:srgbClr val="660066"/>
                </a:solidFill>
              </a:endParaRPr>
            </a:p>
          </p:txBody>
        </p:sp>
      </p:grpSp>
      <p:pic>
        <p:nvPicPr>
          <p:cNvPr id="18" name="Picture 17" descr="coach.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44190" y="2595405"/>
            <a:ext cx="2454977" cy="3822789"/>
          </a:xfrm>
          <a:prstGeom prst="rect">
            <a:avLst/>
          </a:prstGeom>
        </p:spPr>
      </p:pic>
      <p:pic>
        <p:nvPicPr>
          <p:cNvPr id="19" name="Picture 18" descr="MD Teache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6123" y="2474953"/>
            <a:ext cx="2585545" cy="3881398"/>
          </a:xfrm>
          <a:prstGeom prst="rect">
            <a:avLst/>
          </a:prstGeom>
        </p:spPr>
      </p:pic>
      <p:sp>
        <p:nvSpPr>
          <p:cNvPr id="29" name="Rectangle 28"/>
          <p:cNvSpPr/>
          <p:nvPr/>
        </p:nvSpPr>
        <p:spPr>
          <a:xfrm>
            <a:off x="5892140" y="4490488"/>
            <a:ext cx="1904099" cy="365760"/>
          </a:xfrm>
          <a:prstGeom prst="rect">
            <a:avLst/>
          </a:prstGeom>
          <a:gradFill flip="none" rotWithShape="1">
            <a:gsLst>
              <a:gs pos="55000">
                <a:srgbClr val="7030A0"/>
              </a:gs>
              <a:gs pos="100000">
                <a:schemeClr val="accent4">
                  <a:lumMod val="60000"/>
                  <a:lumOff val="40000"/>
                </a:schemeClr>
              </a:gs>
              <a:gs pos="0">
                <a:srgbClr val="5E487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err="1" smtClean="0">
                <a:solidFill>
                  <a:schemeClr val="bg1"/>
                </a:solidFill>
              </a:rPr>
              <a:t>Jurulatih</a:t>
            </a:r>
            <a:r>
              <a:rPr lang="en-US" sz="2000" b="1" dirty="0" smtClean="0">
                <a:solidFill>
                  <a:schemeClr val="bg1"/>
                </a:solidFill>
              </a:rPr>
              <a:t> </a:t>
            </a:r>
            <a:r>
              <a:rPr lang="en-US" sz="2000" b="1" dirty="0" err="1" smtClean="0">
                <a:solidFill>
                  <a:schemeClr val="bg1"/>
                </a:solidFill>
              </a:rPr>
              <a:t>Sukan</a:t>
            </a:r>
            <a:endParaRPr lang="en-US" sz="2000" b="1" dirty="0">
              <a:solidFill>
                <a:schemeClr val="bg1"/>
              </a:solidFill>
            </a:endParaRPr>
          </a:p>
        </p:txBody>
      </p:sp>
      <p:sp>
        <p:nvSpPr>
          <p:cNvPr id="31" name="Rectangle 30"/>
          <p:cNvSpPr/>
          <p:nvPr/>
        </p:nvSpPr>
        <p:spPr>
          <a:xfrm>
            <a:off x="5903438" y="4925128"/>
            <a:ext cx="1904099" cy="365760"/>
          </a:xfrm>
          <a:prstGeom prst="rect">
            <a:avLst/>
          </a:prstGeom>
          <a:gradFill flip="none" rotWithShape="1">
            <a:gsLst>
              <a:gs pos="55000">
                <a:srgbClr val="7030A0"/>
              </a:gs>
              <a:gs pos="100000">
                <a:schemeClr val="accent4">
                  <a:lumMod val="60000"/>
                  <a:lumOff val="40000"/>
                </a:schemeClr>
              </a:gs>
              <a:gs pos="0">
                <a:srgbClr val="5E487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err="1" smtClean="0">
                <a:solidFill>
                  <a:schemeClr val="bg1"/>
                </a:solidFill>
              </a:rPr>
              <a:t>Jurulatih</a:t>
            </a:r>
            <a:r>
              <a:rPr lang="en-US" sz="2000" b="1" dirty="0" smtClean="0">
                <a:solidFill>
                  <a:schemeClr val="bg1"/>
                </a:solidFill>
              </a:rPr>
              <a:t> </a:t>
            </a:r>
            <a:r>
              <a:rPr lang="en-US" sz="2000" b="1" dirty="0" err="1" smtClean="0">
                <a:solidFill>
                  <a:schemeClr val="bg1"/>
                </a:solidFill>
              </a:rPr>
              <a:t>Seni</a:t>
            </a:r>
            <a:endParaRPr lang="en-US" sz="2000" b="1"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box(in)">
                                      <p:cBhvr>
                                        <p:cTn id="10" dur="500"/>
                                        <p:tgtEl>
                                          <p:spTgt spid="25"/>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box(in)">
                                      <p:cBhvr>
                                        <p:cTn id="13" dur="500"/>
                                        <p:tgtEl>
                                          <p:spTgt spid="21"/>
                                        </p:tgtEl>
                                      </p:cBhvr>
                                    </p:animEffect>
                                  </p:childTnLst>
                                </p:cTn>
                              </p:par>
                            </p:childTnLst>
                          </p:cTn>
                        </p:par>
                      </p:childTnLst>
                    </p:cTn>
                  </p:par>
                  <p:par>
                    <p:cTn id="14" fill="hold">
                      <p:stCondLst>
                        <p:cond delay="indefinite"/>
                      </p:stCondLst>
                      <p:childTnLst>
                        <p:par>
                          <p:cTn id="15" fill="hold">
                            <p:stCondLst>
                              <p:cond delay="0"/>
                            </p:stCondLst>
                            <p:childTnLst>
                              <p:par>
                                <p:cTn id="16" presetID="4" presetClass="entr" presetSubtype="16"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box(in)">
                                      <p:cBhvr>
                                        <p:cTn id="18" dur="500"/>
                                        <p:tgtEl>
                                          <p:spTgt spid="3"/>
                                        </p:tgtEl>
                                      </p:cBhvr>
                                    </p:animEffect>
                                  </p:childTnLst>
                                </p:cTn>
                              </p:par>
                              <p:par>
                                <p:cTn id="19" presetID="4" presetClass="entr" presetSubtype="16"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box(in)">
                                      <p:cBhvr>
                                        <p:cTn id="21" dur="500"/>
                                        <p:tgtEl>
                                          <p:spTgt spid="22"/>
                                        </p:tgtEl>
                                      </p:cBhvr>
                                    </p:animEffect>
                                  </p:childTnLst>
                                </p:cTn>
                              </p:par>
                              <p:par>
                                <p:cTn id="22" presetID="4" presetClass="entr" presetSubtype="16" fill="hold" grpId="0" nodeType="with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box(in)">
                                      <p:cBhvr>
                                        <p:cTn id="24" dur="500"/>
                                        <p:tgtEl>
                                          <p:spTgt spid="26"/>
                                        </p:tgtEl>
                                      </p:cBhvr>
                                    </p:animEffect>
                                  </p:childTnLst>
                                </p:cTn>
                              </p:par>
                            </p:childTnLst>
                          </p:cTn>
                        </p:par>
                      </p:childTnLst>
                    </p:cTn>
                  </p:par>
                  <p:par>
                    <p:cTn id="25" fill="hold">
                      <p:stCondLst>
                        <p:cond delay="indefinite"/>
                      </p:stCondLst>
                      <p:childTnLst>
                        <p:par>
                          <p:cTn id="26" fill="hold">
                            <p:stCondLst>
                              <p:cond delay="0"/>
                            </p:stCondLst>
                            <p:childTnLst>
                              <p:par>
                                <p:cTn id="27" presetID="4" presetClass="entr" presetSubtype="16"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box(in)">
                                      <p:cBhvr>
                                        <p:cTn id="29" dur="500"/>
                                        <p:tgtEl>
                                          <p:spTgt spid="11"/>
                                        </p:tgtEl>
                                      </p:cBhvr>
                                    </p:animEffect>
                                  </p:childTnLst>
                                </p:cTn>
                              </p:par>
                              <p:par>
                                <p:cTn id="30" presetID="4" presetClass="entr" presetSubtype="16"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box(in)">
                                      <p:cBhvr>
                                        <p:cTn id="32" dur="500"/>
                                        <p:tgtEl>
                                          <p:spTgt spid="23"/>
                                        </p:tgtEl>
                                      </p:cBhvr>
                                    </p:animEffect>
                                  </p:childTnLst>
                                </p:cTn>
                              </p:par>
                              <p:par>
                                <p:cTn id="33" presetID="4" presetClass="entr" presetSubtype="16"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box(in)">
                                      <p:cBhvr>
                                        <p:cTn id="3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5" grpId="0"/>
      <p:bldP spid="26" grpId="0"/>
      <p:bldP spid="27"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KAEDAH PENILAIAN</a:t>
            </a:r>
            <a:endParaRPr lang="en-US" sz="2800" b="1" dirty="0">
              <a:solidFill>
                <a:schemeClr val="bg1"/>
              </a:solidFill>
              <a:latin typeface="Segoe UI" pitchFamily="34" charset="0"/>
              <a:ea typeface="Segoe UI" pitchFamily="34" charset="0"/>
              <a:cs typeface="Segoe UI" pitchFamily="34" charset="0"/>
            </a:endParaRPr>
          </a:p>
        </p:txBody>
      </p:sp>
      <p:sp>
        <p:nvSpPr>
          <p:cNvPr id="5" name="Oval 4"/>
          <p:cNvSpPr/>
          <p:nvPr/>
        </p:nvSpPr>
        <p:spPr>
          <a:xfrm>
            <a:off x="4039624" y="5024481"/>
            <a:ext cx="2309011" cy="1836877"/>
          </a:xfrm>
          <a:prstGeom prst="ellipse">
            <a:avLst/>
          </a:prstGeom>
          <a:solidFill>
            <a:schemeClr val="bg1">
              <a:lumMod val="75000"/>
              <a:alpha val="18000"/>
            </a:schemeClr>
          </a:solidFill>
          <a:ln w="139700">
            <a:noFill/>
          </a:ln>
          <a:effectLst>
            <a:outerShdw blurRad="127000" dist="38100" dir="2700000" algn="ctr">
              <a:srgbClr val="000000">
                <a:alpha val="45000"/>
              </a:srgbClr>
            </a:outerShdw>
            <a:softEdge rad="127000"/>
          </a:effectLst>
          <a:scene3d>
            <a:camera prst="perspectiveFront" fov="2700000">
              <a:rot lat="19924472" lon="2371624" rev="19033905"/>
            </a:camera>
            <a:lightRig rig="flood"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ln w="19050">
                <a:noFill/>
                <a:prstDash val="solid"/>
              </a:ln>
              <a:solidFill>
                <a:srgbClr val="182848"/>
              </a:solidFill>
              <a:latin typeface="Impact" pitchFamily="34" charset="0"/>
            </a:endParaRPr>
          </a:p>
        </p:txBody>
      </p:sp>
      <p:grpSp>
        <p:nvGrpSpPr>
          <p:cNvPr id="2" name="Group 6"/>
          <p:cNvGrpSpPr/>
          <p:nvPr/>
        </p:nvGrpSpPr>
        <p:grpSpPr>
          <a:xfrm>
            <a:off x="6707102" y="4403849"/>
            <a:ext cx="2278176" cy="1968228"/>
            <a:chOff x="5707002" y="4049341"/>
            <a:chExt cx="2278176" cy="1968228"/>
          </a:xfrm>
        </p:grpSpPr>
        <p:sp>
          <p:nvSpPr>
            <p:cNvPr id="25" name="Oval Callout 7"/>
            <p:cNvSpPr/>
            <p:nvPr/>
          </p:nvSpPr>
          <p:spPr>
            <a:xfrm rot="16200000" flipV="1">
              <a:off x="5861976" y="3894367"/>
              <a:ext cx="1968228" cy="2278176"/>
            </a:xfrm>
            <a:prstGeom prst="wedgeEllipseCallout">
              <a:avLst>
                <a:gd name="adj1" fmla="val -1048"/>
                <a:gd name="adj2" fmla="val 84816"/>
              </a:avLst>
            </a:prstGeom>
            <a:gradFill flip="none" rotWithShape="1">
              <a:gsLst>
                <a:gs pos="78000">
                  <a:srgbClr val="D9A803"/>
                </a:gs>
                <a:gs pos="0">
                  <a:srgbClr val="FFE101"/>
                </a:gs>
                <a:gs pos="100000">
                  <a:schemeClr val="accent6">
                    <a:lumMod val="50000"/>
                  </a:schemeClr>
                </a:gs>
              </a:gsLst>
              <a:lin ang="10800000" scaled="1"/>
              <a:tileRect/>
            </a:gradFill>
            <a:ln>
              <a:noFill/>
            </a:ln>
            <a:effectLst>
              <a:outerShdw blurRad="50800" dist="63500" dir="8400000" algn="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6" name="Chord 8"/>
            <p:cNvSpPr/>
            <p:nvPr/>
          </p:nvSpPr>
          <p:spPr>
            <a:xfrm rot="16031008">
              <a:off x="5982206" y="4014890"/>
              <a:ext cx="1769775" cy="2047116"/>
            </a:xfrm>
            <a:prstGeom prst="chord">
              <a:avLst>
                <a:gd name="adj1" fmla="val 16260661"/>
                <a:gd name="adj2" fmla="val 16200000"/>
              </a:avLst>
            </a:prstGeom>
            <a:gradFill>
              <a:gsLst>
                <a:gs pos="83000">
                  <a:schemeClr val="bg1">
                    <a:alpha val="52000"/>
                  </a:schemeClr>
                </a:gs>
                <a:gs pos="0">
                  <a:schemeClr val="bg1"/>
                </a:gs>
                <a:gs pos="100000">
                  <a:schemeClr val="bg1">
                    <a:alpha val="31000"/>
                  </a:schemeClr>
                </a:gs>
              </a:gsLst>
              <a:lin ang="10800000" scaled="1"/>
            </a:gradFill>
            <a:ln w="19050">
              <a:solidFill>
                <a:schemeClr val="bg1">
                  <a:alpha val="49000"/>
                </a:schemeClr>
              </a:solidFill>
            </a:ln>
            <a:effectLst>
              <a:innerShdw blurRad="114300">
                <a:prstClr val="black">
                  <a:alpha val="32000"/>
                </a:prstClr>
              </a:innerShdw>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sz="1200" dirty="0"/>
            </a:p>
          </p:txBody>
        </p:sp>
      </p:grpSp>
      <p:grpSp>
        <p:nvGrpSpPr>
          <p:cNvPr id="3" name="Group 3"/>
          <p:cNvGrpSpPr/>
          <p:nvPr/>
        </p:nvGrpSpPr>
        <p:grpSpPr>
          <a:xfrm>
            <a:off x="1643042" y="1421307"/>
            <a:ext cx="2397962" cy="1968229"/>
            <a:chOff x="642942" y="1066799"/>
            <a:chExt cx="2397962" cy="1968229"/>
          </a:xfrm>
        </p:grpSpPr>
        <p:sp>
          <p:nvSpPr>
            <p:cNvPr id="22" name="Oval Callout 21"/>
            <p:cNvSpPr/>
            <p:nvPr/>
          </p:nvSpPr>
          <p:spPr>
            <a:xfrm rot="5400000" flipH="1" flipV="1">
              <a:off x="926705" y="920830"/>
              <a:ext cx="1968229" cy="2260168"/>
            </a:xfrm>
            <a:prstGeom prst="wedgeEllipseCallout">
              <a:avLst>
                <a:gd name="adj1" fmla="val -123073"/>
                <a:gd name="adj2" fmla="val 98445"/>
              </a:avLst>
            </a:prstGeom>
            <a:gradFill flip="none" rotWithShape="1">
              <a:gsLst>
                <a:gs pos="83000">
                  <a:srgbClr val="5A930E"/>
                </a:gs>
                <a:gs pos="0">
                  <a:srgbClr val="9BED17"/>
                </a:gs>
                <a:gs pos="100000">
                  <a:srgbClr val="305808"/>
                </a:gs>
              </a:gsLst>
              <a:lin ang="10800000" scaled="1"/>
              <a:tileRect/>
            </a:gradFill>
            <a:ln>
              <a:noFill/>
            </a:ln>
            <a:effectLst>
              <a:outerShdw blurRad="50800" dist="635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3" name="Chord 22"/>
            <p:cNvSpPr/>
            <p:nvPr/>
          </p:nvSpPr>
          <p:spPr>
            <a:xfrm rot="16031008">
              <a:off x="1034478" y="1024651"/>
              <a:ext cx="1769775" cy="2047116"/>
            </a:xfrm>
            <a:prstGeom prst="chord">
              <a:avLst>
                <a:gd name="adj1" fmla="val 16260661"/>
                <a:gd name="adj2" fmla="val 16200000"/>
              </a:avLst>
            </a:prstGeom>
            <a:gradFill>
              <a:gsLst>
                <a:gs pos="83000">
                  <a:schemeClr val="bg1">
                    <a:alpha val="52000"/>
                  </a:schemeClr>
                </a:gs>
                <a:gs pos="0">
                  <a:schemeClr val="bg1"/>
                </a:gs>
                <a:gs pos="100000">
                  <a:schemeClr val="bg1">
                    <a:alpha val="31000"/>
                  </a:schemeClr>
                </a:gs>
              </a:gsLst>
              <a:lin ang="10800000" scaled="1"/>
            </a:gradFill>
            <a:ln w="19050">
              <a:solidFill>
                <a:schemeClr val="bg1">
                  <a:alpha val="49000"/>
                </a:schemeClr>
              </a:solidFill>
            </a:ln>
            <a:effectLst>
              <a:innerShdw blurRad="114300">
                <a:prstClr val="black">
                  <a:alpha val="32000"/>
                </a:prstClr>
              </a:innerShdw>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sz="1200" dirty="0"/>
            </a:p>
          </p:txBody>
        </p:sp>
        <p:sp>
          <p:nvSpPr>
            <p:cNvPr id="24" name="TextBox 23"/>
            <p:cNvSpPr txBox="1"/>
            <p:nvPr/>
          </p:nvSpPr>
          <p:spPr>
            <a:xfrm>
              <a:off x="642942" y="1571612"/>
              <a:ext cx="2154441" cy="904863"/>
            </a:xfrm>
            <a:prstGeom prst="rect">
              <a:avLst/>
            </a:prstGeom>
            <a:noFill/>
          </p:spPr>
          <p:txBody>
            <a:bodyPr wrap="square" rtlCol="0" anchor="ctr">
              <a:spAutoFit/>
            </a:bodyPr>
            <a:lstStyle/>
            <a:p>
              <a:pPr marL="400050" algn="ctr" fontAlgn="b">
                <a:lnSpc>
                  <a:spcPct val="110000"/>
                </a:lnSpc>
                <a:tabLst>
                  <a:tab pos="514350" algn="l"/>
                </a:tabLst>
              </a:pPr>
              <a:r>
                <a:rPr lang="en-US" sz="2400" b="1" smtClean="0">
                  <a:effectLst>
                    <a:outerShdw blurRad="76200" dist="38100" dir="5400000" algn="t" rotWithShape="0">
                      <a:prstClr val="black">
                        <a:alpha val="40000"/>
                      </a:prstClr>
                    </a:outerShdw>
                  </a:effectLst>
                  <a:latin typeface="Arial" pitchFamily="34" charset="0"/>
                  <a:ea typeface="Kozuka Gothic Pro M" pitchFamily="34" charset="-128"/>
                  <a:cs typeface="Arial" pitchFamily="34" charset="0"/>
                </a:rPr>
                <a:t>Semakan </a:t>
              </a:r>
            </a:p>
            <a:p>
              <a:pPr marL="400050" algn="ctr" fontAlgn="b">
                <a:lnSpc>
                  <a:spcPct val="110000"/>
                </a:lnSpc>
                <a:tabLst>
                  <a:tab pos="514350" algn="l"/>
                </a:tabLst>
              </a:pPr>
              <a:r>
                <a:rPr lang="en-US" sz="2400" b="1" smtClean="0">
                  <a:effectLst>
                    <a:outerShdw blurRad="76200" dist="38100" dir="5400000" algn="t" rotWithShape="0">
                      <a:prstClr val="black">
                        <a:alpha val="40000"/>
                      </a:prstClr>
                    </a:outerShdw>
                  </a:effectLst>
                  <a:latin typeface="Arial" pitchFamily="34" charset="0"/>
                  <a:ea typeface="Kozuka Gothic Pro M" pitchFamily="34" charset="-128"/>
                  <a:cs typeface="Arial" pitchFamily="34" charset="0"/>
                </a:rPr>
                <a:t>Bahan</a:t>
              </a:r>
              <a:endParaRPr lang="en-US" sz="2400" b="1" dirty="0">
                <a:effectLst>
                  <a:outerShdw blurRad="76200" dist="38100" dir="5400000" algn="t" rotWithShape="0">
                    <a:prstClr val="black">
                      <a:alpha val="40000"/>
                    </a:prstClr>
                  </a:outerShdw>
                </a:effectLst>
                <a:latin typeface="Arial" pitchFamily="34" charset="0"/>
                <a:ea typeface="Kozuka Gothic Pro M" pitchFamily="34" charset="-128"/>
                <a:cs typeface="Arial" pitchFamily="34" charset="0"/>
              </a:endParaRPr>
            </a:p>
          </p:txBody>
        </p:sp>
      </p:grpSp>
      <p:grpSp>
        <p:nvGrpSpPr>
          <p:cNvPr id="4" name="Group 18"/>
          <p:cNvGrpSpPr/>
          <p:nvPr/>
        </p:nvGrpSpPr>
        <p:grpSpPr>
          <a:xfrm>
            <a:off x="6441317" y="2345222"/>
            <a:ext cx="2278176" cy="1968228"/>
            <a:chOff x="5441217" y="1990714"/>
            <a:chExt cx="2278176" cy="1968228"/>
          </a:xfrm>
        </p:grpSpPr>
        <p:sp>
          <p:nvSpPr>
            <p:cNvPr id="20" name="Oval Callout 19"/>
            <p:cNvSpPr/>
            <p:nvPr/>
          </p:nvSpPr>
          <p:spPr>
            <a:xfrm rot="16200000" flipV="1">
              <a:off x="5596191" y="1835740"/>
              <a:ext cx="1968228" cy="2278176"/>
            </a:xfrm>
            <a:prstGeom prst="wedgeEllipseCallout">
              <a:avLst>
                <a:gd name="adj1" fmla="val -93224"/>
                <a:gd name="adj2" fmla="val 77723"/>
              </a:avLst>
            </a:prstGeom>
            <a:gradFill flip="none" rotWithShape="1">
              <a:gsLst>
                <a:gs pos="81000">
                  <a:srgbClr val="0E618F"/>
                </a:gs>
                <a:gs pos="0">
                  <a:srgbClr val="00B0F0"/>
                </a:gs>
                <a:gs pos="100000">
                  <a:srgbClr val="182848"/>
                </a:gs>
              </a:gsLst>
              <a:lin ang="10800000" scaled="1"/>
              <a:tileRect/>
            </a:gradFill>
            <a:ln>
              <a:noFill/>
            </a:ln>
            <a:effectLst>
              <a:outerShdw blurRad="50800" dist="63500" dir="6000000" algn="t"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1" name="Chord 20"/>
            <p:cNvSpPr/>
            <p:nvPr/>
          </p:nvSpPr>
          <p:spPr>
            <a:xfrm rot="16031008">
              <a:off x="5703661" y="1945270"/>
              <a:ext cx="1769775" cy="2047116"/>
            </a:xfrm>
            <a:prstGeom prst="chord">
              <a:avLst>
                <a:gd name="adj1" fmla="val 16260661"/>
                <a:gd name="adj2" fmla="val 16200000"/>
              </a:avLst>
            </a:prstGeom>
            <a:gradFill>
              <a:gsLst>
                <a:gs pos="83000">
                  <a:schemeClr val="bg1">
                    <a:alpha val="52000"/>
                  </a:schemeClr>
                </a:gs>
                <a:gs pos="0">
                  <a:schemeClr val="bg1"/>
                </a:gs>
                <a:gs pos="100000">
                  <a:schemeClr val="bg1">
                    <a:alpha val="31000"/>
                  </a:schemeClr>
                </a:gs>
              </a:gsLst>
              <a:lin ang="10800000" scaled="1"/>
            </a:gradFill>
            <a:ln w="19050">
              <a:solidFill>
                <a:schemeClr val="bg1">
                  <a:alpha val="49000"/>
                </a:schemeClr>
              </a:solidFill>
            </a:ln>
            <a:effectLst>
              <a:innerShdw blurRad="114300">
                <a:prstClr val="black">
                  <a:alpha val="32000"/>
                </a:prstClr>
              </a:innerShdw>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sz="1200" dirty="0"/>
            </a:p>
          </p:txBody>
        </p:sp>
      </p:grpSp>
      <p:grpSp>
        <p:nvGrpSpPr>
          <p:cNvPr id="6" name="Group 7"/>
          <p:cNvGrpSpPr/>
          <p:nvPr/>
        </p:nvGrpSpPr>
        <p:grpSpPr>
          <a:xfrm>
            <a:off x="4071934" y="1140302"/>
            <a:ext cx="2643206" cy="1968228"/>
            <a:chOff x="3113438" y="1164768"/>
            <a:chExt cx="2643206" cy="1968228"/>
          </a:xfrm>
        </p:grpSpPr>
        <p:sp>
          <p:nvSpPr>
            <p:cNvPr id="17" name="Oval Callout 16"/>
            <p:cNvSpPr/>
            <p:nvPr/>
          </p:nvSpPr>
          <p:spPr>
            <a:xfrm rot="5400000" flipH="1" flipV="1">
              <a:off x="3339818" y="1009794"/>
              <a:ext cx="1968228" cy="2278176"/>
            </a:xfrm>
            <a:prstGeom prst="wedgeEllipseCallout">
              <a:avLst>
                <a:gd name="adj1" fmla="val -123311"/>
                <a:gd name="adj2" fmla="val 9412"/>
              </a:avLst>
            </a:prstGeom>
            <a:gradFill flip="none" rotWithShape="1">
              <a:gsLst>
                <a:gs pos="81000">
                  <a:srgbClr val="910808"/>
                </a:gs>
                <a:gs pos="0">
                  <a:srgbClr val="ED1111"/>
                </a:gs>
                <a:gs pos="100000">
                  <a:srgbClr val="3E0000"/>
                </a:gs>
              </a:gsLst>
              <a:lin ang="10800000" scaled="1"/>
              <a:tileRect/>
            </a:gradFill>
            <a:ln>
              <a:noFill/>
            </a:ln>
            <a:effectLst>
              <a:outerShdw blurRad="50800" dist="635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8" name="Chord 17"/>
            <p:cNvSpPr/>
            <p:nvPr/>
          </p:nvSpPr>
          <p:spPr>
            <a:xfrm rot="16031008">
              <a:off x="3437197" y="1075324"/>
              <a:ext cx="1769775" cy="2047116"/>
            </a:xfrm>
            <a:prstGeom prst="chord">
              <a:avLst>
                <a:gd name="adj1" fmla="val 16260661"/>
                <a:gd name="adj2" fmla="val 16200000"/>
              </a:avLst>
            </a:prstGeom>
            <a:gradFill>
              <a:gsLst>
                <a:gs pos="83000">
                  <a:schemeClr val="bg1">
                    <a:alpha val="52000"/>
                  </a:schemeClr>
                </a:gs>
                <a:gs pos="0">
                  <a:schemeClr val="bg1"/>
                </a:gs>
                <a:gs pos="100000">
                  <a:schemeClr val="bg1">
                    <a:alpha val="31000"/>
                  </a:schemeClr>
                </a:gs>
              </a:gsLst>
              <a:lin ang="10800000" scaled="1"/>
            </a:gradFill>
            <a:ln w="19050">
              <a:solidFill>
                <a:schemeClr val="bg1">
                  <a:alpha val="49000"/>
                </a:schemeClr>
              </a:solidFill>
            </a:ln>
            <a:effectLst>
              <a:innerShdw blurRad="114300">
                <a:prstClr val="black">
                  <a:alpha val="32000"/>
                </a:prstClr>
              </a:innerShdw>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sz="1200" dirty="0"/>
            </a:p>
          </p:txBody>
        </p:sp>
        <p:sp>
          <p:nvSpPr>
            <p:cNvPr id="19" name="TextBox 18"/>
            <p:cNvSpPr txBox="1"/>
            <p:nvPr/>
          </p:nvSpPr>
          <p:spPr>
            <a:xfrm>
              <a:off x="3113438" y="1875478"/>
              <a:ext cx="2643206" cy="432298"/>
            </a:xfrm>
            <a:prstGeom prst="rect">
              <a:avLst/>
            </a:prstGeom>
            <a:noFill/>
          </p:spPr>
          <p:txBody>
            <a:bodyPr wrap="square" rtlCol="0" anchor="ctr">
              <a:spAutoFit/>
            </a:bodyPr>
            <a:lstStyle/>
            <a:p>
              <a:pPr marL="400050" fontAlgn="b">
                <a:lnSpc>
                  <a:spcPct val="110000"/>
                </a:lnSpc>
                <a:tabLst>
                  <a:tab pos="514350" algn="l"/>
                </a:tabLst>
              </a:pPr>
              <a:r>
                <a:rPr lang="en-US" sz="2400" b="1" dirty="0" err="1" smtClean="0">
                  <a:effectLst>
                    <a:outerShdw blurRad="76200" dist="38100" dir="5400000" algn="t" rotWithShape="0">
                      <a:prstClr val="black">
                        <a:alpha val="40000"/>
                      </a:prstClr>
                    </a:outerShdw>
                  </a:effectLst>
                  <a:latin typeface="Arial" pitchFamily="34" charset="0"/>
                  <a:ea typeface="Kozuka Gothic Pro M" pitchFamily="34" charset="-128"/>
                  <a:cs typeface="Arial" pitchFamily="34" charset="0"/>
                </a:rPr>
                <a:t>Temu</a:t>
              </a:r>
              <a:r>
                <a:rPr lang="en-US" sz="2400" b="1" dirty="0" smtClean="0">
                  <a:effectLst>
                    <a:outerShdw blurRad="76200" dist="38100" dir="5400000" algn="t" rotWithShape="0">
                      <a:prstClr val="black">
                        <a:alpha val="40000"/>
                      </a:prstClr>
                    </a:outerShdw>
                  </a:effectLst>
                  <a:latin typeface="Arial" pitchFamily="34" charset="0"/>
                  <a:ea typeface="Kozuka Gothic Pro M" pitchFamily="34" charset="-128"/>
                  <a:cs typeface="Arial" pitchFamily="34" charset="0"/>
                </a:rPr>
                <a:t> </a:t>
              </a:r>
              <a:r>
                <a:rPr lang="en-US" sz="2400" b="1" dirty="0" err="1" smtClean="0">
                  <a:effectLst>
                    <a:outerShdw blurRad="76200" dist="38100" dir="5400000" algn="t" rotWithShape="0">
                      <a:prstClr val="black">
                        <a:alpha val="40000"/>
                      </a:prstClr>
                    </a:outerShdw>
                  </a:effectLst>
                  <a:latin typeface="Arial" pitchFamily="34" charset="0"/>
                  <a:ea typeface="Kozuka Gothic Pro M" pitchFamily="34" charset="-128"/>
                  <a:cs typeface="Arial" pitchFamily="34" charset="0"/>
                </a:rPr>
                <a:t>Bual</a:t>
              </a:r>
              <a:endParaRPr lang="en-US" sz="2400" b="1" dirty="0">
                <a:effectLst>
                  <a:outerShdw blurRad="76200" dist="38100" dir="5400000" algn="t" rotWithShape="0">
                    <a:prstClr val="black">
                      <a:alpha val="40000"/>
                    </a:prstClr>
                  </a:outerShdw>
                </a:effectLst>
                <a:latin typeface="Arial" pitchFamily="34" charset="0"/>
                <a:ea typeface="Kozuka Gothic Pro M" pitchFamily="34" charset="-128"/>
                <a:cs typeface="Arial" pitchFamily="34" charset="0"/>
              </a:endParaRPr>
            </a:p>
          </p:txBody>
        </p:sp>
      </p:grpSp>
      <p:grpSp>
        <p:nvGrpSpPr>
          <p:cNvPr id="7" name="Group 30"/>
          <p:cNvGrpSpPr/>
          <p:nvPr/>
        </p:nvGrpSpPr>
        <p:grpSpPr>
          <a:xfrm>
            <a:off x="3425800" y="2006611"/>
            <a:ext cx="4267200" cy="5053497"/>
            <a:chOff x="2425700" y="2222500"/>
            <a:chExt cx="4267200" cy="5053497"/>
          </a:xfrm>
        </p:grpSpPr>
        <p:sp>
          <p:nvSpPr>
            <p:cNvPr id="13" name="Oval 12"/>
            <p:cNvSpPr/>
            <p:nvPr/>
          </p:nvSpPr>
          <p:spPr>
            <a:xfrm>
              <a:off x="2425700" y="2222500"/>
              <a:ext cx="4267200" cy="5053497"/>
            </a:xfrm>
            <a:prstGeom prst="ellipse">
              <a:avLst/>
            </a:prstGeom>
            <a:gradFill flip="none" rotWithShape="1">
              <a:gsLst>
                <a:gs pos="0">
                  <a:schemeClr val="bg1"/>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4" name="Oval 13"/>
            <p:cNvSpPr/>
            <p:nvPr/>
          </p:nvSpPr>
          <p:spPr>
            <a:xfrm>
              <a:off x="2514600" y="4495800"/>
              <a:ext cx="2657804" cy="2114350"/>
            </a:xfrm>
            <a:prstGeom prst="ellipse">
              <a:avLst/>
            </a:prstGeom>
            <a:solidFill>
              <a:srgbClr val="47CFFF"/>
            </a:solidFill>
            <a:ln w="139700">
              <a:gradFill flip="none" rotWithShape="1">
                <a:gsLst>
                  <a:gs pos="0">
                    <a:srgbClr val="00B0F0"/>
                  </a:gs>
                  <a:gs pos="85000">
                    <a:srgbClr val="0E6193"/>
                  </a:gs>
                  <a:gs pos="100000">
                    <a:srgbClr val="0070C0"/>
                  </a:gs>
                </a:gsLst>
                <a:lin ang="16200000" scaled="1"/>
                <a:tileRect/>
              </a:gradFill>
            </a:ln>
            <a:effectLst>
              <a:outerShdw blurRad="127000" dist="38100" dir="2700000" algn="ctr">
                <a:srgbClr val="000000">
                  <a:alpha val="45000"/>
                </a:srgbClr>
              </a:outerShdw>
            </a:effectLst>
            <a:scene3d>
              <a:camera prst="perspectiveFront" fov="2700000">
                <a:rot lat="20376000" lon="1938000" rev="20112001"/>
              </a:camera>
              <a:lightRig rig="flood" dir="t"/>
            </a:scene3d>
            <a:sp3d extrusionH="234950" prstMaterial="matte">
              <a:bevelT w="819150" h="88900" prst="softRound"/>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b="1" dirty="0">
                <a:ln w="19050">
                  <a:noFill/>
                  <a:prstDash val="solid"/>
                </a:ln>
                <a:solidFill>
                  <a:srgbClr val="182848"/>
                </a:solidFill>
                <a:latin typeface="Impact" pitchFamily="34" charset="0"/>
              </a:endParaRPr>
            </a:p>
          </p:txBody>
        </p:sp>
        <p:sp>
          <p:nvSpPr>
            <p:cNvPr id="15" name="Oval 14"/>
            <p:cNvSpPr/>
            <p:nvPr/>
          </p:nvSpPr>
          <p:spPr>
            <a:xfrm>
              <a:off x="2794000" y="4686300"/>
              <a:ext cx="2200604" cy="1750636"/>
            </a:xfrm>
            <a:prstGeom prst="ellipse">
              <a:avLst/>
            </a:prstGeom>
            <a:gradFill>
              <a:gsLst>
                <a:gs pos="1000">
                  <a:srgbClr val="EF2525">
                    <a:alpha val="0"/>
                  </a:srgbClr>
                </a:gs>
                <a:gs pos="29000">
                  <a:schemeClr val="bg1">
                    <a:alpha val="0"/>
                  </a:schemeClr>
                </a:gs>
                <a:gs pos="100000">
                  <a:schemeClr val="bg1"/>
                </a:gs>
              </a:gsLst>
              <a:lin ang="16200000" scaled="1"/>
            </a:gradFill>
            <a:ln w="139700">
              <a:noFill/>
            </a:ln>
            <a:effectLst/>
            <a:scene3d>
              <a:camera prst="perspectiveFront" fov="2700000">
                <a:rot lat="20376000" lon="1938000" rev="20112001"/>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b="1" dirty="0">
                <a:ln w="19050">
                  <a:noFill/>
                  <a:prstDash val="solid"/>
                </a:ln>
                <a:solidFill>
                  <a:srgbClr val="182848"/>
                </a:solidFill>
                <a:latin typeface="Impact" pitchFamily="34" charset="0"/>
              </a:endParaRPr>
            </a:p>
          </p:txBody>
        </p:sp>
        <p:sp>
          <p:nvSpPr>
            <p:cNvPr id="16" name="Oval 15"/>
            <p:cNvSpPr/>
            <p:nvPr/>
          </p:nvSpPr>
          <p:spPr>
            <a:xfrm>
              <a:off x="2511096" y="4914900"/>
              <a:ext cx="2657804" cy="1303589"/>
            </a:xfrm>
            <a:prstGeom prst="ellipse">
              <a:avLst/>
            </a:prstGeom>
            <a:noFill/>
            <a:ln w="139700">
              <a:noFill/>
            </a:ln>
            <a:effectLst/>
            <a:scene3d>
              <a:camera prst="perspectiveFront" fov="2700000">
                <a:rot lat="20376000" lon="1938000" rev="20112001"/>
              </a:camera>
              <a:lightRig rig="flood" dir="t"/>
            </a:scene3d>
            <a:sp3d extrusionH="234950" prstMaterial="plastic">
              <a:bevelT w="819150" h="88900" prst="softRound"/>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sp3d>
                <a:bevelT w="0" h="0"/>
                <a:extrusionClr>
                  <a:schemeClr val="bg1"/>
                </a:extrusionClr>
                <a:contourClr>
                  <a:srgbClr val="FFFF00"/>
                </a:contourClr>
              </a:sp3d>
            </a:bodyPr>
            <a:lstStyle/>
            <a:p>
              <a:pPr algn="ctr"/>
              <a:r>
                <a:rPr lang="en-GB" sz="4000" b="1" dirty="0" smtClean="0">
                  <a:ln w="19050">
                    <a:noFill/>
                    <a:prstDash val="solid"/>
                  </a:ln>
                  <a:solidFill>
                    <a:srgbClr val="002060"/>
                  </a:solidFill>
                  <a:effectLst>
                    <a:outerShdw blurRad="50800" dist="38100" dir="16200000" rotWithShape="0">
                      <a:prstClr val="black">
                        <a:alpha val="40000"/>
                      </a:prstClr>
                    </a:outerShdw>
                  </a:effectLst>
                  <a:latin typeface="Impact" pitchFamily="34" charset="0"/>
                </a:rPr>
                <a:t>KAEDAH</a:t>
              </a:r>
              <a:endParaRPr lang="en-GB" sz="4000" b="1" dirty="0">
                <a:ln w="19050">
                  <a:noFill/>
                  <a:prstDash val="solid"/>
                </a:ln>
                <a:solidFill>
                  <a:srgbClr val="002060"/>
                </a:solidFill>
                <a:effectLst>
                  <a:outerShdw blurRad="50800" dist="38100" dir="16200000" rotWithShape="0">
                    <a:prstClr val="black">
                      <a:alpha val="40000"/>
                    </a:prstClr>
                  </a:outerShdw>
                </a:effectLst>
                <a:latin typeface="Impact" pitchFamily="34" charset="0"/>
              </a:endParaRPr>
            </a:p>
          </p:txBody>
        </p:sp>
      </p:grpSp>
      <p:sp>
        <p:nvSpPr>
          <p:cNvPr id="11" name="TextBox 10"/>
          <p:cNvSpPr txBox="1"/>
          <p:nvPr/>
        </p:nvSpPr>
        <p:spPr>
          <a:xfrm>
            <a:off x="6215074" y="3065458"/>
            <a:ext cx="2643206" cy="432298"/>
          </a:xfrm>
          <a:prstGeom prst="rect">
            <a:avLst/>
          </a:prstGeom>
          <a:noFill/>
        </p:spPr>
        <p:txBody>
          <a:bodyPr wrap="square" rtlCol="0" anchor="ctr">
            <a:spAutoFit/>
          </a:bodyPr>
          <a:lstStyle/>
          <a:p>
            <a:pPr marL="400050" fontAlgn="b">
              <a:lnSpc>
                <a:spcPct val="110000"/>
              </a:lnSpc>
              <a:tabLst>
                <a:tab pos="514350" algn="l"/>
              </a:tabLst>
            </a:pPr>
            <a:r>
              <a:rPr lang="en-US" sz="2400" b="1" smtClean="0">
                <a:effectLst>
                  <a:outerShdw blurRad="76200" dist="38100" dir="5400000" algn="t" rotWithShape="0">
                    <a:prstClr val="black">
                      <a:alpha val="40000"/>
                    </a:prstClr>
                  </a:outerShdw>
                </a:effectLst>
                <a:latin typeface="Arial" pitchFamily="34" charset="0"/>
                <a:ea typeface="Kozuka Gothic Pro M" pitchFamily="34" charset="-128"/>
                <a:cs typeface="Arial" pitchFamily="34" charset="0"/>
              </a:rPr>
              <a:t>Pencerapan</a:t>
            </a:r>
            <a:endParaRPr lang="en-US" sz="2400" b="1" dirty="0">
              <a:effectLst>
                <a:outerShdw blurRad="76200" dist="38100" dir="5400000" algn="t" rotWithShape="0">
                  <a:prstClr val="black">
                    <a:alpha val="40000"/>
                  </a:prstClr>
                </a:outerShdw>
              </a:effectLst>
              <a:latin typeface="Arial" pitchFamily="34" charset="0"/>
              <a:ea typeface="Kozuka Gothic Pro M" pitchFamily="34" charset="-128"/>
              <a:cs typeface="Arial" pitchFamily="34" charset="0"/>
            </a:endParaRPr>
          </a:p>
        </p:txBody>
      </p:sp>
      <p:sp>
        <p:nvSpPr>
          <p:cNvPr id="12" name="TextBox 11"/>
          <p:cNvSpPr txBox="1"/>
          <p:nvPr/>
        </p:nvSpPr>
        <p:spPr>
          <a:xfrm>
            <a:off x="6429388" y="5140830"/>
            <a:ext cx="2786082" cy="432298"/>
          </a:xfrm>
          <a:prstGeom prst="rect">
            <a:avLst/>
          </a:prstGeom>
          <a:noFill/>
        </p:spPr>
        <p:txBody>
          <a:bodyPr wrap="square" rtlCol="0" anchor="ctr">
            <a:spAutoFit/>
          </a:bodyPr>
          <a:lstStyle/>
          <a:p>
            <a:pPr marL="400050" fontAlgn="b">
              <a:lnSpc>
                <a:spcPct val="110000"/>
              </a:lnSpc>
              <a:tabLst>
                <a:tab pos="514350" algn="l"/>
              </a:tabLst>
            </a:pPr>
            <a:r>
              <a:rPr lang="en-US" sz="2400" b="1" smtClean="0">
                <a:effectLst>
                  <a:outerShdw blurRad="76200" dist="38100" dir="5400000" algn="t" rotWithShape="0">
                    <a:prstClr val="black">
                      <a:alpha val="40000"/>
                    </a:prstClr>
                  </a:outerShdw>
                </a:effectLst>
                <a:latin typeface="Arial" pitchFamily="34" charset="0"/>
                <a:ea typeface="Kozuka Gothic Pro M" pitchFamily="34" charset="-128"/>
                <a:cs typeface="Arial" pitchFamily="34" charset="0"/>
              </a:rPr>
              <a:t>Pemerhatian</a:t>
            </a:r>
            <a:endParaRPr lang="en-US" sz="2400" b="1" dirty="0">
              <a:effectLst>
                <a:outerShdw blurRad="76200" dist="38100" dir="5400000" algn="t" rotWithShape="0">
                  <a:prstClr val="black">
                    <a:alpha val="40000"/>
                  </a:prstClr>
                </a:outerShdw>
              </a:effectLst>
              <a:latin typeface="Arial" pitchFamily="34" charset="0"/>
              <a:ea typeface="Kozuka Gothic Pro M" pitchFamily="34" charset="-128"/>
              <a:cs typeface="Arial" pitchFamily="34" charset="0"/>
            </a:endParaRPr>
          </a:p>
        </p:txBody>
      </p:sp>
      <p:grpSp>
        <p:nvGrpSpPr>
          <p:cNvPr id="8" name="Group 45"/>
          <p:cNvGrpSpPr/>
          <p:nvPr/>
        </p:nvGrpSpPr>
        <p:grpSpPr>
          <a:xfrm>
            <a:off x="402837" y="3916836"/>
            <a:ext cx="2589952" cy="2612610"/>
            <a:chOff x="234235" y="3632261"/>
            <a:chExt cx="2589952" cy="2612610"/>
          </a:xfrm>
        </p:grpSpPr>
        <p:sp>
          <p:nvSpPr>
            <p:cNvPr id="47" name="Rectangle 19"/>
            <p:cNvSpPr/>
            <p:nvPr/>
          </p:nvSpPr>
          <p:spPr>
            <a:xfrm rot="20766240">
              <a:off x="234235" y="3764085"/>
              <a:ext cx="2589952" cy="2480786"/>
            </a:xfrm>
            <a:custGeom>
              <a:avLst/>
              <a:gdLst>
                <a:gd name="connsiteX0" fmla="*/ 0 w 1339596"/>
                <a:gd name="connsiteY0" fmla="*/ 0 h 1219200"/>
                <a:gd name="connsiteX1" fmla="*/ 1339596 w 1339596"/>
                <a:gd name="connsiteY1" fmla="*/ 0 h 1219200"/>
                <a:gd name="connsiteX2" fmla="*/ 1339596 w 1339596"/>
                <a:gd name="connsiteY2" fmla="*/ 1219200 h 1219200"/>
                <a:gd name="connsiteX3" fmla="*/ 0 w 1339596"/>
                <a:gd name="connsiteY3" fmla="*/ 1219200 h 1219200"/>
                <a:gd name="connsiteX4" fmla="*/ 0 w 1339596"/>
                <a:gd name="connsiteY4" fmla="*/ 0 h 1219200"/>
                <a:gd name="connsiteX0" fmla="*/ 0 w 1339596"/>
                <a:gd name="connsiteY0" fmla="*/ 11733 h 1230933"/>
                <a:gd name="connsiteX1" fmla="*/ 1306342 w 1339596"/>
                <a:gd name="connsiteY1" fmla="*/ 0 h 1230933"/>
                <a:gd name="connsiteX2" fmla="*/ 1339596 w 1339596"/>
                <a:gd name="connsiteY2" fmla="*/ 1230933 h 1230933"/>
                <a:gd name="connsiteX3" fmla="*/ 0 w 1339596"/>
                <a:gd name="connsiteY3" fmla="*/ 1230933 h 1230933"/>
                <a:gd name="connsiteX4" fmla="*/ 0 w 1339596"/>
                <a:gd name="connsiteY4" fmla="*/ 11733 h 1230933"/>
                <a:gd name="connsiteX0" fmla="*/ 55747 w 1339596"/>
                <a:gd name="connsiteY0" fmla="*/ 12706 h 1230933"/>
                <a:gd name="connsiteX1" fmla="*/ 1306342 w 1339596"/>
                <a:gd name="connsiteY1" fmla="*/ 0 h 1230933"/>
                <a:gd name="connsiteX2" fmla="*/ 1339596 w 1339596"/>
                <a:gd name="connsiteY2" fmla="*/ 1230933 h 1230933"/>
                <a:gd name="connsiteX3" fmla="*/ 0 w 1339596"/>
                <a:gd name="connsiteY3" fmla="*/ 1230933 h 1230933"/>
                <a:gd name="connsiteX4" fmla="*/ 55747 w 1339596"/>
                <a:gd name="connsiteY4" fmla="*/ 12706 h 1230933"/>
                <a:gd name="connsiteX0" fmla="*/ 28195 w 1339596"/>
                <a:gd name="connsiteY0" fmla="*/ 12225 h 1230933"/>
                <a:gd name="connsiteX1" fmla="*/ 1306342 w 1339596"/>
                <a:gd name="connsiteY1" fmla="*/ 0 h 1230933"/>
                <a:gd name="connsiteX2" fmla="*/ 1339596 w 1339596"/>
                <a:gd name="connsiteY2" fmla="*/ 1230933 h 1230933"/>
                <a:gd name="connsiteX3" fmla="*/ 0 w 1339596"/>
                <a:gd name="connsiteY3" fmla="*/ 1230933 h 1230933"/>
                <a:gd name="connsiteX4" fmla="*/ 28195 w 1339596"/>
                <a:gd name="connsiteY4" fmla="*/ 12225 h 1230933"/>
                <a:gd name="connsiteX0" fmla="*/ 28195 w 1353846"/>
                <a:gd name="connsiteY0" fmla="*/ 6385 h 1225093"/>
                <a:gd name="connsiteX1" fmla="*/ 1353846 w 1353846"/>
                <a:gd name="connsiteY1" fmla="*/ 0 h 1225093"/>
                <a:gd name="connsiteX2" fmla="*/ 1339596 w 1353846"/>
                <a:gd name="connsiteY2" fmla="*/ 1225093 h 1225093"/>
                <a:gd name="connsiteX3" fmla="*/ 0 w 1353846"/>
                <a:gd name="connsiteY3" fmla="*/ 1225093 h 1225093"/>
                <a:gd name="connsiteX4" fmla="*/ 28195 w 1353846"/>
                <a:gd name="connsiteY4" fmla="*/ 6385 h 1225093"/>
                <a:gd name="connsiteX0" fmla="*/ 20681 w 1353846"/>
                <a:gd name="connsiteY0" fmla="*/ 6253 h 1225093"/>
                <a:gd name="connsiteX1" fmla="*/ 1353846 w 1353846"/>
                <a:gd name="connsiteY1" fmla="*/ 0 h 1225093"/>
                <a:gd name="connsiteX2" fmla="*/ 1339596 w 1353846"/>
                <a:gd name="connsiteY2" fmla="*/ 1225093 h 1225093"/>
                <a:gd name="connsiteX3" fmla="*/ 0 w 1353846"/>
                <a:gd name="connsiteY3" fmla="*/ 1225093 h 1225093"/>
                <a:gd name="connsiteX4" fmla="*/ 20681 w 1353846"/>
                <a:gd name="connsiteY4" fmla="*/ 6253 h 1225093"/>
                <a:gd name="connsiteX0" fmla="*/ 20681 w 1339596"/>
                <a:gd name="connsiteY0" fmla="*/ 6603 h 1225443"/>
                <a:gd name="connsiteX1" fmla="*/ 1333808 w 1339596"/>
                <a:gd name="connsiteY1" fmla="*/ 0 h 1225443"/>
                <a:gd name="connsiteX2" fmla="*/ 1339596 w 1339596"/>
                <a:gd name="connsiteY2" fmla="*/ 1225443 h 1225443"/>
                <a:gd name="connsiteX3" fmla="*/ 0 w 1339596"/>
                <a:gd name="connsiteY3" fmla="*/ 1225443 h 1225443"/>
                <a:gd name="connsiteX4" fmla="*/ 20681 w 1339596"/>
                <a:gd name="connsiteY4" fmla="*/ 6603 h 1225443"/>
                <a:gd name="connsiteX0" fmla="*/ 33205 w 1339596"/>
                <a:gd name="connsiteY0" fmla="*/ 6822 h 1225443"/>
                <a:gd name="connsiteX1" fmla="*/ 1333808 w 1339596"/>
                <a:gd name="connsiteY1" fmla="*/ 0 h 1225443"/>
                <a:gd name="connsiteX2" fmla="*/ 1339596 w 1339596"/>
                <a:gd name="connsiteY2" fmla="*/ 1225443 h 1225443"/>
                <a:gd name="connsiteX3" fmla="*/ 0 w 1339596"/>
                <a:gd name="connsiteY3" fmla="*/ 1225443 h 1225443"/>
                <a:gd name="connsiteX4" fmla="*/ 33205 w 1339596"/>
                <a:gd name="connsiteY4" fmla="*/ 6822 h 1225443"/>
                <a:gd name="connsiteX0" fmla="*/ 13167 w 1339596"/>
                <a:gd name="connsiteY0" fmla="*/ 6472 h 1225443"/>
                <a:gd name="connsiteX1" fmla="*/ 1333808 w 1339596"/>
                <a:gd name="connsiteY1" fmla="*/ 0 h 1225443"/>
                <a:gd name="connsiteX2" fmla="*/ 1339596 w 1339596"/>
                <a:gd name="connsiteY2" fmla="*/ 1225443 h 1225443"/>
                <a:gd name="connsiteX3" fmla="*/ 0 w 1339596"/>
                <a:gd name="connsiteY3" fmla="*/ 1225443 h 1225443"/>
                <a:gd name="connsiteX4" fmla="*/ 13167 w 1339596"/>
                <a:gd name="connsiteY4" fmla="*/ 6472 h 1225443"/>
                <a:gd name="connsiteX0" fmla="*/ 13167 w 1333884"/>
                <a:gd name="connsiteY0" fmla="*/ 6472 h 1225443"/>
                <a:gd name="connsiteX1" fmla="*/ 1333808 w 1333884"/>
                <a:gd name="connsiteY1" fmla="*/ 0 h 1225443"/>
                <a:gd name="connsiteX2" fmla="*/ 1302330 w 1333884"/>
                <a:gd name="connsiteY2" fmla="*/ 1207253 h 1225443"/>
                <a:gd name="connsiteX3" fmla="*/ 0 w 1333884"/>
                <a:gd name="connsiteY3" fmla="*/ 1225443 h 1225443"/>
                <a:gd name="connsiteX4" fmla="*/ 13167 w 1333884"/>
                <a:gd name="connsiteY4" fmla="*/ 6472 h 1225443"/>
                <a:gd name="connsiteX0" fmla="*/ 13167 w 1334211"/>
                <a:gd name="connsiteY0" fmla="*/ 6472 h 1232826"/>
                <a:gd name="connsiteX1" fmla="*/ 1333808 w 1334211"/>
                <a:gd name="connsiteY1" fmla="*/ 0 h 1232826"/>
                <a:gd name="connsiteX2" fmla="*/ 1331950 w 1334211"/>
                <a:gd name="connsiteY2" fmla="*/ 1232826 h 1232826"/>
                <a:gd name="connsiteX3" fmla="*/ 0 w 1334211"/>
                <a:gd name="connsiteY3" fmla="*/ 1225443 h 1232826"/>
                <a:gd name="connsiteX4" fmla="*/ 13167 w 1334211"/>
                <a:gd name="connsiteY4" fmla="*/ 6472 h 1232826"/>
                <a:gd name="connsiteX0" fmla="*/ 13167 w 1333952"/>
                <a:gd name="connsiteY0" fmla="*/ 6472 h 1225443"/>
                <a:gd name="connsiteX1" fmla="*/ 1333808 w 1333952"/>
                <a:gd name="connsiteY1" fmla="*/ 0 h 1225443"/>
                <a:gd name="connsiteX2" fmla="*/ 1319601 w 1333952"/>
                <a:gd name="connsiteY2" fmla="*/ 1222588 h 1225443"/>
                <a:gd name="connsiteX3" fmla="*/ 0 w 1333952"/>
                <a:gd name="connsiteY3" fmla="*/ 1225443 h 1225443"/>
                <a:gd name="connsiteX4" fmla="*/ 13167 w 1333952"/>
                <a:gd name="connsiteY4" fmla="*/ 6472 h 1225443"/>
                <a:gd name="connsiteX0" fmla="*/ 30785 w 1333952"/>
                <a:gd name="connsiteY0" fmla="*/ 0 h 1235984"/>
                <a:gd name="connsiteX1" fmla="*/ 1333808 w 1333952"/>
                <a:gd name="connsiteY1" fmla="*/ 10541 h 1235984"/>
                <a:gd name="connsiteX2" fmla="*/ 1319601 w 1333952"/>
                <a:gd name="connsiteY2" fmla="*/ 1233129 h 1235984"/>
                <a:gd name="connsiteX3" fmla="*/ 0 w 1333952"/>
                <a:gd name="connsiteY3" fmla="*/ 1235984 h 1235984"/>
                <a:gd name="connsiteX4" fmla="*/ 30785 w 1333952"/>
                <a:gd name="connsiteY4" fmla="*/ 0 h 1235984"/>
                <a:gd name="connsiteX0" fmla="*/ 30785 w 1319601"/>
                <a:gd name="connsiteY0" fmla="*/ 0 h 1235984"/>
                <a:gd name="connsiteX1" fmla="*/ 1312848 w 1319601"/>
                <a:gd name="connsiteY1" fmla="*/ 20567 h 1235984"/>
                <a:gd name="connsiteX2" fmla="*/ 1319601 w 1319601"/>
                <a:gd name="connsiteY2" fmla="*/ 1233129 h 1235984"/>
                <a:gd name="connsiteX3" fmla="*/ 0 w 1319601"/>
                <a:gd name="connsiteY3" fmla="*/ 1235984 h 1235984"/>
                <a:gd name="connsiteX4" fmla="*/ 30785 w 1319601"/>
                <a:gd name="connsiteY4" fmla="*/ 0 h 1235984"/>
                <a:gd name="connsiteX0" fmla="*/ 30785 w 1319601"/>
                <a:gd name="connsiteY0" fmla="*/ 0 h 1258608"/>
                <a:gd name="connsiteX1" fmla="*/ 1312848 w 1319601"/>
                <a:gd name="connsiteY1" fmla="*/ 20567 h 1258608"/>
                <a:gd name="connsiteX2" fmla="*/ 1319601 w 1319601"/>
                <a:gd name="connsiteY2" fmla="*/ 1233129 h 1258608"/>
                <a:gd name="connsiteX3" fmla="*/ 0 w 1319601"/>
                <a:gd name="connsiteY3" fmla="*/ 1235984 h 1258608"/>
                <a:gd name="connsiteX4" fmla="*/ 30785 w 1319601"/>
                <a:gd name="connsiteY4" fmla="*/ 0 h 1258608"/>
                <a:gd name="connsiteX0" fmla="*/ 31250 w 1320066"/>
                <a:gd name="connsiteY0" fmla="*/ 0 h 1267432"/>
                <a:gd name="connsiteX1" fmla="*/ 1313313 w 1320066"/>
                <a:gd name="connsiteY1" fmla="*/ 20567 h 1267432"/>
                <a:gd name="connsiteX2" fmla="*/ 1320066 w 1320066"/>
                <a:gd name="connsiteY2" fmla="*/ 1233129 h 1267432"/>
                <a:gd name="connsiteX3" fmla="*/ 0 w 1320066"/>
                <a:gd name="connsiteY3" fmla="*/ 1260343 h 1267432"/>
                <a:gd name="connsiteX4" fmla="*/ 31250 w 1320066"/>
                <a:gd name="connsiteY4" fmla="*/ 0 h 1267432"/>
                <a:gd name="connsiteX0" fmla="*/ 31250 w 1320066"/>
                <a:gd name="connsiteY0" fmla="*/ 0 h 1268253"/>
                <a:gd name="connsiteX1" fmla="*/ 1313313 w 1320066"/>
                <a:gd name="connsiteY1" fmla="*/ 20567 h 1268253"/>
                <a:gd name="connsiteX2" fmla="*/ 1320066 w 1320066"/>
                <a:gd name="connsiteY2" fmla="*/ 1233129 h 1268253"/>
                <a:gd name="connsiteX3" fmla="*/ 0 w 1320066"/>
                <a:gd name="connsiteY3" fmla="*/ 1260343 h 1268253"/>
                <a:gd name="connsiteX4" fmla="*/ 31250 w 1320066"/>
                <a:gd name="connsiteY4" fmla="*/ 0 h 1268253"/>
                <a:gd name="connsiteX0" fmla="*/ 31250 w 1320066"/>
                <a:gd name="connsiteY0" fmla="*/ 0 h 1263844"/>
                <a:gd name="connsiteX1" fmla="*/ 1313313 w 1320066"/>
                <a:gd name="connsiteY1" fmla="*/ 20567 h 1263844"/>
                <a:gd name="connsiteX2" fmla="*/ 1320066 w 1320066"/>
                <a:gd name="connsiteY2" fmla="*/ 1233129 h 1263844"/>
                <a:gd name="connsiteX3" fmla="*/ 0 w 1320066"/>
                <a:gd name="connsiteY3" fmla="*/ 1260343 h 1263844"/>
                <a:gd name="connsiteX4" fmla="*/ 31250 w 1320066"/>
                <a:gd name="connsiteY4" fmla="*/ 0 h 1263844"/>
                <a:gd name="connsiteX0" fmla="*/ 31250 w 1320066"/>
                <a:gd name="connsiteY0" fmla="*/ 0 h 1263844"/>
                <a:gd name="connsiteX1" fmla="*/ 1313313 w 1320066"/>
                <a:gd name="connsiteY1" fmla="*/ 20567 h 1263844"/>
                <a:gd name="connsiteX2" fmla="*/ 1320066 w 1320066"/>
                <a:gd name="connsiteY2" fmla="*/ 1233129 h 1263844"/>
                <a:gd name="connsiteX3" fmla="*/ 0 w 1320066"/>
                <a:gd name="connsiteY3" fmla="*/ 1260343 h 1263844"/>
                <a:gd name="connsiteX4" fmla="*/ 31250 w 1320066"/>
                <a:gd name="connsiteY4" fmla="*/ 0 h 1263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066" h="1263844">
                  <a:moveTo>
                    <a:pt x="31250" y="0"/>
                  </a:moveTo>
                  <a:lnTo>
                    <a:pt x="1313313" y="20567"/>
                  </a:lnTo>
                  <a:cubicBezTo>
                    <a:pt x="1315242" y="429048"/>
                    <a:pt x="1291435" y="859628"/>
                    <a:pt x="1320066" y="1233129"/>
                  </a:cubicBezTo>
                  <a:cubicBezTo>
                    <a:pt x="665493" y="1279400"/>
                    <a:pt x="439867" y="1259391"/>
                    <a:pt x="0" y="1260343"/>
                  </a:cubicBezTo>
                  <a:lnTo>
                    <a:pt x="31250" y="0"/>
                  </a:lnTo>
                  <a:close/>
                </a:path>
              </a:pathLst>
            </a:custGeom>
            <a:ln/>
          </p:spPr>
          <p:style>
            <a:lnRef idx="1">
              <a:schemeClr val="accent4"/>
            </a:lnRef>
            <a:fillRef idx="2">
              <a:schemeClr val="accent4"/>
            </a:fillRef>
            <a:effectRef idx="1">
              <a:schemeClr val="accent4"/>
            </a:effectRef>
            <a:fontRef idx="minor">
              <a:schemeClr val="dk1"/>
            </a:fontRef>
          </p:style>
          <p:txBody>
            <a:bodyPr lIns="45720" tIns="45720" rIns="45720" bIns="45720" rtlCol="0" anchor="ctr"/>
            <a:lstStyle/>
            <a:p>
              <a:pPr algn="ctr"/>
              <a:r>
                <a:rPr lang="ms-MY" sz="1400" b="1" dirty="0" smtClean="0">
                  <a:solidFill>
                    <a:schemeClr val="tx1"/>
                  </a:solidFill>
                  <a:latin typeface="Arial" pitchFamily="34" charset="0"/>
                  <a:cs typeface="Arial" pitchFamily="34" charset="0"/>
                </a:rPr>
                <a:t>Pegawai penilai boleh menggunakan </a:t>
              </a:r>
              <a:r>
                <a:rPr lang="ms-MY" b="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satu ATAU lebih daripada satu </a:t>
              </a:r>
              <a:r>
                <a:rPr lang="ms-MY" sz="1400" b="1" dirty="0" smtClean="0">
                  <a:solidFill>
                    <a:schemeClr val="tx1"/>
                  </a:solidFill>
                  <a:latin typeface="Arial" pitchFamily="34" charset="0"/>
                  <a:cs typeface="Arial" pitchFamily="34" charset="0"/>
                </a:rPr>
                <a:t>kaedah penilaian berdasarkan kesesuaian untuk meningkatkan kesahan dan kebolehpercayaan penilaian</a:t>
              </a:r>
              <a:endParaRPr lang="en-US" sz="1400" dirty="0">
                <a:solidFill>
                  <a:schemeClr val="tx1"/>
                </a:solidFill>
                <a:latin typeface="Arial" pitchFamily="34" charset="0"/>
                <a:cs typeface="Arial" pitchFamily="34" charset="0"/>
              </a:endParaRPr>
            </a:p>
          </p:txBody>
        </p:sp>
        <p:grpSp>
          <p:nvGrpSpPr>
            <p:cNvPr id="9" name="Group 63"/>
            <p:cNvGrpSpPr/>
            <p:nvPr/>
          </p:nvGrpSpPr>
          <p:grpSpPr>
            <a:xfrm>
              <a:off x="1117250" y="3632261"/>
              <a:ext cx="380604" cy="441210"/>
              <a:chOff x="4762598" y="1723144"/>
              <a:chExt cx="2295331" cy="2738774"/>
            </a:xfrm>
            <a:effectLst>
              <a:outerShdw blurRad="50800" dist="25400" dir="8100000" algn="tr" rotWithShape="0">
                <a:prstClr val="black">
                  <a:alpha val="45000"/>
                </a:prstClr>
              </a:outerShdw>
            </a:effectLst>
          </p:grpSpPr>
          <p:sp>
            <p:nvSpPr>
              <p:cNvPr id="49" name="Oval 48"/>
              <p:cNvSpPr/>
              <p:nvPr/>
            </p:nvSpPr>
            <p:spPr>
              <a:xfrm>
                <a:off x="4762598" y="2166589"/>
                <a:ext cx="2295331" cy="2295329"/>
              </a:xfrm>
              <a:prstGeom prst="ellipse">
                <a:avLst/>
              </a:prstGeom>
              <a:solidFill>
                <a:srgbClr val="00B0F0"/>
              </a:solidFill>
              <a:ln>
                <a:noFill/>
              </a:ln>
              <a:effectLst/>
              <a:scene3d>
                <a:camera prst="orthographicFront">
                  <a:rot lat="0" lon="0" rev="0"/>
                </a:camera>
                <a:lightRig rig="contrasting" dir="t">
                  <a:rot lat="0" lon="0" rev="1500000"/>
                </a:lightRig>
              </a:scene3d>
              <a:sp3d>
                <a:bevelT w="44450" h="6985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50" name="Oval 49"/>
              <p:cNvSpPr/>
              <p:nvPr/>
            </p:nvSpPr>
            <p:spPr>
              <a:xfrm>
                <a:off x="5193423" y="2610035"/>
                <a:ext cx="1253457" cy="1253451"/>
              </a:xfrm>
              <a:prstGeom prst="ellipse">
                <a:avLst/>
              </a:prstGeom>
              <a:solidFill>
                <a:srgbClr val="00698E"/>
              </a:solidFill>
              <a:ln>
                <a:noFill/>
              </a:ln>
              <a:effectLst/>
              <a:scene3d>
                <a:camera prst="orthographicFront">
                  <a:rot lat="0" lon="0" rev="0"/>
                </a:camera>
                <a:lightRig rig="contrasting" dir="t">
                  <a:rot lat="0" lon="0" rev="1500000"/>
                </a:lightRig>
              </a:scene3d>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51" name="Oval 50"/>
              <p:cNvSpPr/>
              <p:nvPr/>
            </p:nvSpPr>
            <p:spPr>
              <a:xfrm>
                <a:off x="5193423" y="1723144"/>
                <a:ext cx="1530227" cy="1530228"/>
              </a:xfrm>
              <a:prstGeom prst="ellipse">
                <a:avLst/>
              </a:prstGeom>
              <a:solidFill>
                <a:srgbClr val="00B0F0"/>
              </a:solidFill>
              <a:ln>
                <a:noFill/>
              </a:ln>
              <a:effectLst/>
              <a:scene3d>
                <a:camera prst="orthographicFront">
                  <a:rot lat="0" lon="0" rev="0"/>
                </a:camera>
                <a:lightRig rig="contrasting" dir="t">
                  <a:rot lat="0" lon="0" rev="1500000"/>
                </a:lightRig>
              </a:scene3d>
              <a:sp3d>
                <a:bevelT w="31750" h="6985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grpSp>
      </p:grpSp>
      <p:sp>
        <p:nvSpPr>
          <p:cNvPr id="28" name="Footer Placeholder 27"/>
          <p:cNvSpPr>
            <a:spLocks noGrp="1"/>
          </p:cNvSpPr>
          <p:nvPr>
            <p:ph type="ftr" sz="quarter" idx="11"/>
          </p:nvPr>
        </p:nvSpPr>
        <p:spPr>
          <a:xfrm>
            <a:off x="3290958" y="6461474"/>
            <a:ext cx="4958521" cy="365125"/>
          </a:xfrm>
        </p:spPr>
        <p:txBody>
          <a:bodyPr/>
          <a:lstStyle/>
          <a:p>
            <a:r>
              <a:rPr lang="en-US" smtClean="0"/>
              <a:t>GURU (SEKOLAH)</a:t>
            </a:r>
            <a:endParaRPr lang="en-US" dirty="0"/>
          </a:p>
        </p:txBody>
      </p:sp>
      <p:sp>
        <p:nvSpPr>
          <p:cNvPr id="29" name="Slide Number Placeholder 28"/>
          <p:cNvSpPr>
            <a:spLocks noGrp="1"/>
          </p:cNvSpPr>
          <p:nvPr>
            <p:ph type="sldNum" sz="quarter" idx="12"/>
          </p:nvPr>
        </p:nvSpPr>
        <p:spPr>
          <a:xfrm>
            <a:off x="6553200" y="6466111"/>
            <a:ext cx="2133600" cy="365125"/>
          </a:xfrm>
        </p:spPr>
        <p:txBody>
          <a:bodyPr/>
          <a:lstStyle/>
          <a:p>
            <a:fld id="{4D86EDED-B1AF-7E4B-94C9-3F0EAA36C7D5}" type="slidenum">
              <a:rPr lang="en-US" smtClean="0"/>
              <a:pPr/>
              <a:t>66</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ox(in)">
                                      <p:cBhvr>
                                        <p:cTn id="7" dur="500"/>
                                        <p:tgtEl>
                                          <p:spTgt spid="7"/>
                                        </p:tgtEl>
                                      </p:cBhvr>
                                    </p:animEffect>
                                  </p:childTnLst>
                                </p:cTn>
                              </p:par>
                              <p:par>
                                <p:cTn id="8" presetID="4" presetClass="entr" presetSubtype="16"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box(in)">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3"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1+#ppt_w/2"/>
                                          </p:val>
                                        </p:tav>
                                        <p:tav tm="100000">
                                          <p:val>
                                            <p:strVal val="#ppt_x"/>
                                          </p:val>
                                        </p:tav>
                                      </p:tavLst>
                                    </p:anim>
                                    <p:anim calcmode="lin" valueType="num">
                                      <p:cBhvr additive="base">
                                        <p:cTn id="16" dur="500" fill="hold"/>
                                        <p:tgtEl>
                                          <p:spTgt spid="6"/>
                                        </p:tgtEl>
                                        <p:attrNameLst>
                                          <p:attrName>ppt_y</p:attrName>
                                        </p:attrNameLst>
                                      </p:cBhvr>
                                      <p:tavLst>
                                        <p:tav tm="0">
                                          <p:val>
                                            <p:strVal val="0-#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par>
                                <p:cTn id="24" presetID="47"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1000"/>
                                        <p:tgtEl>
                                          <p:spTgt spid="11"/>
                                        </p:tgtEl>
                                      </p:cBhvr>
                                    </p:animEffect>
                                    <p:anim calcmode="lin" valueType="num">
                                      <p:cBhvr>
                                        <p:cTn id="27" dur="1000" fill="hold"/>
                                        <p:tgtEl>
                                          <p:spTgt spid="11"/>
                                        </p:tgtEl>
                                        <p:attrNameLst>
                                          <p:attrName>ppt_x</p:attrName>
                                        </p:attrNameLst>
                                      </p:cBhvr>
                                      <p:tavLst>
                                        <p:tav tm="0">
                                          <p:val>
                                            <p:strVal val="#ppt_x"/>
                                          </p:val>
                                        </p:tav>
                                        <p:tav tm="100000">
                                          <p:val>
                                            <p:strVal val="#ppt_x"/>
                                          </p:val>
                                        </p:tav>
                                      </p:tavLst>
                                    </p:anim>
                                    <p:anim calcmode="lin" valueType="num">
                                      <p:cBhvr>
                                        <p:cTn id="28"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7" presetClass="entr" presetSubtype="0" fill="hold" nodeType="click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1000"/>
                                        <p:tgtEl>
                                          <p:spTgt spid="2"/>
                                        </p:tgtEl>
                                      </p:cBhvr>
                                    </p:animEffect>
                                    <p:anim calcmode="lin" valueType="num">
                                      <p:cBhvr>
                                        <p:cTn id="34" dur="1000" fill="hold"/>
                                        <p:tgtEl>
                                          <p:spTgt spid="2"/>
                                        </p:tgtEl>
                                        <p:attrNameLst>
                                          <p:attrName>ppt_x</p:attrName>
                                        </p:attrNameLst>
                                      </p:cBhvr>
                                      <p:tavLst>
                                        <p:tav tm="0">
                                          <p:val>
                                            <p:strVal val="#ppt_x"/>
                                          </p:val>
                                        </p:tav>
                                        <p:tav tm="100000">
                                          <p:val>
                                            <p:strVal val="#ppt_x"/>
                                          </p:val>
                                        </p:tav>
                                      </p:tavLst>
                                    </p:anim>
                                    <p:anim calcmode="lin" valueType="num">
                                      <p:cBhvr>
                                        <p:cTn id="35" dur="1000" fill="hold"/>
                                        <p:tgtEl>
                                          <p:spTgt spid="2"/>
                                        </p:tgtEl>
                                        <p:attrNameLst>
                                          <p:attrName>ppt_y</p:attrName>
                                        </p:attrNameLst>
                                      </p:cBhvr>
                                      <p:tavLst>
                                        <p:tav tm="0">
                                          <p:val>
                                            <p:strVal val="#ppt_y-.1"/>
                                          </p:val>
                                        </p:tav>
                                        <p:tav tm="100000">
                                          <p:val>
                                            <p:strVal val="#ppt_y"/>
                                          </p:val>
                                        </p:tav>
                                      </p:tavLst>
                                    </p:anim>
                                  </p:childTnLst>
                                </p:cTn>
                              </p:par>
                              <p:par>
                                <p:cTn id="36" presetID="47" presetClass="entr" presetSubtype="0"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1000"/>
                                        <p:tgtEl>
                                          <p:spTgt spid="12"/>
                                        </p:tgtEl>
                                      </p:cBhvr>
                                    </p:animEffect>
                                    <p:anim calcmode="lin" valueType="num">
                                      <p:cBhvr>
                                        <p:cTn id="39" dur="1000" fill="hold"/>
                                        <p:tgtEl>
                                          <p:spTgt spid="12"/>
                                        </p:tgtEl>
                                        <p:attrNameLst>
                                          <p:attrName>ppt_x</p:attrName>
                                        </p:attrNameLst>
                                      </p:cBhvr>
                                      <p:tavLst>
                                        <p:tav tm="0">
                                          <p:val>
                                            <p:strVal val="#ppt_x"/>
                                          </p:val>
                                        </p:tav>
                                        <p:tav tm="100000">
                                          <p:val>
                                            <p:strVal val="#ppt_x"/>
                                          </p:val>
                                        </p:tav>
                                      </p:tavLst>
                                    </p:anim>
                                    <p:anim calcmode="lin" valueType="num">
                                      <p:cBhvr>
                                        <p:cTn id="40"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8"/>
                                        </p:tgtEl>
                                        <p:attrNameLst>
                                          <p:attrName>style.visibility</p:attrName>
                                        </p:attrNameLst>
                                      </p:cBhvr>
                                      <p:to>
                                        <p:strVal val="visible"/>
                                      </p:to>
                                    </p:set>
                                    <p:animEffect transition="in" filter="wipe(down)">
                                      <p:cBhvr>
                                        <p:cTn id="4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CONTOH KAEDAH PENILAIAN</a:t>
            </a:r>
            <a:endParaRPr lang="en-US" sz="2800" b="1" dirty="0">
              <a:solidFill>
                <a:schemeClr val="bg1"/>
              </a:solidFill>
              <a:latin typeface="Segoe UI" pitchFamily="34" charset="0"/>
              <a:ea typeface="Segoe UI" pitchFamily="34" charset="0"/>
              <a:cs typeface="Segoe UI" pitchFamily="34" charset="0"/>
            </a:endParaRPr>
          </a:p>
        </p:txBody>
      </p:sp>
      <p:grpSp>
        <p:nvGrpSpPr>
          <p:cNvPr id="2" name="Group 39"/>
          <p:cNvGrpSpPr/>
          <p:nvPr/>
        </p:nvGrpSpPr>
        <p:grpSpPr>
          <a:xfrm>
            <a:off x="1142976" y="1216140"/>
            <a:ext cx="6357981" cy="5265514"/>
            <a:chOff x="2405026" y="2298734"/>
            <a:chExt cx="4690900" cy="4156981"/>
          </a:xfrm>
        </p:grpSpPr>
        <p:sp>
          <p:nvSpPr>
            <p:cNvPr id="41" name="Rounded Rectangle 40"/>
            <p:cNvSpPr/>
            <p:nvPr/>
          </p:nvSpPr>
          <p:spPr>
            <a:xfrm>
              <a:off x="2405026" y="3184607"/>
              <a:ext cx="4690900" cy="3271108"/>
            </a:xfrm>
            <a:prstGeom prst="roundRect">
              <a:avLst>
                <a:gd name="adj" fmla="val 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49"/>
            <p:cNvGrpSpPr/>
            <p:nvPr/>
          </p:nvGrpSpPr>
          <p:grpSpPr>
            <a:xfrm>
              <a:off x="2615854" y="2298734"/>
              <a:ext cx="1686615" cy="4100583"/>
              <a:chOff x="2615854" y="2298734"/>
              <a:chExt cx="1686615" cy="4100583"/>
            </a:xfrm>
          </p:grpSpPr>
          <p:grpSp>
            <p:nvGrpSpPr>
              <p:cNvPr id="4" name="Group 18"/>
              <p:cNvGrpSpPr/>
              <p:nvPr/>
            </p:nvGrpSpPr>
            <p:grpSpPr>
              <a:xfrm>
                <a:off x="2615854" y="2298734"/>
                <a:ext cx="1686615" cy="3728056"/>
                <a:chOff x="-2362342" y="2862968"/>
                <a:chExt cx="1835406" cy="2298964"/>
              </a:xfrm>
            </p:grpSpPr>
            <p:sp>
              <p:nvSpPr>
                <p:cNvPr id="45" name="Rounded Rectangle 44"/>
                <p:cNvSpPr/>
                <p:nvPr/>
              </p:nvSpPr>
              <p:spPr>
                <a:xfrm>
                  <a:off x="-2357470" y="2862968"/>
                  <a:ext cx="1785918" cy="2298964"/>
                </a:xfrm>
                <a:prstGeom prst="roundRect">
                  <a:avLst>
                    <a:gd name="adj" fmla="val 602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dirty="0" smtClean="0">
                      <a:effectLst>
                        <a:outerShdw blurRad="38100" dist="38100" dir="2700000" algn="tl">
                          <a:srgbClr val="000000">
                            <a:alpha val="43137"/>
                          </a:srgbClr>
                        </a:outerShdw>
                      </a:effectLst>
                      <a:latin typeface="Rockwell" pitchFamily="18" charset="0"/>
                    </a:rPr>
                    <a:t>SEMAKAN BAHAN</a:t>
                  </a:r>
                  <a:endParaRPr lang="en-US" sz="2000" dirty="0">
                    <a:effectLst>
                      <a:outerShdw blurRad="38100" dist="38100" dir="2700000" algn="tl">
                        <a:srgbClr val="000000">
                          <a:alpha val="43137"/>
                        </a:srgbClr>
                      </a:outerShdw>
                    </a:effectLst>
                    <a:latin typeface="Rockwell" pitchFamily="18" charset="0"/>
                  </a:endParaRPr>
                </a:p>
              </p:txBody>
            </p:sp>
            <p:sp>
              <p:nvSpPr>
                <p:cNvPr id="46" name="Rounded Rectangle 45"/>
                <p:cNvSpPr/>
                <p:nvPr/>
              </p:nvSpPr>
              <p:spPr>
                <a:xfrm>
                  <a:off x="-2357486" y="3409260"/>
                  <a:ext cx="1830550" cy="1738951"/>
                </a:xfrm>
                <a:prstGeom prst="roundRect">
                  <a:avLst>
                    <a:gd name="adj" fmla="val 602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177800">
                    <a:buClr>
                      <a:srgbClr val="002060"/>
                    </a:buClr>
                    <a:buFont typeface="Arial" pitchFamily="34" charset="0"/>
                    <a:buChar char="•"/>
                  </a:pPr>
                  <a:endParaRPr lang="en-US" sz="1400" dirty="0" smtClean="0">
                    <a:solidFill>
                      <a:schemeClr val="tx1"/>
                    </a:solidFill>
                  </a:endParaRPr>
                </a:p>
                <a:p>
                  <a:pPr marL="273050" indent="-273050">
                    <a:buClr>
                      <a:srgbClr val="002060"/>
                    </a:buClr>
                    <a:buFont typeface="Wingdings" pitchFamily="2" charset="2"/>
                    <a:buChar char="ü"/>
                  </a:pPr>
                  <a:r>
                    <a:rPr lang="en-US" sz="1700" smtClean="0">
                      <a:solidFill>
                        <a:schemeClr val="tx1"/>
                      </a:solidFill>
                      <a:latin typeface="Arial" pitchFamily="34" charset="0"/>
                      <a:cs typeface="Arial" pitchFamily="34" charset="0"/>
                    </a:rPr>
                    <a:t>PP menyemak bahan yang relevan dengan bidang tugas PYD</a:t>
                  </a:r>
                  <a:endParaRPr lang="en-US" sz="1700" dirty="0">
                    <a:solidFill>
                      <a:schemeClr val="tx1"/>
                    </a:solidFill>
                    <a:latin typeface="Arial" pitchFamily="34" charset="0"/>
                    <a:cs typeface="Arial" pitchFamily="34" charset="0"/>
                  </a:endParaRPr>
                </a:p>
              </p:txBody>
            </p:sp>
            <p:sp>
              <p:nvSpPr>
                <p:cNvPr id="47" name="Rounded Rectangle 46"/>
                <p:cNvSpPr/>
                <p:nvPr/>
              </p:nvSpPr>
              <p:spPr>
                <a:xfrm>
                  <a:off x="-2362342" y="3270906"/>
                  <a:ext cx="1785918" cy="117988"/>
                </a:xfrm>
                <a:prstGeom prst="roundRect">
                  <a:avLst>
                    <a:gd name="adj" fmla="val 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effectLst>
                      <a:outerShdw blurRad="38100" dist="38100" dir="2700000" algn="tl">
                        <a:srgbClr val="000000">
                          <a:alpha val="43137"/>
                        </a:srgbClr>
                      </a:outerShdw>
                    </a:effectLst>
                  </a:endParaRPr>
                </a:p>
              </p:txBody>
            </p:sp>
          </p:grpSp>
          <p:sp>
            <p:nvSpPr>
              <p:cNvPr id="44" name="Rounded Rectangle 43"/>
              <p:cNvSpPr/>
              <p:nvPr/>
            </p:nvSpPr>
            <p:spPr>
              <a:xfrm>
                <a:off x="2948542" y="5820090"/>
                <a:ext cx="984701" cy="579227"/>
              </a:xfrm>
              <a:prstGeom prst="roundRect">
                <a:avLst>
                  <a:gd name="adj" fmla="val 12603"/>
                </a:avLst>
              </a:prstGeom>
              <a:gradFill>
                <a:gsLst>
                  <a:gs pos="0">
                    <a:srgbClr val="F26075"/>
                  </a:gs>
                  <a:gs pos="50000">
                    <a:srgbClr val="FF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smtClean="0">
                    <a:effectLst>
                      <a:outerShdw blurRad="38100" dist="38100" dir="2700000" algn="tl">
                        <a:srgbClr val="000000">
                          <a:alpha val="43137"/>
                        </a:srgbClr>
                      </a:outerShdw>
                    </a:effectLst>
                    <a:latin typeface="Rockwell" pitchFamily="18" charset="0"/>
                  </a:rPr>
                  <a:t>A</a:t>
                </a:r>
                <a:endParaRPr lang="en-US" sz="4400" dirty="0">
                  <a:effectLst>
                    <a:outerShdw blurRad="38100" dist="38100" dir="2700000" algn="tl">
                      <a:srgbClr val="000000">
                        <a:alpha val="43137"/>
                      </a:srgbClr>
                    </a:outerShdw>
                  </a:effectLst>
                  <a:latin typeface="Rockwell" pitchFamily="18" charset="0"/>
                </a:endParaRPr>
              </a:p>
            </p:txBody>
          </p:sp>
        </p:grpSp>
      </p:grpSp>
      <p:sp>
        <p:nvSpPr>
          <p:cNvPr id="36" name="Content Placeholder 1"/>
          <p:cNvSpPr>
            <a:spLocks noGrp="1"/>
          </p:cNvSpPr>
          <p:nvPr>
            <p:ph idx="1"/>
          </p:nvPr>
        </p:nvSpPr>
        <p:spPr>
          <a:xfrm>
            <a:off x="3857620" y="2402714"/>
            <a:ext cx="3429024" cy="3429024"/>
          </a:xfrm>
          <a:prstGeom prst="roundRect">
            <a:avLst/>
          </a:prstGeom>
          <a:solidFill>
            <a:schemeClr val="bg1"/>
          </a:solidFill>
        </p:spPr>
        <p:txBody>
          <a:bodyPr>
            <a:noAutofit/>
          </a:bodyPr>
          <a:lstStyle/>
          <a:p>
            <a:pPr marL="0" lvl="2" indent="177800"/>
            <a:r>
              <a:rPr lang="ms-MY" sz="1400" smtClean="0">
                <a:latin typeface="Arial" pitchFamily="34" charset="0"/>
                <a:cs typeface="Arial" pitchFamily="34" charset="0"/>
              </a:rPr>
              <a:t>Rekod </a:t>
            </a:r>
            <a:r>
              <a:rPr lang="ms-MY" sz="1400" dirty="0" smtClean="0">
                <a:latin typeface="Arial" pitchFamily="34" charset="0"/>
                <a:cs typeface="Arial" pitchFamily="34" charset="0"/>
              </a:rPr>
              <a:t>Pengajaran Harian (RPH) </a:t>
            </a:r>
          </a:p>
          <a:p>
            <a:pPr marL="0" lvl="2" indent="177800"/>
            <a:r>
              <a:rPr lang="ms-MY" sz="1400" dirty="0" smtClean="0">
                <a:latin typeface="Arial" pitchFamily="34" charset="0"/>
                <a:cs typeface="Arial" pitchFamily="34" charset="0"/>
              </a:rPr>
              <a:t>sijil penyertaan/ penghargaan</a:t>
            </a:r>
          </a:p>
          <a:p>
            <a:pPr marL="0" lvl="2" indent="177800"/>
            <a:r>
              <a:rPr lang="ms-MY" sz="1400" dirty="0" smtClean="0">
                <a:latin typeface="Arial" pitchFamily="34" charset="0"/>
                <a:cs typeface="Arial" pitchFamily="34" charset="0"/>
              </a:rPr>
              <a:t>fail</a:t>
            </a:r>
          </a:p>
          <a:p>
            <a:pPr marL="0" lvl="2" indent="177800"/>
            <a:r>
              <a:rPr lang="ms-MY" sz="1400" dirty="0" smtClean="0">
                <a:latin typeface="Arial" pitchFamily="34" charset="0"/>
                <a:cs typeface="Arial" pitchFamily="34" charset="0"/>
              </a:rPr>
              <a:t>surat lantikan </a:t>
            </a:r>
          </a:p>
          <a:p>
            <a:pPr marL="0" lvl="2" indent="177800"/>
            <a:r>
              <a:rPr lang="ms-MY" sz="1400" dirty="0" smtClean="0">
                <a:latin typeface="Arial" pitchFamily="34" charset="0"/>
                <a:cs typeface="Arial" pitchFamily="34" charset="0"/>
              </a:rPr>
              <a:t>kajian tindakan</a:t>
            </a:r>
          </a:p>
          <a:p>
            <a:pPr marL="0" lvl="2" indent="177800"/>
            <a:r>
              <a:rPr lang="ms-MY" sz="1400" dirty="0" smtClean="0">
                <a:latin typeface="Arial" pitchFamily="34" charset="0"/>
                <a:cs typeface="Arial" pitchFamily="34" charset="0"/>
              </a:rPr>
              <a:t>minit mesyuarat</a:t>
            </a:r>
          </a:p>
          <a:p>
            <a:pPr marL="0" lvl="2" indent="177800"/>
            <a:r>
              <a:rPr lang="ms-MY" sz="1400" dirty="0" smtClean="0">
                <a:latin typeface="Arial" pitchFamily="34" charset="0"/>
                <a:cs typeface="Arial" pitchFamily="34" charset="0"/>
              </a:rPr>
              <a:t>fail meja</a:t>
            </a:r>
          </a:p>
          <a:p>
            <a:pPr marL="0" lvl="2" indent="177800"/>
            <a:r>
              <a:rPr lang="ms-MY" sz="1400" dirty="0" smtClean="0">
                <a:latin typeface="Arial" pitchFamily="34" charset="0"/>
                <a:cs typeface="Arial" pitchFamily="34" charset="0"/>
              </a:rPr>
              <a:t>sasaran kerja tahunan</a:t>
            </a:r>
          </a:p>
          <a:p>
            <a:pPr marL="0" lvl="2" indent="177800"/>
            <a:r>
              <a:rPr lang="ms-MY" sz="1400" dirty="0" smtClean="0">
                <a:latin typeface="Arial" pitchFamily="34" charset="0"/>
                <a:cs typeface="Arial" pitchFamily="34" charset="0"/>
              </a:rPr>
              <a:t>kertas projek</a:t>
            </a:r>
          </a:p>
          <a:p>
            <a:pPr marL="0" lvl="2" indent="177800"/>
            <a:r>
              <a:rPr lang="ms-MY" sz="1400" dirty="0" smtClean="0">
                <a:latin typeface="Arial" pitchFamily="34" charset="0"/>
                <a:cs typeface="Arial" pitchFamily="34" charset="0"/>
              </a:rPr>
              <a:t>buku log</a:t>
            </a:r>
          </a:p>
          <a:p>
            <a:pPr marL="0" lvl="2" indent="177800"/>
            <a:r>
              <a:rPr lang="ms-MY" sz="1400" dirty="0" smtClean="0">
                <a:latin typeface="Arial" pitchFamily="34" charset="0"/>
                <a:cs typeface="Arial" pitchFamily="34" charset="0"/>
              </a:rPr>
              <a:t>gambar</a:t>
            </a:r>
          </a:p>
          <a:p>
            <a:pPr marL="0" lvl="2" indent="177800"/>
            <a:r>
              <a:rPr lang="ms-MY" sz="1400" dirty="0" smtClean="0">
                <a:latin typeface="Arial" pitchFamily="34" charset="0"/>
                <a:cs typeface="Arial" pitchFamily="34" charset="0"/>
              </a:rPr>
              <a:t>bahan-bahan lain yang berkaitan. </a:t>
            </a:r>
            <a:endParaRPr lang="en-US" sz="1400" dirty="0" smtClean="0">
              <a:latin typeface="Arial" pitchFamily="34" charset="0"/>
              <a:cs typeface="Arial" pitchFamily="34" charset="0"/>
            </a:endParaRPr>
          </a:p>
          <a:p>
            <a:pPr marL="0" indent="177800">
              <a:buNone/>
            </a:pPr>
            <a:endParaRPr lang="en-US" sz="1600" dirty="0">
              <a:latin typeface="Arial" pitchFamily="34" charset="0"/>
              <a:cs typeface="Arial" pitchFamily="34" charset="0"/>
            </a:endParaRPr>
          </a:p>
        </p:txBody>
      </p:sp>
      <p:grpSp>
        <p:nvGrpSpPr>
          <p:cNvPr id="5" name="Group 58"/>
          <p:cNvGrpSpPr/>
          <p:nvPr/>
        </p:nvGrpSpPr>
        <p:grpSpPr>
          <a:xfrm>
            <a:off x="7572396" y="5545986"/>
            <a:ext cx="714412" cy="785818"/>
            <a:chOff x="1219200" y="2256279"/>
            <a:chExt cx="1243263" cy="1572713"/>
          </a:xfrm>
        </p:grpSpPr>
        <p:sp>
          <p:nvSpPr>
            <p:cNvPr id="60" name="Wave 59"/>
            <p:cNvSpPr/>
            <p:nvPr/>
          </p:nvSpPr>
          <p:spPr>
            <a:xfrm rot="5400000">
              <a:off x="1054475" y="2421004"/>
              <a:ext cx="1572713" cy="1243263"/>
            </a:xfrm>
            <a:prstGeom prst="wave">
              <a:avLst/>
            </a:prstGeom>
            <a:solidFill>
              <a:srgbClr val="C00000"/>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p:cNvCxnSpPr/>
            <p:nvPr/>
          </p:nvCxnSpPr>
          <p:spPr>
            <a:xfrm>
              <a:off x="1274999" y="3274945"/>
              <a:ext cx="8382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1309254" y="3411323"/>
              <a:ext cx="8382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1219200" y="3549867"/>
              <a:ext cx="8382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0" name="Footer Placeholder 9"/>
          <p:cNvSpPr>
            <a:spLocks noGrp="1"/>
          </p:cNvSpPr>
          <p:nvPr>
            <p:ph type="ftr" sz="quarter" idx="11"/>
          </p:nvPr>
        </p:nvSpPr>
        <p:spPr/>
        <p:txBody>
          <a:bodyPr/>
          <a:lstStyle/>
          <a:p>
            <a:r>
              <a:rPr lang="en-US" smtClean="0"/>
              <a:t>GURU (SEKOLAH)</a:t>
            </a:r>
            <a:endParaRPr lang="en-US"/>
          </a:p>
        </p:txBody>
      </p:sp>
      <p:sp>
        <p:nvSpPr>
          <p:cNvPr id="11" name="Slide Number Placeholder 10"/>
          <p:cNvSpPr>
            <a:spLocks noGrp="1"/>
          </p:cNvSpPr>
          <p:nvPr>
            <p:ph type="sldNum" sz="quarter" idx="12"/>
          </p:nvPr>
        </p:nvSpPr>
        <p:spPr/>
        <p:txBody>
          <a:bodyPr/>
          <a:lstStyle/>
          <a:p>
            <a:fld id="{4D86EDED-B1AF-7E4B-94C9-3F0EAA36C7D5}" type="slidenum">
              <a:rPr lang="en-US" smtClean="0"/>
              <a:pPr/>
              <a:t>67</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36">
                                            <p:bg/>
                                          </p:spTgt>
                                        </p:tgtEl>
                                        <p:attrNameLst>
                                          <p:attrName>style.visibility</p:attrName>
                                        </p:attrNameLst>
                                      </p:cBhvr>
                                      <p:to>
                                        <p:strVal val="visible"/>
                                      </p:to>
                                    </p:set>
                                    <p:animEffect transition="in" filter="box(in)">
                                      <p:cBhvr>
                                        <p:cTn id="10" dur="500"/>
                                        <p:tgtEl>
                                          <p:spTgt spid="36">
                                            <p:bg/>
                                          </p:spTgt>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36">
                                            <p:txEl>
                                              <p:pRg st="0" end="0"/>
                                            </p:txEl>
                                          </p:spTgt>
                                        </p:tgtEl>
                                        <p:attrNameLst>
                                          <p:attrName>style.visibility</p:attrName>
                                        </p:attrNameLst>
                                      </p:cBhvr>
                                      <p:to>
                                        <p:strVal val="visible"/>
                                      </p:to>
                                    </p:set>
                                    <p:animEffect transition="in" filter="box(in)">
                                      <p:cBhvr>
                                        <p:cTn id="13" dur="500"/>
                                        <p:tgtEl>
                                          <p:spTgt spid="36">
                                            <p:txEl>
                                              <p:pRg st="0" end="0"/>
                                            </p:txEl>
                                          </p:spTgt>
                                        </p:tgtEl>
                                      </p:cBhvr>
                                    </p:animEffect>
                                  </p:childTnLst>
                                </p:cTn>
                              </p:par>
                              <p:par>
                                <p:cTn id="14" presetID="4" presetClass="entr" presetSubtype="16" fill="hold" grpId="0" nodeType="withEffect">
                                  <p:stCondLst>
                                    <p:cond delay="0"/>
                                  </p:stCondLst>
                                  <p:childTnLst>
                                    <p:set>
                                      <p:cBhvr>
                                        <p:cTn id="15" dur="1" fill="hold">
                                          <p:stCondLst>
                                            <p:cond delay="0"/>
                                          </p:stCondLst>
                                        </p:cTn>
                                        <p:tgtEl>
                                          <p:spTgt spid="36">
                                            <p:txEl>
                                              <p:pRg st="1" end="1"/>
                                            </p:txEl>
                                          </p:spTgt>
                                        </p:tgtEl>
                                        <p:attrNameLst>
                                          <p:attrName>style.visibility</p:attrName>
                                        </p:attrNameLst>
                                      </p:cBhvr>
                                      <p:to>
                                        <p:strVal val="visible"/>
                                      </p:to>
                                    </p:set>
                                    <p:animEffect transition="in" filter="box(in)">
                                      <p:cBhvr>
                                        <p:cTn id="16" dur="500"/>
                                        <p:tgtEl>
                                          <p:spTgt spid="36">
                                            <p:txEl>
                                              <p:pRg st="1" end="1"/>
                                            </p:txEl>
                                          </p:spTgt>
                                        </p:tgtEl>
                                      </p:cBhvr>
                                    </p:animEffect>
                                  </p:childTnLst>
                                </p:cTn>
                              </p:par>
                              <p:par>
                                <p:cTn id="17" presetID="4" presetClass="entr" presetSubtype="16" fill="hold" grpId="0" nodeType="withEffect">
                                  <p:stCondLst>
                                    <p:cond delay="0"/>
                                  </p:stCondLst>
                                  <p:childTnLst>
                                    <p:set>
                                      <p:cBhvr>
                                        <p:cTn id="18" dur="1" fill="hold">
                                          <p:stCondLst>
                                            <p:cond delay="0"/>
                                          </p:stCondLst>
                                        </p:cTn>
                                        <p:tgtEl>
                                          <p:spTgt spid="36">
                                            <p:txEl>
                                              <p:pRg st="2" end="2"/>
                                            </p:txEl>
                                          </p:spTgt>
                                        </p:tgtEl>
                                        <p:attrNameLst>
                                          <p:attrName>style.visibility</p:attrName>
                                        </p:attrNameLst>
                                      </p:cBhvr>
                                      <p:to>
                                        <p:strVal val="visible"/>
                                      </p:to>
                                    </p:set>
                                    <p:animEffect transition="in" filter="box(in)">
                                      <p:cBhvr>
                                        <p:cTn id="19" dur="500"/>
                                        <p:tgtEl>
                                          <p:spTgt spid="36">
                                            <p:txEl>
                                              <p:pRg st="2" end="2"/>
                                            </p:txEl>
                                          </p:spTgt>
                                        </p:tgtEl>
                                      </p:cBhvr>
                                    </p:animEffect>
                                  </p:childTnLst>
                                </p:cTn>
                              </p:par>
                              <p:par>
                                <p:cTn id="20" presetID="4" presetClass="entr" presetSubtype="16" fill="hold" grpId="0" nodeType="withEffect">
                                  <p:stCondLst>
                                    <p:cond delay="0"/>
                                  </p:stCondLst>
                                  <p:childTnLst>
                                    <p:set>
                                      <p:cBhvr>
                                        <p:cTn id="21" dur="1" fill="hold">
                                          <p:stCondLst>
                                            <p:cond delay="0"/>
                                          </p:stCondLst>
                                        </p:cTn>
                                        <p:tgtEl>
                                          <p:spTgt spid="36">
                                            <p:txEl>
                                              <p:pRg st="3" end="3"/>
                                            </p:txEl>
                                          </p:spTgt>
                                        </p:tgtEl>
                                        <p:attrNameLst>
                                          <p:attrName>style.visibility</p:attrName>
                                        </p:attrNameLst>
                                      </p:cBhvr>
                                      <p:to>
                                        <p:strVal val="visible"/>
                                      </p:to>
                                    </p:set>
                                    <p:animEffect transition="in" filter="box(in)">
                                      <p:cBhvr>
                                        <p:cTn id="22" dur="500"/>
                                        <p:tgtEl>
                                          <p:spTgt spid="36">
                                            <p:txEl>
                                              <p:pRg st="3" end="3"/>
                                            </p:txEl>
                                          </p:spTgt>
                                        </p:tgtEl>
                                      </p:cBhvr>
                                    </p:animEffect>
                                  </p:childTnLst>
                                </p:cTn>
                              </p:par>
                              <p:par>
                                <p:cTn id="23" presetID="4" presetClass="entr" presetSubtype="16" fill="hold" grpId="0" nodeType="withEffect">
                                  <p:stCondLst>
                                    <p:cond delay="0"/>
                                  </p:stCondLst>
                                  <p:childTnLst>
                                    <p:set>
                                      <p:cBhvr>
                                        <p:cTn id="24" dur="1" fill="hold">
                                          <p:stCondLst>
                                            <p:cond delay="0"/>
                                          </p:stCondLst>
                                        </p:cTn>
                                        <p:tgtEl>
                                          <p:spTgt spid="36">
                                            <p:txEl>
                                              <p:pRg st="4" end="4"/>
                                            </p:txEl>
                                          </p:spTgt>
                                        </p:tgtEl>
                                        <p:attrNameLst>
                                          <p:attrName>style.visibility</p:attrName>
                                        </p:attrNameLst>
                                      </p:cBhvr>
                                      <p:to>
                                        <p:strVal val="visible"/>
                                      </p:to>
                                    </p:set>
                                    <p:animEffect transition="in" filter="box(in)">
                                      <p:cBhvr>
                                        <p:cTn id="25" dur="500"/>
                                        <p:tgtEl>
                                          <p:spTgt spid="36">
                                            <p:txEl>
                                              <p:pRg st="4" end="4"/>
                                            </p:txEl>
                                          </p:spTgt>
                                        </p:tgtEl>
                                      </p:cBhvr>
                                    </p:animEffect>
                                  </p:childTnLst>
                                </p:cTn>
                              </p:par>
                              <p:par>
                                <p:cTn id="26" presetID="4" presetClass="entr" presetSubtype="16" fill="hold" grpId="0" nodeType="withEffect">
                                  <p:stCondLst>
                                    <p:cond delay="0"/>
                                  </p:stCondLst>
                                  <p:childTnLst>
                                    <p:set>
                                      <p:cBhvr>
                                        <p:cTn id="27" dur="1" fill="hold">
                                          <p:stCondLst>
                                            <p:cond delay="0"/>
                                          </p:stCondLst>
                                        </p:cTn>
                                        <p:tgtEl>
                                          <p:spTgt spid="36">
                                            <p:txEl>
                                              <p:pRg st="5" end="5"/>
                                            </p:txEl>
                                          </p:spTgt>
                                        </p:tgtEl>
                                        <p:attrNameLst>
                                          <p:attrName>style.visibility</p:attrName>
                                        </p:attrNameLst>
                                      </p:cBhvr>
                                      <p:to>
                                        <p:strVal val="visible"/>
                                      </p:to>
                                    </p:set>
                                    <p:animEffect transition="in" filter="box(in)">
                                      <p:cBhvr>
                                        <p:cTn id="28" dur="500"/>
                                        <p:tgtEl>
                                          <p:spTgt spid="36">
                                            <p:txEl>
                                              <p:pRg st="5" end="5"/>
                                            </p:txEl>
                                          </p:spTgt>
                                        </p:tgtEl>
                                      </p:cBhvr>
                                    </p:animEffect>
                                  </p:childTnLst>
                                </p:cTn>
                              </p:par>
                              <p:par>
                                <p:cTn id="29" presetID="4" presetClass="entr" presetSubtype="16" fill="hold" grpId="0" nodeType="withEffect">
                                  <p:stCondLst>
                                    <p:cond delay="0"/>
                                  </p:stCondLst>
                                  <p:childTnLst>
                                    <p:set>
                                      <p:cBhvr>
                                        <p:cTn id="30" dur="1" fill="hold">
                                          <p:stCondLst>
                                            <p:cond delay="0"/>
                                          </p:stCondLst>
                                        </p:cTn>
                                        <p:tgtEl>
                                          <p:spTgt spid="36">
                                            <p:txEl>
                                              <p:pRg st="6" end="6"/>
                                            </p:txEl>
                                          </p:spTgt>
                                        </p:tgtEl>
                                        <p:attrNameLst>
                                          <p:attrName>style.visibility</p:attrName>
                                        </p:attrNameLst>
                                      </p:cBhvr>
                                      <p:to>
                                        <p:strVal val="visible"/>
                                      </p:to>
                                    </p:set>
                                    <p:animEffect transition="in" filter="box(in)">
                                      <p:cBhvr>
                                        <p:cTn id="31" dur="500"/>
                                        <p:tgtEl>
                                          <p:spTgt spid="36">
                                            <p:txEl>
                                              <p:pRg st="6" end="6"/>
                                            </p:txEl>
                                          </p:spTgt>
                                        </p:tgtEl>
                                      </p:cBhvr>
                                    </p:animEffect>
                                  </p:childTnLst>
                                </p:cTn>
                              </p:par>
                              <p:par>
                                <p:cTn id="32" presetID="4" presetClass="entr" presetSubtype="16" fill="hold" grpId="0" nodeType="withEffect">
                                  <p:stCondLst>
                                    <p:cond delay="0"/>
                                  </p:stCondLst>
                                  <p:childTnLst>
                                    <p:set>
                                      <p:cBhvr>
                                        <p:cTn id="33" dur="1" fill="hold">
                                          <p:stCondLst>
                                            <p:cond delay="0"/>
                                          </p:stCondLst>
                                        </p:cTn>
                                        <p:tgtEl>
                                          <p:spTgt spid="36">
                                            <p:txEl>
                                              <p:pRg st="7" end="7"/>
                                            </p:txEl>
                                          </p:spTgt>
                                        </p:tgtEl>
                                        <p:attrNameLst>
                                          <p:attrName>style.visibility</p:attrName>
                                        </p:attrNameLst>
                                      </p:cBhvr>
                                      <p:to>
                                        <p:strVal val="visible"/>
                                      </p:to>
                                    </p:set>
                                    <p:animEffect transition="in" filter="box(in)">
                                      <p:cBhvr>
                                        <p:cTn id="34" dur="500"/>
                                        <p:tgtEl>
                                          <p:spTgt spid="36">
                                            <p:txEl>
                                              <p:pRg st="7" end="7"/>
                                            </p:txEl>
                                          </p:spTgt>
                                        </p:tgtEl>
                                      </p:cBhvr>
                                    </p:animEffect>
                                  </p:childTnLst>
                                </p:cTn>
                              </p:par>
                              <p:par>
                                <p:cTn id="35" presetID="4" presetClass="entr" presetSubtype="16" fill="hold" grpId="0" nodeType="withEffect">
                                  <p:stCondLst>
                                    <p:cond delay="0"/>
                                  </p:stCondLst>
                                  <p:childTnLst>
                                    <p:set>
                                      <p:cBhvr>
                                        <p:cTn id="36" dur="1" fill="hold">
                                          <p:stCondLst>
                                            <p:cond delay="0"/>
                                          </p:stCondLst>
                                        </p:cTn>
                                        <p:tgtEl>
                                          <p:spTgt spid="36">
                                            <p:txEl>
                                              <p:pRg st="8" end="8"/>
                                            </p:txEl>
                                          </p:spTgt>
                                        </p:tgtEl>
                                        <p:attrNameLst>
                                          <p:attrName>style.visibility</p:attrName>
                                        </p:attrNameLst>
                                      </p:cBhvr>
                                      <p:to>
                                        <p:strVal val="visible"/>
                                      </p:to>
                                    </p:set>
                                    <p:animEffect transition="in" filter="box(in)">
                                      <p:cBhvr>
                                        <p:cTn id="37" dur="500"/>
                                        <p:tgtEl>
                                          <p:spTgt spid="36">
                                            <p:txEl>
                                              <p:pRg st="8" end="8"/>
                                            </p:txEl>
                                          </p:spTgt>
                                        </p:tgtEl>
                                      </p:cBhvr>
                                    </p:animEffect>
                                  </p:childTnLst>
                                </p:cTn>
                              </p:par>
                              <p:par>
                                <p:cTn id="38" presetID="4" presetClass="entr" presetSubtype="16" fill="hold" grpId="0" nodeType="withEffect">
                                  <p:stCondLst>
                                    <p:cond delay="0"/>
                                  </p:stCondLst>
                                  <p:childTnLst>
                                    <p:set>
                                      <p:cBhvr>
                                        <p:cTn id="39" dur="1" fill="hold">
                                          <p:stCondLst>
                                            <p:cond delay="0"/>
                                          </p:stCondLst>
                                        </p:cTn>
                                        <p:tgtEl>
                                          <p:spTgt spid="36">
                                            <p:txEl>
                                              <p:pRg st="9" end="9"/>
                                            </p:txEl>
                                          </p:spTgt>
                                        </p:tgtEl>
                                        <p:attrNameLst>
                                          <p:attrName>style.visibility</p:attrName>
                                        </p:attrNameLst>
                                      </p:cBhvr>
                                      <p:to>
                                        <p:strVal val="visible"/>
                                      </p:to>
                                    </p:set>
                                    <p:animEffect transition="in" filter="box(in)">
                                      <p:cBhvr>
                                        <p:cTn id="40" dur="500"/>
                                        <p:tgtEl>
                                          <p:spTgt spid="36">
                                            <p:txEl>
                                              <p:pRg st="9" end="9"/>
                                            </p:txEl>
                                          </p:spTgt>
                                        </p:tgtEl>
                                      </p:cBhvr>
                                    </p:animEffect>
                                  </p:childTnLst>
                                </p:cTn>
                              </p:par>
                              <p:par>
                                <p:cTn id="41" presetID="4" presetClass="entr" presetSubtype="16" fill="hold" grpId="0" nodeType="withEffect">
                                  <p:stCondLst>
                                    <p:cond delay="0"/>
                                  </p:stCondLst>
                                  <p:childTnLst>
                                    <p:set>
                                      <p:cBhvr>
                                        <p:cTn id="42" dur="1" fill="hold">
                                          <p:stCondLst>
                                            <p:cond delay="0"/>
                                          </p:stCondLst>
                                        </p:cTn>
                                        <p:tgtEl>
                                          <p:spTgt spid="36">
                                            <p:txEl>
                                              <p:pRg st="10" end="10"/>
                                            </p:txEl>
                                          </p:spTgt>
                                        </p:tgtEl>
                                        <p:attrNameLst>
                                          <p:attrName>style.visibility</p:attrName>
                                        </p:attrNameLst>
                                      </p:cBhvr>
                                      <p:to>
                                        <p:strVal val="visible"/>
                                      </p:to>
                                    </p:set>
                                    <p:animEffect transition="in" filter="box(in)">
                                      <p:cBhvr>
                                        <p:cTn id="43" dur="500"/>
                                        <p:tgtEl>
                                          <p:spTgt spid="36">
                                            <p:txEl>
                                              <p:pRg st="10" end="10"/>
                                            </p:txEl>
                                          </p:spTgt>
                                        </p:tgtEl>
                                      </p:cBhvr>
                                    </p:animEffect>
                                  </p:childTnLst>
                                </p:cTn>
                              </p:par>
                              <p:par>
                                <p:cTn id="44" presetID="4" presetClass="entr" presetSubtype="16" fill="hold" grpId="0" nodeType="withEffect">
                                  <p:stCondLst>
                                    <p:cond delay="0"/>
                                  </p:stCondLst>
                                  <p:childTnLst>
                                    <p:set>
                                      <p:cBhvr>
                                        <p:cTn id="45" dur="1" fill="hold">
                                          <p:stCondLst>
                                            <p:cond delay="0"/>
                                          </p:stCondLst>
                                        </p:cTn>
                                        <p:tgtEl>
                                          <p:spTgt spid="36">
                                            <p:txEl>
                                              <p:pRg st="11" end="11"/>
                                            </p:txEl>
                                          </p:spTgt>
                                        </p:tgtEl>
                                        <p:attrNameLst>
                                          <p:attrName>style.visibility</p:attrName>
                                        </p:attrNameLst>
                                      </p:cBhvr>
                                      <p:to>
                                        <p:strVal val="visible"/>
                                      </p:to>
                                    </p:set>
                                    <p:animEffect transition="in" filter="box(in)">
                                      <p:cBhvr>
                                        <p:cTn id="46" dur="500"/>
                                        <p:tgtEl>
                                          <p:spTgt spid="36">
                                            <p:txEl>
                                              <p:pRg st="11" end="11"/>
                                            </p:txEl>
                                          </p:spTgt>
                                        </p:tgtEl>
                                      </p:cBhvr>
                                    </p:animEffect>
                                  </p:childTnLst>
                                </p:cTn>
                              </p:par>
                              <p:par>
                                <p:cTn id="47" presetID="4" presetClass="entr" presetSubtype="16"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box(in)">
                                      <p:cBhvr>
                                        <p:cTn id="4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build="p"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4"/>
          <p:cNvGrpSpPr/>
          <p:nvPr/>
        </p:nvGrpSpPr>
        <p:grpSpPr>
          <a:xfrm>
            <a:off x="192364" y="714356"/>
            <a:ext cx="2808000" cy="5429288"/>
            <a:chOff x="2405026" y="2000240"/>
            <a:chExt cx="2071734" cy="4286280"/>
          </a:xfrm>
        </p:grpSpPr>
        <p:sp>
          <p:nvSpPr>
            <p:cNvPr id="16" name="Rounded Rectangle 15"/>
            <p:cNvSpPr/>
            <p:nvPr/>
          </p:nvSpPr>
          <p:spPr>
            <a:xfrm>
              <a:off x="2405026" y="2000240"/>
              <a:ext cx="2071734" cy="4286280"/>
            </a:xfrm>
            <a:prstGeom prst="roundRect">
              <a:avLst>
                <a:gd name="adj" fmla="val 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49"/>
            <p:cNvGrpSpPr/>
            <p:nvPr/>
          </p:nvGrpSpPr>
          <p:grpSpPr>
            <a:xfrm>
              <a:off x="2619340" y="2113036"/>
              <a:ext cx="1642130" cy="4057639"/>
              <a:chOff x="2619340" y="2113036"/>
              <a:chExt cx="1642130" cy="4057639"/>
            </a:xfrm>
          </p:grpSpPr>
          <p:grpSp>
            <p:nvGrpSpPr>
              <p:cNvPr id="4" name="Group 18"/>
              <p:cNvGrpSpPr/>
              <p:nvPr/>
            </p:nvGrpSpPr>
            <p:grpSpPr>
              <a:xfrm>
                <a:off x="2619340" y="2113036"/>
                <a:ext cx="1642130" cy="3728050"/>
                <a:chOff x="-2358548" y="2748458"/>
                <a:chExt cx="1786996" cy="2298964"/>
              </a:xfrm>
            </p:grpSpPr>
            <p:sp>
              <p:nvSpPr>
                <p:cNvPr id="21" name="Rounded Rectangle 20"/>
                <p:cNvSpPr/>
                <p:nvPr/>
              </p:nvSpPr>
              <p:spPr>
                <a:xfrm>
                  <a:off x="-2357470" y="2748458"/>
                  <a:ext cx="1785918" cy="2298964"/>
                </a:xfrm>
                <a:prstGeom prst="roundRect">
                  <a:avLst>
                    <a:gd name="adj" fmla="val 6025"/>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smtClean="0">
                      <a:effectLst>
                        <a:outerShdw blurRad="38100" dist="38100" dir="2700000" algn="tl">
                          <a:srgbClr val="000000">
                            <a:alpha val="43137"/>
                          </a:srgbClr>
                        </a:outerShdw>
                      </a:effectLst>
                      <a:latin typeface="Rockwell" pitchFamily="18" charset="0"/>
                    </a:rPr>
                    <a:t>TEMUBUAL</a:t>
                  </a:r>
                  <a:endParaRPr lang="en-US" sz="2000" dirty="0">
                    <a:effectLst>
                      <a:outerShdw blurRad="38100" dist="38100" dir="2700000" algn="tl">
                        <a:srgbClr val="000000">
                          <a:alpha val="43137"/>
                        </a:srgbClr>
                      </a:outerShdw>
                    </a:effectLst>
                    <a:latin typeface="Rockwell" pitchFamily="18" charset="0"/>
                  </a:endParaRPr>
                </a:p>
              </p:txBody>
            </p:sp>
            <p:sp>
              <p:nvSpPr>
                <p:cNvPr id="22" name="Rounded Rectangle 21"/>
                <p:cNvSpPr/>
                <p:nvPr/>
              </p:nvSpPr>
              <p:spPr>
                <a:xfrm>
                  <a:off x="-2357486" y="3165807"/>
                  <a:ext cx="1785918" cy="1881615"/>
                </a:xfrm>
                <a:prstGeom prst="roundRect">
                  <a:avLst>
                    <a:gd name="adj" fmla="val 602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3050" indent="-273050">
                    <a:buClr>
                      <a:srgbClr val="002060"/>
                    </a:buClr>
                    <a:buFont typeface="Wingdings" pitchFamily="2" charset="2"/>
                    <a:buChar char="ü"/>
                  </a:pPr>
                  <a:r>
                    <a:rPr lang="en-US" sz="1700" smtClean="0">
                      <a:solidFill>
                        <a:schemeClr val="tx1"/>
                      </a:solidFill>
                      <a:latin typeface="Arial" pitchFamily="34" charset="0"/>
                      <a:cs typeface="Arial" pitchFamily="34" charset="0"/>
                    </a:rPr>
                    <a:t>Temu bual secara formal ataupun tidak formal tentang bidang tugas PYD</a:t>
                  </a:r>
                </a:p>
                <a:p>
                  <a:pPr marL="273050" indent="-273050">
                    <a:buClr>
                      <a:srgbClr val="002060"/>
                    </a:buClr>
                  </a:pPr>
                  <a:endParaRPr lang="en-US" sz="1700" smtClean="0">
                    <a:solidFill>
                      <a:schemeClr val="tx1"/>
                    </a:solidFill>
                    <a:latin typeface="Arial" pitchFamily="34" charset="0"/>
                    <a:cs typeface="Arial" pitchFamily="34" charset="0"/>
                  </a:endParaRPr>
                </a:p>
                <a:p>
                  <a:pPr marL="273050" indent="-273050">
                    <a:buClr>
                      <a:srgbClr val="002060"/>
                    </a:buClr>
                    <a:buFont typeface="Wingdings" pitchFamily="2" charset="2"/>
                    <a:buChar char="ü"/>
                  </a:pPr>
                  <a:r>
                    <a:rPr lang="en-US" sz="1700" smtClean="0">
                      <a:solidFill>
                        <a:schemeClr val="tx1"/>
                      </a:solidFill>
                      <a:latin typeface="Arial" pitchFamily="34" charset="0"/>
                      <a:cs typeface="Arial" pitchFamily="34" charset="0"/>
                    </a:rPr>
                    <a:t>Maklumat temu bual boleh dicatat untuk dijadikan bukti</a:t>
                  </a:r>
                  <a:endParaRPr lang="en-US" sz="1700" dirty="0">
                    <a:solidFill>
                      <a:schemeClr val="tx1"/>
                    </a:solidFill>
                    <a:latin typeface="Arial" pitchFamily="34" charset="0"/>
                    <a:cs typeface="Arial" pitchFamily="34" charset="0"/>
                  </a:endParaRPr>
                </a:p>
              </p:txBody>
            </p:sp>
            <p:sp>
              <p:nvSpPr>
                <p:cNvPr id="23" name="Rounded Rectangle 22"/>
                <p:cNvSpPr/>
                <p:nvPr/>
              </p:nvSpPr>
              <p:spPr>
                <a:xfrm>
                  <a:off x="-2358548" y="2991912"/>
                  <a:ext cx="1785918" cy="104337"/>
                </a:xfrm>
                <a:prstGeom prst="roundRect">
                  <a:avLst>
                    <a:gd name="adj" fmla="val 0"/>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effectLst>
                      <a:outerShdw blurRad="38100" dist="38100" dir="2700000" algn="tl">
                        <a:srgbClr val="000000">
                          <a:alpha val="43137"/>
                        </a:srgbClr>
                      </a:outerShdw>
                    </a:effectLst>
                  </a:endParaRPr>
                </a:p>
              </p:txBody>
            </p:sp>
          </p:grpSp>
          <p:sp>
            <p:nvSpPr>
              <p:cNvPr id="19" name="Rounded Rectangle 18"/>
              <p:cNvSpPr/>
              <p:nvPr/>
            </p:nvSpPr>
            <p:spPr>
              <a:xfrm>
                <a:off x="2948542" y="5591448"/>
                <a:ext cx="984701" cy="579227"/>
              </a:xfrm>
              <a:prstGeom prst="roundRect">
                <a:avLst>
                  <a:gd name="adj" fmla="val 12603"/>
                </a:avLst>
              </a:prstGeom>
              <a:gradFill>
                <a:gsLst>
                  <a:gs pos="0">
                    <a:srgbClr val="0070C0"/>
                  </a:gs>
                  <a:gs pos="50000">
                    <a:srgbClr val="00B0F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smtClean="0">
                    <a:effectLst>
                      <a:outerShdw blurRad="38100" dist="38100" dir="2700000" algn="tl">
                        <a:srgbClr val="000000">
                          <a:alpha val="43137"/>
                        </a:srgbClr>
                      </a:outerShdw>
                    </a:effectLst>
                    <a:latin typeface="Rockwell" pitchFamily="18" charset="0"/>
                  </a:rPr>
                  <a:t>B</a:t>
                </a:r>
                <a:endParaRPr lang="en-US" sz="4400" dirty="0">
                  <a:effectLst>
                    <a:outerShdw blurRad="38100" dist="38100" dir="2700000" algn="tl">
                      <a:srgbClr val="000000">
                        <a:alpha val="43137"/>
                      </a:srgbClr>
                    </a:outerShdw>
                  </a:effectLst>
                  <a:latin typeface="Rockwell" pitchFamily="18" charset="0"/>
                </a:endParaRPr>
              </a:p>
            </p:txBody>
          </p:sp>
        </p:grpSp>
      </p:grpSp>
      <p:grpSp>
        <p:nvGrpSpPr>
          <p:cNvPr id="5" name="Group 23"/>
          <p:cNvGrpSpPr/>
          <p:nvPr/>
        </p:nvGrpSpPr>
        <p:grpSpPr>
          <a:xfrm>
            <a:off x="3192760" y="714356"/>
            <a:ext cx="2808000" cy="5429288"/>
            <a:chOff x="4667240" y="2000240"/>
            <a:chExt cx="2071734" cy="4286280"/>
          </a:xfrm>
        </p:grpSpPr>
        <p:sp>
          <p:nvSpPr>
            <p:cNvPr id="25" name="Rounded Rectangle 24"/>
            <p:cNvSpPr/>
            <p:nvPr/>
          </p:nvSpPr>
          <p:spPr>
            <a:xfrm>
              <a:off x="4667240" y="2000240"/>
              <a:ext cx="2071734" cy="4286280"/>
            </a:xfrm>
            <a:prstGeom prst="roundRect">
              <a:avLst>
                <a:gd name="adj" fmla="val 0"/>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1"/>
            <p:cNvGrpSpPr/>
            <p:nvPr/>
          </p:nvGrpSpPr>
          <p:grpSpPr>
            <a:xfrm>
              <a:off x="4882531" y="2143117"/>
              <a:ext cx="1641153" cy="4027558"/>
              <a:chOff x="4882531" y="2143117"/>
              <a:chExt cx="1641153" cy="4027558"/>
            </a:xfrm>
          </p:grpSpPr>
          <p:grpSp>
            <p:nvGrpSpPr>
              <p:cNvPr id="7" name="Group 27"/>
              <p:cNvGrpSpPr/>
              <p:nvPr/>
            </p:nvGrpSpPr>
            <p:grpSpPr>
              <a:xfrm>
                <a:off x="4882531" y="2143117"/>
                <a:ext cx="1641153" cy="3697969"/>
                <a:chOff x="-2357485" y="2767008"/>
                <a:chExt cx="1785933" cy="2280414"/>
              </a:xfrm>
            </p:grpSpPr>
            <p:sp>
              <p:nvSpPr>
                <p:cNvPr id="30" name="Rounded Rectangle 29"/>
                <p:cNvSpPr/>
                <p:nvPr/>
              </p:nvSpPr>
              <p:spPr>
                <a:xfrm>
                  <a:off x="-2357470" y="2767008"/>
                  <a:ext cx="1785918" cy="2280414"/>
                </a:xfrm>
                <a:prstGeom prst="roundRect">
                  <a:avLst>
                    <a:gd name="adj" fmla="val 6025"/>
                  </a:avLst>
                </a:prstGeom>
                <a:solidFill>
                  <a:srgbClr val="761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smtClean="0">
                      <a:latin typeface="Rockwell" pitchFamily="18" charset="0"/>
                    </a:rPr>
                    <a:t>PENCERAPAN</a:t>
                  </a:r>
                  <a:endParaRPr lang="en-US" sz="2000" dirty="0">
                    <a:latin typeface="Rockwell" pitchFamily="18" charset="0"/>
                  </a:endParaRPr>
                </a:p>
              </p:txBody>
            </p:sp>
            <p:sp>
              <p:nvSpPr>
                <p:cNvPr id="31" name="Rounded Rectangle 30"/>
                <p:cNvSpPr/>
                <p:nvPr/>
              </p:nvSpPr>
              <p:spPr>
                <a:xfrm>
                  <a:off x="-2357485" y="3162259"/>
                  <a:ext cx="1785917" cy="1881615"/>
                </a:xfrm>
                <a:prstGeom prst="roundRect">
                  <a:avLst>
                    <a:gd name="adj" fmla="val 602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3050" indent="-273050">
                    <a:buClr>
                      <a:srgbClr val="76108A"/>
                    </a:buClr>
                    <a:buFont typeface="Wingdings" pitchFamily="2" charset="2"/>
                    <a:buChar char="ü"/>
                    <a:tabLst>
                      <a:tab pos="355600" algn="l"/>
                    </a:tabLst>
                  </a:pPr>
                  <a:r>
                    <a:rPr lang="en-US" sz="1700" smtClean="0">
                      <a:solidFill>
                        <a:schemeClr val="tx1"/>
                      </a:solidFill>
                      <a:latin typeface="Arial" pitchFamily="34" charset="0"/>
                      <a:cs typeface="Arial" pitchFamily="34" charset="0"/>
                    </a:rPr>
                    <a:t>Bersifat formal yang dijalankan semasa proses PdP dalam jangka waktu yang ditetapkan</a:t>
                  </a:r>
                </a:p>
                <a:p>
                  <a:pPr marL="273050" indent="-273050">
                    <a:buClr>
                      <a:srgbClr val="76108A"/>
                    </a:buClr>
                    <a:tabLst>
                      <a:tab pos="355600" algn="l"/>
                    </a:tabLst>
                  </a:pPr>
                  <a:endParaRPr lang="en-US" sz="1700" smtClean="0">
                    <a:solidFill>
                      <a:schemeClr val="tx1"/>
                    </a:solidFill>
                    <a:latin typeface="Arial" pitchFamily="34" charset="0"/>
                    <a:cs typeface="Arial" pitchFamily="34" charset="0"/>
                  </a:endParaRPr>
                </a:p>
                <a:p>
                  <a:pPr marL="273050" indent="-273050">
                    <a:buClr>
                      <a:srgbClr val="76108A"/>
                    </a:buClr>
                    <a:buFont typeface="Wingdings" pitchFamily="2" charset="2"/>
                    <a:buChar char="ü"/>
                    <a:tabLst>
                      <a:tab pos="355600" algn="l"/>
                    </a:tabLst>
                  </a:pPr>
                  <a:r>
                    <a:rPr lang="en-US" sz="1700" smtClean="0">
                      <a:solidFill>
                        <a:schemeClr val="tx1"/>
                      </a:solidFill>
                      <a:latin typeface="Arial" pitchFamily="34" charset="0"/>
                      <a:cs typeface="Arial" pitchFamily="34" charset="0"/>
                    </a:rPr>
                    <a:t>Senarai semak pencerapan hendaklah disediakan dan disimpan sebagai bukti</a:t>
                  </a:r>
                  <a:endParaRPr lang="en-US" sz="1700" dirty="0">
                    <a:solidFill>
                      <a:schemeClr val="tx1"/>
                    </a:solidFill>
                    <a:latin typeface="Arial" pitchFamily="34" charset="0"/>
                    <a:cs typeface="Arial" pitchFamily="34" charset="0"/>
                  </a:endParaRPr>
                </a:p>
              </p:txBody>
            </p:sp>
            <p:sp>
              <p:nvSpPr>
                <p:cNvPr id="32" name="Rounded Rectangle 31"/>
                <p:cNvSpPr/>
                <p:nvPr/>
              </p:nvSpPr>
              <p:spPr>
                <a:xfrm>
                  <a:off x="-2332644" y="2991912"/>
                  <a:ext cx="1710283" cy="104337"/>
                </a:xfrm>
                <a:prstGeom prst="roundRect">
                  <a:avLst>
                    <a:gd name="adj" fmla="val 0"/>
                  </a:avLst>
                </a:prstGeom>
                <a:solidFill>
                  <a:srgbClr val="C31B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effectLst>
                      <a:outerShdw blurRad="38100" dist="38100" dir="2700000" algn="tl">
                        <a:srgbClr val="000000">
                          <a:alpha val="43137"/>
                        </a:srgbClr>
                      </a:outerShdw>
                    </a:effectLst>
                  </a:endParaRPr>
                </a:p>
              </p:txBody>
            </p:sp>
          </p:grpSp>
          <p:sp>
            <p:nvSpPr>
              <p:cNvPr id="28" name="Rounded Rectangle 27"/>
              <p:cNvSpPr/>
              <p:nvPr/>
            </p:nvSpPr>
            <p:spPr>
              <a:xfrm>
                <a:off x="5210756" y="5591448"/>
                <a:ext cx="984701" cy="579227"/>
              </a:xfrm>
              <a:prstGeom prst="roundRect">
                <a:avLst>
                  <a:gd name="adj" fmla="val 12603"/>
                </a:avLst>
              </a:prstGeom>
              <a:gradFill>
                <a:gsLst>
                  <a:gs pos="0">
                    <a:srgbClr val="36174D"/>
                  </a:gs>
                  <a:gs pos="50000">
                    <a:srgbClr val="7030A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smtClean="0">
                    <a:effectLst>
                      <a:outerShdw blurRad="38100" dist="38100" dir="2700000" algn="tl">
                        <a:srgbClr val="000000">
                          <a:alpha val="43137"/>
                        </a:srgbClr>
                      </a:outerShdw>
                    </a:effectLst>
                    <a:latin typeface="Rockwell" pitchFamily="18" charset="0"/>
                  </a:rPr>
                  <a:t>C</a:t>
                </a:r>
                <a:endParaRPr lang="en-US" sz="4400" dirty="0">
                  <a:effectLst>
                    <a:outerShdw blurRad="38100" dist="38100" dir="2700000" algn="tl">
                      <a:srgbClr val="000000">
                        <a:alpha val="43137"/>
                      </a:srgbClr>
                    </a:outerShdw>
                  </a:effectLst>
                  <a:latin typeface="Rockwell" pitchFamily="18" charset="0"/>
                </a:endParaRPr>
              </a:p>
            </p:txBody>
          </p:sp>
        </p:grpSp>
      </p:grpSp>
      <p:grpSp>
        <p:nvGrpSpPr>
          <p:cNvPr id="8" name="Group 32"/>
          <p:cNvGrpSpPr/>
          <p:nvPr/>
        </p:nvGrpSpPr>
        <p:grpSpPr>
          <a:xfrm>
            <a:off x="6143636" y="714356"/>
            <a:ext cx="2808000" cy="5357850"/>
            <a:chOff x="6929454" y="2000240"/>
            <a:chExt cx="2071734" cy="4286280"/>
          </a:xfrm>
        </p:grpSpPr>
        <p:sp>
          <p:nvSpPr>
            <p:cNvPr id="34" name="Rounded Rectangle 33"/>
            <p:cNvSpPr/>
            <p:nvPr/>
          </p:nvSpPr>
          <p:spPr>
            <a:xfrm>
              <a:off x="6929454" y="2000240"/>
              <a:ext cx="2071734" cy="4286280"/>
            </a:xfrm>
            <a:prstGeom prst="roundRect">
              <a:avLst>
                <a:gd name="adj" fmla="val 0"/>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53"/>
            <p:cNvGrpSpPr/>
            <p:nvPr/>
          </p:nvGrpSpPr>
          <p:grpSpPr>
            <a:xfrm>
              <a:off x="7144744" y="2113037"/>
              <a:ext cx="1641154" cy="4057638"/>
              <a:chOff x="7144744" y="2113037"/>
              <a:chExt cx="1641154" cy="4057638"/>
            </a:xfrm>
          </p:grpSpPr>
          <p:grpSp>
            <p:nvGrpSpPr>
              <p:cNvPr id="10" name="Group 36"/>
              <p:cNvGrpSpPr/>
              <p:nvPr/>
            </p:nvGrpSpPr>
            <p:grpSpPr>
              <a:xfrm>
                <a:off x="7144744" y="2113037"/>
                <a:ext cx="1641154" cy="3728050"/>
                <a:chOff x="-2357486" y="2748459"/>
                <a:chExt cx="1785934" cy="2298964"/>
              </a:xfrm>
            </p:grpSpPr>
            <p:sp>
              <p:nvSpPr>
                <p:cNvPr id="39" name="Rounded Rectangle 38"/>
                <p:cNvSpPr/>
                <p:nvPr/>
              </p:nvSpPr>
              <p:spPr>
                <a:xfrm>
                  <a:off x="-2357470" y="2748459"/>
                  <a:ext cx="1785918" cy="2298963"/>
                </a:xfrm>
                <a:prstGeom prst="roundRect">
                  <a:avLst>
                    <a:gd name="adj" fmla="val 6025"/>
                  </a:avLst>
                </a:prstGeom>
                <a:solidFill>
                  <a:srgbClr val="16CC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dirty="0" smtClean="0">
                      <a:solidFill>
                        <a:schemeClr val="tx1"/>
                      </a:solidFill>
                      <a:latin typeface="Rockwell" pitchFamily="18" charset="0"/>
                    </a:rPr>
                    <a:t>PEMERHATIAN</a:t>
                  </a:r>
                  <a:endParaRPr lang="en-US" sz="2000" dirty="0">
                    <a:solidFill>
                      <a:schemeClr val="tx1"/>
                    </a:solidFill>
                    <a:latin typeface="Rockwell" pitchFamily="18" charset="0"/>
                  </a:endParaRPr>
                </a:p>
              </p:txBody>
            </p:sp>
            <p:sp>
              <p:nvSpPr>
                <p:cNvPr id="40" name="Rounded Rectangle 39"/>
                <p:cNvSpPr/>
                <p:nvPr/>
              </p:nvSpPr>
              <p:spPr>
                <a:xfrm>
                  <a:off x="-2357486" y="3200587"/>
                  <a:ext cx="1785918" cy="1846836"/>
                </a:xfrm>
                <a:prstGeom prst="roundRect">
                  <a:avLst>
                    <a:gd name="adj" fmla="val 602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260350">
                    <a:buClr>
                      <a:srgbClr val="1A790D"/>
                    </a:buClr>
                    <a:buFont typeface="Wingdings" pitchFamily="2" charset="2"/>
                    <a:buChar char="ü"/>
                  </a:pPr>
                  <a:r>
                    <a:rPr lang="en-US" sz="1700" smtClean="0">
                      <a:solidFill>
                        <a:schemeClr val="tx1"/>
                      </a:solidFill>
                      <a:latin typeface="Arial" pitchFamily="34" charset="0"/>
                      <a:cs typeface="Arial" pitchFamily="34" charset="0"/>
                    </a:rPr>
                    <a:t>Dilaksanakan secara berterusan oleh PP terhadap PYD bagi mendapatkan maklumat tentang kompetensi dan potensi</a:t>
                  </a:r>
                  <a:endParaRPr lang="en-US" sz="1700" dirty="0">
                    <a:solidFill>
                      <a:schemeClr val="tx1"/>
                    </a:solidFill>
                    <a:latin typeface="Arial" pitchFamily="34" charset="0"/>
                    <a:cs typeface="Arial" pitchFamily="34" charset="0"/>
                  </a:endParaRPr>
                </a:p>
              </p:txBody>
            </p:sp>
            <p:sp>
              <p:nvSpPr>
                <p:cNvPr id="41" name="Rounded Rectangle 40"/>
                <p:cNvSpPr/>
                <p:nvPr/>
              </p:nvSpPr>
              <p:spPr>
                <a:xfrm>
                  <a:off x="-2347207" y="2985327"/>
                  <a:ext cx="1762914" cy="139117"/>
                </a:xfrm>
                <a:prstGeom prst="roundRect">
                  <a:avLst>
                    <a:gd name="adj" fmla="val 0"/>
                  </a:avLst>
                </a:prstGeom>
                <a:solidFill>
                  <a:srgbClr val="4AFC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effectLst>
                      <a:outerShdw blurRad="38100" dist="38100" dir="2700000" algn="tl">
                        <a:srgbClr val="000000">
                          <a:alpha val="43137"/>
                        </a:srgbClr>
                      </a:outerShdw>
                    </a:effectLst>
                  </a:endParaRPr>
                </a:p>
              </p:txBody>
            </p:sp>
          </p:grpSp>
          <p:sp>
            <p:nvSpPr>
              <p:cNvPr id="37" name="Rounded Rectangle 36"/>
              <p:cNvSpPr/>
              <p:nvPr/>
            </p:nvSpPr>
            <p:spPr>
              <a:xfrm>
                <a:off x="7472970" y="5591448"/>
                <a:ext cx="984701" cy="579227"/>
              </a:xfrm>
              <a:prstGeom prst="roundRect">
                <a:avLst>
                  <a:gd name="adj" fmla="val 12603"/>
                </a:avLst>
              </a:prstGeom>
              <a:gradFill>
                <a:gsLst>
                  <a:gs pos="0">
                    <a:srgbClr val="1A790D"/>
                  </a:gs>
                  <a:gs pos="50000">
                    <a:srgbClr val="0FBB38"/>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smtClean="0">
                    <a:solidFill>
                      <a:schemeClr val="tx1"/>
                    </a:solidFill>
                    <a:effectLst>
                      <a:outerShdw blurRad="38100" dist="38100" dir="2700000" algn="tl">
                        <a:srgbClr val="000000">
                          <a:alpha val="43137"/>
                        </a:srgbClr>
                      </a:outerShdw>
                    </a:effectLst>
                    <a:latin typeface="Rockwell" pitchFamily="18" charset="0"/>
                  </a:rPr>
                  <a:t>D</a:t>
                </a:r>
                <a:endParaRPr lang="en-US" sz="4400" dirty="0">
                  <a:solidFill>
                    <a:schemeClr val="tx1"/>
                  </a:solidFill>
                  <a:effectLst>
                    <a:outerShdw blurRad="38100" dist="38100" dir="2700000" algn="tl">
                      <a:srgbClr val="000000">
                        <a:alpha val="43137"/>
                      </a:srgbClr>
                    </a:outerShdw>
                  </a:effectLst>
                  <a:latin typeface="Rockwell" pitchFamily="18" charset="0"/>
                </a:endParaRPr>
              </a:p>
            </p:txBody>
          </p:sp>
        </p:grpSp>
      </p:grpSp>
      <p:sp>
        <p:nvSpPr>
          <p:cNvPr id="13" name="Footer Placeholder 12"/>
          <p:cNvSpPr>
            <a:spLocks noGrp="1"/>
          </p:cNvSpPr>
          <p:nvPr>
            <p:ph type="ftr" sz="quarter" idx="11"/>
          </p:nvPr>
        </p:nvSpPr>
        <p:spPr/>
        <p:txBody>
          <a:bodyPr/>
          <a:lstStyle/>
          <a:p>
            <a:r>
              <a:rPr lang="en-US" smtClean="0"/>
              <a:t>GURU (SEKOLAH)</a:t>
            </a:r>
            <a:endParaRPr lang="en-US"/>
          </a:p>
        </p:txBody>
      </p:sp>
      <p:sp>
        <p:nvSpPr>
          <p:cNvPr id="14" name="Slide Number Placeholder 13"/>
          <p:cNvSpPr>
            <a:spLocks noGrp="1"/>
          </p:cNvSpPr>
          <p:nvPr>
            <p:ph type="sldNum" sz="quarter" idx="12"/>
          </p:nvPr>
        </p:nvSpPr>
        <p:spPr/>
        <p:txBody>
          <a:bodyPr/>
          <a:lstStyle/>
          <a:p>
            <a:fld id="{4D86EDED-B1AF-7E4B-94C9-3F0EAA36C7D5}" type="slidenum">
              <a:rPr lang="en-US" smtClean="0"/>
              <a:pPr/>
              <a:t>68</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50" presetClass="entr" presetSubtype="0" decel="10000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p:cTn id="14" dur="1000" fill="hold"/>
                                        <p:tgtEl>
                                          <p:spTgt spid="5"/>
                                        </p:tgtEl>
                                        <p:attrNameLst>
                                          <p:attrName>ppt_w</p:attrName>
                                        </p:attrNameLst>
                                      </p:cBhvr>
                                      <p:tavLst>
                                        <p:tav tm="0">
                                          <p:val>
                                            <p:strVal val="#ppt_w+.3"/>
                                          </p:val>
                                        </p:tav>
                                        <p:tav tm="100000">
                                          <p:val>
                                            <p:strVal val="#ppt_w"/>
                                          </p:val>
                                        </p:tav>
                                      </p:tavLst>
                                    </p:anim>
                                    <p:anim calcmode="lin" valueType="num">
                                      <p:cBhvr>
                                        <p:cTn id="15" dur="1000" fill="hold"/>
                                        <p:tgtEl>
                                          <p:spTgt spid="5"/>
                                        </p:tgtEl>
                                        <p:attrNameLst>
                                          <p:attrName>ppt_h</p:attrName>
                                        </p:attrNameLst>
                                      </p:cBhvr>
                                      <p:tavLst>
                                        <p:tav tm="0">
                                          <p:val>
                                            <p:strVal val="#ppt_h"/>
                                          </p:val>
                                        </p:tav>
                                        <p:tav tm="100000">
                                          <p:val>
                                            <p:strVal val="#ppt_h"/>
                                          </p:val>
                                        </p:tav>
                                      </p:tavLst>
                                    </p:anim>
                                    <p:animEffect transition="in" filter="fade">
                                      <p:cBhvr>
                                        <p:cTn id="16" dur="10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4" presetClass="entr" presetSubtype="16"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box(in)">
                                      <p:cBhvr>
                                        <p:cTn id="2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6"/>
          <p:cNvSpPr>
            <a:spLocks/>
          </p:cNvSpPr>
          <p:nvPr>
            <p:custDataLst>
              <p:tags r:id="rId1"/>
            </p:custDataLst>
          </p:nvPr>
        </p:nvSpPr>
        <p:spPr bwMode="gray">
          <a:xfrm flipH="1">
            <a:off x="635985" y="1293547"/>
            <a:ext cx="8136904" cy="4986936"/>
          </a:xfrm>
          <a:custGeom>
            <a:avLst/>
            <a:gdLst/>
            <a:ahLst/>
            <a:cxnLst>
              <a:cxn ang="0">
                <a:pos x="0" y="0"/>
              </a:cxn>
              <a:cxn ang="0">
                <a:pos x="0" y="3198"/>
              </a:cxn>
              <a:cxn ang="0">
                <a:pos x="228" y="3300"/>
              </a:cxn>
              <a:cxn ang="0">
                <a:pos x="558" y="3222"/>
              </a:cxn>
              <a:cxn ang="0">
                <a:pos x="762" y="3312"/>
              </a:cxn>
              <a:cxn ang="0">
                <a:pos x="1104" y="3240"/>
              </a:cxn>
              <a:cxn ang="0">
                <a:pos x="1440" y="3366"/>
              </a:cxn>
              <a:cxn ang="0">
                <a:pos x="1710" y="3270"/>
              </a:cxn>
              <a:cxn ang="0">
                <a:pos x="1758" y="3312"/>
              </a:cxn>
              <a:cxn ang="0">
                <a:pos x="2028" y="3204"/>
              </a:cxn>
              <a:cxn ang="0">
                <a:pos x="2214" y="3288"/>
              </a:cxn>
              <a:cxn ang="0">
                <a:pos x="2490" y="3228"/>
              </a:cxn>
              <a:cxn ang="0">
                <a:pos x="2598" y="3246"/>
              </a:cxn>
              <a:cxn ang="0">
                <a:pos x="2694" y="3264"/>
              </a:cxn>
              <a:cxn ang="0">
                <a:pos x="2904" y="3228"/>
              </a:cxn>
              <a:cxn ang="0">
                <a:pos x="3060" y="3294"/>
              </a:cxn>
              <a:cxn ang="0">
                <a:pos x="3096" y="3306"/>
              </a:cxn>
              <a:cxn ang="0">
                <a:pos x="3330" y="3180"/>
              </a:cxn>
              <a:cxn ang="0">
                <a:pos x="3648" y="3276"/>
              </a:cxn>
              <a:cxn ang="0">
                <a:pos x="3960" y="3246"/>
              </a:cxn>
              <a:cxn ang="0">
                <a:pos x="4056" y="3336"/>
              </a:cxn>
              <a:cxn ang="0">
                <a:pos x="4200" y="3174"/>
              </a:cxn>
              <a:cxn ang="0">
                <a:pos x="4398" y="3270"/>
              </a:cxn>
              <a:cxn ang="0">
                <a:pos x="4530" y="3144"/>
              </a:cxn>
              <a:cxn ang="0">
                <a:pos x="4530" y="0"/>
              </a:cxn>
              <a:cxn ang="0">
                <a:pos x="0" y="0"/>
              </a:cxn>
            </a:cxnLst>
            <a:rect l="0" t="0" r="r" b="b"/>
            <a:pathLst>
              <a:path w="4530" h="3366">
                <a:moveTo>
                  <a:pt x="0" y="0"/>
                </a:moveTo>
                <a:lnTo>
                  <a:pt x="0" y="3198"/>
                </a:lnTo>
                <a:lnTo>
                  <a:pt x="228" y="3300"/>
                </a:lnTo>
                <a:lnTo>
                  <a:pt x="558" y="3222"/>
                </a:lnTo>
                <a:lnTo>
                  <a:pt x="762" y="3312"/>
                </a:lnTo>
                <a:lnTo>
                  <a:pt x="1104" y="3240"/>
                </a:lnTo>
                <a:lnTo>
                  <a:pt x="1440" y="3366"/>
                </a:lnTo>
                <a:lnTo>
                  <a:pt x="1710" y="3270"/>
                </a:lnTo>
                <a:lnTo>
                  <a:pt x="1758" y="3312"/>
                </a:lnTo>
                <a:lnTo>
                  <a:pt x="2028" y="3204"/>
                </a:lnTo>
                <a:lnTo>
                  <a:pt x="2214" y="3288"/>
                </a:lnTo>
                <a:cubicBezTo>
                  <a:pt x="2419" y="3182"/>
                  <a:pt x="2311" y="3194"/>
                  <a:pt x="2490" y="3228"/>
                </a:cubicBezTo>
                <a:cubicBezTo>
                  <a:pt x="2526" y="3235"/>
                  <a:pt x="2562" y="3240"/>
                  <a:pt x="2598" y="3246"/>
                </a:cubicBezTo>
                <a:cubicBezTo>
                  <a:pt x="2630" y="3252"/>
                  <a:pt x="2694" y="3264"/>
                  <a:pt x="2694" y="3264"/>
                </a:cubicBezTo>
                <a:lnTo>
                  <a:pt x="2904" y="3228"/>
                </a:lnTo>
                <a:lnTo>
                  <a:pt x="3060" y="3294"/>
                </a:lnTo>
                <a:lnTo>
                  <a:pt x="3096" y="3306"/>
                </a:lnTo>
                <a:lnTo>
                  <a:pt x="3330" y="3180"/>
                </a:lnTo>
                <a:lnTo>
                  <a:pt x="3648" y="3276"/>
                </a:lnTo>
                <a:lnTo>
                  <a:pt x="3960" y="3246"/>
                </a:lnTo>
                <a:lnTo>
                  <a:pt x="4056" y="3336"/>
                </a:lnTo>
                <a:lnTo>
                  <a:pt x="4200" y="3174"/>
                </a:lnTo>
                <a:lnTo>
                  <a:pt x="4398" y="3270"/>
                </a:lnTo>
                <a:lnTo>
                  <a:pt x="4530" y="3144"/>
                </a:lnTo>
                <a:lnTo>
                  <a:pt x="4530" y="0"/>
                </a:lnTo>
                <a:lnTo>
                  <a:pt x="0" y="0"/>
                </a:lnTo>
                <a:close/>
              </a:path>
            </a:pathLst>
          </a:custGeom>
          <a:solidFill>
            <a:srgbClr val="E8ECEA">
              <a:alpha val="16000"/>
            </a:srgbClr>
          </a:solidFill>
          <a:ln w="9525">
            <a:solidFill>
              <a:schemeClr val="tx1"/>
            </a:solidFill>
            <a:round/>
            <a:headEnd/>
            <a:tailEnd/>
          </a:ln>
          <a:effectLst>
            <a:outerShdw dist="107763" dir="2700000" algn="ctr" rotWithShape="0">
              <a:srgbClr val="D5DDD9">
                <a:alpha val="50000"/>
              </a:srgbClr>
            </a:outerShdw>
          </a:effectLst>
        </p:spPr>
        <p:txBody>
          <a:bodyPr/>
          <a:lstStyle/>
          <a:p>
            <a:pPr fontAlgn="auto">
              <a:spcBef>
                <a:spcPts val="0"/>
              </a:spcBef>
              <a:spcAft>
                <a:spcPts val="0"/>
              </a:spcAft>
              <a:defRPr/>
            </a:pPr>
            <a:endParaRPr lang="en-US" sz="1600" b="1">
              <a:latin typeface="Arial" charset="0"/>
              <a:cs typeface="Arial" charset="0"/>
            </a:endParaRPr>
          </a:p>
        </p:txBody>
      </p:sp>
      <p:sp>
        <p:nvSpPr>
          <p:cNvPr id="4" name="TextBox 3"/>
          <p:cNvSpPr txBox="1"/>
          <p:nvPr/>
        </p:nvSpPr>
        <p:spPr>
          <a:xfrm rot="20740702">
            <a:off x="136525" y="587375"/>
            <a:ext cx="1335088" cy="400050"/>
          </a:xfrm>
          <a:prstGeom prst="rect">
            <a:avLst/>
          </a:prstGeom>
        </p:spPr>
        <p:style>
          <a:lnRef idx="2">
            <a:schemeClr val="accent3"/>
          </a:lnRef>
          <a:fillRef idx="1">
            <a:schemeClr val="lt1"/>
          </a:fillRef>
          <a:effectRef idx="0">
            <a:schemeClr val="accent3"/>
          </a:effectRef>
          <a:fontRef idx="minor">
            <a:schemeClr val="dk1"/>
          </a:fontRef>
        </p:style>
        <p:txBody>
          <a:bodyPr>
            <a:spAutoFit/>
          </a:bodyPr>
          <a:lstStyle/>
          <a:p>
            <a:pPr algn="ctr">
              <a:defRPr/>
            </a:pPr>
            <a:r>
              <a:rPr lang="en-US" sz="2000" b="1">
                <a:solidFill>
                  <a:schemeClr val="accent1">
                    <a:lumMod val="75000"/>
                  </a:schemeClr>
                </a:solidFill>
                <a:latin typeface="Segoe UI Light"/>
                <a:cs typeface="Segoe UI Light"/>
              </a:rPr>
              <a:t>CONTOH</a:t>
            </a:r>
            <a:endParaRPr lang="en-US" sz="2400" b="1" dirty="0">
              <a:solidFill>
                <a:schemeClr val="accent1">
                  <a:lumMod val="75000"/>
                </a:schemeClr>
              </a:solidFill>
              <a:latin typeface="Segoe UI Light"/>
              <a:cs typeface="Segoe UI Light"/>
            </a:endParaRPr>
          </a:p>
        </p:txBody>
      </p:sp>
      <p:grpSp>
        <p:nvGrpSpPr>
          <p:cNvPr id="2" name="Groupe 1"/>
          <p:cNvGrpSpPr>
            <a:grpSpLocks/>
          </p:cNvGrpSpPr>
          <p:nvPr/>
        </p:nvGrpSpPr>
        <p:grpSpPr bwMode="auto">
          <a:xfrm>
            <a:off x="0" y="357188"/>
            <a:ext cx="484188" cy="554037"/>
            <a:chOff x="4985896" y="2380134"/>
            <a:chExt cx="2154390" cy="2715410"/>
          </a:xfrm>
        </p:grpSpPr>
        <p:grpSp>
          <p:nvGrpSpPr>
            <p:cNvPr id="5" name="Groupe 33"/>
            <p:cNvGrpSpPr/>
            <p:nvPr/>
          </p:nvGrpSpPr>
          <p:grpSpPr>
            <a:xfrm rot="14400000">
              <a:off x="5523996" y="3741353"/>
              <a:ext cx="816091" cy="1892292"/>
              <a:chOff x="6324195" y="2380134"/>
              <a:chExt cx="816091" cy="1892292"/>
            </a:xfrm>
            <a:gradFill flip="none" rotWithShape="1">
              <a:gsLst>
                <a:gs pos="0">
                  <a:srgbClr val="BEC6D4"/>
                </a:gs>
                <a:gs pos="50000">
                  <a:schemeClr val="accent1">
                    <a:lumMod val="40000"/>
                    <a:lumOff val="60000"/>
                    <a:tint val="44500"/>
                    <a:satMod val="160000"/>
                  </a:schemeClr>
                </a:gs>
                <a:gs pos="100000">
                  <a:schemeClr val="accent1">
                    <a:lumMod val="40000"/>
                    <a:lumOff val="60000"/>
                    <a:tint val="23500"/>
                    <a:satMod val="160000"/>
                  </a:schemeClr>
                </a:gs>
              </a:gsLst>
              <a:lin ang="16200000" scaled="1"/>
              <a:tileRect/>
            </a:gradFill>
          </p:grpSpPr>
          <p:sp>
            <p:nvSpPr>
              <p:cNvPr id="15" name="Rectangle 11"/>
              <p:cNvSpPr/>
              <p:nvPr/>
            </p:nvSpPr>
            <p:spPr>
              <a:xfrm>
                <a:off x="6680166" y="3333369"/>
                <a:ext cx="105362" cy="939057"/>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6" name="Ellipse 35"/>
              <p:cNvSpPr/>
              <p:nvPr/>
            </p:nvSpPr>
            <p:spPr>
              <a:xfrm>
                <a:off x="6324195" y="2969949"/>
                <a:ext cx="816091" cy="70207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7" name="Ellipse 36"/>
              <p:cNvSpPr/>
              <p:nvPr/>
            </p:nvSpPr>
            <p:spPr>
              <a:xfrm rot="1800000">
                <a:off x="6343308" y="3036225"/>
                <a:ext cx="647605" cy="59391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8" name="Trapèze 10"/>
              <p:cNvSpPr/>
              <p:nvPr/>
            </p:nvSpPr>
            <p:spPr>
              <a:xfrm>
                <a:off x="6488604" y="2632162"/>
                <a:ext cx="487272" cy="765707"/>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9" name="Ellipse 39"/>
              <p:cNvSpPr/>
              <p:nvPr/>
            </p:nvSpPr>
            <p:spPr>
              <a:xfrm>
                <a:off x="6444208" y="2380134"/>
                <a:ext cx="576064" cy="50405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0" name="Ellipse 40"/>
              <p:cNvSpPr/>
              <p:nvPr/>
            </p:nvSpPr>
            <p:spPr>
              <a:xfrm>
                <a:off x="6444208" y="2380134"/>
                <a:ext cx="576064" cy="43204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nvGrpSpPr>
            <p:cNvPr id="6" name="Groupe 25"/>
            <p:cNvGrpSpPr>
              <a:grpSpLocks/>
            </p:cNvGrpSpPr>
            <p:nvPr/>
          </p:nvGrpSpPr>
          <p:grpSpPr bwMode="auto">
            <a:xfrm>
              <a:off x="6320911" y="2380134"/>
              <a:ext cx="819375" cy="1890669"/>
              <a:chOff x="6320911" y="2380134"/>
              <a:chExt cx="819375" cy="1890669"/>
            </a:xfrm>
          </p:grpSpPr>
          <p:sp>
            <p:nvSpPr>
              <p:cNvPr id="8" name="Rectangle 11"/>
              <p:cNvSpPr/>
              <p:nvPr/>
            </p:nvSpPr>
            <p:spPr>
              <a:xfrm>
                <a:off x="6681151" y="3329360"/>
                <a:ext cx="105956" cy="941443"/>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adFill flip="none" rotWithShape="1">
                <a:gsLst>
                  <a:gs pos="0">
                    <a:srgbClr val="FFFFFF"/>
                  </a:gs>
                  <a:gs pos="7001">
                    <a:srgbClr val="E6E6E6"/>
                  </a:gs>
                  <a:gs pos="32001">
                    <a:srgbClr val="7D8496"/>
                  </a:gs>
                  <a:gs pos="47000">
                    <a:srgbClr val="E6E6E6"/>
                  </a:gs>
                  <a:gs pos="85001">
                    <a:srgbClr val="7D8496"/>
                  </a:gs>
                  <a:gs pos="100000">
                    <a:srgbClr val="E6E6E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9" name="Ellipse 12"/>
              <p:cNvSpPr/>
              <p:nvPr/>
            </p:nvSpPr>
            <p:spPr>
              <a:xfrm>
                <a:off x="6320911" y="2971455"/>
                <a:ext cx="819375" cy="700249"/>
              </a:xfrm>
              <a:prstGeom prst="ellipse">
                <a:avLst/>
              </a:prstGeom>
              <a:gradFill flip="none" rotWithShape="1">
                <a:gsLst>
                  <a:gs pos="0">
                    <a:srgbClr val="004D86"/>
                  </a:gs>
                  <a:gs pos="100000">
                    <a:srgbClr val="00B0F0"/>
                  </a:gs>
                </a:gsLst>
                <a:lin ang="2700000" scaled="1"/>
                <a:tileRect/>
              </a:gra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0" name="Ellipse 13"/>
              <p:cNvSpPr/>
              <p:nvPr/>
            </p:nvSpPr>
            <p:spPr>
              <a:xfrm rot="1800000">
                <a:off x="6342100" y="3033700"/>
                <a:ext cx="649849" cy="599099"/>
              </a:xfrm>
              <a:prstGeom prst="ellipse">
                <a:avLst/>
              </a:prstGeom>
              <a:gradFill flip="none" rotWithShape="1">
                <a:gsLst>
                  <a:gs pos="68350">
                    <a:srgbClr val="0091CF"/>
                  </a:gs>
                  <a:gs pos="36700">
                    <a:srgbClr val="0071AD"/>
                  </a:gs>
                  <a:gs pos="0">
                    <a:srgbClr val="004D86"/>
                  </a:gs>
                  <a:gs pos="100000">
                    <a:srgbClr val="00B0F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pic>
            <p:nvPicPr>
              <p:cNvPr id="11" name="Picture 5"/>
              <p:cNvPicPr>
                <a:picLocks noChangeAspect="1" noChangeArrowheads="1"/>
              </p:cNvPicPr>
              <p:nvPr/>
            </p:nvPicPr>
            <p:blipFill>
              <a:blip r:embed="rId4" cstate="print"/>
              <a:srcRect l="23138" t="19901" r="24571" b="27188"/>
              <a:stretch>
                <a:fillRect/>
              </a:stretch>
            </p:blipFill>
            <p:spPr bwMode="auto">
              <a:xfrm rot="-1835306">
                <a:off x="6730129" y="3272365"/>
                <a:ext cx="385960" cy="294981"/>
              </a:xfrm>
              <a:prstGeom prst="rect">
                <a:avLst/>
              </a:prstGeom>
              <a:noFill/>
              <a:ln w="9525">
                <a:noFill/>
                <a:miter lim="800000"/>
                <a:headEnd/>
                <a:tailEnd/>
              </a:ln>
            </p:spPr>
          </p:pic>
          <p:sp>
            <p:nvSpPr>
              <p:cNvPr id="12" name="Trapèze 10"/>
              <p:cNvSpPr/>
              <p:nvPr/>
            </p:nvSpPr>
            <p:spPr>
              <a:xfrm>
                <a:off x="6483371" y="2629111"/>
                <a:ext cx="494450" cy="770271"/>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3" name="Ellipse 7"/>
              <p:cNvSpPr/>
              <p:nvPr/>
            </p:nvSpPr>
            <p:spPr>
              <a:xfrm>
                <a:off x="6440990" y="2380134"/>
                <a:ext cx="579213" cy="505733"/>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81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4" name="Ellipse 5"/>
              <p:cNvSpPr/>
              <p:nvPr/>
            </p:nvSpPr>
            <p:spPr>
              <a:xfrm>
                <a:off x="6440990" y="2380134"/>
                <a:ext cx="579213" cy="427927"/>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sp>
        <p:nvSpPr>
          <p:cNvPr id="21" name="Rectangle 20"/>
          <p:cNvSpPr/>
          <p:nvPr/>
        </p:nvSpPr>
        <p:spPr>
          <a:xfrm>
            <a:off x="1099624" y="805952"/>
            <a:ext cx="8044376" cy="1285884"/>
          </a:xfrm>
          <a:prstGeom prst="rect">
            <a:avLst/>
          </a:prstGeom>
          <a:noFill/>
        </p:spPr>
        <p:txBody>
          <a:bodyPr wrap="none" lIns="91440" tIns="45720" rIns="91440" bIns="45720">
            <a:prstTxWarp prst="textArchUp">
              <a:avLst/>
            </a:prstTxWarp>
            <a:spAutoFit/>
          </a:bodyPr>
          <a:lstStyle/>
          <a:p>
            <a:pPr algn="ctr"/>
            <a:r>
              <a:rPr lang="en-US" sz="3200" b="1" dirty="0" err="1"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Penggunaan</a:t>
            </a:r>
            <a:r>
              <a:rPr lang="en-US" sz="3200" b="1"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 1 </a:t>
            </a:r>
            <a:r>
              <a:rPr lang="en-US" sz="3200" b="1" dirty="0" err="1"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Kaedah</a:t>
            </a:r>
            <a:r>
              <a:rPr lang="en-US" sz="3200" b="1"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 </a:t>
            </a:r>
            <a:r>
              <a:rPr lang="en-US" sz="3200" b="1" dirty="0" err="1"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Penilaian</a:t>
            </a:r>
            <a:endParaRPr lang="en-US" sz="3200" b="1"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endParaRPr>
          </a:p>
        </p:txBody>
      </p:sp>
      <p:sp>
        <p:nvSpPr>
          <p:cNvPr id="7" name="Footer Placeholder 6"/>
          <p:cNvSpPr>
            <a:spLocks noGrp="1"/>
          </p:cNvSpPr>
          <p:nvPr>
            <p:ph type="ftr" sz="quarter" idx="11"/>
          </p:nvPr>
        </p:nvSpPr>
        <p:spPr/>
        <p:txBody>
          <a:bodyPr/>
          <a:lstStyle/>
          <a:p>
            <a:r>
              <a:rPr lang="en-US" smtClean="0"/>
              <a:t>GURU (SEKOLAH)</a:t>
            </a:r>
            <a:endParaRPr lang="en-US"/>
          </a:p>
        </p:txBody>
      </p:sp>
      <p:sp>
        <p:nvSpPr>
          <p:cNvPr id="22" name="Slide Number Placeholder 21"/>
          <p:cNvSpPr>
            <a:spLocks noGrp="1"/>
          </p:cNvSpPr>
          <p:nvPr>
            <p:ph type="sldNum" sz="quarter" idx="12"/>
          </p:nvPr>
        </p:nvSpPr>
        <p:spPr/>
        <p:txBody>
          <a:bodyPr/>
          <a:lstStyle/>
          <a:p>
            <a:fld id="{4D86EDED-B1AF-7E4B-94C9-3F0EAA36C7D5}" type="slidenum">
              <a:rPr lang="en-US" smtClean="0"/>
              <a:pPr/>
              <a:t>69</a:t>
            </a:fld>
            <a:endParaRPr lang="en-US"/>
          </a:p>
        </p:txBody>
      </p:sp>
      <p:pic>
        <p:nvPicPr>
          <p:cNvPr id="49154" name="Picture 2"/>
          <p:cNvPicPr>
            <a:picLocks noChangeAspect="1" noChangeArrowheads="1"/>
          </p:cNvPicPr>
          <p:nvPr/>
        </p:nvPicPr>
        <p:blipFill>
          <a:blip r:embed="rId5"/>
          <a:srcRect l="3441" t="6293" r="23064" b="19408"/>
          <a:stretch>
            <a:fillRect/>
          </a:stretch>
        </p:blipFill>
        <p:spPr bwMode="auto">
          <a:xfrm>
            <a:off x="656470" y="1324851"/>
            <a:ext cx="8116419" cy="465994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1928802"/>
            <a:ext cx="9144000" cy="2857520"/>
          </a:xfrm>
          <a:prstGeom prst="rect">
            <a:avLst/>
          </a:prstGeom>
          <a:solidFill>
            <a:schemeClr val="bg1">
              <a:lumMod val="85000"/>
              <a:alpha val="54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Rectangle 4"/>
          <p:cNvSpPr/>
          <p:nvPr/>
        </p:nvSpPr>
        <p:spPr>
          <a:xfrm>
            <a:off x="2500298" y="1571612"/>
            <a:ext cx="5786478" cy="3943049"/>
          </a:xfrm>
          <a:prstGeom prst="rect">
            <a:avLst/>
          </a:prstGeom>
          <a:solidFill>
            <a:srgbClr val="0070C0"/>
          </a:solidFill>
          <a:ln>
            <a:noFill/>
          </a:ln>
          <a:scene3d>
            <a:camera prst="perspectiveContrastingRightFacing" fov="6300000">
              <a:rot lat="217483" lon="20703214" rev="101563"/>
            </a:camera>
            <a:lightRig rig="balanced" dir="t">
              <a:rot lat="0" lon="0" rev="10800000"/>
            </a:lightRig>
          </a:scene3d>
          <a:sp3d extrusionH="3810000" prstMaterial="plastic">
            <a:bevelT w="0" h="0"/>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0" dirty="0" smtClean="0">
                <a:ln w="18415" cmpd="sng">
                  <a:solidFill>
                    <a:srgbClr val="FFFFFF"/>
                  </a:solidFill>
                  <a:prstDash val="solid"/>
                </a:ln>
                <a:solidFill>
                  <a:srgbClr val="FF0000"/>
                </a:solidFill>
                <a:effectLst>
                  <a:outerShdw blurRad="63500" dir="3600000" algn="tl" rotWithShape="0">
                    <a:srgbClr val="000000">
                      <a:alpha val="70000"/>
                    </a:srgbClr>
                  </a:outerShdw>
                </a:effectLst>
                <a:latin typeface="Rockwell" pitchFamily="18" charset="0"/>
              </a:rPr>
              <a:t>PBPPP</a:t>
            </a:r>
          </a:p>
          <a:p>
            <a:pPr algn="ctr"/>
            <a:r>
              <a:rPr lang="en-US" sz="4000" dirty="0" err="1" smtClean="0">
                <a:solidFill>
                  <a:schemeClr val="bg1"/>
                </a:solidFill>
                <a:effectLst>
                  <a:outerShdw blurRad="38100" dist="38100" dir="2700000" algn="tl">
                    <a:srgbClr val="000000">
                      <a:alpha val="43137"/>
                    </a:srgbClr>
                  </a:outerShdw>
                </a:effectLst>
                <a:latin typeface="Arial" pitchFamily="34" charset="0"/>
                <a:cs typeface="Arial" pitchFamily="34" charset="0"/>
              </a:rPr>
              <a:t>menggantikan</a:t>
            </a:r>
            <a:r>
              <a:rPr lang="en-US" sz="4000" dirty="0" smtClean="0">
                <a:solidFill>
                  <a:schemeClr val="bg1"/>
                </a:solidFill>
                <a:effectLst>
                  <a:outerShdw blurRad="38100" dist="38100" dir="2700000" algn="tl">
                    <a:srgbClr val="000000">
                      <a:alpha val="43137"/>
                    </a:srgbClr>
                  </a:outerShdw>
                </a:effectLst>
                <a:latin typeface="Arial" pitchFamily="34" charset="0"/>
                <a:cs typeface="Arial" pitchFamily="34" charset="0"/>
              </a:rPr>
              <a:t> </a:t>
            </a:r>
            <a:r>
              <a:rPr lang="en-US" sz="4000" dirty="0" err="1" smtClean="0">
                <a:solidFill>
                  <a:schemeClr val="bg1"/>
                </a:solidFill>
                <a:effectLst>
                  <a:outerShdw blurRad="38100" dist="38100" dir="2700000" algn="tl">
                    <a:srgbClr val="000000">
                      <a:alpha val="43137"/>
                    </a:srgbClr>
                  </a:outerShdw>
                </a:effectLst>
                <a:latin typeface="Arial" pitchFamily="34" charset="0"/>
                <a:cs typeface="Arial" pitchFamily="34" charset="0"/>
              </a:rPr>
              <a:t>penilaian</a:t>
            </a:r>
            <a:r>
              <a:rPr lang="en-US" sz="4000" dirty="0" smtClean="0">
                <a:solidFill>
                  <a:schemeClr val="bg1"/>
                </a:solidFill>
                <a:effectLst>
                  <a:outerShdw blurRad="38100" dist="38100" dir="2700000" algn="tl">
                    <a:srgbClr val="000000">
                      <a:alpha val="43137"/>
                    </a:srgbClr>
                  </a:outerShdw>
                </a:effectLst>
                <a:latin typeface="Arial" pitchFamily="34" charset="0"/>
                <a:cs typeface="Arial" pitchFamily="34" charset="0"/>
              </a:rPr>
              <a:t> </a:t>
            </a:r>
            <a:r>
              <a:rPr lang="en-US" sz="4000" dirty="0" err="1" smtClean="0">
                <a:solidFill>
                  <a:schemeClr val="bg1"/>
                </a:solidFill>
                <a:effectLst>
                  <a:outerShdw blurRad="38100" dist="38100" dir="2700000" algn="tl">
                    <a:srgbClr val="000000">
                      <a:alpha val="43137"/>
                    </a:srgbClr>
                  </a:outerShdw>
                </a:effectLst>
                <a:latin typeface="Arial" pitchFamily="34" charset="0"/>
                <a:cs typeface="Arial" pitchFamily="34" charset="0"/>
              </a:rPr>
              <a:t>sedia</a:t>
            </a:r>
            <a:r>
              <a:rPr lang="en-US" sz="4000" dirty="0" smtClean="0">
                <a:solidFill>
                  <a:schemeClr val="bg1"/>
                </a:solidFill>
                <a:effectLst>
                  <a:outerShdw blurRad="38100" dist="38100" dir="2700000" algn="tl">
                    <a:srgbClr val="000000">
                      <a:alpha val="43137"/>
                    </a:srgbClr>
                  </a:outerShdw>
                </a:effectLst>
                <a:latin typeface="Arial" pitchFamily="34" charset="0"/>
                <a:cs typeface="Arial" pitchFamily="34" charset="0"/>
              </a:rPr>
              <a:t> </a:t>
            </a:r>
            <a:r>
              <a:rPr lang="en-US" sz="4000" dirty="0" err="1" smtClean="0">
                <a:solidFill>
                  <a:schemeClr val="bg1"/>
                </a:solidFill>
                <a:effectLst>
                  <a:outerShdw blurRad="38100" dist="38100" dir="2700000" algn="tl">
                    <a:srgbClr val="000000">
                      <a:alpha val="43137"/>
                    </a:srgbClr>
                  </a:outerShdw>
                </a:effectLst>
                <a:latin typeface="Arial" pitchFamily="34" charset="0"/>
                <a:cs typeface="Arial" pitchFamily="34" charset="0"/>
              </a:rPr>
              <a:t>ada</a:t>
            </a:r>
            <a:r>
              <a:rPr lang="en-US" sz="4000" dirty="0" smtClean="0">
                <a:solidFill>
                  <a:schemeClr val="bg1"/>
                </a:solidFill>
                <a:effectLst>
                  <a:outerShdw blurRad="38100" dist="38100" dir="2700000" algn="tl">
                    <a:srgbClr val="000000">
                      <a:alpha val="43137"/>
                    </a:srgbClr>
                  </a:outerShdw>
                </a:effectLst>
                <a:latin typeface="Arial" pitchFamily="34" charset="0"/>
                <a:cs typeface="Arial" pitchFamily="34" charset="0"/>
              </a:rPr>
              <a:t> di KPM</a:t>
            </a:r>
          </a:p>
          <a:p>
            <a:pPr algn="ctr"/>
            <a:endParaRPr lang="en-US" sz="4000" dirty="0" smtClean="0">
              <a:solidFill>
                <a:schemeClr val="bg1"/>
              </a:solidFill>
              <a:effectLst>
                <a:outerShdw blurRad="38100" dist="38100" dir="2700000" algn="tl">
                  <a:srgbClr val="000000">
                    <a:alpha val="43137"/>
                  </a:srgbClr>
                </a:outerShdw>
              </a:effectLst>
              <a:latin typeface="Arial" pitchFamily="34" charset="0"/>
              <a:cs typeface="Arial" pitchFamily="34" charset="0"/>
            </a:endParaRPr>
          </a:p>
          <a:p>
            <a:pPr algn="ctr"/>
            <a:endParaRPr lang="en-US" sz="2400" dirty="0">
              <a:solidFill>
                <a:schemeClr val="bg1"/>
              </a:solidFill>
            </a:endParaRPr>
          </a:p>
        </p:txBody>
      </p:sp>
      <p:sp>
        <p:nvSpPr>
          <p:cNvPr id="19" name="Footer Placeholder 3"/>
          <p:cNvSpPr>
            <a:spLocks noGrp="1"/>
          </p:cNvSpPr>
          <p:nvPr>
            <p:ph type="ftr" sz="quarter" idx="11"/>
          </p:nvPr>
        </p:nvSpPr>
        <p:spPr>
          <a:xfrm>
            <a:off x="3290958" y="6382384"/>
            <a:ext cx="4958521" cy="365125"/>
          </a:xfrm>
        </p:spPr>
        <p:txBody>
          <a:bodyPr/>
          <a:lstStyle/>
          <a:p>
            <a:r>
              <a:rPr lang="en-US" smtClean="0"/>
              <a:t>GURU (SEKOLAH)</a:t>
            </a:r>
            <a:endParaRPr lang="en-US"/>
          </a:p>
        </p:txBody>
      </p:sp>
      <p:sp>
        <p:nvSpPr>
          <p:cNvPr id="22" name="Slide Number Placeholder 4"/>
          <p:cNvSpPr>
            <a:spLocks noGrp="1"/>
          </p:cNvSpPr>
          <p:nvPr>
            <p:ph type="sldNum" sz="quarter" idx="12"/>
          </p:nvPr>
        </p:nvSpPr>
        <p:spPr>
          <a:xfrm>
            <a:off x="6553200" y="6371341"/>
            <a:ext cx="2133600" cy="365125"/>
          </a:xfrm>
        </p:spPr>
        <p:txBody>
          <a:bodyPr/>
          <a:lstStyle/>
          <a:p>
            <a:fld id="{4D86EDED-B1AF-7E4B-94C9-3F0EAA36C7D5}" type="slidenum">
              <a:rPr lang="en-US" smtClean="0"/>
              <a:pPr/>
              <a:t>7</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5"/>
                                        </p:tgtEl>
                                        <p:attrNameLst>
                                          <p:attrName>style.visibility</p:attrName>
                                        </p:attrNameLst>
                                      </p:cBhvr>
                                      <p:to>
                                        <p:strVal val="visible"/>
                                      </p:to>
                                    </p:set>
                                    <p:anim calcmode="discrete" valueType="clr">
                                      <p:cBhvr override="childStyle">
                                        <p:cTn id="7" dur="80"/>
                                        <p:tgtEl>
                                          <p:spTgt spid="5"/>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5"/>
                                        </p:tgtEl>
                                        <p:attrNameLst>
                                          <p:attrName>fillcolor</p:attrName>
                                        </p:attrNameLst>
                                      </p:cBhvr>
                                      <p:tavLst>
                                        <p:tav tm="0">
                                          <p:val>
                                            <p:clrVal>
                                              <a:schemeClr val="accent2"/>
                                            </p:clrVal>
                                          </p:val>
                                        </p:tav>
                                        <p:tav tm="50000">
                                          <p:val>
                                            <p:clrVal>
                                              <a:schemeClr val="hlink"/>
                                            </p:clrVal>
                                          </p:val>
                                        </p:tav>
                                      </p:tavLst>
                                    </p:anim>
                                    <p:set>
                                      <p:cBhvr>
                                        <p:cTn id="9" dur="80"/>
                                        <p:tgtEl>
                                          <p:spTgt spid="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6"/>
          <p:cNvSpPr>
            <a:spLocks/>
          </p:cNvSpPr>
          <p:nvPr>
            <p:custDataLst>
              <p:tags r:id="rId1"/>
            </p:custDataLst>
          </p:nvPr>
        </p:nvSpPr>
        <p:spPr bwMode="gray">
          <a:xfrm flipH="1">
            <a:off x="488028" y="1464897"/>
            <a:ext cx="8198772" cy="4891454"/>
          </a:xfrm>
          <a:custGeom>
            <a:avLst/>
            <a:gdLst/>
            <a:ahLst/>
            <a:cxnLst>
              <a:cxn ang="0">
                <a:pos x="0" y="0"/>
              </a:cxn>
              <a:cxn ang="0">
                <a:pos x="0" y="3198"/>
              </a:cxn>
              <a:cxn ang="0">
                <a:pos x="228" y="3300"/>
              </a:cxn>
              <a:cxn ang="0">
                <a:pos x="558" y="3222"/>
              </a:cxn>
              <a:cxn ang="0">
                <a:pos x="762" y="3312"/>
              </a:cxn>
              <a:cxn ang="0">
                <a:pos x="1104" y="3240"/>
              </a:cxn>
              <a:cxn ang="0">
                <a:pos x="1440" y="3366"/>
              </a:cxn>
              <a:cxn ang="0">
                <a:pos x="1710" y="3270"/>
              </a:cxn>
              <a:cxn ang="0">
                <a:pos x="1758" y="3312"/>
              </a:cxn>
              <a:cxn ang="0">
                <a:pos x="2028" y="3204"/>
              </a:cxn>
              <a:cxn ang="0">
                <a:pos x="2214" y="3288"/>
              </a:cxn>
              <a:cxn ang="0">
                <a:pos x="2490" y="3228"/>
              </a:cxn>
              <a:cxn ang="0">
                <a:pos x="2598" y="3246"/>
              </a:cxn>
              <a:cxn ang="0">
                <a:pos x="2694" y="3264"/>
              </a:cxn>
              <a:cxn ang="0">
                <a:pos x="2904" y="3228"/>
              </a:cxn>
              <a:cxn ang="0">
                <a:pos x="3060" y="3294"/>
              </a:cxn>
              <a:cxn ang="0">
                <a:pos x="3096" y="3306"/>
              </a:cxn>
              <a:cxn ang="0">
                <a:pos x="3330" y="3180"/>
              </a:cxn>
              <a:cxn ang="0">
                <a:pos x="3648" y="3276"/>
              </a:cxn>
              <a:cxn ang="0">
                <a:pos x="3960" y="3246"/>
              </a:cxn>
              <a:cxn ang="0">
                <a:pos x="4056" y="3336"/>
              </a:cxn>
              <a:cxn ang="0">
                <a:pos x="4200" y="3174"/>
              </a:cxn>
              <a:cxn ang="0">
                <a:pos x="4398" y="3270"/>
              </a:cxn>
              <a:cxn ang="0">
                <a:pos x="4530" y="3144"/>
              </a:cxn>
              <a:cxn ang="0">
                <a:pos x="4530" y="0"/>
              </a:cxn>
              <a:cxn ang="0">
                <a:pos x="0" y="0"/>
              </a:cxn>
            </a:cxnLst>
            <a:rect l="0" t="0" r="r" b="b"/>
            <a:pathLst>
              <a:path w="4530" h="3366">
                <a:moveTo>
                  <a:pt x="0" y="0"/>
                </a:moveTo>
                <a:lnTo>
                  <a:pt x="0" y="3198"/>
                </a:lnTo>
                <a:lnTo>
                  <a:pt x="228" y="3300"/>
                </a:lnTo>
                <a:lnTo>
                  <a:pt x="558" y="3222"/>
                </a:lnTo>
                <a:lnTo>
                  <a:pt x="762" y="3312"/>
                </a:lnTo>
                <a:lnTo>
                  <a:pt x="1104" y="3240"/>
                </a:lnTo>
                <a:lnTo>
                  <a:pt x="1440" y="3366"/>
                </a:lnTo>
                <a:lnTo>
                  <a:pt x="1710" y="3270"/>
                </a:lnTo>
                <a:lnTo>
                  <a:pt x="1758" y="3312"/>
                </a:lnTo>
                <a:lnTo>
                  <a:pt x="2028" y="3204"/>
                </a:lnTo>
                <a:lnTo>
                  <a:pt x="2214" y="3288"/>
                </a:lnTo>
                <a:cubicBezTo>
                  <a:pt x="2419" y="3182"/>
                  <a:pt x="2311" y="3194"/>
                  <a:pt x="2490" y="3228"/>
                </a:cubicBezTo>
                <a:cubicBezTo>
                  <a:pt x="2526" y="3235"/>
                  <a:pt x="2562" y="3240"/>
                  <a:pt x="2598" y="3246"/>
                </a:cubicBezTo>
                <a:cubicBezTo>
                  <a:pt x="2630" y="3252"/>
                  <a:pt x="2694" y="3264"/>
                  <a:pt x="2694" y="3264"/>
                </a:cubicBezTo>
                <a:lnTo>
                  <a:pt x="2904" y="3228"/>
                </a:lnTo>
                <a:lnTo>
                  <a:pt x="3060" y="3294"/>
                </a:lnTo>
                <a:lnTo>
                  <a:pt x="3096" y="3306"/>
                </a:lnTo>
                <a:lnTo>
                  <a:pt x="3330" y="3180"/>
                </a:lnTo>
                <a:lnTo>
                  <a:pt x="3648" y="3276"/>
                </a:lnTo>
                <a:lnTo>
                  <a:pt x="3960" y="3246"/>
                </a:lnTo>
                <a:lnTo>
                  <a:pt x="4056" y="3336"/>
                </a:lnTo>
                <a:lnTo>
                  <a:pt x="4200" y="3174"/>
                </a:lnTo>
                <a:lnTo>
                  <a:pt x="4398" y="3270"/>
                </a:lnTo>
                <a:lnTo>
                  <a:pt x="4530" y="3144"/>
                </a:lnTo>
                <a:lnTo>
                  <a:pt x="4530" y="0"/>
                </a:lnTo>
                <a:lnTo>
                  <a:pt x="0" y="0"/>
                </a:lnTo>
                <a:close/>
              </a:path>
            </a:pathLst>
          </a:custGeom>
          <a:solidFill>
            <a:srgbClr val="E8ECEA">
              <a:alpha val="16000"/>
            </a:srgbClr>
          </a:solidFill>
          <a:ln w="9525">
            <a:solidFill>
              <a:schemeClr val="tx1"/>
            </a:solidFill>
            <a:round/>
            <a:headEnd/>
            <a:tailEnd/>
          </a:ln>
          <a:effectLst>
            <a:outerShdw dist="107763" dir="2700000" algn="ctr" rotWithShape="0">
              <a:srgbClr val="D5DDD9">
                <a:alpha val="50000"/>
              </a:srgbClr>
            </a:outerShdw>
          </a:effectLst>
        </p:spPr>
        <p:txBody>
          <a:bodyPr/>
          <a:lstStyle/>
          <a:p>
            <a:pPr fontAlgn="auto">
              <a:spcBef>
                <a:spcPts val="0"/>
              </a:spcBef>
              <a:spcAft>
                <a:spcPts val="0"/>
              </a:spcAft>
              <a:defRPr/>
            </a:pPr>
            <a:endParaRPr lang="en-US" sz="1600" b="1">
              <a:latin typeface="Arial" charset="0"/>
              <a:cs typeface="Arial" charset="0"/>
            </a:endParaRPr>
          </a:p>
        </p:txBody>
      </p:sp>
      <p:pic>
        <p:nvPicPr>
          <p:cNvPr id="50178" name="Picture 2"/>
          <p:cNvPicPr>
            <a:picLocks noChangeAspect="1" noChangeArrowheads="1"/>
          </p:cNvPicPr>
          <p:nvPr/>
        </p:nvPicPr>
        <p:blipFill>
          <a:blip r:embed="rId4"/>
          <a:srcRect l="3441" t="7127" r="22879" b="23594"/>
          <a:stretch>
            <a:fillRect/>
          </a:stretch>
        </p:blipFill>
        <p:spPr bwMode="auto">
          <a:xfrm>
            <a:off x="488028" y="1495677"/>
            <a:ext cx="8198772" cy="4471986"/>
          </a:xfrm>
          <a:prstGeom prst="rect">
            <a:avLst/>
          </a:prstGeom>
          <a:noFill/>
          <a:ln w="9525">
            <a:noFill/>
            <a:miter lim="800000"/>
            <a:headEnd/>
            <a:tailEnd/>
          </a:ln>
        </p:spPr>
      </p:pic>
      <p:sp>
        <p:nvSpPr>
          <p:cNvPr id="5" name="TextBox 4"/>
          <p:cNvSpPr txBox="1"/>
          <p:nvPr/>
        </p:nvSpPr>
        <p:spPr>
          <a:xfrm rot="20740702">
            <a:off x="136525" y="587375"/>
            <a:ext cx="1335088" cy="400050"/>
          </a:xfrm>
          <a:prstGeom prst="rect">
            <a:avLst/>
          </a:prstGeom>
        </p:spPr>
        <p:style>
          <a:lnRef idx="2">
            <a:schemeClr val="accent3"/>
          </a:lnRef>
          <a:fillRef idx="1">
            <a:schemeClr val="lt1"/>
          </a:fillRef>
          <a:effectRef idx="0">
            <a:schemeClr val="accent3"/>
          </a:effectRef>
          <a:fontRef idx="minor">
            <a:schemeClr val="dk1"/>
          </a:fontRef>
        </p:style>
        <p:txBody>
          <a:bodyPr>
            <a:spAutoFit/>
          </a:bodyPr>
          <a:lstStyle/>
          <a:p>
            <a:pPr algn="ctr">
              <a:defRPr/>
            </a:pPr>
            <a:r>
              <a:rPr lang="en-US" sz="2000" b="1">
                <a:solidFill>
                  <a:schemeClr val="accent1">
                    <a:lumMod val="75000"/>
                  </a:schemeClr>
                </a:solidFill>
                <a:latin typeface="Segoe UI Light"/>
                <a:cs typeface="Segoe UI Light"/>
              </a:rPr>
              <a:t>CONTOH</a:t>
            </a:r>
            <a:endParaRPr lang="en-US" sz="2400" b="1" dirty="0">
              <a:solidFill>
                <a:schemeClr val="accent1">
                  <a:lumMod val="75000"/>
                </a:schemeClr>
              </a:solidFill>
              <a:latin typeface="Segoe UI Light"/>
              <a:cs typeface="Segoe UI Light"/>
            </a:endParaRPr>
          </a:p>
        </p:txBody>
      </p:sp>
      <p:grpSp>
        <p:nvGrpSpPr>
          <p:cNvPr id="2" name="Groupe 1"/>
          <p:cNvGrpSpPr>
            <a:grpSpLocks/>
          </p:cNvGrpSpPr>
          <p:nvPr/>
        </p:nvGrpSpPr>
        <p:grpSpPr bwMode="auto">
          <a:xfrm>
            <a:off x="0" y="357188"/>
            <a:ext cx="484188" cy="554037"/>
            <a:chOff x="4985896" y="2380134"/>
            <a:chExt cx="2154390" cy="2715410"/>
          </a:xfrm>
        </p:grpSpPr>
        <p:grpSp>
          <p:nvGrpSpPr>
            <p:cNvPr id="4" name="Groupe 33"/>
            <p:cNvGrpSpPr/>
            <p:nvPr/>
          </p:nvGrpSpPr>
          <p:grpSpPr>
            <a:xfrm rot="14400000">
              <a:off x="5523996" y="3741353"/>
              <a:ext cx="816091" cy="1892292"/>
              <a:chOff x="6324195" y="2380134"/>
              <a:chExt cx="816091" cy="1892292"/>
            </a:xfrm>
            <a:gradFill flip="none" rotWithShape="1">
              <a:gsLst>
                <a:gs pos="0">
                  <a:srgbClr val="BEC6D4"/>
                </a:gs>
                <a:gs pos="50000">
                  <a:schemeClr val="accent1">
                    <a:lumMod val="40000"/>
                    <a:lumOff val="60000"/>
                    <a:tint val="44500"/>
                    <a:satMod val="160000"/>
                  </a:schemeClr>
                </a:gs>
                <a:gs pos="100000">
                  <a:schemeClr val="accent1">
                    <a:lumMod val="40000"/>
                    <a:lumOff val="60000"/>
                    <a:tint val="23500"/>
                    <a:satMod val="160000"/>
                  </a:schemeClr>
                </a:gs>
              </a:gsLst>
              <a:lin ang="16200000" scaled="1"/>
              <a:tileRect/>
            </a:gradFill>
          </p:grpSpPr>
          <p:sp>
            <p:nvSpPr>
              <p:cNvPr id="16" name="Rectangle 11"/>
              <p:cNvSpPr/>
              <p:nvPr/>
            </p:nvSpPr>
            <p:spPr>
              <a:xfrm>
                <a:off x="6680166" y="3333369"/>
                <a:ext cx="105362" cy="939057"/>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7" name="Ellipse 35"/>
              <p:cNvSpPr/>
              <p:nvPr/>
            </p:nvSpPr>
            <p:spPr>
              <a:xfrm>
                <a:off x="6324195" y="2969949"/>
                <a:ext cx="816091" cy="70207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8" name="Ellipse 36"/>
              <p:cNvSpPr/>
              <p:nvPr/>
            </p:nvSpPr>
            <p:spPr>
              <a:xfrm rot="1800000">
                <a:off x="6343308" y="3036225"/>
                <a:ext cx="647605" cy="59391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9" name="Trapèze 10"/>
              <p:cNvSpPr/>
              <p:nvPr/>
            </p:nvSpPr>
            <p:spPr>
              <a:xfrm>
                <a:off x="6488604" y="2632162"/>
                <a:ext cx="487272" cy="765707"/>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0" name="Ellipse 39"/>
              <p:cNvSpPr/>
              <p:nvPr/>
            </p:nvSpPr>
            <p:spPr>
              <a:xfrm>
                <a:off x="6444208" y="2380134"/>
                <a:ext cx="576064" cy="50405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1" name="Ellipse 40"/>
              <p:cNvSpPr/>
              <p:nvPr/>
            </p:nvSpPr>
            <p:spPr>
              <a:xfrm>
                <a:off x="6444208" y="2380134"/>
                <a:ext cx="576064" cy="43204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nvGrpSpPr>
            <p:cNvPr id="6" name="Groupe 25"/>
            <p:cNvGrpSpPr>
              <a:grpSpLocks/>
            </p:cNvGrpSpPr>
            <p:nvPr/>
          </p:nvGrpSpPr>
          <p:grpSpPr bwMode="auto">
            <a:xfrm>
              <a:off x="6320911" y="2380134"/>
              <a:ext cx="819375" cy="1890669"/>
              <a:chOff x="6320911" y="2380134"/>
              <a:chExt cx="819375" cy="1890669"/>
            </a:xfrm>
          </p:grpSpPr>
          <p:sp>
            <p:nvSpPr>
              <p:cNvPr id="9" name="Rectangle 11"/>
              <p:cNvSpPr/>
              <p:nvPr/>
            </p:nvSpPr>
            <p:spPr>
              <a:xfrm>
                <a:off x="6681151" y="3329360"/>
                <a:ext cx="105956" cy="941443"/>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adFill flip="none" rotWithShape="1">
                <a:gsLst>
                  <a:gs pos="0">
                    <a:srgbClr val="FFFFFF"/>
                  </a:gs>
                  <a:gs pos="7001">
                    <a:srgbClr val="E6E6E6"/>
                  </a:gs>
                  <a:gs pos="32001">
                    <a:srgbClr val="7D8496"/>
                  </a:gs>
                  <a:gs pos="47000">
                    <a:srgbClr val="E6E6E6"/>
                  </a:gs>
                  <a:gs pos="85001">
                    <a:srgbClr val="7D8496"/>
                  </a:gs>
                  <a:gs pos="100000">
                    <a:srgbClr val="E6E6E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0" name="Ellipse 12"/>
              <p:cNvSpPr/>
              <p:nvPr/>
            </p:nvSpPr>
            <p:spPr>
              <a:xfrm>
                <a:off x="6320911" y="2971455"/>
                <a:ext cx="819375" cy="700249"/>
              </a:xfrm>
              <a:prstGeom prst="ellipse">
                <a:avLst/>
              </a:prstGeom>
              <a:gradFill flip="none" rotWithShape="1">
                <a:gsLst>
                  <a:gs pos="0">
                    <a:srgbClr val="004D86"/>
                  </a:gs>
                  <a:gs pos="100000">
                    <a:srgbClr val="00B0F0"/>
                  </a:gs>
                </a:gsLst>
                <a:lin ang="2700000" scaled="1"/>
                <a:tileRect/>
              </a:gra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1" name="Ellipse 13"/>
              <p:cNvSpPr/>
              <p:nvPr/>
            </p:nvSpPr>
            <p:spPr>
              <a:xfrm rot="1800000">
                <a:off x="6342100" y="3033700"/>
                <a:ext cx="649849" cy="599099"/>
              </a:xfrm>
              <a:prstGeom prst="ellipse">
                <a:avLst/>
              </a:prstGeom>
              <a:gradFill flip="none" rotWithShape="1">
                <a:gsLst>
                  <a:gs pos="68350">
                    <a:srgbClr val="0091CF"/>
                  </a:gs>
                  <a:gs pos="36700">
                    <a:srgbClr val="0071AD"/>
                  </a:gs>
                  <a:gs pos="0">
                    <a:srgbClr val="004D86"/>
                  </a:gs>
                  <a:gs pos="100000">
                    <a:srgbClr val="00B0F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pic>
            <p:nvPicPr>
              <p:cNvPr id="12" name="Picture 5"/>
              <p:cNvPicPr>
                <a:picLocks noChangeAspect="1" noChangeArrowheads="1"/>
              </p:cNvPicPr>
              <p:nvPr/>
            </p:nvPicPr>
            <p:blipFill>
              <a:blip r:embed="rId5" cstate="print"/>
              <a:srcRect l="23138" t="19901" r="24571" b="27188"/>
              <a:stretch>
                <a:fillRect/>
              </a:stretch>
            </p:blipFill>
            <p:spPr bwMode="auto">
              <a:xfrm rot="-1835306">
                <a:off x="6730129" y="3272365"/>
                <a:ext cx="385960" cy="294981"/>
              </a:xfrm>
              <a:prstGeom prst="rect">
                <a:avLst/>
              </a:prstGeom>
              <a:noFill/>
              <a:ln w="9525">
                <a:noFill/>
                <a:miter lim="800000"/>
                <a:headEnd/>
                <a:tailEnd/>
              </a:ln>
            </p:spPr>
          </p:pic>
          <p:sp>
            <p:nvSpPr>
              <p:cNvPr id="13" name="Trapèze 10"/>
              <p:cNvSpPr/>
              <p:nvPr/>
            </p:nvSpPr>
            <p:spPr>
              <a:xfrm>
                <a:off x="6483371" y="2629111"/>
                <a:ext cx="494450" cy="770271"/>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4" name="Ellipse 7"/>
              <p:cNvSpPr/>
              <p:nvPr/>
            </p:nvSpPr>
            <p:spPr>
              <a:xfrm>
                <a:off x="6440990" y="2380134"/>
                <a:ext cx="579213" cy="505733"/>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81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5" name="Ellipse 5"/>
              <p:cNvSpPr/>
              <p:nvPr/>
            </p:nvSpPr>
            <p:spPr>
              <a:xfrm>
                <a:off x="6440990" y="2380134"/>
                <a:ext cx="579213" cy="427927"/>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sp>
        <p:nvSpPr>
          <p:cNvPr id="22" name="Rectangle 21"/>
          <p:cNvSpPr/>
          <p:nvPr/>
        </p:nvSpPr>
        <p:spPr>
          <a:xfrm>
            <a:off x="1099624" y="821632"/>
            <a:ext cx="8044376" cy="1285884"/>
          </a:xfrm>
          <a:prstGeom prst="rect">
            <a:avLst/>
          </a:prstGeom>
          <a:noFill/>
        </p:spPr>
        <p:txBody>
          <a:bodyPr wrap="none" lIns="91440" tIns="45720" rIns="91440" bIns="45720">
            <a:prstTxWarp prst="textArchUp">
              <a:avLst/>
            </a:prstTxWarp>
            <a:spAutoFit/>
          </a:bodyPr>
          <a:lstStyle/>
          <a:p>
            <a:pPr algn="ctr"/>
            <a:r>
              <a:rPr lang="en-US" sz="3200" b="1" dirty="0" err="1"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Penggunaan</a:t>
            </a:r>
            <a:r>
              <a:rPr lang="en-US" sz="3200" b="1"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 2 </a:t>
            </a:r>
            <a:r>
              <a:rPr lang="en-US" sz="3200" b="1" dirty="0" err="1"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Kaedah</a:t>
            </a:r>
            <a:r>
              <a:rPr lang="en-US" sz="3200" b="1"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 </a:t>
            </a:r>
            <a:r>
              <a:rPr lang="en-US" sz="3200" b="1" dirty="0" err="1"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Penilaian</a:t>
            </a:r>
            <a:endParaRPr lang="en-US" sz="3200" b="1"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endParaRPr>
          </a:p>
        </p:txBody>
      </p:sp>
      <p:sp>
        <p:nvSpPr>
          <p:cNvPr id="7" name="Footer Placeholder 6"/>
          <p:cNvSpPr>
            <a:spLocks noGrp="1"/>
          </p:cNvSpPr>
          <p:nvPr>
            <p:ph type="ftr" sz="quarter" idx="11"/>
          </p:nvPr>
        </p:nvSpPr>
        <p:spPr/>
        <p:txBody>
          <a:bodyPr/>
          <a:lstStyle/>
          <a:p>
            <a:r>
              <a:rPr lang="en-US" smtClean="0"/>
              <a:t>GURU (SEKOLAH)</a:t>
            </a:r>
            <a:endParaRPr lang="en-US"/>
          </a:p>
        </p:txBody>
      </p:sp>
      <p:sp>
        <p:nvSpPr>
          <p:cNvPr id="8" name="Slide Number Placeholder 7"/>
          <p:cNvSpPr>
            <a:spLocks noGrp="1"/>
          </p:cNvSpPr>
          <p:nvPr>
            <p:ph type="sldNum" sz="quarter" idx="12"/>
          </p:nvPr>
        </p:nvSpPr>
        <p:spPr/>
        <p:txBody>
          <a:bodyPr/>
          <a:lstStyle/>
          <a:p>
            <a:fld id="{4D86EDED-B1AF-7E4B-94C9-3F0EAA36C7D5}" type="slidenum">
              <a:rPr lang="en-US" smtClean="0"/>
              <a:pPr/>
              <a:t>70</a:t>
            </a:fld>
            <a:endParaRPr lang="en-US"/>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6"/>
          <p:cNvSpPr>
            <a:spLocks/>
          </p:cNvSpPr>
          <p:nvPr>
            <p:custDataLst>
              <p:tags r:id="rId1"/>
            </p:custDataLst>
          </p:nvPr>
        </p:nvSpPr>
        <p:spPr bwMode="gray">
          <a:xfrm flipH="1">
            <a:off x="179512" y="1240642"/>
            <a:ext cx="8784976" cy="5126752"/>
          </a:xfrm>
          <a:custGeom>
            <a:avLst/>
            <a:gdLst/>
            <a:ahLst/>
            <a:cxnLst>
              <a:cxn ang="0">
                <a:pos x="0" y="0"/>
              </a:cxn>
              <a:cxn ang="0">
                <a:pos x="0" y="3198"/>
              </a:cxn>
              <a:cxn ang="0">
                <a:pos x="228" y="3300"/>
              </a:cxn>
              <a:cxn ang="0">
                <a:pos x="558" y="3222"/>
              </a:cxn>
              <a:cxn ang="0">
                <a:pos x="762" y="3312"/>
              </a:cxn>
              <a:cxn ang="0">
                <a:pos x="1104" y="3240"/>
              </a:cxn>
              <a:cxn ang="0">
                <a:pos x="1440" y="3366"/>
              </a:cxn>
              <a:cxn ang="0">
                <a:pos x="1710" y="3270"/>
              </a:cxn>
              <a:cxn ang="0">
                <a:pos x="1758" y="3312"/>
              </a:cxn>
              <a:cxn ang="0">
                <a:pos x="2028" y="3204"/>
              </a:cxn>
              <a:cxn ang="0">
                <a:pos x="2214" y="3288"/>
              </a:cxn>
              <a:cxn ang="0">
                <a:pos x="2490" y="3228"/>
              </a:cxn>
              <a:cxn ang="0">
                <a:pos x="2598" y="3246"/>
              </a:cxn>
              <a:cxn ang="0">
                <a:pos x="2694" y="3264"/>
              </a:cxn>
              <a:cxn ang="0">
                <a:pos x="2904" y="3228"/>
              </a:cxn>
              <a:cxn ang="0">
                <a:pos x="3060" y="3294"/>
              </a:cxn>
              <a:cxn ang="0">
                <a:pos x="3096" y="3306"/>
              </a:cxn>
              <a:cxn ang="0">
                <a:pos x="3330" y="3180"/>
              </a:cxn>
              <a:cxn ang="0">
                <a:pos x="3648" y="3276"/>
              </a:cxn>
              <a:cxn ang="0">
                <a:pos x="3960" y="3246"/>
              </a:cxn>
              <a:cxn ang="0">
                <a:pos x="4056" y="3336"/>
              </a:cxn>
              <a:cxn ang="0">
                <a:pos x="4200" y="3174"/>
              </a:cxn>
              <a:cxn ang="0">
                <a:pos x="4398" y="3270"/>
              </a:cxn>
              <a:cxn ang="0">
                <a:pos x="4530" y="3144"/>
              </a:cxn>
              <a:cxn ang="0">
                <a:pos x="4530" y="0"/>
              </a:cxn>
              <a:cxn ang="0">
                <a:pos x="0" y="0"/>
              </a:cxn>
            </a:cxnLst>
            <a:rect l="0" t="0" r="r" b="b"/>
            <a:pathLst>
              <a:path w="4530" h="3366">
                <a:moveTo>
                  <a:pt x="0" y="0"/>
                </a:moveTo>
                <a:lnTo>
                  <a:pt x="0" y="3198"/>
                </a:lnTo>
                <a:lnTo>
                  <a:pt x="228" y="3300"/>
                </a:lnTo>
                <a:lnTo>
                  <a:pt x="558" y="3222"/>
                </a:lnTo>
                <a:lnTo>
                  <a:pt x="762" y="3312"/>
                </a:lnTo>
                <a:lnTo>
                  <a:pt x="1104" y="3240"/>
                </a:lnTo>
                <a:lnTo>
                  <a:pt x="1440" y="3366"/>
                </a:lnTo>
                <a:lnTo>
                  <a:pt x="1710" y="3270"/>
                </a:lnTo>
                <a:lnTo>
                  <a:pt x="1758" y="3312"/>
                </a:lnTo>
                <a:lnTo>
                  <a:pt x="2028" y="3204"/>
                </a:lnTo>
                <a:lnTo>
                  <a:pt x="2214" y="3288"/>
                </a:lnTo>
                <a:cubicBezTo>
                  <a:pt x="2419" y="3182"/>
                  <a:pt x="2311" y="3194"/>
                  <a:pt x="2490" y="3228"/>
                </a:cubicBezTo>
                <a:cubicBezTo>
                  <a:pt x="2526" y="3235"/>
                  <a:pt x="2562" y="3240"/>
                  <a:pt x="2598" y="3246"/>
                </a:cubicBezTo>
                <a:cubicBezTo>
                  <a:pt x="2630" y="3252"/>
                  <a:pt x="2694" y="3264"/>
                  <a:pt x="2694" y="3264"/>
                </a:cubicBezTo>
                <a:lnTo>
                  <a:pt x="2904" y="3228"/>
                </a:lnTo>
                <a:lnTo>
                  <a:pt x="3060" y="3294"/>
                </a:lnTo>
                <a:lnTo>
                  <a:pt x="3096" y="3306"/>
                </a:lnTo>
                <a:lnTo>
                  <a:pt x="3330" y="3180"/>
                </a:lnTo>
                <a:lnTo>
                  <a:pt x="3648" y="3276"/>
                </a:lnTo>
                <a:lnTo>
                  <a:pt x="3960" y="3246"/>
                </a:lnTo>
                <a:lnTo>
                  <a:pt x="4056" y="3336"/>
                </a:lnTo>
                <a:lnTo>
                  <a:pt x="4200" y="3174"/>
                </a:lnTo>
                <a:lnTo>
                  <a:pt x="4398" y="3270"/>
                </a:lnTo>
                <a:lnTo>
                  <a:pt x="4530" y="3144"/>
                </a:lnTo>
                <a:lnTo>
                  <a:pt x="4530" y="0"/>
                </a:lnTo>
                <a:lnTo>
                  <a:pt x="0" y="0"/>
                </a:lnTo>
                <a:close/>
              </a:path>
            </a:pathLst>
          </a:custGeom>
          <a:solidFill>
            <a:srgbClr val="E8ECEA">
              <a:alpha val="16000"/>
            </a:srgbClr>
          </a:solidFill>
          <a:ln w="9525">
            <a:solidFill>
              <a:schemeClr val="tx1"/>
            </a:solidFill>
            <a:round/>
            <a:headEnd/>
            <a:tailEnd/>
          </a:ln>
          <a:effectLst>
            <a:outerShdw dist="107763" dir="2700000" algn="ctr" rotWithShape="0">
              <a:srgbClr val="D5DDD9">
                <a:alpha val="50000"/>
              </a:srgbClr>
            </a:outerShdw>
          </a:effectLst>
        </p:spPr>
        <p:txBody>
          <a:bodyPr/>
          <a:lstStyle/>
          <a:p>
            <a:pPr fontAlgn="auto">
              <a:spcBef>
                <a:spcPts val="0"/>
              </a:spcBef>
              <a:spcAft>
                <a:spcPts val="0"/>
              </a:spcAft>
              <a:defRPr/>
            </a:pPr>
            <a:endParaRPr lang="en-US" sz="1600" b="1">
              <a:latin typeface="Arial" charset="0"/>
              <a:cs typeface="Arial" charset="0"/>
            </a:endParaRPr>
          </a:p>
        </p:txBody>
      </p:sp>
      <p:sp>
        <p:nvSpPr>
          <p:cNvPr id="3" name="TextBox 2"/>
          <p:cNvSpPr txBox="1"/>
          <p:nvPr/>
        </p:nvSpPr>
        <p:spPr>
          <a:xfrm rot="20740702">
            <a:off x="136525" y="587375"/>
            <a:ext cx="1335088" cy="400050"/>
          </a:xfrm>
          <a:prstGeom prst="rect">
            <a:avLst/>
          </a:prstGeom>
        </p:spPr>
        <p:style>
          <a:lnRef idx="2">
            <a:schemeClr val="accent3"/>
          </a:lnRef>
          <a:fillRef idx="1">
            <a:schemeClr val="lt1"/>
          </a:fillRef>
          <a:effectRef idx="0">
            <a:schemeClr val="accent3"/>
          </a:effectRef>
          <a:fontRef idx="minor">
            <a:schemeClr val="dk1"/>
          </a:fontRef>
        </p:style>
        <p:txBody>
          <a:bodyPr>
            <a:spAutoFit/>
          </a:bodyPr>
          <a:lstStyle/>
          <a:p>
            <a:pPr algn="ctr">
              <a:defRPr/>
            </a:pPr>
            <a:r>
              <a:rPr lang="en-US" sz="2000" b="1">
                <a:solidFill>
                  <a:schemeClr val="accent1">
                    <a:lumMod val="75000"/>
                  </a:schemeClr>
                </a:solidFill>
                <a:latin typeface="Segoe UI Light"/>
                <a:cs typeface="Segoe UI Light"/>
              </a:rPr>
              <a:t>CONTOH</a:t>
            </a:r>
            <a:endParaRPr lang="en-US" sz="2400" b="1" dirty="0">
              <a:solidFill>
                <a:schemeClr val="accent1">
                  <a:lumMod val="75000"/>
                </a:schemeClr>
              </a:solidFill>
              <a:latin typeface="Segoe UI Light"/>
              <a:cs typeface="Segoe UI Light"/>
            </a:endParaRPr>
          </a:p>
        </p:txBody>
      </p:sp>
      <p:grpSp>
        <p:nvGrpSpPr>
          <p:cNvPr id="2" name="Groupe 1"/>
          <p:cNvGrpSpPr>
            <a:grpSpLocks/>
          </p:cNvGrpSpPr>
          <p:nvPr/>
        </p:nvGrpSpPr>
        <p:grpSpPr bwMode="auto">
          <a:xfrm>
            <a:off x="0" y="357188"/>
            <a:ext cx="484188" cy="554037"/>
            <a:chOff x="4985896" y="2380134"/>
            <a:chExt cx="2154390" cy="2715410"/>
          </a:xfrm>
        </p:grpSpPr>
        <p:grpSp>
          <p:nvGrpSpPr>
            <p:cNvPr id="4" name="Groupe 33"/>
            <p:cNvGrpSpPr/>
            <p:nvPr/>
          </p:nvGrpSpPr>
          <p:grpSpPr>
            <a:xfrm rot="14400000">
              <a:off x="5523996" y="3741353"/>
              <a:ext cx="816091" cy="1892292"/>
              <a:chOff x="6324195" y="2380134"/>
              <a:chExt cx="816091" cy="1892292"/>
            </a:xfrm>
            <a:gradFill flip="none" rotWithShape="1">
              <a:gsLst>
                <a:gs pos="0">
                  <a:srgbClr val="BEC6D4"/>
                </a:gs>
                <a:gs pos="50000">
                  <a:schemeClr val="accent1">
                    <a:lumMod val="40000"/>
                    <a:lumOff val="60000"/>
                    <a:tint val="44500"/>
                    <a:satMod val="160000"/>
                  </a:schemeClr>
                </a:gs>
                <a:gs pos="100000">
                  <a:schemeClr val="accent1">
                    <a:lumMod val="40000"/>
                    <a:lumOff val="60000"/>
                    <a:tint val="23500"/>
                    <a:satMod val="160000"/>
                  </a:schemeClr>
                </a:gs>
              </a:gsLst>
              <a:lin ang="16200000" scaled="1"/>
              <a:tileRect/>
            </a:gradFill>
          </p:grpSpPr>
          <p:sp>
            <p:nvSpPr>
              <p:cNvPr id="14" name="Rectangle 11"/>
              <p:cNvSpPr/>
              <p:nvPr/>
            </p:nvSpPr>
            <p:spPr>
              <a:xfrm>
                <a:off x="6680166" y="3333369"/>
                <a:ext cx="105362" cy="939057"/>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5" name="Ellipse 35"/>
              <p:cNvSpPr/>
              <p:nvPr/>
            </p:nvSpPr>
            <p:spPr>
              <a:xfrm>
                <a:off x="6324195" y="2969949"/>
                <a:ext cx="816091" cy="70207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6" name="Ellipse 36"/>
              <p:cNvSpPr/>
              <p:nvPr/>
            </p:nvSpPr>
            <p:spPr>
              <a:xfrm rot="1800000">
                <a:off x="6343308" y="3036225"/>
                <a:ext cx="647605" cy="59391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7" name="Trapèze 10"/>
              <p:cNvSpPr/>
              <p:nvPr/>
            </p:nvSpPr>
            <p:spPr>
              <a:xfrm>
                <a:off x="6488604" y="2632162"/>
                <a:ext cx="487272" cy="765707"/>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8" name="Ellipse 39"/>
              <p:cNvSpPr/>
              <p:nvPr/>
            </p:nvSpPr>
            <p:spPr>
              <a:xfrm>
                <a:off x="6444208" y="2380134"/>
                <a:ext cx="576064" cy="50405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9" name="Ellipse 40"/>
              <p:cNvSpPr/>
              <p:nvPr/>
            </p:nvSpPr>
            <p:spPr>
              <a:xfrm>
                <a:off x="6444208" y="2380134"/>
                <a:ext cx="576064" cy="43204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nvGrpSpPr>
            <p:cNvPr id="5" name="Groupe 25"/>
            <p:cNvGrpSpPr>
              <a:grpSpLocks/>
            </p:cNvGrpSpPr>
            <p:nvPr/>
          </p:nvGrpSpPr>
          <p:grpSpPr bwMode="auto">
            <a:xfrm>
              <a:off x="6320911" y="2380134"/>
              <a:ext cx="819375" cy="1890669"/>
              <a:chOff x="6320911" y="2380134"/>
              <a:chExt cx="819375" cy="1890669"/>
            </a:xfrm>
          </p:grpSpPr>
          <p:sp>
            <p:nvSpPr>
              <p:cNvPr id="7" name="Rectangle 11"/>
              <p:cNvSpPr/>
              <p:nvPr/>
            </p:nvSpPr>
            <p:spPr>
              <a:xfrm>
                <a:off x="6681151" y="3329360"/>
                <a:ext cx="105956" cy="941443"/>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adFill flip="none" rotWithShape="1">
                <a:gsLst>
                  <a:gs pos="0">
                    <a:srgbClr val="FFFFFF"/>
                  </a:gs>
                  <a:gs pos="7001">
                    <a:srgbClr val="E6E6E6"/>
                  </a:gs>
                  <a:gs pos="32001">
                    <a:srgbClr val="7D8496"/>
                  </a:gs>
                  <a:gs pos="47000">
                    <a:srgbClr val="E6E6E6"/>
                  </a:gs>
                  <a:gs pos="85001">
                    <a:srgbClr val="7D8496"/>
                  </a:gs>
                  <a:gs pos="100000">
                    <a:srgbClr val="E6E6E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8" name="Ellipse 12"/>
              <p:cNvSpPr/>
              <p:nvPr/>
            </p:nvSpPr>
            <p:spPr>
              <a:xfrm>
                <a:off x="6320911" y="2971455"/>
                <a:ext cx="819375" cy="700249"/>
              </a:xfrm>
              <a:prstGeom prst="ellipse">
                <a:avLst/>
              </a:prstGeom>
              <a:gradFill flip="none" rotWithShape="1">
                <a:gsLst>
                  <a:gs pos="0">
                    <a:srgbClr val="004D86"/>
                  </a:gs>
                  <a:gs pos="100000">
                    <a:srgbClr val="00B0F0"/>
                  </a:gs>
                </a:gsLst>
                <a:lin ang="2700000" scaled="1"/>
                <a:tileRect/>
              </a:gra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9" name="Ellipse 13"/>
              <p:cNvSpPr/>
              <p:nvPr/>
            </p:nvSpPr>
            <p:spPr>
              <a:xfrm rot="1800000">
                <a:off x="6342100" y="3033700"/>
                <a:ext cx="649849" cy="599099"/>
              </a:xfrm>
              <a:prstGeom prst="ellipse">
                <a:avLst/>
              </a:prstGeom>
              <a:gradFill flip="none" rotWithShape="1">
                <a:gsLst>
                  <a:gs pos="68350">
                    <a:srgbClr val="0091CF"/>
                  </a:gs>
                  <a:gs pos="36700">
                    <a:srgbClr val="0071AD"/>
                  </a:gs>
                  <a:gs pos="0">
                    <a:srgbClr val="004D86"/>
                  </a:gs>
                  <a:gs pos="100000">
                    <a:srgbClr val="00B0F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pic>
            <p:nvPicPr>
              <p:cNvPr id="10" name="Picture 5"/>
              <p:cNvPicPr>
                <a:picLocks noChangeAspect="1" noChangeArrowheads="1"/>
              </p:cNvPicPr>
              <p:nvPr/>
            </p:nvPicPr>
            <p:blipFill>
              <a:blip r:embed="rId4" cstate="print"/>
              <a:srcRect l="23138" t="19901" r="24571" b="27188"/>
              <a:stretch>
                <a:fillRect/>
              </a:stretch>
            </p:blipFill>
            <p:spPr bwMode="auto">
              <a:xfrm rot="-1835306">
                <a:off x="6730129" y="3272365"/>
                <a:ext cx="385960" cy="294981"/>
              </a:xfrm>
              <a:prstGeom prst="rect">
                <a:avLst/>
              </a:prstGeom>
              <a:noFill/>
              <a:ln w="9525">
                <a:noFill/>
                <a:miter lim="800000"/>
                <a:headEnd/>
                <a:tailEnd/>
              </a:ln>
            </p:spPr>
          </p:pic>
          <p:sp>
            <p:nvSpPr>
              <p:cNvPr id="11" name="Trapèze 10"/>
              <p:cNvSpPr/>
              <p:nvPr/>
            </p:nvSpPr>
            <p:spPr>
              <a:xfrm>
                <a:off x="6483371" y="2629111"/>
                <a:ext cx="494450" cy="770271"/>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2" name="Ellipse 7"/>
              <p:cNvSpPr/>
              <p:nvPr/>
            </p:nvSpPr>
            <p:spPr>
              <a:xfrm>
                <a:off x="6440990" y="2380134"/>
                <a:ext cx="579213" cy="505733"/>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81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3" name="Ellipse 5"/>
              <p:cNvSpPr/>
              <p:nvPr/>
            </p:nvSpPr>
            <p:spPr>
              <a:xfrm>
                <a:off x="6440990" y="2380134"/>
                <a:ext cx="579213" cy="427927"/>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sp>
        <p:nvSpPr>
          <p:cNvPr id="20" name="Rectangle 19"/>
          <p:cNvSpPr/>
          <p:nvPr/>
        </p:nvSpPr>
        <p:spPr>
          <a:xfrm>
            <a:off x="1099624" y="774592"/>
            <a:ext cx="8044376" cy="1285884"/>
          </a:xfrm>
          <a:prstGeom prst="rect">
            <a:avLst/>
          </a:prstGeom>
          <a:noFill/>
        </p:spPr>
        <p:txBody>
          <a:bodyPr wrap="none" lIns="91440" tIns="45720" rIns="91440" bIns="45720">
            <a:prstTxWarp prst="textArchUp">
              <a:avLst/>
            </a:prstTxWarp>
            <a:spAutoFit/>
          </a:bodyPr>
          <a:lstStyle/>
          <a:p>
            <a:pPr algn="ctr"/>
            <a:r>
              <a:rPr lang="en-US" sz="3200" b="1" dirty="0" err="1"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Penggunaan</a:t>
            </a:r>
            <a:r>
              <a:rPr lang="en-US" sz="3200" b="1"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 3 </a:t>
            </a:r>
            <a:r>
              <a:rPr lang="en-US" sz="3200" b="1" dirty="0" err="1"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Kaedah</a:t>
            </a:r>
            <a:r>
              <a:rPr lang="en-US" sz="3200" b="1"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 </a:t>
            </a:r>
            <a:r>
              <a:rPr lang="en-US" sz="3200" b="1" dirty="0" err="1"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rPr>
              <a:t>Penilaian</a:t>
            </a:r>
            <a:endParaRPr lang="en-US" sz="3200" b="1"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Rockwell" pitchFamily="18" charset="0"/>
            </a:endParaRPr>
          </a:p>
        </p:txBody>
      </p:sp>
      <p:sp>
        <p:nvSpPr>
          <p:cNvPr id="6" name="Footer Placeholder 5"/>
          <p:cNvSpPr>
            <a:spLocks noGrp="1"/>
          </p:cNvSpPr>
          <p:nvPr>
            <p:ph type="ftr" sz="quarter" idx="11"/>
          </p:nvPr>
        </p:nvSpPr>
        <p:spPr/>
        <p:txBody>
          <a:bodyPr/>
          <a:lstStyle/>
          <a:p>
            <a:r>
              <a:rPr lang="en-US" smtClean="0"/>
              <a:t>GURU (SEKOLAH)</a:t>
            </a:r>
            <a:endParaRPr lang="en-US" dirty="0"/>
          </a:p>
        </p:txBody>
      </p:sp>
      <p:sp>
        <p:nvSpPr>
          <p:cNvPr id="22" name="Slide Number Placeholder 21"/>
          <p:cNvSpPr>
            <a:spLocks noGrp="1"/>
          </p:cNvSpPr>
          <p:nvPr>
            <p:ph type="sldNum" sz="quarter" idx="12"/>
          </p:nvPr>
        </p:nvSpPr>
        <p:spPr/>
        <p:txBody>
          <a:bodyPr/>
          <a:lstStyle/>
          <a:p>
            <a:fld id="{4D86EDED-B1AF-7E4B-94C9-3F0EAA36C7D5}" type="slidenum">
              <a:rPr lang="en-US" smtClean="0"/>
              <a:pPr/>
              <a:t>71</a:t>
            </a:fld>
            <a:endParaRPr lang="en-US"/>
          </a:p>
        </p:txBody>
      </p:sp>
      <p:pic>
        <p:nvPicPr>
          <p:cNvPr id="51202" name="Picture 2"/>
          <p:cNvPicPr>
            <a:picLocks noChangeAspect="1" noChangeArrowheads="1"/>
          </p:cNvPicPr>
          <p:nvPr/>
        </p:nvPicPr>
        <p:blipFill>
          <a:blip r:embed="rId5"/>
          <a:srcRect l="3751" t="16960" r="8084" b="12956"/>
          <a:stretch>
            <a:fillRect/>
          </a:stretch>
        </p:blipFill>
        <p:spPr bwMode="auto">
          <a:xfrm>
            <a:off x="227849" y="1240641"/>
            <a:ext cx="8712576" cy="48232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bagai2 dalid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693" y="1106342"/>
            <a:ext cx="7864102" cy="5151292"/>
          </a:xfrm>
          <a:prstGeom prst="rect">
            <a:avLst/>
          </a:prstGeom>
        </p:spPr>
      </p:pic>
      <p:sp>
        <p:nvSpPr>
          <p:cNvPr id="9" name="TextBox 8"/>
          <p:cNvSpPr txBox="1"/>
          <p:nvPr/>
        </p:nvSpPr>
        <p:spPr>
          <a:xfrm rot="20740702">
            <a:off x="73113" y="1575927"/>
            <a:ext cx="1335088" cy="400050"/>
          </a:xfrm>
          <a:prstGeom prst="rect">
            <a:avLst/>
          </a:prstGeom>
        </p:spPr>
        <p:style>
          <a:lnRef idx="2">
            <a:schemeClr val="accent3"/>
          </a:lnRef>
          <a:fillRef idx="1">
            <a:schemeClr val="lt1"/>
          </a:fillRef>
          <a:effectRef idx="0">
            <a:schemeClr val="accent3"/>
          </a:effectRef>
          <a:fontRef idx="minor">
            <a:schemeClr val="dk1"/>
          </a:fontRef>
        </p:style>
        <p:txBody>
          <a:bodyPr>
            <a:spAutoFit/>
          </a:bodyPr>
          <a:lstStyle/>
          <a:p>
            <a:pPr algn="ctr">
              <a:defRPr/>
            </a:pPr>
            <a:r>
              <a:rPr lang="en-US" sz="2000" b="1" dirty="0">
                <a:solidFill>
                  <a:schemeClr val="accent1">
                    <a:lumMod val="75000"/>
                  </a:schemeClr>
                </a:solidFill>
                <a:latin typeface="Segoe UI Light"/>
                <a:cs typeface="Segoe UI Light"/>
              </a:rPr>
              <a:t>CONTOH</a:t>
            </a:r>
            <a:endParaRPr lang="en-US" sz="2400" b="1" dirty="0">
              <a:solidFill>
                <a:schemeClr val="accent1">
                  <a:lumMod val="75000"/>
                </a:schemeClr>
              </a:solidFill>
              <a:latin typeface="Segoe UI Light"/>
              <a:cs typeface="Segoe UI Light"/>
            </a:endParaRPr>
          </a:p>
        </p:txBody>
      </p:sp>
      <p:grpSp>
        <p:nvGrpSpPr>
          <p:cNvPr id="2" name="Groupe 1"/>
          <p:cNvGrpSpPr>
            <a:grpSpLocks/>
          </p:cNvGrpSpPr>
          <p:nvPr/>
        </p:nvGrpSpPr>
        <p:grpSpPr bwMode="auto">
          <a:xfrm>
            <a:off x="45275" y="1346544"/>
            <a:ext cx="484188" cy="554037"/>
            <a:chOff x="4985896" y="2380134"/>
            <a:chExt cx="2154390" cy="2715410"/>
          </a:xfrm>
        </p:grpSpPr>
        <p:grpSp>
          <p:nvGrpSpPr>
            <p:cNvPr id="3" name="Groupe 33"/>
            <p:cNvGrpSpPr/>
            <p:nvPr/>
          </p:nvGrpSpPr>
          <p:grpSpPr>
            <a:xfrm rot="14400000">
              <a:off x="5523996" y="3741353"/>
              <a:ext cx="816091" cy="1892292"/>
              <a:chOff x="6324195" y="2380134"/>
              <a:chExt cx="816091" cy="1892292"/>
            </a:xfrm>
            <a:gradFill flip="none" rotWithShape="1">
              <a:gsLst>
                <a:gs pos="0">
                  <a:srgbClr val="BEC6D4"/>
                </a:gs>
                <a:gs pos="50000">
                  <a:schemeClr val="accent1">
                    <a:lumMod val="40000"/>
                    <a:lumOff val="60000"/>
                    <a:tint val="44500"/>
                    <a:satMod val="160000"/>
                  </a:schemeClr>
                </a:gs>
                <a:gs pos="100000">
                  <a:schemeClr val="accent1">
                    <a:lumMod val="40000"/>
                    <a:lumOff val="60000"/>
                    <a:tint val="23500"/>
                    <a:satMod val="160000"/>
                  </a:schemeClr>
                </a:gs>
              </a:gsLst>
              <a:lin ang="16200000" scaled="1"/>
              <a:tileRect/>
            </a:gradFill>
          </p:grpSpPr>
          <p:sp>
            <p:nvSpPr>
              <p:cNvPr id="20" name="Rectangle 11"/>
              <p:cNvSpPr/>
              <p:nvPr/>
            </p:nvSpPr>
            <p:spPr>
              <a:xfrm>
                <a:off x="6680166" y="3333369"/>
                <a:ext cx="105362" cy="939057"/>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1" name="Ellipse 35"/>
              <p:cNvSpPr/>
              <p:nvPr/>
            </p:nvSpPr>
            <p:spPr>
              <a:xfrm>
                <a:off x="6324195" y="2969949"/>
                <a:ext cx="816091" cy="70207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2" name="Ellipse 36"/>
              <p:cNvSpPr/>
              <p:nvPr/>
            </p:nvSpPr>
            <p:spPr>
              <a:xfrm rot="1800000">
                <a:off x="6343308" y="3036225"/>
                <a:ext cx="647605" cy="59391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3" name="Trapèze 10"/>
              <p:cNvSpPr/>
              <p:nvPr/>
            </p:nvSpPr>
            <p:spPr>
              <a:xfrm>
                <a:off x="6488604" y="2632162"/>
                <a:ext cx="487272" cy="765707"/>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4" name="Ellipse 39"/>
              <p:cNvSpPr/>
              <p:nvPr/>
            </p:nvSpPr>
            <p:spPr>
              <a:xfrm>
                <a:off x="6444208" y="2380134"/>
                <a:ext cx="576064" cy="50405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5" name="Ellipse 40"/>
              <p:cNvSpPr/>
              <p:nvPr/>
            </p:nvSpPr>
            <p:spPr>
              <a:xfrm>
                <a:off x="6444208" y="2380134"/>
                <a:ext cx="576064" cy="43204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nvGrpSpPr>
            <p:cNvPr id="4" name="Groupe 25"/>
            <p:cNvGrpSpPr>
              <a:grpSpLocks/>
            </p:cNvGrpSpPr>
            <p:nvPr/>
          </p:nvGrpSpPr>
          <p:grpSpPr bwMode="auto">
            <a:xfrm>
              <a:off x="6320911" y="2380134"/>
              <a:ext cx="819375" cy="1890669"/>
              <a:chOff x="6320911" y="2380134"/>
              <a:chExt cx="819375" cy="1890669"/>
            </a:xfrm>
          </p:grpSpPr>
          <p:sp>
            <p:nvSpPr>
              <p:cNvPr id="13" name="Rectangle 11"/>
              <p:cNvSpPr/>
              <p:nvPr/>
            </p:nvSpPr>
            <p:spPr>
              <a:xfrm>
                <a:off x="6681151" y="3329360"/>
                <a:ext cx="105956" cy="941443"/>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adFill flip="none" rotWithShape="1">
                <a:gsLst>
                  <a:gs pos="0">
                    <a:srgbClr val="FFFFFF"/>
                  </a:gs>
                  <a:gs pos="7001">
                    <a:srgbClr val="E6E6E6"/>
                  </a:gs>
                  <a:gs pos="32001">
                    <a:srgbClr val="7D8496"/>
                  </a:gs>
                  <a:gs pos="47000">
                    <a:srgbClr val="E6E6E6"/>
                  </a:gs>
                  <a:gs pos="85001">
                    <a:srgbClr val="7D8496"/>
                  </a:gs>
                  <a:gs pos="100000">
                    <a:srgbClr val="E6E6E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4" name="Ellipse 12"/>
              <p:cNvSpPr/>
              <p:nvPr/>
            </p:nvSpPr>
            <p:spPr>
              <a:xfrm>
                <a:off x="6320911" y="2971455"/>
                <a:ext cx="819375" cy="700249"/>
              </a:xfrm>
              <a:prstGeom prst="ellipse">
                <a:avLst/>
              </a:prstGeom>
              <a:gradFill flip="none" rotWithShape="1">
                <a:gsLst>
                  <a:gs pos="0">
                    <a:srgbClr val="004D86"/>
                  </a:gs>
                  <a:gs pos="100000">
                    <a:srgbClr val="00B0F0"/>
                  </a:gs>
                </a:gsLst>
                <a:lin ang="2700000" scaled="1"/>
                <a:tileRect/>
              </a:gra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5" name="Ellipse 13"/>
              <p:cNvSpPr/>
              <p:nvPr/>
            </p:nvSpPr>
            <p:spPr>
              <a:xfrm rot="1800000">
                <a:off x="6342100" y="3033700"/>
                <a:ext cx="649849" cy="599099"/>
              </a:xfrm>
              <a:prstGeom prst="ellipse">
                <a:avLst/>
              </a:prstGeom>
              <a:gradFill flip="none" rotWithShape="1">
                <a:gsLst>
                  <a:gs pos="68350">
                    <a:srgbClr val="0091CF"/>
                  </a:gs>
                  <a:gs pos="36700">
                    <a:srgbClr val="0071AD"/>
                  </a:gs>
                  <a:gs pos="0">
                    <a:srgbClr val="004D86"/>
                  </a:gs>
                  <a:gs pos="100000">
                    <a:srgbClr val="00B0F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pic>
            <p:nvPicPr>
              <p:cNvPr id="16" name="Picture 5"/>
              <p:cNvPicPr>
                <a:picLocks noChangeAspect="1" noChangeArrowheads="1"/>
              </p:cNvPicPr>
              <p:nvPr/>
            </p:nvPicPr>
            <p:blipFill>
              <a:blip r:embed="rId4" cstate="print"/>
              <a:srcRect l="23138" t="19901" r="24571" b="27188"/>
              <a:stretch>
                <a:fillRect/>
              </a:stretch>
            </p:blipFill>
            <p:spPr bwMode="auto">
              <a:xfrm rot="-1835306">
                <a:off x="6730129" y="3272365"/>
                <a:ext cx="385960" cy="294981"/>
              </a:xfrm>
              <a:prstGeom prst="rect">
                <a:avLst/>
              </a:prstGeom>
              <a:noFill/>
              <a:ln w="9525">
                <a:noFill/>
                <a:miter lim="800000"/>
                <a:headEnd/>
                <a:tailEnd/>
              </a:ln>
            </p:spPr>
          </p:pic>
          <p:sp>
            <p:nvSpPr>
              <p:cNvPr id="17" name="Trapèze 10"/>
              <p:cNvSpPr/>
              <p:nvPr/>
            </p:nvSpPr>
            <p:spPr>
              <a:xfrm>
                <a:off x="6483371" y="2629111"/>
                <a:ext cx="494450" cy="770271"/>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8" name="Ellipse 7"/>
              <p:cNvSpPr/>
              <p:nvPr/>
            </p:nvSpPr>
            <p:spPr>
              <a:xfrm>
                <a:off x="6440990" y="2380134"/>
                <a:ext cx="579213" cy="505733"/>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81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9" name="Ellipse 5"/>
              <p:cNvSpPr/>
              <p:nvPr/>
            </p:nvSpPr>
            <p:spPr>
              <a:xfrm>
                <a:off x="6440990" y="2380134"/>
                <a:ext cx="579213" cy="427927"/>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sp>
        <p:nvSpPr>
          <p:cNvPr id="10" name="Footer Placeholder 9"/>
          <p:cNvSpPr>
            <a:spLocks noGrp="1"/>
          </p:cNvSpPr>
          <p:nvPr>
            <p:ph type="ftr" sz="quarter" idx="11"/>
          </p:nvPr>
        </p:nvSpPr>
        <p:spPr/>
        <p:txBody>
          <a:bodyPr/>
          <a:lstStyle/>
          <a:p>
            <a:r>
              <a:rPr lang="en-US" smtClean="0"/>
              <a:t>GURU (SEKOLAH)</a:t>
            </a:r>
            <a:endParaRPr lang="en-US"/>
          </a:p>
        </p:txBody>
      </p:sp>
      <p:sp>
        <p:nvSpPr>
          <p:cNvPr id="11" name="Slide Number Placeholder 10"/>
          <p:cNvSpPr>
            <a:spLocks noGrp="1"/>
          </p:cNvSpPr>
          <p:nvPr>
            <p:ph type="sldNum" sz="quarter" idx="12"/>
          </p:nvPr>
        </p:nvSpPr>
        <p:spPr/>
        <p:txBody>
          <a:bodyPr/>
          <a:lstStyle/>
          <a:p>
            <a:fld id="{4D86EDED-B1AF-7E4B-94C9-3F0EAA36C7D5}" type="slidenum">
              <a:rPr lang="en-US" smtClean="0"/>
              <a:pPr/>
              <a:t>72</a:t>
            </a:fld>
            <a:endParaRPr lang="en-US"/>
          </a:p>
        </p:txBody>
      </p:sp>
      <p:sp>
        <p:nvSpPr>
          <p:cNvPr id="29" name="Rectangle 28"/>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PENGISIAN MARKAH INSTRUMEN KEPADA PYD </a:t>
            </a:r>
            <a:endParaRPr lang="en-US" sz="28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print"/>
          <a:srcRect/>
          <a:stretch>
            <a:fillRect/>
          </a:stretch>
        </p:blipFill>
        <p:spPr bwMode="auto">
          <a:xfrm>
            <a:off x="684213" y="1506955"/>
            <a:ext cx="7848600" cy="4368800"/>
          </a:xfrm>
          <a:prstGeom prst="rect">
            <a:avLst/>
          </a:prstGeom>
          <a:noFill/>
          <a:ln w="9525">
            <a:noFill/>
            <a:miter lim="800000"/>
            <a:headEnd/>
            <a:tailEnd/>
          </a:ln>
        </p:spPr>
      </p:pic>
      <p:sp>
        <p:nvSpPr>
          <p:cNvPr id="5" name="TextBox 4"/>
          <p:cNvSpPr txBox="1"/>
          <p:nvPr/>
        </p:nvSpPr>
        <p:spPr>
          <a:xfrm rot="20740702">
            <a:off x="136525" y="1967215"/>
            <a:ext cx="1335088" cy="400050"/>
          </a:xfrm>
          <a:prstGeom prst="rect">
            <a:avLst/>
          </a:prstGeom>
        </p:spPr>
        <p:style>
          <a:lnRef idx="2">
            <a:schemeClr val="accent3"/>
          </a:lnRef>
          <a:fillRef idx="1">
            <a:schemeClr val="lt1"/>
          </a:fillRef>
          <a:effectRef idx="0">
            <a:schemeClr val="accent3"/>
          </a:effectRef>
          <a:fontRef idx="minor">
            <a:schemeClr val="dk1"/>
          </a:fontRef>
        </p:style>
        <p:txBody>
          <a:bodyPr>
            <a:spAutoFit/>
          </a:bodyPr>
          <a:lstStyle/>
          <a:p>
            <a:pPr algn="ctr">
              <a:defRPr/>
            </a:pPr>
            <a:r>
              <a:rPr lang="en-US" sz="2000" b="1" dirty="0">
                <a:solidFill>
                  <a:schemeClr val="accent1">
                    <a:lumMod val="75000"/>
                  </a:schemeClr>
                </a:solidFill>
                <a:latin typeface="Segoe UI Light"/>
                <a:cs typeface="Segoe UI Light"/>
              </a:rPr>
              <a:t>CONTOH</a:t>
            </a:r>
            <a:endParaRPr lang="en-US" sz="2400" b="1" dirty="0">
              <a:solidFill>
                <a:schemeClr val="accent1">
                  <a:lumMod val="75000"/>
                </a:schemeClr>
              </a:solidFill>
              <a:latin typeface="Segoe UI Light"/>
              <a:cs typeface="Segoe UI Light"/>
            </a:endParaRPr>
          </a:p>
        </p:txBody>
      </p:sp>
      <p:grpSp>
        <p:nvGrpSpPr>
          <p:cNvPr id="2" name="Groupe 1"/>
          <p:cNvGrpSpPr>
            <a:grpSpLocks/>
          </p:cNvGrpSpPr>
          <p:nvPr/>
        </p:nvGrpSpPr>
        <p:grpSpPr bwMode="auto">
          <a:xfrm>
            <a:off x="0" y="1737028"/>
            <a:ext cx="484188" cy="554037"/>
            <a:chOff x="4985896" y="2380134"/>
            <a:chExt cx="2154390" cy="2715410"/>
          </a:xfrm>
        </p:grpSpPr>
        <p:grpSp>
          <p:nvGrpSpPr>
            <p:cNvPr id="4" name="Groupe 33"/>
            <p:cNvGrpSpPr/>
            <p:nvPr/>
          </p:nvGrpSpPr>
          <p:grpSpPr>
            <a:xfrm rot="14400000">
              <a:off x="5523996" y="3741353"/>
              <a:ext cx="816091" cy="1892292"/>
              <a:chOff x="6324195" y="2380134"/>
              <a:chExt cx="816091" cy="1892292"/>
            </a:xfrm>
            <a:gradFill flip="none" rotWithShape="1">
              <a:gsLst>
                <a:gs pos="0">
                  <a:srgbClr val="BEC6D4"/>
                </a:gs>
                <a:gs pos="50000">
                  <a:schemeClr val="accent1">
                    <a:lumMod val="40000"/>
                    <a:lumOff val="60000"/>
                    <a:tint val="44500"/>
                    <a:satMod val="160000"/>
                  </a:schemeClr>
                </a:gs>
                <a:gs pos="100000">
                  <a:schemeClr val="accent1">
                    <a:lumMod val="40000"/>
                    <a:lumOff val="60000"/>
                    <a:tint val="23500"/>
                    <a:satMod val="160000"/>
                  </a:schemeClr>
                </a:gs>
              </a:gsLst>
              <a:lin ang="16200000" scaled="1"/>
              <a:tileRect/>
            </a:gradFill>
          </p:grpSpPr>
          <p:sp>
            <p:nvSpPr>
              <p:cNvPr id="16" name="Rectangle 11"/>
              <p:cNvSpPr/>
              <p:nvPr/>
            </p:nvSpPr>
            <p:spPr>
              <a:xfrm>
                <a:off x="6680166" y="3333369"/>
                <a:ext cx="105362" cy="939057"/>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7" name="Ellipse 35"/>
              <p:cNvSpPr/>
              <p:nvPr/>
            </p:nvSpPr>
            <p:spPr>
              <a:xfrm>
                <a:off x="6324195" y="2969949"/>
                <a:ext cx="816091" cy="70207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8" name="Ellipse 36"/>
              <p:cNvSpPr/>
              <p:nvPr/>
            </p:nvSpPr>
            <p:spPr>
              <a:xfrm rot="1800000">
                <a:off x="6343308" y="3036225"/>
                <a:ext cx="647605" cy="59391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9" name="Trapèze 10"/>
              <p:cNvSpPr/>
              <p:nvPr/>
            </p:nvSpPr>
            <p:spPr>
              <a:xfrm>
                <a:off x="6488604" y="2632162"/>
                <a:ext cx="487272" cy="765707"/>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0" name="Ellipse 39"/>
              <p:cNvSpPr/>
              <p:nvPr/>
            </p:nvSpPr>
            <p:spPr>
              <a:xfrm>
                <a:off x="6444208" y="2380134"/>
                <a:ext cx="576064" cy="50405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1" name="Ellipse 40"/>
              <p:cNvSpPr/>
              <p:nvPr/>
            </p:nvSpPr>
            <p:spPr>
              <a:xfrm>
                <a:off x="6444208" y="2380134"/>
                <a:ext cx="576064" cy="43204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nvGrpSpPr>
            <p:cNvPr id="6" name="Groupe 25"/>
            <p:cNvGrpSpPr>
              <a:grpSpLocks/>
            </p:cNvGrpSpPr>
            <p:nvPr/>
          </p:nvGrpSpPr>
          <p:grpSpPr bwMode="auto">
            <a:xfrm>
              <a:off x="6320911" y="2380134"/>
              <a:ext cx="819375" cy="1890669"/>
              <a:chOff x="6320911" y="2380134"/>
              <a:chExt cx="819375" cy="1890669"/>
            </a:xfrm>
          </p:grpSpPr>
          <p:sp>
            <p:nvSpPr>
              <p:cNvPr id="9" name="Rectangle 11"/>
              <p:cNvSpPr/>
              <p:nvPr/>
            </p:nvSpPr>
            <p:spPr>
              <a:xfrm>
                <a:off x="6681151" y="3329360"/>
                <a:ext cx="105956" cy="941443"/>
              </a:xfrm>
              <a:custGeom>
                <a:avLst/>
                <a:gdLst>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691782"/>
                  <a:gd name="connsiteX1" fmla="*/ 360040 w 360040"/>
                  <a:gd name="connsiteY1" fmla="*/ 0 h 1691782"/>
                  <a:gd name="connsiteX2" fmla="*/ 360040 w 360040"/>
                  <a:gd name="connsiteY2" fmla="*/ 1691782 h 1691782"/>
                  <a:gd name="connsiteX3" fmla="*/ 0 w 360040"/>
                  <a:gd name="connsiteY3" fmla="*/ 1691782 h 1691782"/>
                  <a:gd name="connsiteX4" fmla="*/ 0 w 360040"/>
                  <a:gd name="connsiteY4" fmla="*/ 0 h 1691782"/>
                  <a:gd name="connsiteX0" fmla="*/ 0 w 360040"/>
                  <a:gd name="connsiteY0" fmla="*/ 0 h 1891526"/>
                  <a:gd name="connsiteX1" fmla="*/ 360040 w 360040"/>
                  <a:gd name="connsiteY1" fmla="*/ 0 h 1891526"/>
                  <a:gd name="connsiteX2" fmla="*/ 360040 w 360040"/>
                  <a:gd name="connsiteY2" fmla="*/ 1691782 h 1891526"/>
                  <a:gd name="connsiteX3" fmla="*/ 0 w 360040"/>
                  <a:gd name="connsiteY3" fmla="*/ 1691782 h 1891526"/>
                  <a:gd name="connsiteX4" fmla="*/ 0 w 360040"/>
                  <a:gd name="connsiteY4" fmla="*/ 0 h 1891526"/>
                  <a:gd name="connsiteX0" fmla="*/ 0 w 360954"/>
                  <a:gd name="connsiteY0" fmla="*/ 0 h 1800769"/>
                  <a:gd name="connsiteX1" fmla="*/ 360040 w 360954"/>
                  <a:gd name="connsiteY1" fmla="*/ 0 h 1800769"/>
                  <a:gd name="connsiteX2" fmla="*/ 360040 w 360954"/>
                  <a:gd name="connsiteY2" fmla="*/ 1691782 h 1800769"/>
                  <a:gd name="connsiteX3" fmla="*/ 0 w 360954"/>
                  <a:gd name="connsiteY3" fmla="*/ 1691782 h 1800769"/>
                  <a:gd name="connsiteX4" fmla="*/ 0 w 360954"/>
                  <a:gd name="connsiteY4" fmla="*/ 0 h 1800769"/>
                  <a:gd name="connsiteX0" fmla="*/ 0 w 360725"/>
                  <a:gd name="connsiteY0" fmla="*/ 0 h 1757138"/>
                  <a:gd name="connsiteX1" fmla="*/ 360040 w 360725"/>
                  <a:gd name="connsiteY1" fmla="*/ 0 h 1757138"/>
                  <a:gd name="connsiteX2" fmla="*/ 360040 w 360725"/>
                  <a:gd name="connsiteY2" fmla="*/ 1691782 h 1757138"/>
                  <a:gd name="connsiteX3" fmla="*/ 0 w 360725"/>
                  <a:gd name="connsiteY3" fmla="*/ 1691782 h 1757138"/>
                  <a:gd name="connsiteX4" fmla="*/ 0 w 360725"/>
                  <a:gd name="connsiteY4" fmla="*/ 0 h 1757138"/>
                  <a:gd name="connsiteX0" fmla="*/ 0 w 360725"/>
                  <a:gd name="connsiteY0" fmla="*/ 0 h 1760590"/>
                  <a:gd name="connsiteX1" fmla="*/ 360040 w 360725"/>
                  <a:gd name="connsiteY1" fmla="*/ 0 h 1760590"/>
                  <a:gd name="connsiteX2" fmla="*/ 360040 w 360725"/>
                  <a:gd name="connsiteY2" fmla="*/ 1705177 h 1760590"/>
                  <a:gd name="connsiteX3" fmla="*/ 0 w 360725"/>
                  <a:gd name="connsiteY3" fmla="*/ 1691782 h 1760590"/>
                  <a:gd name="connsiteX4" fmla="*/ 0 w 360725"/>
                  <a:gd name="connsiteY4" fmla="*/ 0 h 176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725" h="1760590">
                    <a:moveTo>
                      <a:pt x="0" y="0"/>
                    </a:moveTo>
                    <a:lnTo>
                      <a:pt x="360040" y="0"/>
                    </a:lnTo>
                    <a:lnTo>
                      <a:pt x="360040" y="1705177"/>
                    </a:lnTo>
                    <a:cubicBezTo>
                      <a:pt x="376233" y="1695041"/>
                      <a:pt x="100933" y="1843776"/>
                      <a:pt x="0" y="1691782"/>
                    </a:cubicBezTo>
                    <a:lnTo>
                      <a:pt x="0" y="0"/>
                    </a:lnTo>
                    <a:close/>
                  </a:path>
                </a:pathLst>
              </a:custGeom>
              <a:gradFill flip="none" rotWithShape="1">
                <a:gsLst>
                  <a:gs pos="0">
                    <a:srgbClr val="FFFFFF"/>
                  </a:gs>
                  <a:gs pos="7001">
                    <a:srgbClr val="E6E6E6"/>
                  </a:gs>
                  <a:gs pos="32001">
                    <a:srgbClr val="7D8496"/>
                  </a:gs>
                  <a:gs pos="47000">
                    <a:srgbClr val="E6E6E6"/>
                  </a:gs>
                  <a:gs pos="85001">
                    <a:srgbClr val="7D8496"/>
                  </a:gs>
                  <a:gs pos="100000">
                    <a:srgbClr val="E6E6E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0" name="Ellipse 12"/>
              <p:cNvSpPr/>
              <p:nvPr/>
            </p:nvSpPr>
            <p:spPr>
              <a:xfrm>
                <a:off x="6320911" y="2971455"/>
                <a:ext cx="819375" cy="700249"/>
              </a:xfrm>
              <a:prstGeom prst="ellipse">
                <a:avLst/>
              </a:prstGeom>
              <a:gradFill flip="none" rotWithShape="1">
                <a:gsLst>
                  <a:gs pos="0">
                    <a:srgbClr val="004D86"/>
                  </a:gs>
                  <a:gs pos="100000">
                    <a:srgbClr val="00B0F0"/>
                  </a:gs>
                </a:gsLst>
                <a:lin ang="2700000" scaled="1"/>
                <a:tileRect/>
              </a:gra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1" name="Ellipse 13"/>
              <p:cNvSpPr/>
              <p:nvPr/>
            </p:nvSpPr>
            <p:spPr>
              <a:xfrm rot="1800000">
                <a:off x="6342100" y="3033700"/>
                <a:ext cx="649849" cy="599099"/>
              </a:xfrm>
              <a:prstGeom prst="ellipse">
                <a:avLst/>
              </a:prstGeom>
              <a:gradFill flip="none" rotWithShape="1">
                <a:gsLst>
                  <a:gs pos="68350">
                    <a:srgbClr val="0091CF"/>
                  </a:gs>
                  <a:gs pos="36700">
                    <a:srgbClr val="0071AD"/>
                  </a:gs>
                  <a:gs pos="0">
                    <a:srgbClr val="004D86"/>
                  </a:gs>
                  <a:gs pos="100000">
                    <a:srgbClr val="00B0F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pic>
            <p:nvPicPr>
              <p:cNvPr id="12" name="Picture 5"/>
              <p:cNvPicPr>
                <a:picLocks noChangeAspect="1" noChangeArrowheads="1"/>
              </p:cNvPicPr>
              <p:nvPr/>
            </p:nvPicPr>
            <p:blipFill>
              <a:blip r:embed="rId3" cstate="print"/>
              <a:srcRect l="23138" t="19901" r="24571" b="27188"/>
              <a:stretch>
                <a:fillRect/>
              </a:stretch>
            </p:blipFill>
            <p:spPr bwMode="auto">
              <a:xfrm rot="-1835306">
                <a:off x="6730129" y="3272365"/>
                <a:ext cx="385960" cy="294981"/>
              </a:xfrm>
              <a:prstGeom prst="rect">
                <a:avLst/>
              </a:prstGeom>
              <a:noFill/>
              <a:ln w="9525">
                <a:noFill/>
                <a:miter lim="800000"/>
                <a:headEnd/>
                <a:tailEnd/>
              </a:ln>
            </p:spPr>
          </p:pic>
          <p:sp>
            <p:nvSpPr>
              <p:cNvPr id="13" name="Trapèze 10"/>
              <p:cNvSpPr/>
              <p:nvPr/>
            </p:nvSpPr>
            <p:spPr>
              <a:xfrm>
                <a:off x="6483371" y="2629111"/>
                <a:ext cx="494450" cy="770271"/>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914400"/>
                  <a:gd name="connsiteY0" fmla="*/ 1216152 h 1406802"/>
                  <a:gd name="connsiteX1" fmla="*/ 228600 w 914400"/>
                  <a:gd name="connsiteY1" fmla="*/ 0 h 1406802"/>
                  <a:gd name="connsiteX2" fmla="*/ 685800 w 914400"/>
                  <a:gd name="connsiteY2" fmla="*/ 0 h 1406802"/>
                  <a:gd name="connsiteX3" fmla="*/ 914400 w 914400"/>
                  <a:gd name="connsiteY3" fmla="*/ 1216152 h 1406802"/>
                  <a:gd name="connsiteX4" fmla="*/ 0 w 914400"/>
                  <a:gd name="connsiteY4" fmla="*/ 1216152 h 1406802"/>
                  <a:gd name="connsiteX0" fmla="*/ 0 w 914400"/>
                  <a:gd name="connsiteY0" fmla="*/ 1216152 h 1436902"/>
                  <a:gd name="connsiteX1" fmla="*/ 228600 w 914400"/>
                  <a:gd name="connsiteY1" fmla="*/ 0 h 1436902"/>
                  <a:gd name="connsiteX2" fmla="*/ 685800 w 914400"/>
                  <a:gd name="connsiteY2" fmla="*/ 0 h 1436902"/>
                  <a:gd name="connsiteX3" fmla="*/ 914400 w 914400"/>
                  <a:gd name="connsiteY3" fmla="*/ 1216152 h 1436902"/>
                  <a:gd name="connsiteX4" fmla="*/ 0 w 914400"/>
                  <a:gd name="connsiteY4" fmla="*/ 1216152 h 143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36902">
                    <a:moveTo>
                      <a:pt x="0" y="1216152"/>
                    </a:moveTo>
                    <a:lnTo>
                      <a:pt x="228600" y="0"/>
                    </a:lnTo>
                    <a:lnTo>
                      <a:pt x="685800" y="0"/>
                    </a:lnTo>
                    <a:lnTo>
                      <a:pt x="914400" y="1216152"/>
                    </a:lnTo>
                    <a:cubicBezTo>
                      <a:pt x="737539" y="1517152"/>
                      <a:pt x="167923" y="1503746"/>
                      <a:pt x="0" y="1216152"/>
                    </a:cubicBez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4" name="Ellipse 7"/>
              <p:cNvSpPr/>
              <p:nvPr/>
            </p:nvSpPr>
            <p:spPr>
              <a:xfrm>
                <a:off x="6440990" y="2380134"/>
                <a:ext cx="579213" cy="505733"/>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81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5" name="Ellipse 5"/>
              <p:cNvSpPr/>
              <p:nvPr/>
            </p:nvSpPr>
            <p:spPr>
              <a:xfrm>
                <a:off x="6440990" y="2380134"/>
                <a:ext cx="579213" cy="427927"/>
              </a:xfrm>
              <a:prstGeom prst="ellipse">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grpSp>
      </p:grpSp>
      <p:sp>
        <p:nvSpPr>
          <p:cNvPr id="7" name="Footer Placeholder 6"/>
          <p:cNvSpPr>
            <a:spLocks noGrp="1"/>
          </p:cNvSpPr>
          <p:nvPr>
            <p:ph type="ftr" sz="quarter" idx="11"/>
          </p:nvPr>
        </p:nvSpPr>
        <p:spPr/>
        <p:txBody>
          <a:bodyPr/>
          <a:lstStyle/>
          <a:p>
            <a:r>
              <a:rPr lang="en-US" smtClean="0"/>
              <a:t>GURU (SEKOLAH)</a:t>
            </a:r>
            <a:endParaRPr lang="en-US"/>
          </a:p>
        </p:txBody>
      </p:sp>
      <p:sp>
        <p:nvSpPr>
          <p:cNvPr id="8" name="Slide Number Placeholder 7"/>
          <p:cNvSpPr>
            <a:spLocks noGrp="1"/>
          </p:cNvSpPr>
          <p:nvPr>
            <p:ph type="sldNum" sz="quarter" idx="12"/>
          </p:nvPr>
        </p:nvSpPr>
        <p:spPr/>
        <p:txBody>
          <a:bodyPr/>
          <a:lstStyle/>
          <a:p>
            <a:fld id="{4D86EDED-B1AF-7E4B-94C9-3F0EAA36C7D5}" type="slidenum">
              <a:rPr lang="en-US" smtClean="0"/>
              <a:pPr/>
              <a:t>73</a:t>
            </a:fld>
            <a:endParaRPr lang="en-US"/>
          </a:p>
        </p:txBody>
      </p:sp>
      <p:sp>
        <p:nvSpPr>
          <p:cNvPr id="22" name="Rectangle 21"/>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PENGISIAN MARKAH INSTRUMEN KEPADA PYD </a:t>
            </a:r>
            <a:endParaRPr lang="en-US" sz="2800" b="1" dirty="0">
              <a:solidFill>
                <a:schemeClr val="bg1"/>
              </a:solidFill>
              <a:latin typeface="Segoe UI" pitchFamily="34" charset="0"/>
              <a:ea typeface="Segoe UI" pitchFamily="34" charset="0"/>
              <a:cs typeface="Segoe UI" pitchFamily="34" charset="0"/>
            </a:endParaRP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74</a:t>
            </a:fld>
            <a:endParaRPr lang="en-US"/>
          </a:p>
        </p:txBody>
      </p:sp>
      <p:pic>
        <p:nvPicPr>
          <p:cNvPr id="44036" name="Picture 4" descr="C:\Users\Administrator\Desktop\Kerja Keras terengganu\TERIMA KASIH.png"/>
          <p:cNvPicPr>
            <a:picLocks noChangeAspect="1" noChangeArrowheads="1"/>
          </p:cNvPicPr>
          <p:nvPr/>
        </p:nvPicPr>
        <p:blipFill>
          <a:blip r:embed="rId2"/>
          <a:srcRect/>
          <a:stretch>
            <a:fillRect/>
          </a:stretch>
        </p:blipFill>
        <p:spPr bwMode="auto">
          <a:xfrm>
            <a:off x="1" y="449442"/>
            <a:ext cx="9144000" cy="6732519"/>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3290958" y="6382384"/>
            <a:ext cx="4958521" cy="365125"/>
          </a:xfrm>
        </p:spPr>
        <p:txBody>
          <a:bodyPr/>
          <a:lstStyle/>
          <a:p>
            <a:r>
              <a:rPr lang="en-US" smtClean="0"/>
              <a:t>GURU (SEKOLAH)</a:t>
            </a:r>
            <a:endParaRPr lang="en-US"/>
          </a:p>
        </p:txBody>
      </p:sp>
      <p:sp>
        <p:nvSpPr>
          <p:cNvPr id="5" name="Slide Number Placeholder 4"/>
          <p:cNvSpPr>
            <a:spLocks noGrp="1"/>
          </p:cNvSpPr>
          <p:nvPr>
            <p:ph type="sldNum" sz="quarter" idx="12"/>
          </p:nvPr>
        </p:nvSpPr>
        <p:spPr>
          <a:xfrm>
            <a:off x="6553200" y="6371341"/>
            <a:ext cx="2133600" cy="365125"/>
          </a:xfrm>
        </p:spPr>
        <p:txBody>
          <a:bodyPr/>
          <a:lstStyle/>
          <a:p>
            <a:fld id="{4D86EDED-B1AF-7E4B-94C9-3F0EAA36C7D5}" type="slidenum">
              <a:rPr lang="en-US" smtClean="0"/>
              <a:pPr/>
              <a:t>8</a:t>
            </a:fld>
            <a:endParaRPr lang="en-US" dirty="0"/>
          </a:p>
        </p:txBody>
      </p:sp>
      <p:sp>
        <p:nvSpPr>
          <p:cNvPr id="37" name="Rectangle 36"/>
          <p:cNvSpPr/>
          <p:nvPr/>
        </p:nvSpPr>
        <p:spPr>
          <a:xfrm>
            <a:off x="217549" y="1682385"/>
            <a:ext cx="5929355" cy="646331"/>
          </a:xfrm>
          <a:prstGeom prst="rect">
            <a:avLst/>
          </a:prstGeom>
        </p:spPr>
        <p:txBody>
          <a:bodyPr wrap="square">
            <a:spAutoFit/>
          </a:bodyPr>
          <a:lstStyle/>
          <a:p>
            <a:r>
              <a:rPr lang="ms-MY" altLang="en-US" dirty="0" smtClean="0">
                <a:solidFill>
                  <a:schemeClr val="tx1"/>
                </a:solidFill>
                <a:latin typeface="Arial" pitchFamily="34" charset="0"/>
                <a:cs typeface="Arial" pitchFamily="34" charset="0"/>
              </a:rPr>
              <a:t>Penilaian Bersepadu Pegawai Perkhidmatan Pendidikan (PBPPP) adalah :</a:t>
            </a:r>
            <a:endParaRPr lang="en-US" altLang="en-US" dirty="0" smtClean="0">
              <a:solidFill>
                <a:schemeClr val="tx1"/>
              </a:solidFill>
              <a:latin typeface="Arial" pitchFamily="34" charset="0"/>
              <a:cs typeface="Arial" pitchFamily="34" charset="0"/>
            </a:endParaRPr>
          </a:p>
        </p:txBody>
      </p:sp>
      <p:grpSp>
        <p:nvGrpSpPr>
          <p:cNvPr id="2" name="Group 37"/>
          <p:cNvGrpSpPr/>
          <p:nvPr/>
        </p:nvGrpSpPr>
        <p:grpSpPr>
          <a:xfrm>
            <a:off x="142845" y="2376644"/>
            <a:ext cx="6429452" cy="1802353"/>
            <a:chOff x="3436425" y="472806"/>
            <a:chExt cx="5469778" cy="1115208"/>
          </a:xfrm>
        </p:grpSpPr>
        <p:pic>
          <p:nvPicPr>
            <p:cNvPr id="39" name="Picture 38" descr="D:\goanimate\ppt\new_layout\arrow01.png"/>
            <p:cNvPicPr>
              <a:picLocks noChangeAspect="1" noChangeArrowheads="1"/>
            </p:cNvPicPr>
            <p:nvPr/>
          </p:nvPicPr>
          <p:blipFill>
            <a:blip r:embed="rId3" cstate="print"/>
            <a:srcRect/>
            <a:stretch>
              <a:fillRect/>
            </a:stretch>
          </p:blipFill>
          <p:spPr bwMode="auto">
            <a:xfrm>
              <a:off x="3436425" y="571480"/>
              <a:ext cx="5469778" cy="1016534"/>
            </a:xfrm>
            <a:prstGeom prst="rect">
              <a:avLst/>
            </a:prstGeom>
            <a:noFill/>
            <a:ln w="9525">
              <a:noFill/>
              <a:miter lim="800000"/>
              <a:headEnd/>
              <a:tailEnd/>
            </a:ln>
          </p:spPr>
        </p:pic>
        <p:pic>
          <p:nvPicPr>
            <p:cNvPr id="40" name="Picture 31"/>
            <p:cNvPicPr>
              <a:picLocks noChangeAspect="1" noChangeArrowheads="1"/>
            </p:cNvPicPr>
            <p:nvPr/>
          </p:nvPicPr>
          <p:blipFill>
            <a:blip r:embed="rId4" cstate="print"/>
            <a:srcRect/>
            <a:stretch>
              <a:fillRect/>
            </a:stretch>
          </p:blipFill>
          <p:spPr bwMode="auto">
            <a:xfrm>
              <a:off x="4271712" y="669298"/>
              <a:ext cx="4496309" cy="820899"/>
            </a:xfrm>
            <a:prstGeom prst="rect">
              <a:avLst/>
            </a:prstGeom>
            <a:noFill/>
            <a:ln w="9525">
              <a:noFill/>
              <a:miter lim="800000"/>
              <a:headEnd/>
              <a:tailEnd/>
            </a:ln>
          </p:spPr>
        </p:pic>
        <p:sp>
          <p:nvSpPr>
            <p:cNvPr id="41" name="Title 1"/>
            <p:cNvSpPr txBox="1">
              <a:spLocks noChangeArrowheads="1"/>
            </p:cNvSpPr>
            <p:nvPr/>
          </p:nvSpPr>
          <p:spPr bwMode="auto">
            <a:xfrm>
              <a:off x="4494592" y="776705"/>
              <a:ext cx="4298590" cy="604166"/>
            </a:xfrm>
            <a:prstGeom prst="rect">
              <a:avLst/>
            </a:prstGeom>
            <a:noFill/>
            <a:ln w="9525">
              <a:noFill/>
              <a:miter lim="800000"/>
              <a:headEnd/>
              <a:tailEnd/>
            </a:ln>
          </p:spPr>
          <p:txBody>
            <a:bodyPr anchor="ctr"/>
            <a:lstStyle/>
            <a:p>
              <a:pPr lvl="0"/>
              <a:r>
                <a:rPr lang="ms-MY" altLang="en-US" dirty="0" smtClean="0">
                  <a:solidFill>
                    <a:schemeClr val="bg1"/>
                  </a:solidFill>
                  <a:latin typeface="Arial" pitchFamily="34" charset="0"/>
                  <a:cs typeface="Arial" pitchFamily="34" charset="0"/>
                </a:rPr>
                <a:t>Konsep Berasaskan Tugas dan Tempat Bertugas </a:t>
              </a:r>
              <a:r>
                <a:rPr lang="ms-MY" altLang="en-US" i="1" dirty="0" smtClean="0">
                  <a:solidFill>
                    <a:schemeClr val="bg1"/>
                  </a:solidFill>
                  <a:latin typeface="Arial" pitchFamily="34" charset="0"/>
                  <a:cs typeface="Arial" pitchFamily="34" charset="0"/>
                </a:rPr>
                <a:t>(Job-Based and Work Place)</a:t>
              </a:r>
              <a:endParaRPr lang="en-US" dirty="0">
                <a:solidFill>
                  <a:schemeClr val="bg1"/>
                </a:solidFill>
                <a:effectLst>
                  <a:outerShdw blurRad="38100" dist="38100" dir="2700000" algn="tl">
                    <a:srgbClr val="000000">
                      <a:alpha val="43137"/>
                    </a:srgbClr>
                  </a:outerShdw>
                </a:effectLst>
              </a:endParaRPr>
            </a:p>
          </p:txBody>
        </p:sp>
        <p:sp>
          <p:nvSpPr>
            <p:cNvPr id="42" name="Title 1"/>
            <p:cNvSpPr txBox="1">
              <a:spLocks noChangeArrowheads="1"/>
            </p:cNvSpPr>
            <p:nvPr/>
          </p:nvSpPr>
          <p:spPr bwMode="auto">
            <a:xfrm>
              <a:off x="3618750" y="472806"/>
              <a:ext cx="857256" cy="1066800"/>
            </a:xfrm>
            <a:prstGeom prst="rect">
              <a:avLst/>
            </a:prstGeom>
            <a:noFill/>
            <a:ln w="9525">
              <a:noFill/>
              <a:miter lim="800000"/>
              <a:headEnd/>
              <a:tailEnd/>
            </a:ln>
          </p:spPr>
          <p:txBody>
            <a:bodyPr anchor="ctr"/>
            <a:lstStyle/>
            <a:p>
              <a:r>
                <a:rPr lang="en-US" sz="8800" b="1" smtClean="0">
                  <a:latin typeface="Georgia" pitchFamily="18" charset="0"/>
                  <a:ea typeface="PMingLiU" pitchFamily="18" charset="-120"/>
                </a:rPr>
                <a:t>1</a:t>
              </a:r>
              <a:endParaRPr lang="en-US" sz="2000">
                <a:latin typeface="Calibri" pitchFamily="34" charset="0"/>
                <a:ea typeface="PMingLiU" pitchFamily="18" charset="-120"/>
              </a:endParaRPr>
            </a:p>
          </p:txBody>
        </p:sp>
      </p:grpSp>
      <p:grpSp>
        <p:nvGrpSpPr>
          <p:cNvPr id="3" name="Group 42"/>
          <p:cNvGrpSpPr/>
          <p:nvPr/>
        </p:nvGrpSpPr>
        <p:grpSpPr>
          <a:xfrm>
            <a:off x="1571605" y="4321871"/>
            <a:ext cx="7072361" cy="1846368"/>
            <a:chOff x="1816342" y="2731587"/>
            <a:chExt cx="5718893" cy="1142443"/>
          </a:xfrm>
        </p:grpSpPr>
        <p:pic>
          <p:nvPicPr>
            <p:cNvPr id="44" name="Picture 38" descr="D:\goanimate\ppt\new_layout\arrow01.png"/>
            <p:cNvPicPr>
              <a:picLocks noChangeAspect="1" noChangeArrowheads="1"/>
            </p:cNvPicPr>
            <p:nvPr/>
          </p:nvPicPr>
          <p:blipFill>
            <a:blip r:embed="rId3" cstate="print"/>
            <a:srcRect/>
            <a:stretch>
              <a:fillRect/>
            </a:stretch>
          </p:blipFill>
          <p:spPr bwMode="auto">
            <a:xfrm>
              <a:off x="1816342" y="2857496"/>
              <a:ext cx="5718893" cy="1016534"/>
            </a:xfrm>
            <a:prstGeom prst="rect">
              <a:avLst/>
            </a:prstGeom>
            <a:noFill/>
            <a:ln w="9525">
              <a:noFill/>
              <a:miter lim="800000"/>
              <a:headEnd/>
              <a:tailEnd/>
            </a:ln>
          </p:spPr>
        </p:pic>
        <p:pic>
          <p:nvPicPr>
            <p:cNvPr id="45" name="Picture 32"/>
            <p:cNvPicPr>
              <a:picLocks noChangeAspect="1" noChangeArrowheads="1"/>
            </p:cNvPicPr>
            <p:nvPr/>
          </p:nvPicPr>
          <p:blipFill>
            <a:blip r:embed="rId5" cstate="print"/>
            <a:srcRect/>
            <a:stretch>
              <a:fillRect/>
            </a:stretch>
          </p:blipFill>
          <p:spPr bwMode="auto">
            <a:xfrm>
              <a:off x="2666684" y="2980247"/>
              <a:ext cx="4755920" cy="817064"/>
            </a:xfrm>
            <a:prstGeom prst="rect">
              <a:avLst/>
            </a:prstGeom>
            <a:noFill/>
            <a:ln w="9525">
              <a:noFill/>
              <a:miter lim="800000"/>
              <a:headEnd/>
              <a:tailEnd/>
            </a:ln>
          </p:spPr>
        </p:pic>
        <p:sp>
          <p:nvSpPr>
            <p:cNvPr id="46" name="Title 1"/>
            <p:cNvSpPr txBox="1">
              <a:spLocks noChangeArrowheads="1"/>
            </p:cNvSpPr>
            <p:nvPr/>
          </p:nvSpPr>
          <p:spPr bwMode="auto">
            <a:xfrm>
              <a:off x="2950315" y="3085737"/>
              <a:ext cx="3933562" cy="606085"/>
            </a:xfrm>
            <a:prstGeom prst="rect">
              <a:avLst/>
            </a:prstGeom>
            <a:noFill/>
            <a:ln w="9525">
              <a:noFill/>
              <a:miter lim="800000"/>
              <a:headEnd/>
              <a:tailEnd/>
            </a:ln>
          </p:spPr>
          <p:txBody>
            <a:bodyPr anchor="ctr"/>
            <a:lstStyle/>
            <a:p>
              <a:r>
                <a:rPr lang="ms-MY" altLang="en-US" dirty="0" smtClean="0">
                  <a:solidFill>
                    <a:schemeClr val="bg1"/>
                  </a:solidFill>
                  <a:latin typeface="Arial" pitchFamily="34" charset="0"/>
                  <a:cs typeface="Arial" pitchFamily="34" charset="0"/>
                </a:rPr>
                <a:t>Standard prestasi selaras dengan </a:t>
              </a:r>
              <a:r>
                <a:rPr lang="ms-MY" altLang="en-US" i="1" dirty="0" smtClean="0">
                  <a:solidFill>
                    <a:schemeClr val="bg1"/>
                  </a:solidFill>
                  <a:latin typeface="Arial" pitchFamily="34" charset="0"/>
                  <a:cs typeface="Arial" pitchFamily="34" charset="0"/>
                </a:rPr>
                <a:t>Goverment Transformation Programme</a:t>
              </a:r>
              <a:r>
                <a:rPr lang="ms-MY" altLang="en-US" dirty="0" smtClean="0">
                  <a:solidFill>
                    <a:schemeClr val="bg1"/>
                  </a:solidFill>
                  <a:latin typeface="Arial" pitchFamily="34" charset="0"/>
                  <a:cs typeface="Arial" pitchFamily="34" charset="0"/>
                </a:rPr>
                <a:t> 2.0 (GTP 2.0) dan Pelan Pembangunan Pendidikan Malaysia (PPPM) 2013 – 2025</a:t>
              </a:r>
              <a:endParaRPr lang="en-US" b="1" dirty="0">
                <a:solidFill>
                  <a:schemeClr val="bg1"/>
                </a:solidFill>
                <a:effectLst>
                  <a:outerShdw blurRad="38100" dist="38100" dir="2700000" algn="tl">
                    <a:srgbClr val="000000">
                      <a:alpha val="43137"/>
                    </a:srgbClr>
                  </a:outerShdw>
                </a:effectLst>
                <a:ea typeface="PMingLiU" pitchFamily="18" charset="-120"/>
              </a:endParaRPr>
            </a:p>
          </p:txBody>
        </p:sp>
        <p:sp>
          <p:nvSpPr>
            <p:cNvPr id="47" name="Title 1"/>
            <p:cNvSpPr txBox="1">
              <a:spLocks noChangeArrowheads="1"/>
            </p:cNvSpPr>
            <p:nvPr/>
          </p:nvSpPr>
          <p:spPr bwMode="auto">
            <a:xfrm>
              <a:off x="1931875" y="2731587"/>
              <a:ext cx="857256" cy="1066800"/>
            </a:xfrm>
            <a:prstGeom prst="rect">
              <a:avLst/>
            </a:prstGeom>
            <a:noFill/>
            <a:ln w="9525">
              <a:noFill/>
              <a:miter lim="800000"/>
              <a:headEnd/>
              <a:tailEnd/>
            </a:ln>
          </p:spPr>
          <p:txBody>
            <a:bodyPr anchor="ctr"/>
            <a:lstStyle/>
            <a:p>
              <a:r>
                <a:rPr lang="en-US" sz="8800" b="1" smtClean="0">
                  <a:latin typeface="Georgia" pitchFamily="18" charset="0"/>
                  <a:ea typeface="PMingLiU" pitchFamily="18" charset="-120"/>
                </a:rPr>
                <a:t>2</a:t>
              </a:r>
              <a:endParaRPr lang="en-US" sz="2000">
                <a:latin typeface="Calibri" pitchFamily="34" charset="0"/>
                <a:ea typeface="PMingLiU" pitchFamily="18" charset="-120"/>
              </a:endParaRPr>
            </a:p>
          </p:txBody>
        </p:sp>
      </p:grpSp>
      <p:pic>
        <p:nvPicPr>
          <p:cNvPr id="55" name="Picture Placeholder 9"/>
          <p:cNvPicPr>
            <a:picLocks noChangeAspect="1"/>
          </p:cNvPicPr>
          <p:nvPr/>
        </p:nvPicPr>
        <p:blipFill>
          <a:blip r:embed="rId6" cstate="print"/>
          <a:stretch>
            <a:fillRect/>
          </a:stretch>
        </p:blipFill>
        <p:spPr>
          <a:xfrm>
            <a:off x="6909759" y="3451877"/>
            <a:ext cx="928695" cy="78468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9" name="Rectangle 18"/>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smtClean="0">
                <a:solidFill>
                  <a:schemeClr val="bg1"/>
                </a:solidFill>
                <a:latin typeface="Segoe UI" pitchFamily="34" charset="0"/>
                <a:ea typeface="Segoe UI" pitchFamily="34" charset="0"/>
                <a:cs typeface="Segoe UI" pitchFamily="34" charset="0"/>
              </a:rPr>
              <a:t>PENGENALAN</a:t>
            </a:r>
            <a:endParaRPr lang="en-US" sz="3600" b="1" dirty="0">
              <a:solidFill>
                <a:schemeClr val="bg1"/>
              </a:solidFill>
              <a:latin typeface="Segoe UI" pitchFamily="34" charset="0"/>
              <a:ea typeface="Segoe UI" pitchFamily="34" charset="0"/>
              <a:cs typeface="Segoe UI" pitchFamily="34" charset="0"/>
            </a:endParaRPr>
          </a:p>
        </p:txBody>
      </p:sp>
      <p:sp>
        <p:nvSpPr>
          <p:cNvPr id="28" name="Teardrop 27"/>
          <p:cNvSpPr/>
          <p:nvPr/>
        </p:nvSpPr>
        <p:spPr>
          <a:xfrm>
            <a:off x="6409869" y="801610"/>
            <a:ext cx="2448379" cy="2650266"/>
          </a:xfrm>
          <a:prstGeom prst="teardrop">
            <a:avLst/>
          </a:prstGeom>
          <a:blipFill>
            <a:blip r:embed="rId7" cstate="print"/>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5"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p:cTn id="7" dur="500" decel="50000" fill="hold">
                                          <p:stCondLst>
                                            <p:cond delay="0"/>
                                          </p:stCondLst>
                                        </p:cTn>
                                        <p:tgtEl>
                                          <p:spTgt spid="37"/>
                                        </p:tgtEl>
                                        <p:attrNameLst>
                                          <p:attrName>style.rotation</p:attrName>
                                        </p:attrNameLst>
                                      </p:cBhvr>
                                      <p:tavLst>
                                        <p:tav tm="0">
                                          <p:val>
                                            <p:fltVal val="-90"/>
                                          </p:val>
                                        </p:tav>
                                        <p:tav tm="100000">
                                          <p:val>
                                            <p:fltVal val="0"/>
                                          </p:val>
                                        </p:tav>
                                      </p:tavLst>
                                    </p:anim>
                                    <p:anim calcmode="lin" valueType="num">
                                      <p:cBhvr>
                                        <p:cTn id="8" dur="500" decel="50000" fill="hold">
                                          <p:stCondLst>
                                            <p:cond delay="0"/>
                                          </p:stCondLst>
                                        </p:cTn>
                                        <p:tgtEl>
                                          <p:spTgt spid="37"/>
                                        </p:tgtEl>
                                        <p:attrNameLst>
                                          <p:attrName>ppt_w</p:attrName>
                                        </p:attrNameLst>
                                      </p:cBhvr>
                                      <p:tavLst>
                                        <p:tav tm="0">
                                          <p:val>
                                            <p:strVal val="#ppt_w"/>
                                          </p:val>
                                        </p:tav>
                                        <p:tav tm="100000">
                                          <p:val>
                                            <p:strVal val="#ppt_w*.05"/>
                                          </p:val>
                                        </p:tav>
                                      </p:tavLst>
                                    </p:anim>
                                    <p:anim calcmode="lin" valueType="num">
                                      <p:cBhvr>
                                        <p:cTn id="9" dur="500" accel="50000" fill="hold">
                                          <p:stCondLst>
                                            <p:cond delay="500"/>
                                          </p:stCondLst>
                                        </p:cTn>
                                        <p:tgtEl>
                                          <p:spTgt spid="37"/>
                                        </p:tgtEl>
                                        <p:attrNameLst>
                                          <p:attrName>ppt_w</p:attrName>
                                        </p:attrNameLst>
                                      </p:cBhvr>
                                      <p:tavLst>
                                        <p:tav tm="0">
                                          <p:val>
                                            <p:strVal val="#ppt_w*.05"/>
                                          </p:val>
                                        </p:tav>
                                        <p:tav tm="100000">
                                          <p:val>
                                            <p:strVal val="#ppt_w"/>
                                          </p:val>
                                        </p:tav>
                                      </p:tavLst>
                                    </p:anim>
                                    <p:anim calcmode="lin" valueType="num">
                                      <p:cBhvr>
                                        <p:cTn id="10" dur="1000" fill="hold"/>
                                        <p:tgtEl>
                                          <p:spTgt spid="37"/>
                                        </p:tgtEl>
                                        <p:attrNameLst>
                                          <p:attrName>ppt_h</p:attrName>
                                        </p:attrNameLst>
                                      </p:cBhvr>
                                      <p:tavLst>
                                        <p:tav tm="0">
                                          <p:val>
                                            <p:strVal val="#ppt_h"/>
                                          </p:val>
                                        </p:tav>
                                        <p:tav tm="100000">
                                          <p:val>
                                            <p:strVal val="#ppt_h"/>
                                          </p:val>
                                        </p:tav>
                                      </p:tavLst>
                                    </p:anim>
                                    <p:anim calcmode="lin" valueType="num">
                                      <p:cBhvr>
                                        <p:cTn id="11" dur="500" decel="50000" fill="hold">
                                          <p:stCondLst>
                                            <p:cond delay="0"/>
                                          </p:stCondLst>
                                        </p:cTn>
                                        <p:tgtEl>
                                          <p:spTgt spid="37"/>
                                        </p:tgtEl>
                                        <p:attrNameLst>
                                          <p:attrName>ppt_x</p:attrName>
                                        </p:attrNameLst>
                                      </p:cBhvr>
                                      <p:tavLst>
                                        <p:tav tm="0">
                                          <p:val>
                                            <p:strVal val="#ppt_x+.4"/>
                                          </p:val>
                                        </p:tav>
                                        <p:tav tm="100000">
                                          <p:val>
                                            <p:strVal val="#ppt_x"/>
                                          </p:val>
                                        </p:tav>
                                      </p:tavLst>
                                    </p:anim>
                                    <p:anim calcmode="lin" valueType="num">
                                      <p:cBhvr>
                                        <p:cTn id="12" dur="500" decel="50000" fill="hold">
                                          <p:stCondLst>
                                            <p:cond delay="0"/>
                                          </p:stCondLst>
                                        </p:cTn>
                                        <p:tgtEl>
                                          <p:spTgt spid="37"/>
                                        </p:tgtEl>
                                        <p:attrNameLst>
                                          <p:attrName>ppt_y</p:attrName>
                                        </p:attrNameLst>
                                      </p:cBhvr>
                                      <p:tavLst>
                                        <p:tav tm="0">
                                          <p:val>
                                            <p:strVal val="#ppt_y-.2"/>
                                          </p:val>
                                        </p:tav>
                                        <p:tav tm="100000">
                                          <p:val>
                                            <p:strVal val="#ppt_y+.1"/>
                                          </p:val>
                                        </p:tav>
                                      </p:tavLst>
                                    </p:anim>
                                    <p:anim calcmode="lin" valueType="num">
                                      <p:cBhvr>
                                        <p:cTn id="13" dur="500" accel="50000" fill="hold">
                                          <p:stCondLst>
                                            <p:cond delay="500"/>
                                          </p:stCondLst>
                                        </p:cTn>
                                        <p:tgtEl>
                                          <p:spTgt spid="37"/>
                                        </p:tgtEl>
                                        <p:attrNameLst>
                                          <p:attrName>ppt_y</p:attrName>
                                        </p:attrNameLst>
                                      </p:cBhvr>
                                      <p:tavLst>
                                        <p:tav tm="0">
                                          <p:val>
                                            <p:strVal val="#ppt_y+.1"/>
                                          </p:val>
                                        </p:tav>
                                        <p:tav tm="100000">
                                          <p:val>
                                            <p:strVal val="#ppt_y"/>
                                          </p:val>
                                        </p:tav>
                                      </p:tavLst>
                                    </p:anim>
                                    <p:animEffect transition="in" filter="fade">
                                      <p:cBhvr>
                                        <p:cTn id="14" dur="1000" decel="50000">
                                          <p:stCondLst>
                                            <p:cond delay="0"/>
                                          </p:stCondLst>
                                        </p:cTn>
                                        <p:tgtEl>
                                          <p:spTgt spid="37"/>
                                        </p:tgtEl>
                                      </p:cBhvr>
                                    </p:animEffect>
                                  </p:childTnLst>
                                </p:cTn>
                              </p:par>
                              <p:par>
                                <p:cTn id="15" presetID="25"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p:cTn id="17" dur="500" decel="50000" fill="hold">
                                          <p:stCondLst>
                                            <p:cond delay="0"/>
                                          </p:stCondLst>
                                        </p:cTn>
                                        <p:tgtEl>
                                          <p:spTgt spid="2"/>
                                        </p:tgtEl>
                                        <p:attrNameLst>
                                          <p:attrName>style.rotation</p:attrName>
                                        </p:attrNameLst>
                                      </p:cBhvr>
                                      <p:tavLst>
                                        <p:tav tm="0">
                                          <p:val>
                                            <p:fltVal val="-90"/>
                                          </p:val>
                                        </p:tav>
                                        <p:tav tm="100000">
                                          <p:val>
                                            <p:fltVal val="0"/>
                                          </p:val>
                                        </p:tav>
                                      </p:tavLst>
                                    </p:anim>
                                    <p:anim calcmode="lin" valueType="num">
                                      <p:cBhvr>
                                        <p:cTn id="18" dur="500" decel="50000" fill="hold">
                                          <p:stCondLst>
                                            <p:cond delay="0"/>
                                          </p:stCondLst>
                                        </p:cTn>
                                        <p:tgtEl>
                                          <p:spTgt spid="2"/>
                                        </p:tgtEl>
                                        <p:attrNameLst>
                                          <p:attrName>ppt_w</p:attrName>
                                        </p:attrNameLst>
                                      </p:cBhvr>
                                      <p:tavLst>
                                        <p:tav tm="0">
                                          <p:val>
                                            <p:strVal val="#ppt_w"/>
                                          </p:val>
                                        </p:tav>
                                        <p:tav tm="100000">
                                          <p:val>
                                            <p:strVal val="#ppt_w*.05"/>
                                          </p:val>
                                        </p:tav>
                                      </p:tavLst>
                                    </p:anim>
                                    <p:anim calcmode="lin" valueType="num">
                                      <p:cBhvr>
                                        <p:cTn id="19" dur="500" accel="50000" fill="hold">
                                          <p:stCondLst>
                                            <p:cond delay="500"/>
                                          </p:stCondLst>
                                        </p:cTn>
                                        <p:tgtEl>
                                          <p:spTgt spid="2"/>
                                        </p:tgtEl>
                                        <p:attrNameLst>
                                          <p:attrName>ppt_w</p:attrName>
                                        </p:attrNameLst>
                                      </p:cBhvr>
                                      <p:tavLst>
                                        <p:tav tm="0">
                                          <p:val>
                                            <p:strVal val="#ppt_w*.05"/>
                                          </p:val>
                                        </p:tav>
                                        <p:tav tm="100000">
                                          <p:val>
                                            <p:strVal val="#ppt_w"/>
                                          </p:val>
                                        </p:tav>
                                      </p:tavLst>
                                    </p:anim>
                                    <p:anim calcmode="lin" valueType="num">
                                      <p:cBhvr>
                                        <p:cTn id="20" dur="1000" fill="hold"/>
                                        <p:tgtEl>
                                          <p:spTgt spid="2"/>
                                        </p:tgtEl>
                                        <p:attrNameLst>
                                          <p:attrName>ppt_h</p:attrName>
                                        </p:attrNameLst>
                                      </p:cBhvr>
                                      <p:tavLst>
                                        <p:tav tm="0">
                                          <p:val>
                                            <p:strVal val="#ppt_h"/>
                                          </p:val>
                                        </p:tav>
                                        <p:tav tm="100000">
                                          <p:val>
                                            <p:strVal val="#ppt_h"/>
                                          </p:val>
                                        </p:tav>
                                      </p:tavLst>
                                    </p:anim>
                                    <p:anim calcmode="lin" valueType="num">
                                      <p:cBhvr>
                                        <p:cTn id="21" dur="500" decel="50000" fill="hold">
                                          <p:stCondLst>
                                            <p:cond delay="0"/>
                                          </p:stCondLst>
                                        </p:cTn>
                                        <p:tgtEl>
                                          <p:spTgt spid="2"/>
                                        </p:tgtEl>
                                        <p:attrNameLst>
                                          <p:attrName>ppt_x</p:attrName>
                                        </p:attrNameLst>
                                      </p:cBhvr>
                                      <p:tavLst>
                                        <p:tav tm="0">
                                          <p:val>
                                            <p:strVal val="#ppt_x+.4"/>
                                          </p:val>
                                        </p:tav>
                                        <p:tav tm="100000">
                                          <p:val>
                                            <p:strVal val="#ppt_x"/>
                                          </p:val>
                                        </p:tav>
                                      </p:tavLst>
                                    </p:anim>
                                    <p:anim calcmode="lin" valueType="num">
                                      <p:cBhvr>
                                        <p:cTn id="22" dur="500" decel="50000" fill="hold">
                                          <p:stCondLst>
                                            <p:cond delay="0"/>
                                          </p:stCondLst>
                                        </p:cTn>
                                        <p:tgtEl>
                                          <p:spTgt spid="2"/>
                                        </p:tgtEl>
                                        <p:attrNameLst>
                                          <p:attrName>ppt_y</p:attrName>
                                        </p:attrNameLst>
                                      </p:cBhvr>
                                      <p:tavLst>
                                        <p:tav tm="0">
                                          <p:val>
                                            <p:strVal val="#ppt_y-.2"/>
                                          </p:val>
                                        </p:tav>
                                        <p:tav tm="100000">
                                          <p:val>
                                            <p:strVal val="#ppt_y+.1"/>
                                          </p:val>
                                        </p:tav>
                                      </p:tavLst>
                                    </p:anim>
                                    <p:anim calcmode="lin" valueType="num">
                                      <p:cBhvr>
                                        <p:cTn id="23" dur="500" accel="50000" fill="hold">
                                          <p:stCondLst>
                                            <p:cond delay="500"/>
                                          </p:stCondLst>
                                        </p:cTn>
                                        <p:tgtEl>
                                          <p:spTgt spid="2"/>
                                        </p:tgtEl>
                                        <p:attrNameLst>
                                          <p:attrName>ppt_y</p:attrName>
                                        </p:attrNameLst>
                                      </p:cBhvr>
                                      <p:tavLst>
                                        <p:tav tm="0">
                                          <p:val>
                                            <p:strVal val="#ppt_y+.1"/>
                                          </p:val>
                                        </p:tav>
                                        <p:tav tm="100000">
                                          <p:val>
                                            <p:strVal val="#ppt_y"/>
                                          </p:val>
                                        </p:tav>
                                      </p:tavLst>
                                    </p:anim>
                                    <p:animEffect transition="in" filter="fade">
                                      <p:cBhvr>
                                        <p:cTn id="24" dur="1000" decel="50000">
                                          <p:stCondLst>
                                            <p:cond delay="0"/>
                                          </p:stCondLst>
                                        </p:cTn>
                                        <p:tgtEl>
                                          <p:spTgt spid="2"/>
                                        </p:tgtEl>
                                      </p:cBhvr>
                                    </p:animEffect>
                                  </p:childTnLst>
                                </p:cTn>
                              </p:par>
                            </p:childTnLst>
                          </p:cTn>
                        </p:par>
                      </p:childTnLst>
                    </p:cTn>
                  </p:par>
                  <p:par>
                    <p:cTn id="25" fill="hold">
                      <p:stCondLst>
                        <p:cond delay="indefinite"/>
                      </p:stCondLst>
                      <p:childTnLst>
                        <p:par>
                          <p:cTn id="26" fill="hold">
                            <p:stCondLst>
                              <p:cond delay="0"/>
                            </p:stCondLst>
                            <p:childTnLst>
                              <p:par>
                                <p:cTn id="27" presetID="4" presetClass="entr" presetSubtype="16"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box(in)">
                                      <p:cBhvr>
                                        <p:cTn id="29" dur="500"/>
                                        <p:tgtEl>
                                          <p:spTgt spid="3"/>
                                        </p:tgtEl>
                                      </p:cBhvr>
                                    </p:animEffect>
                                  </p:childTnLst>
                                </p:cTn>
                              </p:par>
                              <p:par>
                                <p:cTn id="30" presetID="4" presetClass="entr" presetSubtype="16" fill="hold" nodeType="withEffect">
                                  <p:stCondLst>
                                    <p:cond delay="0"/>
                                  </p:stCondLst>
                                  <p:childTnLst>
                                    <p:set>
                                      <p:cBhvr>
                                        <p:cTn id="31" dur="1" fill="hold">
                                          <p:stCondLst>
                                            <p:cond delay="0"/>
                                          </p:stCondLst>
                                        </p:cTn>
                                        <p:tgtEl>
                                          <p:spTgt spid="55"/>
                                        </p:tgtEl>
                                        <p:attrNameLst>
                                          <p:attrName>style.visibility</p:attrName>
                                        </p:attrNameLst>
                                      </p:cBhvr>
                                      <p:to>
                                        <p:strVal val="visible"/>
                                      </p:to>
                                    </p:set>
                                    <p:animEffect transition="in" filter="box(in)">
                                      <p:cBhvr>
                                        <p:cTn id="32" dur="500"/>
                                        <p:tgtEl>
                                          <p:spTgt spid="55"/>
                                        </p:tgtEl>
                                      </p:cBhvr>
                                    </p:animEffect>
                                  </p:childTnLst>
                                </p:cTn>
                              </p:par>
                              <p:par>
                                <p:cTn id="33" presetID="4" presetClass="entr" presetSubtype="16" fill="hold" grpId="0" nodeType="with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box(in)">
                                      <p:cBhvr>
                                        <p:cTn id="3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2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566276"/>
            <a:ext cx="9144000" cy="740980"/>
          </a:xfrm>
          <a:prstGeom prst="rect">
            <a:avLst/>
          </a:prstGeom>
          <a:solidFill>
            <a:schemeClr val="tx2">
              <a:lumMod val="75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smtClean="0">
                <a:solidFill>
                  <a:schemeClr val="bg1"/>
                </a:solidFill>
                <a:latin typeface="Segoe UI" pitchFamily="34" charset="0"/>
                <a:ea typeface="Segoe UI" pitchFamily="34" charset="0"/>
                <a:cs typeface="Segoe UI" pitchFamily="34" charset="0"/>
              </a:rPr>
              <a:t>PELAN PEMBANGUNAN PENDIDIKAN MALAYSIA </a:t>
            </a:r>
          </a:p>
          <a:p>
            <a:pPr algn="ctr"/>
            <a:r>
              <a:rPr lang="en-US" sz="2800" b="1" dirty="0" smtClean="0">
                <a:solidFill>
                  <a:schemeClr val="bg1"/>
                </a:solidFill>
                <a:latin typeface="Segoe UI" pitchFamily="34" charset="0"/>
                <a:ea typeface="Segoe UI" pitchFamily="34" charset="0"/>
                <a:cs typeface="Segoe UI" pitchFamily="34" charset="0"/>
              </a:rPr>
              <a:t>2013 - 2025</a:t>
            </a:r>
            <a:endParaRPr lang="en-US" sz="2800" b="1" dirty="0">
              <a:solidFill>
                <a:schemeClr val="bg1"/>
              </a:solidFill>
              <a:latin typeface="Segoe UI" pitchFamily="34" charset="0"/>
              <a:ea typeface="Segoe UI" pitchFamily="34" charset="0"/>
              <a:cs typeface="Segoe UI" pitchFamily="34" charset="0"/>
            </a:endParaRPr>
          </a:p>
        </p:txBody>
      </p:sp>
      <p:sp>
        <p:nvSpPr>
          <p:cNvPr id="4" name="Footer Placeholder 3"/>
          <p:cNvSpPr>
            <a:spLocks noGrp="1"/>
          </p:cNvSpPr>
          <p:nvPr>
            <p:ph type="ftr" sz="quarter" idx="11"/>
          </p:nvPr>
        </p:nvSpPr>
        <p:spPr/>
        <p:txBody>
          <a:bodyPr/>
          <a:lstStyle/>
          <a:p>
            <a:r>
              <a:rPr lang="en-US" smtClean="0"/>
              <a:t>GURU (SEKOLAH)</a:t>
            </a:r>
            <a:endParaRPr lang="en-US"/>
          </a:p>
        </p:txBody>
      </p:sp>
      <p:sp>
        <p:nvSpPr>
          <p:cNvPr id="5" name="Slide Number Placeholder 4"/>
          <p:cNvSpPr>
            <a:spLocks noGrp="1"/>
          </p:cNvSpPr>
          <p:nvPr>
            <p:ph type="sldNum" sz="quarter" idx="12"/>
          </p:nvPr>
        </p:nvSpPr>
        <p:spPr/>
        <p:txBody>
          <a:bodyPr/>
          <a:lstStyle/>
          <a:p>
            <a:fld id="{4D86EDED-B1AF-7E4B-94C9-3F0EAA36C7D5}" type="slidenum">
              <a:rPr lang="en-US" smtClean="0"/>
              <a:pPr/>
              <a:t>9</a:t>
            </a:fld>
            <a:endParaRPr lang="en-US"/>
          </a:p>
        </p:txBody>
      </p:sp>
      <p:sp>
        <p:nvSpPr>
          <p:cNvPr id="7" name="Teardrop 6"/>
          <p:cNvSpPr/>
          <p:nvPr/>
        </p:nvSpPr>
        <p:spPr>
          <a:xfrm>
            <a:off x="6327448" y="1084084"/>
            <a:ext cx="2678909" cy="2582709"/>
          </a:xfrm>
          <a:prstGeom prst="teardrop">
            <a:avLst/>
          </a:prstGeom>
          <a:blipFill>
            <a:blip r:embed="rId3" cstate="print"/>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3" descr="C:\Documents and Settings\dalida.nordin\My Documents\Grabilla Captures\grabilla.gq4288.png"/>
          <p:cNvPicPr>
            <a:picLocks noChangeAspect="1" noChangeArrowheads="1"/>
          </p:cNvPicPr>
          <p:nvPr/>
        </p:nvPicPr>
        <p:blipFill>
          <a:blip r:embed="rId4" cstate="print"/>
          <a:srcRect/>
          <a:stretch>
            <a:fillRect/>
          </a:stretch>
        </p:blipFill>
        <p:spPr bwMode="auto">
          <a:xfrm>
            <a:off x="155385" y="5282799"/>
            <a:ext cx="3103807" cy="1334777"/>
          </a:xfrm>
          <a:prstGeom prst="roundRect">
            <a:avLst/>
          </a:prstGeom>
          <a:noFill/>
        </p:spPr>
      </p:pic>
      <p:pic>
        <p:nvPicPr>
          <p:cNvPr id="10" name="Picture 4" descr="C:\Documents and Settings\dalida.nordin\My Documents\Grabilla Captures\grabilla.gq5952.png"/>
          <p:cNvPicPr>
            <a:picLocks noChangeAspect="1" noChangeArrowheads="1"/>
          </p:cNvPicPr>
          <p:nvPr/>
        </p:nvPicPr>
        <p:blipFill>
          <a:blip r:embed="rId5" cstate="print"/>
          <a:srcRect l="826" r="2066"/>
          <a:stretch>
            <a:fillRect/>
          </a:stretch>
        </p:blipFill>
        <p:spPr bwMode="auto">
          <a:xfrm>
            <a:off x="3233269" y="3633458"/>
            <a:ext cx="2825911" cy="1649341"/>
          </a:xfrm>
          <a:prstGeom prst="roundRect">
            <a:avLst/>
          </a:prstGeom>
          <a:noFill/>
        </p:spPr>
      </p:pic>
      <p:grpSp>
        <p:nvGrpSpPr>
          <p:cNvPr id="2" name="Group 21"/>
          <p:cNvGrpSpPr/>
          <p:nvPr/>
        </p:nvGrpSpPr>
        <p:grpSpPr>
          <a:xfrm>
            <a:off x="6059179" y="3851798"/>
            <a:ext cx="3000396" cy="2571768"/>
            <a:chOff x="84315" y="4045831"/>
            <a:chExt cx="3000396" cy="2571768"/>
          </a:xfrm>
        </p:grpSpPr>
        <p:pic>
          <p:nvPicPr>
            <p:cNvPr id="12" name="Picture 5" descr="C:\Documents and Settings\dalida.nordin\My Documents\Grabilla Captures\grabilla.gq4252.png"/>
            <p:cNvPicPr>
              <a:picLocks noChangeAspect="1" noChangeArrowheads="1"/>
            </p:cNvPicPr>
            <p:nvPr/>
          </p:nvPicPr>
          <p:blipFill>
            <a:blip r:embed="rId6" cstate="print"/>
            <a:srcRect/>
            <a:stretch>
              <a:fillRect/>
            </a:stretch>
          </p:blipFill>
          <p:spPr bwMode="auto">
            <a:xfrm>
              <a:off x="227191" y="4403021"/>
              <a:ext cx="1403333" cy="2214554"/>
            </a:xfrm>
            <a:prstGeom prst="rect">
              <a:avLst/>
            </a:prstGeom>
            <a:noFill/>
          </p:spPr>
        </p:pic>
        <p:pic>
          <p:nvPicPr>
            <p:cNvPr id="13" name="Picture 6" descr="C:\Documents and Settings\dalida.nordin\My Documents\Grabilla Captures\grabilla.gq6108.png"/>
            <p:cNvPicPr>
              <a:picLocks noChangeAspect="1" noChangeArrowheads="1"/>
            </p:cNvPicPr>
            <p:nvPr/>
          </p:nvPicPr>
          <p:blipFill>
            <a:blip r:embed="rId7" cstate="print"/>
            <a:srcRect/>
            <a:stretch>
              <a:fillRect/>
            </a:stretch>
          </p:blipFill>
          <p:spPr bwMode="auto">
            <a:xfrm>
              <a:off x="1692039" y="4403021"/>
              <a:ext cx="1392672" cy="2214578"/>
            </a:xfrm>
            <a:prstGeom prst="rect">
              <a:avLst/>
            </a:prstGeom>
            <a:noFill/>
          </p:spPr>
        </p:pic>
        <p:sp>
          <p:nvSpPr>
            <p:cNvPr id="14" name="Rectangle 13"/>
            <p:cNvSpPr/>
            <p:nvPr/>
          </p:nvSpPr>
          <p:spPr>
            <a:xfrm>
              <a:off x="84315" y="4045831"/>
              <a:ext cx="450764" cy="584775"/>
            </a:xfrm>
            <a:prstGeom prst="rect">
              <a:avLst/>
            </a:prstGeom>
          </p:spPr>
          <p:txBody>
            <a:bodyPr wrap="none">
              <a:spAutoFit/>
            </a:bodyPr>
            <a:lstStyle/>
            <a:p>
              <a:r>
                <a:rPr lang="en-US" sz="3200" b="1" kern="0" dirty="0" smtClean="0">
                  <a:effectLst>
                    <a:outerShdw blurRad="38100" dist="38100" dir="2700000" algn="tl">
                      <a:srgbClr val="000000">
                        <a:alpha val="43137"/>
                      </a:srgbClr>
                    </a:outerShdw>
                  </a:effectLst>
                  <a:latin typeface="Georgia" pitchFamily="18" charset="0"/>
                </a:rPr>
                <a:t>4</a:t>
              </a:r>
              <a:endParaRPr lang="en-US" sz="3200" dirty="0">
                <a:latin typeface="Georgia" pitchFamily="18" charset="0"/>
              </a:endParaRPr>
            </a:p>
          </p:txBody>
        </p:sp>
        <p:sp>
          <p:nvSpPr>
            <p:cNvPr id="15" name="Rectangle 14"/>
            <p:cNvSpPr/>
            <p:nvPr/>
          </p:nvSpPr>
          <p:spPr>
            <a:xfrm>
              <a:off x="1584514" y="4045831"/>
              <a:ext cx="429926" cy="584775"/>
            </a:xfrm>
            <a:prstGeom prst="rect">
              <a:avLst/>
            </a:prstGeom>
          </p:spPr>
          <p:txBody>
            <a:bodyPr wrap="none">
              <a:spAutoFit/>
            </a:bodyPr>
            <a:lstStyle/>
            <a:p>
              <a:r>
                <a:rPr lang="en-US" sz="3200" b="1" kern="0" dirty="0" smtClean="0">
                  <a:effectLst>
                    <a:outerShdw blurRad="38100" dist="38100" dir="2700000" algn="tl">
                      <a:srgbClr val="000000">
                        <a:alpha val="43137"/>
                      </a:srgbClr>
                    </a:outerShdw>
                  </a:effectLst>
                  <a:latin typeface="Georgia" pitchFamily="18" charset="0"/>
                </a:rPr>
                <a:t>5</a:t>
              </a:r>
              <a:endParaRPr lang="en-US" sz="3200" dirty="0">
                <a:latin typeface="Georgia" pitchFamily="18" charset="0"/>
              </a:endParaRPr>
            </a:p>
          </p:txBody>
        </p:sp>
      </p:grpSp>
      <p:pic>
        <p:nvPicPr>
          <p:cNvPr id="16" name="Picture 7" descr="C:\Documents and Settings\dalida.nordin\My Documents\Grabilla Captures\grabilla.Uhg508.png"/>
          <p:cNvPicPr>
            <a:picLocks noChangeAspect="1" noChangeArrowheads="1"/>
          </p:cNvPicPr>
          <p:nvPr/>
        </p:nvPicPr>
        <p:blipFill>
          <a:blip r:embed="rId8" cstate="print"/>
          <a:srcRect/>
          <a:stretch>
            <a:fillRect/>
          </a:stretch>
        </p:blipFill>
        <p:spPr bwMode="auto">
          <a:xfrm>
            <a:off x="6509941" y="3716076"/>
            <a:ext cx="2214579" cy="367043"/>
          </a:xfrm>
          <a:prstGeom prst="rect">
            <a:avLst/>
          </a:prstGeom>
          <a:noFill/>
        </p:spPr>
      </p:pic>
      <p:grpSp>
        <p:nvGrpSpPr>
          <p:cNvPr id="3" name="Group 20"/>
          <p:cNvGrpSpPr/>
          <p:nvPr/>
        </p:nvGrpSpPr>
        <p:grpSpPr>
          <a:xfrm>
            <a:off x="308801" y="1812114"/>
            <a:ext cx="2857520" cy="2714644"/>
            <a:chOff x="3000364" y="754968"/>
            <a:chExt cx="2857520" cy="2714644"/>
          </a:xfrm>
        </p:grpSpPr>
        <p:pic>
          <p:nvPicPr>
            <p:cNvPr id="8" name="Picture 2" descr="C:\Documents and Settings\dalida.nordin\My Documents\Grabilla Captures\grabilla.gq5168.png"/>
            <p:cNvPicPr>
              <a:picLocks noChangeAspect="1" noChangeArrowheads="1"/>
            </p:cNvPicPr>
            <p:nvPr/>
          </p:nvPicPr>
          <p:blipFill>
            <a:blip r:embed="rId9" cstate="print"/>
            <a:srcRect t="3381"/>
            <a:stretch>
              <a:fillRect/>
            </a:stretch>
          </p:blipFill>
          <p:spPr bwMode="auto">
            <a:xfrm>
              <a:off x="3000364" y="754968"/>
              <a:ext cx="2857520" cy="2714644"/>
            </a:xfrm>
            <a:prstGeom prst="rect">
              <a:avLst/>
            </a:prstGeom>
            <a:solidFill>
              <a:srgbClr val="FF0000"/>
            </a:solidFill>
          </p:spPr>
        </p:pic>
        <p:sp>
          <p:nvSpPr>
            <p:cNvPr id="17" name="Freeform 499"/>
            <p:cNvSpPr>
              <a:spLocks noEditPoints="1"/>
            </p:cNvSpPr>
            <p:nvPr/>
          </p:nvSpPr>
          <p:spPr bwMode="auto">
            <a:xfrm flipH="1">
              <a:off x="5304620" y="1628478"/>
              <a:ext cx="428628" cy="494642"/>
            </a:xfrm>
            <a:custGeom>
              <a:avLst/>
              <a:gdLst>
                <a:gd name="T0" fmla="*/ 207 w 362"/>
                <a:gd name="T1" fmla="*/ 1 h 362"/>
                <a:gd name="T2" fmla="*/ 177 w 362"/>
                <a:gd name="T3" fmla="*/ 5 h 362"/>
                <a:gd name="T4" fmla="*/ 137 w 362"/>
                <a:gd name="T5" fmla="*/ 19 h 362"/>
                <a:gd name="T6" fmla="*/ 79 w 362"/>
                <a:gd name="T7" fmla="*/ 24 h 362"/>
                <a:gd name="T8" fmla="*/ 49 w 362"/>
                <a:gd name="T9" fmla="*/ 33 h 362"/>
                <a:gd name="T10" fmla="*/ 54 w 362"/>
                <a:gd name="T11" fmla="*/ 32 h 362"/>
                <a:gd name="T12" fmla="*/ 50 w 362"/>
                <a:gd name="T13" fmla="*/ 30 h 362"/>
                <a:gd name="T14" fmla="*/ 51 w 362"/>
                <a:gd name="T15" fmla="*/ 36 h 362"/>
                <a:gd name="T16" fmla="*/ 49 w 362"/>
                <a:gd name="T17" fmla="*/ 30 h 362"/>
                <a:gd name="T18" fmla="*/ 51 w 362"/>
                <a:gd name="T19" fmla="*/ 36 h 362"/>
                <a:gd name="T20" fmla="*/ 49 w 362"/>
                <a:gd name="T21" fmla="*/ 33 h 362"/>
                <a:gd name="T22" fmla="*/ 48 w 362"/>
                <a:gd name="T23" fmla="*/ 32 h 362"/>
                <a:gd name="T24" fmla="*/ 47 w 362"/>
                <a:gd name="T25" fmla="*/ 38 h 362"/>
                <a:gd name="T26" fmla="*/ 47 w 362"/>
                <a:gd name="T27" fmla="*/ 41 h 362"/>
                <a:gd name="T28" fmla="*/ 111 w 362"/>
                <a:gd name="T29" fmla="*/ 27 h 362"/>
                <a:gd name="T30" fmla="*/ 50 w 362"/>
                <a:gd name="T31" fmla="*/ 35 h 362"/>
                <a:gd name="T32" fmla="*/ 49 w 362"/>
                <a:gd name="T33" fmla="*/ 31 h 362"/>
                <a:gd name="T34" fmla="*/ 47 w 362"/>
                <a:gd name="T35" fmla="*/ 32 h 362"/>
                <a:gd name="T36" fmla="*/ 46 w 362"/>
                <a:gd name="T37" fmla="*/ 32 h 362"/>
                <a:gd name="T38" fmla="*/ 159 w 362"/>
                <a:gd name="T39" fmla="*/ 18 h 362"/>
                <a:gd name="T40" fmla="*/ 317 w 362"/>
                <a:gd name="T41" fmla="*/ 14 h 362"/>
                <a:gd name="T42" fmla="*/ 260 w 362"/>
                <a:gd name="T43" fmla="*/ 1 h 362"/>
                <a:gd name="T44" fmla="*/ 184 w 362"/>
                <a:gd name="T45" fmla="*/ 5 h 362"/>
                <a:gd name="T46" fmla="*/ 129 w 362"/>
                <a:gd name="T47" fmla="*/ 13 h 362"/>
                <a:gd name="T48" fmla="*/ 85 w 362"/>
                <a:gd name="T49" fmla="*/ 22 h 362"/>
                <a:gd name="T50" fmla="*/ 97 w 362"/>
                <a:gd name="T51" fmla="*/ 20 h 362"/>
                <a:gd name="T52" fmla="*/ 97 w 362"/>
                <a:gd name="T53" fmla="*/ 21 h 362"/>
                <a:gd name="T54" fmla="*/ 137 w 362"/>
                <a:gd name="T55" fmla="*/ 14 h 362"/>
                <a:gd name="T56" fmla="*/ 143 w 362"/>
                <a:gd name="T57" fmla="*/ 14 h 362"/>
                <a:gd name="T58" fmla="*/ 112 w 362"/>
                <a:gd name="T59" fmla="*/ 20 h 362"/>
                <a:gd name="T60" fmla="*/ 182 w 362"/>
                <a:gd name="T61" fmla="*/ 12 h 362"/>
                <a:gd name="T62" fmla="*/ 53 w 362"/>
                <a:gd name="T63" fmla="*/ 36 h 362"/>
                <a:gd name="T64" fmla="*/ 56 w 362"/>
                <a:gd name="T65" fmla="*/ 36 h 362"/>
                <a:gd name="T66" fmla="*/ 158 w 362"/>
                <a:gd name="T67" fmla="*/ 18 h 362"/>
                <a:gd name="T68" fmla="*/ 221 w 362"/>
                <a:gd name="T69" fmla="*/ 12 h 362"/>
                <a:gd name="T70" fmla="*/ 327 w 362"/>
                <a:gd name="T71" fmla="*/ 43 h 362"/>
                <a:gd name="T72" fmla="*/ 344 w 362"/>
                <a:gd name="T73" fmla="*/ 235 h 362"/>
                <a:gd name="T74" fmla="*/ 273 w 362"/>
                <a:gd name="T75" fmla="*/ 333 h 362"/>
                <a:gd name="T76" fmla="*/ 91 w 362"/>
                <a:gd name="T77" fmla="*/ 339 h 362"/>
                <a:gd name="T78" fmla="*/ 16 w 362"/>
                <a:gd name="T79" fmla="*/ 244 h 362"/>
                <a:gd name="T80" fmla="*/ 28 w 362"/>
                <a:gd name="T81" fmla="*/ 84 h 362"/>
                <a:gd name="T82" fmla="*/ 34 w 362"/>
                <a:gd name="T83" fmla="*/ 56 h 362"/>
                <a:gd name="T84" fmla="*/ 36 w 362"/>
                <a:gd name="T85" fmla="*/ 50 h 362"/>
                <a:gd name="T86" fmla="*/ 33 w 362"/>
                <a:gd name="T87" fmla="*/ 41 h 362"/>
                <a:gd name="T88" fmla="*/ 25 w 362"/>
                <a:gd name="T89" fmla="*/ 39 h 362"/>
                <a:gd name="T90" fmla="*/ 19 w 362"/>
                <a:gd name="T91" fmla="*/ 43 h 362"/>
                <a:gd name="T92" fmla="*/ 17 w 362"/>
                <a:gd name="T93" fmla="*/ 49 h 362"/>
                <a:gd name="T94" fmla="*/ 16 w 362"/>
                <a:gd name="T95" fmla="*/ 56 h 362"/>
                <a:gd name="T96" fmla="*/ 12 w 362"/>
                <a:gd name="T97" fmla="*/ 82 h 362"/>
                <a:gd name="T98" fmla="*/ 3 w 362"/>
                <a:gd name="T99" fmla="*/ 154 h 362"/>
                <a:gd name="T100" fmla="*/ 3 w 362"/>
                <a:gd name="T101" fmla="*/ 259 h 362"/>
                <a:gd name="T102" fmla="*/ 72 w 362"/>
                <a:gd name="T103" fmla="*/ 349 h 362"/>
                <a:gd name="T104" fmla="*/ 222 w 362"/>
                <a:gd name="T105" fmla="*/ 358 h 362"/>
                <a:gd name="T106" fmla="*/ 337 w 362"/>
                <a:gd name="T107" fmla="*/ 31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2" h="362">
                  <a:moveTo>
                    <a:pt x="268" y="15"/>
                  </a:moveTo>
                  <a:cubicBezTo>
                    <a:pt x="267" y="15"/>
                    <a:pt x="265" y="14"/>
                    <a:pt x="264" y="14"/>
                  </a:cubicBezTo>
                  <a:cubicBezTo>
                    <a:pt x="264" y="14"/>
                    <a:pt x="266" y="14"/>
                    <a:pt x="268" y="15"/>
                  </a:cubicBezTo>
                  <a:close/>
                  <a:moveTo>
                    <a:pt x="207" y="1"/>
                  </a:moveTo>
                  <a:cubicBezTo>
                    <a:pt x="206" y="1"/>
                    <a:pt x="205" y="1"/>
                    <a:pt x="203" y="1"/>
                  </a:cubicBezTo>
                  <a:cubicBezTo>
                    <a:pt x="202" y="1"/>
                    <a:pt x="206" y="1"/>
                    <a:pt x="207" y="1"/>
                  </a:cubicBezTo>
                  <a:close/>
                  <a:moveTo>
                    <a:pt x="196" y="1"/>
                  </a:moveTo>
                  <a:cubicBezTo>
                    <a:pt x="197" y="1"/>
                    <a:pt x="200" y="1"/>
                    <a:pt x="201" y="1"/>
                  </a:cubicBezTo>
                  <a:cubicBezTo>
                    <a:pt x="200" y="1"/>
                    <a:pt x="196" y="1"/>
                    <a:pt x="196" y="1"/>
                  </a:cubicBezTo>
                  <a:close/>
                  <a:moveTo>
                    <a:pt x="177" y="5"/>
                  </a:moveTo>
                  <a:cubicBezTo>
                    <a:pt x="179" y="5"/>
                    <a:pt x="181" y="5"/>
                    <a:pt x="182" y="5"/>
                  </a:cubicBezTo>
                  <a:cubicBezTo>
                    <a:pt x="181" y="5"/>
                    <a:pt x="178" y="5"/>
                    <a:pt x="177" y="5"/>
                  </a:cubicBezTo>
                  <a:close/>
                  <a:moveTo>
                    <a:pt x="165" y="5"/>
                  </a:moveTo>
                  <a:cubicBezTo>
                    <a:pt x="169" y="4"/>
                    <a:pt x="172" y="4"/>
                    <a:pt x="173" y="4"/>
                  </a:cubicBezTo>
                  <a:cubicBezTo>
                    <a:pt x="171" y="4"/>
                    <a:pt x="167" y="4"/>
                    <a:pt x="165" y="5"/>
                  </a:cubicBezTo>
                  <a:close/>
                  <a:moveTo>
                    <a:pt x="137" y="19"/>
                  </a:moveTo>
                  <a:cubicBezTo>
                    <a:pt x="140" y="19"/>
                    <a:pt x="148" y="17"/>
                    <a:pt x="152" y="17"/>
                  </a:cubicBezTo>
                  <a:cubicBezTo>
                    <a:pt x="147" y="17"/>
                    <a:pt x="142" y="18"/>
                    <a:pt x="137" y="19"/>
                  </a:cubicBezTo>
                  <a:close/>
                  <a:moveTo>
                    <a:pt x="135" y="15"/>
                  </a:moveTo>
                  <a:cubicBezTo>
                    <a:pt x="131" y="15"/>
                    <a:pt x="131" y="15"/>
                    <a:pt x="131" y="15"/>
                  </a:cubicBezTo>
                  <a:cubicBezTo>
                    <a:pt x="129" y="16"/>
                    <a:pt x="119" y="17"/>
                    <a:pt x="120" y="17"/>
                  </a:cubicBezTo>
                  <a:cubicBezTo>
                    <a:pt x="126" y="16"/>
                    <a:pt x="135" y="15"/>
                    <a:pt x="140" y="14"/>
                  </a:cubicBezTo>
                  <a:cubicBezTo>
                    <a:pt x="138" y="14"/>
                    <a:pt x="137" y="14"/>
                    <a:pt x="135" y="15"/>
                  </a:cubicBezTo>
                  <a:close/>
                  <a:moveTo>
                    <a:pt x="79" y="24"/>
                  </a:moveTo>
                  <a:cubicBezTo>
                    <a:pt x="76" y="25"/>
                    <a:pt x="76" y="25"/>
                    <a:pt x="76" y="25"/>
                  </a:cubicBezTo>
                  <a:cubicBezTo>
                    <a:pt x="76" y="25"/>
                    <a:pt x="76" y="25"/>
                    <a:pt x="77" y="25"/>
                  </a:cubicBezTo>
                  <a:cubicBezTo>
                    <a:pt x="79" y="25"/>
                    <a:pt x="79" y="24"/>
                    <a:pt x="79" y="24"/>
                  </a:cubicBezTo>
                  <a:close/>
                  <a:moveTo>
                    <a:pt x="50" y="33"/>
                  </a:moveTo>
                  <a:cubicBezTo>
                    <a:pt x="50" y="33"/>
                    <a:pt x="50" y="33"/>
                    <a:pt x="50" y="33"/>
                  </a:cubicBezTo>
                  <a:cubicBezTo>
                    <a:pt x="50" y="33"/>
                    <a:pt x="49" y="33"/>
                    <a:pt x="49" y="33"/>
                  </a:cubicBezTo>
                  <a:cubicBezTo>
                    <a:pt x="49" y="33"/>
                    <a:pt x="49" y="33"/>
                    <a:pt x="50" y="33"/>
                  </a:cubicBezTo>
                  <a:close/>
                  <a:moveTo>
                    <a:pt x="50" y="32"/>
                  </a:moveTo>
                  <a:cubicBezTo>
                    <a:pt x="50" y="33"/>
                    <a:pt x="50" y="33"/>
                    <a:pt x="50" y="33"/>
                  </a:cubicBezTo>
                  <a:cubicBezTo>
                    <a:pt x="50" y="33"/>
                    <a:pt x="50" y="33"/>
                    <a:pt x="50" y="33"/>
                  </a:cubicBezTo>
                  <a:cubicBezTo>
                    <a:pt x="50" y="33"/>
                    <a:pt x="51" y="32"/>
                    <a:pt x="51" y="32"/>
                  </a:cubicBezTo>
                  <a:cubicBezTo>
                    <a:pt x="54" y="32"/>
                    <a:pt x="54" y="32"/>
                    <a:pt x="54" y="32"/>
                  </a:cubicBezTo>
                  <a:lnTo>
                    <a:pt x="50" y="32"/>
                  </a:lnTo>
                  <a:close/>
                  <a:moveTo>
                    <a:pt x="50" y="33"/>
                  </a:moveTo>
                  <a:cubicBezTo>
                    <a:pt x="50" y="33"/>
                    <a:pt x="50" y="33"/>
                    <a:pt x="50" y="33"/>
                  </a:cubicBezTo>
                  <a:cubicBezTo>
                    <a:pt x="50" y="33"/>
                    <a:pt x="50" y="33"/>
                    <a:pt x="50" y="33"/>
                  </a:cubicBezTo>
                  <a:cubicBezTo>
                    <a:pt x="50" y="33"/>
                    <a:pt x="50" y="33"/>
                    <a:pt x="50" y="33"/>
                  </a:cubicBezTo>
                  <a:close/>
                  <a:moveTo>
                    <a:pt x="50" y="30"/>
                  </a:move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lose/>
                  <a:moveTo>
                    <a:pt x="51" y="36"/>
                  </a:moveTo>
                  <a:cubicBezTo>
                    <a:pt x="51" y="36"/>
                    <a:pt x="51" y="36"/>
                    <a:pt x="51" y="36"/>
                  </a:cubicBezTo>
                  <a:cubicBezTo>
                    <a:pt x="51" y="36"/>
                    <a:pt x="51" y="36"/>
                    <a:pt x="51" y="36"/>
                  </a:cubicBezTo>
                  <a:close/>
                  <a:moveTo>
                    <a:pt x="50" y="31"/>
                  </a:moveTo>
                  <a:cubicBezTo>
                    <a:pt x="50" y="31"/>
                    <a:pt x="50" y="31"/>
                    <a:pt x="50" y="31"/>
                  </a:cubicBezTo>
                  <a:cubicBezTo>
                    <a:pt x="50" y="31"/>
                    <a:pt x="49" y="31"/>
                    <a:pt x="50" y="31"/>
                  </a:cubicBezTo>
                  <a:close/>
                  <a:moveTo>
                    <a:pt x="49" y="30"/>
                  </a:moveTo>
                  <a:cubicBezTo>
                    <a:pt x="49" y="30"/>
                    <a:pt x="50" y="30"/>
                    <a:pt x="50" y="30"/>
                  </a:cubicBezTo>
                  <a:cubicBezTo>
                    <a:pt x="49" y="30"/>
                    <a:pt x="49" y="30"/>
                    <a:pt x="49" y="30"/>
                  </a:cubicBezTo>
                  <a:close/>
                  <a:moveTo>
                    <a:pt x="51" y="38"/>
                  </a:moveTo>
                  <a:cubicBezTo>
                    <a:pt x="51" y="38"/>
                    <a:pt x="51" y="38"/>
                    <a:pt x="51" y="37"/>
                  </a:cubicBezTo>
                  <a:cubicBezTo>
                    <a:pt x="51" y="37"/>
                    <a:pt x="51" y="37"/>
                    <a:pt x="51" y="38"/>
                  </a:cubicBezTo>
                  <a:close/>
                  <a:moveTo>
                    <a:pt x="51" y="36"/>
                  </a:moveTo>
                  <a:cubicBezTo>
                    <a:pt x="50" y="36"/>
                    <a:pt x="50" y="36"/>
                    <a:pt x="50" y="37"/>
                  </a:cubicBezTo>
                  <a:cubicBezTo>
                    <a:pt x="50" y="37"/>
                    <a:pt x="50" y="36"/>
                    <a:pt x="51" y="36"/>
                  </a:cubicBezTo>
                  <a:close/>
                  <a:moveTo>
                    <a:pt x="48" y="31"/>
                  </a:moveTo>
                  <a:cubicBezTo>
                    <a:pt x="48" y="31"/>
                    <a:pt x="49" y="31"/>
                    <a:pt x="49" y="30"/>
                  </a:cubicBezTo>
                  <a:cubicBezTo>
                    <a:pt x="49" y="31"/>
                    <a:pt x="48" y="31"/>
                    <a:pt x="48" y="31"/>
                  </a:cubicBezTo>
                  <a:close/>
                  <a:moveTo>
                    <a:pt x="49" y="33"/>
                  </a:moveTo>
                  <a:cubicBezTo>
                    <a:pt x="49" y="33"/>
                    <a:pt x="49" y="33"/>
                    <a:pt x="49" y="33"/>
                  </a:cubicBezTo>
                  <a:cubicBezTo>
                    <a:pt x="49" y="33"/>
                    <a:pt x="48" y="33"/>
                    <a:pt x="49" y="33"/>
                  </a:cubicBezTo>
                  <a:close/>
                  <a:moveTo>
                    <a:pt x="48" y="33"/>
                  </a:moveTo>
                  <a:cubicBezTo>
                    <a:pt x="48" y="33"/>
                    <a:pt x="48" y="33"/>
                    <a:pt x="48" y="32"/>
                  </a:cubicBezTo>
                  <a:cubicBezTo>
                    <a:pt x="48" y="32"/>
                    <a:pt x="48" y="32"/>
                    <a:pt x="48" y="33"/>
                  </a:cubicBezTo>
                  <a:close/>
                  <a:moveTo>
                    <a:pt x="48" y="32"/>
                  </a:moveTo>
                  <a:cubicBezTo>
                    <a:pt x="48" y="32"/>
                    <a:pt x="48" y="32"/>
                    <a:pt x="48" y="32"/>
                  </a:cubicBezTo>
                  <a:cubicBezTo>
                    <a:pt x="47" y="32"/>
                    <a:pt x="48" y="32"/>
                    <a:pt x="48" y="32"/>
                  </a:cubicBezTo>
                  <a:cubicBezTo>
                    <a:pt x="48" y="32"/>
                    <a:pt x="48" y="32"/>
                    <a:pt x="48" y="32"/>
                  </a:cubicBezTo>
                  <a:close/>
                  <a:moveTo>
                    <a:pt x="48" y="36"/>
                  </a:moveTo>
                  <a:cubicBezTo>
                    <a:pt x="48" y="36"/>
                    <a:pt x="48" y="36"/>
                    <a:pt x="48" y="36"/>
                  </a:cubicBezTo>
                  <a:close/>
                  <a:moveTo>
                    <a:pt x="47" y="38"/>
                  </a:moveTo>
                  <a:cubicBezTo>
                    <a:pt x="47" y="38"/>
                    <a:pt x="47" y="38"/>
                    <a:pt x="48" y="38"/>
                  </a:cubicBezTo>
                  <a:cubicBezTo>
                    <a:pt x="48" y="38"/>
                    <a:pt x="47" y="38"/>
                    <a:pt x="47" y="38"/>
                  </a:cubicBezTo>
                  <a:close/>
                  <a:moveTo>
                    <a:pt x="48" y="38"/>
                  </a:moveTo>
                  <a:cubicBezTo>
                    <a:pt x="47" y="38"/>
                    <a:pt x="47" y="38"/>
                    <a:pt x="47" y="38"/>
                  </a:cubicBezTo>
                  <a:cubicBezTo>
                    <a:pt x="47" y="38"/>
                    <a:pt x="48" y="38"/>
                    <a:pt x="48" y="38"/>
                  </a:cubicBezTo>
                  <a:close/>
                  <a:moveTo>
                    <a:pt x="47" y="41"/>
                  </a:moveTo>
                  <a:cubicBezTo>
                    <a:pt x="48" y="41"/>
                    <a:pt x="48" y="41"/>
                    <a:pt x="48" y="40"/>
                  </a:cubicBezTo>
                  <a:cubicBezTo>
                    <a:pt x="48" y="40"/>
                    <a:pt x="47" y="41"/>
                    <a:pt x="47" y="41"/>
                  </a:cubicBezTo>
                  <a:close/>
                  <a:moveTo>
                    <a:pt x="46" y="41"/>
                  </a:moveTo>
                  <a:cubicBezTo>
                    <a:pt x="46" y="41"/>
                    <a:pt x="46" y="41"/>
                    <a:pt x="46" y="41"/>
                  </a:cubicBezTo>
                  <a:close/>
                  <a:moveTo>
                    <a:pt x="103" y="29"/>
                  </a:moveTo>
                  <a:cubicBezTo>
                    <a:pt x="106" y="28"/>
                    <a:pt x="109" y="27"/>
                    <a:pt x="111" y="27"/>
                  </a:cubicBezTo>
                  <a:cubicBezTo>
                    <a:pt x="112" y="27"/>
                    <a:pt x="113" y="27"/>
                    <a:pt x="114" y="26"/>
                  </a:cubicBezTo>
                  <a:cubicBezTo>
                    <a:pt x="110" y="27"/>
                    <a:pt x="106" y="28"/>
                    <a:pt x="103" y="29"/>
                  </a:cubicBezTo>
                  <a:close/>
                  <a:moveTo>
                    <a:pt x="49" y="35"/>
                  </a:moveTo>
                  <a:cubicBezTo>
                    <a:pt x="49" y="35"/>
                    <a:pt x="50" y="36"/>
                    <a:pt x="50" y="35"/>
                  </a:cubicBezTo>
                  <a:cubicBezTo>
                    <a:pt x="50" y="35"/>
                    <a:pt x="50" y="35"/>
                    <a:pt x="50" y="35"/>
                  </a:cubicBezTo>
                  <a:cubicBezTo>
                    <a:pt x="50" y="35"/>
                    <a:pt x="50" y="35"/>
                    <a:pt x="50" y="35"/>
                  </a:cubicBezTo>
                  <a:cubicBezTo>
                    <a:pt x="50" y="35"/>
                    <a:pt x="50" y="35"/>
                    <a:pt x="50" y="35"/>
                  </a:cubicBezTo>
                  <a:cubicBezTo>
                    <a:pt x="51" y="35"/>
                    <a:pt x="51" y="35"/>
                    <a:pt x="51" y="35"/>
                  </a:cubicBezTo>
                  <a:cubicBezTo>
                    <a:pt x="51" y="35"/>
                    <a:pt x="50" y="35"/>
                    <a:pt x="50" y="35"/>
                  </a:cubicBezTo>
                  <a:cubicBezTo>
                    <a:pt x="50" y="35"/>
                    <a:pt x="51" y="35"/>
                    <a:pt x="51" y="35"/>
                  </a:cubicBezTo>
                  <a:cubicBezTo>
                    <a:pt x="50" y="35"/>
                    <a:pt x="49" y="35"/>
                    <a:pt x="49" y="35"/>
                  </a:cubicBezTo>
                  <a:close/>
                  <a:moveTo>
                    <a:pt x="49" y="31"/>
                  </a:moveTo>
                  <a:cubicBezTo>
                    <a:pt x="49" y="31"/>
                    <a:pt x="49" y="31"/>
                    <a:pt x="49" y="31"/>
                  </a:cubicBezTo>
                  <a:cubicBezTo>
                    <a:pt x="49" y="31"/>
                    <a:pt x="49" y="31"/>
                    <a:pt x="49" y="31"/>
                  </a:cubicBezTo>
                  <a:cubicBezTo>
                    <a:pt x="50" y="31"/>
                    <a:pt x="49" y="31"/>
                    <a:pt x="49" y="31"/>
                  </a:cubicBezTo>
                  <a:close/>
                  <a:moveTo>
                    <a:pt x="46" y="32"/>
                  </a:moveTo>
                  <a:cubicBezTo>
                    <a:pt x="46" y="32"/>
                    <a:pt x="46" y="32"/>
                    <a:pt x="46" y="32"/>
                  </a:cubicBezTo>
                  <a:cubicBezTo>
                    <a:pt x="46" y="32"/>
                    <a:pt x="47" y="32"/>
                    <a:pt x="47" y="32"/>
                  </a:cubicBezTo>
                  <a:cubicBezTo>
                    <a:pt x="47" y="32"/>
                    <a:pt x="47" y="32"/>
                    <a:pt x="47" y="32"/>
                  </a:cubicBezTo>
                  <a:cubicBezTo>
                    <a:pt x="48" y="31"/>
                    <a:pt x="49" y="32"/>
                    <a:pt x="49" y="31"/>
                  </a:cubicBezTo>
                  <a:cubicBezTo>
                    <a:pt x="48" y="32"/>
                    <a:pt x="47" y="32"/>
                    <a:pt x="46" y="32"/>
                  </a:cubicBezTo>
                  <a:cubicBezTo>
                    <a:pt x="46" y="32"/>
                    <a:pt x="46" y="32"/>
                    <a:pt x="46" y="32"/>
                  </a:cubicBezTo>
                  <a:cubicBezTo>
                    <a:pt x="46" y="32"/>
                    <a:pt x="45" y="32"/>
                    <a:pt x="45" y="32"/>
                  </a:cubicBezTo>
                  <a:cubicBezTo>
                    <a:pt x="45" y="33"/>
                    <a:pt x="45" y="32"/>
                    <a:pt x="46" y="32"/>
                  </a:cubicBezTo>
                  <a:close/>
                  <a:moveTo>
                    <a:pt x="47" y="39"/>
                  </a:moveTo>
                  <a:cubicBezTo>
                    <a:pt x="47" y="38"/>
                    <a:pt x="48" y="38"/>
                    <a:pt x="48" y="38"/>
                  </a:cubicBezTo>
                  <a:cubicBezTo>
                    <a:pt x="47" y="38"/>
                    <a:pt x="47" y="39"/>
                    <a:pt x="47" y="39"/>
                  </a:cubicBezTo>
                  <a:close/>
                  <a:moveTo>
                    <a:pt x="159" y="18"/>
                  </a:moveTo>
                  <a:cubicBezTo>
                    <a:pt x="159" y="18"/>
                    <a:pt x="159" y="18"/>
                    <a:pt x="159" y="18"/>
                  </a:cubicBezTo>
                  <a:cubicBezTo>
                    <a:pt x="159" y="18"/>
                    <a:pt x="159" y="18"/>
                    <a:pt x="159" y="18"/>
                  </a:cubicBezTo>
                  <a:close/>
                  <a:moveTo>
                    <a:pt x="361" y="152"/>
                  </a:moveTo>
                  <a:cubicBezTo>
                    <a:pt x="360" y="120"/>
                    <a:pt x="356" y="87"/>
                    <a:pt x="347" y="57"/>
                  </a:cubicBezTo>
                  <a:cubicBezTo>
                    <a:pt x="345" y="52"/>
                    <a:pt x="343" y="45"/>
                    <a:pt x="341" y="41"/>
                  </a:cubicBezTo>
                  <a:cubicBezTo>
                    <a:pt x="340" y="40"/>
                    <a:pt x="339" y="37"/>
                    <a:pt x="338" y="35"/>
                  </a:cubicBezTo>
                  <a:cubicBezTo>
                    <a:pt x="336" y="31"/>
                    <a:pt x="333" y="27"/>
                    <a:pt x="330" y="23"/>
                  </a:cubicBezTo>
                  <a:cubicBezTo>
                    <a:pt x="326" y="19"/>
                    <a:pt x="322" y="16"/>
                    <a:pt x="317" y="14"/>
                  </a:cubicBezTo>
                  <a:cubicBezTo>
                    <a:pt x="314" y="13"/>
                    <a:pt x="309" y="10"/>
                    <a:pt x="305" y="9"/>
                  </a:cubicBezTo>
                  <a:cubicBezTo>
                    <a:pt x="303" y="8"/>
                    <a:pt x="307" y="9"/>
                    <a:pt x="304" y="8"/>
                  </a:cubicBezTo>
                  <a:cubicBezTo>
                    <a:pt x="301" y="7"/>
                    <a:pt x="294" y="5"/>
                    <a:pt x="287" y="4"/>
                  </a:cubicBezTo>
                  <a:cubicBezTo>
                    <a:pt x="279" y="3"/>
                    <a:pt x="271" y="2"/>
                    <a:pt x="266" y="1"/>
                  </a:cubicBezTo>
                  <a:cubicBezTo>
                    <a:pt x="267" y="1"/>
                    <a:pt x="267" y="1"/>
                    <a:pt x="266" y="1"/>
                  </a:cubicBezTo>
                  <a:cubicBezTo>
                    <a:pt x="264" y="1"/>
                    <a:pt x="263" y="1"/>
                    <a:pt x="260" y="1"/>
                  </a:cubicBezTo>
                  <a:cubicBezTo>
                    <a:pt x="243" y="0"/>
                    <a:pt x="230" y="1"/>
                    <a:pt x="215" y="2"/>
                  </a:cubicBezTo>
                  <a:cubicBezTo>
                    <a:pt x="213" y="2"/>
                    <a:pt x="208" y="2"/>
                    <a:pt x="206" y="2"/>
                  </a:cubicBezTo>
                  <a:cubicBezTo>
                    <a:pt x="209" y="2"/>
                    <a:pt x="212" y="2"/>
                    <a:pt x="212" y="2"/>
                  </a:cubicBezTo>
                  <a:cubicBezTo>
                    <a:pt x="208" y="2"/>
                    <a:pt x="202" y="3"/>
                    <a:pt x="199" y="3"/>
                  </a:cubicBezTo>
                  <a:cubicBezTo>
                    <a:pt x="193" y="4"/>
                    <a:pt x="190" y="4"/>
                    <a:pt x="185" y="4"/>
                  </a:cubicBezTo>
                  <a:cubicBezTo>
                    <a:pt x="184" y="4"/>
                    <a:pt x="187" y="5"/>
                    <a:pt x="184" y="5"/>
                  </a:cubicBezTo>
                  <a:cubicBezTo>
                    <a:pt x="176" y="5"/>
                    <a:pt x="172" y="6"/>
                    <a:pt x="166" y="7"/>
                  </a:cubicBezTo>
                  <a:cubicBezTo>
                    <a:pt x="164" y="7"/>
                    <a:pt x="155" y="8"/>
                    <a:pt x="153" y="9"/>
                  </a:cubicBezTo>
                  <a:cubicBezTo>
                    <a:pt x="151" y="9"/>
                    <a:pt x="155" y="8"/>
                    <a:pt x="154" y="9"/>
                  </a:cubicBezTo>
                  <a:cubicBezTo>
                    <a:pt x="147" y="10"/>
                    <a:pt x="141" y="11"/>
                    <a:pt x="136" y="11"/>
                  </a:cubicBezTo>
                  <a:cubicBezTo>
                    <a:pt x="134" y="12"/>
                    <a:pt x="133" y="12"/>
                    <a:pt x="131" y="12"/>
                  </a:cubicBezTo>
                  <a:cubicBezTo>
                    <a:pt x="129" y="13"/>
                    <a:pt x="131" y="12"/>
                    <a:pt x="129" y="13"/>
                  </a:cubicBezTo>
                  <a:cubicBezTo>
                    <a:pt x="127" y="13"/>
                    <a:pt x="131" y="13"/>
                    <a:pt x="130" y="13"/>
                  </a:cubicBezTo>
                  <a:cubicBezTo>
                    <a:pt x="127" y="13"/>
                    <a:pt x="128" y="13"/>
                    <a:pt x="126" y="14"/>
                  </a:cubicBezTo>
                  <a:cubicBezTo>
                    <a:pt x="122" y="14"/>
                    <a:pt x="119" y="15"/>
                    <a:pt x="115" y="16"/>
                  </a:cubicBezTo>
                  <a:cubicBezTo>
                    <a:pt x="103" y="18"/>
                    <a:pt x="103" y="18"/>
                    <a:pt x="103" y="18"/>
                  </a:cubicBezTo>
                  <a:cubicBezTo>
                    <a:pt x="99" y="19"/>
                    <a:pt x="98" y="19"/>
                    <a:pt x="94" y="20"/>
                  </a:cubicBezTo>
                  <a:cubicBezTo>
                    <a:pt x="91" y="21"/>
                    <a:pt x="88" y="21"/>
                    <a:pt x="85" y="22"/>
                  </a:cubicBezTo>
                  <a:cubicBezTo>
                    <a:pt x="83" y="22"/>
                    <a:pt x="86" y="22"/>
                    <a:pt x="84" y="22"/>
                  </a:cubicBezTo>
                  <a:cubicBezTo>
                    <a:pt x="72" y="25"/>
                    <a:pt x="60" y="27"/>
                    <a:pt x="51" y="30"/>
                  </a:cubicBezTo>
                  <a:cubicBezTo>
                    <a:pt x="64" y="26"/>
                    <a:pt x="74" y="25"/>
                    <a:pt x="86" y="22"/>
                  </a:cubicBezTo>
                  <a:cubicBezTo>
                    <a:pt x="88" y="22"/>
                    <a:pt x="92" y="21"/>
                    <a:pt x="93" y="21"/>
                  </a:cubicBezTo>
                  <a:cubicBezTo>
                    <a:pt x="94" y="20"/>
                    <a:pt x="91" y="21"/>
                    <a:pt x="94" y="20"/>
                  </a:cubicBezTo>
                  <a:cubicBezTo>
                    <a:pt x="95" y="20"/>
                    <a:pt x="95" y="20"/>
                    <a:pt x="97" y="20"/>
                  </a:cubicBezTo>
                  <a:cubicBezTo>
                    <a:pt x="95" y="20"/>
                    <a:pt x="98" y="20"/>
                    <a:pt x="99" y="20"/>
                  </a:cubicBezTo>
                  <a:cubicBezTo>
                    <a:pt x="109" y="18"/>
                    <a:pt x="117" y="16"/>
                    <a:pt x="125" y="15"/>
                  </a:cubicBezTo>
                  <a:cubicBezTo>
                    <a:pt x="127" y="15"/>
                    <a:pt x="124" y="15"/>
                    <a:pt x="126" y="15"/>
                  </a:cubicBezTo>
                  <a:cubicBezTo>
                    <a:pt x="136" y="13"/>
                    <a:pt x="136" y="13"/>
                    <a:pt x="136" y="13"/>
                  </a:cubicBezTo>
                  <a:cubicBezTo>
                    <a:pt x="137" y="13"/>
                    <a:pt x="140" y="13"/>
                    <a:pt x="139" y="13"/>
                  </a:cubicBezTo>
                  <a:cubicBezTo>
                    <a:pt x="127" y="15"/>
                    <a:pt x="111" y="18"/>
                    <a:pt x="97" y="21"/>
                  </a:cubicBezTo>
                  <a:cubicBezTo>
                    <a:pt x="92" y="22"/>
                    <a:pt x="88" y="22"/>
                    <a:pt x="85" y="23"/>
                  </a:cubicBezTo>
                  <a:cubicBezTo>
                    <a:pt x="92" y="22"/>
                    <a:pt x="97" y="21"/>
                    <a:pt x="102" y="20"/>
                  </a:cubicBezTo>
                  <a:cubicBezTo>
                    <a:pt x="109" y="19"/>
                    <a:pt x="117" y="17"/>
                    <a:pt x="124" y="16"/>
                  </a:cubicBezTo>
                  <a:cubicBezTo>
                    <a:pt x="129" y="15"/>
                    <a:pt x="129" y="15"/>
                    <a:pt x="129" y="15"/>
                  </a:cubicBezTo>
                  <a:cubicBezTo>
                    <a:pt x="134" y="14"/>
                    <a:pt x="134" y="14"/>
                    <a:pt x="134" y="14"/>
                  </a:cubicBezTo>
                  <a:cubicBezTo>
                    <a:pt x="136" y="14"/>
                    <a:pt x="136" y="14"/>
                    <a:pt x="137" y="14"/>
                  </a:cubicBezTo>
                  <a:cubicBezTo>
                    <a:pt x="140" y="14"/>
                    <a:pt x="142" y="13"/>
                    <a:pt x="146" y="13"/>
                  </a:cubicBezTo>
                  <a:cubicBezTo>
                    <a:pt x="163" y="10"/>
                    <a:pt x="163" y="10"/>
                    <a:pt x="163" y="10"/>
                  </a:cubicBezTo>
                  <a:cubicBezTo>
                    <a:pt x="164" y="10"/>
                    <a:pt x="163" y="11"/>
                    <a:pt x="162" y="11"/>
                  </a:cubicBezTo>
                  <a:cubicBezTo>
                    <a:pt x="155" y="12"/>
                    <a:pt x="154" y="12"/>
                    <a:pt x="146" y="13"/>
                  </a:cubicBezTo>
                  <a:cubicBezTo>
                    <a:pt x="147" y="13"/>
                    <a:pt x="148" y="13"/>
                    <a:pt x="148" y="13"/>
                  </a:cubicBezTo>
                  <a:cubicBezTo>
                    <a:pt x="145" y="13"/>
                    <a:pt x="144" y="13"/>
                    <a:pt x="143" y="14"/>
                  </a:cubicBezTo>
                  <a:cubicBezTo>
                    <a:pt x="148" y="13"/>
                    <a:pt x="148" y="13"/>
                    <a:pt x="146" y="14"/>
                  </a:cubicBezTo>
                  <a:cubicBezTo>
                    <a:pt x="132" y="16"/>
                    <a:pt x="116" y="19"/>
                    <a:pt x="105" y="21"/>
                  </a:cubicBezTo>
                  <a:cubicBezTo>
                    <a:pt x="104" y="21"/>
                    <a:pt x="103" y="21"/>
                    <a:pt x="101" y="22"/>
                  </a:cubicBezTo>
                  <a:cubicBezTo>
                    <a:pt x="88" y="24"/>
                    <a:pt x="74" y="27"/>
                    <a:pt x="61" y="30"/>
                  </a:cubicBezTo>
                  <a:cubicBezTo>
                    <a:pt x="76" y="27"/>
                    <a:pt x="92" y="23"/>
                    <a:pt x="110" y="20"/>
                  </a:cubicBezTo>
                  <a:cubicBezTo>
                    <a:pt x="111" y="20"/>
                    <a:pt x="110" y="20"/>
                    <a:pt x="112" y="20"/>
                  </a:cubicBezTo>
                  <a:cubicBezTo>
                    <a:pt x="119" y="18"/>
                    <a:pt x="128" y="17"/>
                    <a:pt x="134" y="16"/>
                  </a:cubicBezTo>
                  <a:cubicBezTo>
                    <a:pt x="142" y="15"/>
                    <a:pt x="142" y="15"/>
                    <a:pt x="142" y="15"/>
                  </a:cubicBezTo>
                  <a:cubicBezTo>
                    <a:pt x="161" y="12"/>
                    <a:pt x="174" y="11"/>
                    <a:pt x="192" y="10"/>
                  </a:cubicBezTo>
                  <a:cubicBezTo>
                    <a:pt x="192" y="10"/>
                    <a:pt x="194" y="10"/>
                    <a:pt x="194" y="10"/>
                  </a:cubicBezTo>
                  <a:cubicBezTo>
                    <a:pt x="190" y="11"/>
                    <a:pt x="190" y="11"/>
                    <a:pt x="190" y="11"/>
                  </a:cubicBezTo>
                  <a:cubicBezTo>
                    <a:pt x="187" y="11"/>
                    <a:pt x="184" y="11"/>
                    <a:pt x="182" y="12"/>
                  </a:cubicBezTo>
                  <a:cubicBezTo>
                    <a:pt x="167" y="13"/>
                    <a:pt x="145" y="16"/>
                    <a:pt x="126" y="19"/>
                  </a:cubicBezTo>
                  <a:cubicBezTo>
                    <a:pt x="124" y="20"/>
                    <a:pt x="126" y="20"/>
                    <a:pt x="128" y="20"/>
                  </a:cubicBezTo>
                  <a:cubicBezTo>
                    <a:pt x="137" y="19"/>
                    <a:pt x="145" y="17"/>
                    <a:pt x="154" y="16"/>
                  </a:cubicBezTo>
                  <a:cubicBezTo>
                    <a:pt x="158" y="16"/>
                    <a:pt x="154" y="17"/>
                    <a:pt x="147" y="18"/>
                  </a:cubicBezTo>
                  <a:cubicBezTo>
                    <a:pt x="135" y="20"/>
                    <a:pt x="114" y="23"/>
                    <a:pt x="106" y="25"/>
                  </a:cubicBezTo>
                  <a:cubicBezTo>
                    <a:pt x="88" y="28"/>
                    <a:pt x="70" y="32"/>
                    <a:pt x="53" y="36"/>
                  </a:cubicBezTo>
                  <a:cubicBezTo>
                    <a:pt x="51" y="37"/>
                    <a:pt x="51" y="37"/>
                    <a:pt x="51" y="37"/>
                  </a:cubicBezTo>
                  <a:cubicBezTo>
                    <a:pt x="50" y="37"/>
                    <a:pt x="50" y="37"/>
                    <a:pt x="50" y="37"/>
                  </a:cubicBezTo>
                  <a:cubicBezTo>
                    <a:pt x="49" y="37"/>
                    <a:pt x="49" y="37"/>
                    <a:pt x="48" y="38"/>
                  </a:cubicBezTo>
                  <a:cubicBezTo>
                    <a:pt x="49" y="37"/>
                    <a:pt x="49" y="37"/>
                    <a:pt x="50" y="37"/>
                  </a:cubicBezTo>
                  <a:cubicBezTo>
                    <a:pt x="51" y="37"/>
                    <a:pt x="51" y="37"/>
                    <a:pt x="51" y="37"/>
                  </a:cubicBezTo>
                  <a:cubicBezTo>
                    <a:pt x="56" y="36"/>
                    <a:pt x="56" y="36"/>
                    <a:pt x="56" y="36"/>
                  </a:cubicBezTo>
                  <a:cubicBezTo>
                    <a:pt x="56" y="36"/>
                    <a:pt x="57" y="35"/>
                    <a:pt x="58" y="35"/>
                  </a:cubicBezTo>
                  <a:cubicBezTo>
                    <a:pt x="76" y="31"/>
                    <a:pt x="95" y="27"/>
                    <a:pt x="111" y="24"/>
                  </a:cubicBezTo>
                  <a:cubicBezTo>
                    <a:pt x="118" y="23"/>
                    <a:pt x="130" y="21"/>
                    <a:pt x="137" y="20"/>
                  </a:cubicBezTo>
                  <a:cubicBezTo>
                    <a:pt x="136" y="21"/>
                    <a:pt x="130" y="22"/>
                    <a:pt x="123" y="23"/>
                  </a:cubicBezTo>
                  <a:cubicBezTo>
                    <a:pt x="130" y="22"/>
                    <a:pt x="137" y="21"/>
                    <a:pt x="143" y="20"/>
                  </a:cubicBezTo>
                  <a:cubicBezTo>
                    <a:pt x="148" y="19"/>
                    <a:pt x="156" y="18"/>
                    <a:pt x="158" y="18"/>
                  </a:cubicBezTo>
                  <a:cubicBezTo>
                    <a:pt x="159" y="18"/>
                    <a:pt x="158" y="18"/>
                    <a:pt x="159" y="18"/>
                  </a:cubicBezTo>
                  <a:cubicBezTo>
                    <a:pt x="160" y="18"/>
                    <a:pt x="163" y="17"/>
                    <a:pt x="163" y="17"/>
                  </a:cubicBezTo>
                  <a:cubicBezTo>
                    <a:pt x="166" y="17"/>
                    <a:pt x="165" y="17"/>
                    <a:pt x="168" y="17"/>
                  </a:cubicBezTo>
                  <a:cubicBezTo>
                    <a:pt x="172" y="16"/>
                    <a:pt x="172" y="16"/>
                    <a:pt x="175" y="16"/>
                  </a:cubicBezTo>
                  <a:cubicBezTo>
                    <a:pt x="189" y="15"/>
                    <a:pt x="202" y="13"/>
                    <a:pt x="216" y="13"/>
                  </a:cubicBezTo>
                  <a:cubicBezTo>
                    <a:pt x="221" y="12"/>
                    <a:pt x="221" y="12"/>
                    <a:pt x="221" y="12"/>
                  </a:cubicBezTo>
                  <a:cubicBezTo>
                    <a:pt x="222" y="12"/>
                    <a:pt x="221" y="13"/>
                    <a:pt x="223" y="13"/>
                  </a:cubicBezTo>
                  <a:cubicBezTo>
                    <a:pt x="224" y="13"/>
                    <a:pt x="223" y="12"/>
                    <a:pt x="225" y="12"/>
                  </a:cubicBezTo>
                  <a:cubicBezTo>
                    <a:pt x="230" y="12"/>
                    <a:pt x="236" y="12"/>
                    <a:pt x="242" y="12"/>
                  </a:cubicBezTo>
                  <a:cubicBezTo>
                    <a:pt x="255" y="12"/>
                    <a:pt x="271" y="14"/>
                    <a:pt x="281" y="16"/>
                  </a:cubicBezTo>
                  <a:cubicBezTo>
                    <a:pt x="284" y="16"/>
                    <a:pt x="281" y="16"/>
                    <a:pt x="284" y="16"/>
                  </a:cubicBezTo>
                  <a:cubicBezTo>
                    <a:pt x="301" y="20"/>
                    <a:pt x="321" y="26"/>
                    <a:pt x="327" y="43"/>
                  </a:cubicBezTo>
                  <a:cubicBezTo>
                    <a:pt x="328" y="44"/>
                    <a:pt x="327" y="43"/>
                    <a:pt x="328" y="45"/>
                  </a:cubicBezTo>
                  <a:cubicBezTo>
                    <a:pt x="329" y="48"/>
                    <a:pt x="329" y="47"/>
                    <a:pt x="330" y="49"/>
                  </a:cubicBezTo>
                  <a:cubicBezTo>
                    <a:pt x="330" y="51"/>
                    <a:pt x="331" y="52"/>
                    <a:pt x="331" y="53"/>
                  </a:cubicBezTo>
                  <a:cubicBezTo>
                    <a:pt x="339" y="74"/>
                    <a:pt x="343" y="98"/>
                    <a:pt x="345" y="122"/>
                  </a:cubicBezTo>
                  <a:cubicBezTo>
                    <a:pt x="347" y="144"/>
                    <a:pt x="348" y="166"/>
                    <a:pt x="347" y="188"/>
                  </a:cubicBezTo>
                  <a:cubicBezTo>
                    <a:pt x="347" y="205"/>
                    <a:pt x="346" y="221"/>
                    <a:pt x="344" y="235"/>
                  </a:cubicBezTo>
                  <a:cubicBezTo>
                    <a:pt x="342" y="255"/>
                    <a:pt x="339" y="273"/>
                    <a:pt x="333" y="290"/>
                  </a:cubicBezTo>
                  <a:cubicBezTo>
                    <a:pt x="331" y="296"/>
                    <a:pt x="329" y="303"/>
                    <a:pt x="326" y="308"/>
                  </a:cubicBezTo>
                  <a:cubicBezTo>
                    <a:pt x="323" y="311"/>
                    <a:pt x="318" y="315"/>
                    <a:pt x="314" y="318"/>
                  </a:cubicBezTo>
                  <a:cubicBezTo>
                    <a:pt x="312" y="319"/>
                    <a:pt x="310" y="320"/>
                    <a:pt x="308" y="321"/>
                  </a:cubicBezTo>
                  <a:cubicBezTo>
                    <a:pt x="305" y="322"/>
                    <a:pt x="302" y="323"/>
                    <a:pt x="299" y="325"/>
                  </a:cubicBezTo>
                  <a:cubicBezTo>
                    <a:pt x="291" y="328"/>
                    <a:pt x="282" y="331"/>
                    <a:pt x="273" y="333"/>
                  </a:cubicBezTo>
                  <a:cubicBezTo>
                    <a:pt x="263" y="336"/>
                    <a:pt x="253" y="338"/>
                    <a:pt x="243" y="340"/>
                  </a:cubicBezTo>
                  <a:cubicBezTo>
                    <a:pt x="237" y="341"/>
                    <a:pt x="232" y="342"/>
                    <a:pt x="226" y="343"/>
                  </a:cubicBezTo>
                  <a:cubicBezTo>
                    <a:pt x="222" y="343"/>
                    <a:pt x="218" y="344"/>
                    <a:pt x="214" y="344"/>
                  </a:cubicBezTo>
                  <a:cubicBezTo>
                    <a:pt x="203" y="345"/>
                    <a:pt x="192" y="346"/>
                    <a:pt x="182" y="347"/>
                  </a:cubicBezTo>
                  <a:cubicBezTo>
                    <a:pt x="168" y="347"/>
                    <a:pt x="153" y="347"/>
                    <a:pt x="139" y="346"/>
                  </a:cubicBezTo>
                  <a:cubicBezTo>
                    <a:pt x="124" y="345"/>
                    <a:pt x="105" y="343"/>
                    <a:pt x="91" y="339"/>
                  </a:cubicBezTo>
                  <a:cubicBezTo>
                    <a:pt x="79" y="336"/>
                    <a:pt x="67" y="332"/>
                    <a:pt x="56" y="326"/>
                  </a:cubicBezTo>
                  <a:cubicBezTo>
                    <a:pt x="55" y="325"/>
                    <a:pt x="54" y="325"/>
                    <a:pt x="53" y="324"/>
                  </a:cubicBezTo>
                  <a:cubicBezTo>
                    <a:pt x="44" y="319"/>
                    <a:pt x="37" y="312"/>
                    <a:pt x="32" y="304"/>
                  </a:cubicBezTo>
                  <a:cubicBezTo>
                    <a:pt x="27" y="296"/>
                    <a:pt x="24" y="287"/>
                    <a:pt x="22" y="279"/>
                  </a:cubicBezTo>
                  <a:cubicBezTo>
                    <a:pt x="20" y="273"/>
                    <a:pt x="19" y="268"/>
                    <a:pt x="18" y="262"/>
                  </a:cubicBezTo>
                  <a:cubicBezTo>
                    <a:pt x="18" y="256"/>
                    <a:pt x="17" y="250"/>
                    <a:pt x="16" y="244"/>
                  </a:cubicBezTo>
                  <a:cubicBezTo>
                    <a:pt x="16" y="242"/>
                    <a:pt x="16" y="241"/>
                    <a:pt x="16" y="239"/>
                  </a:cubicBezTo>
                  <a:cubicBezTo>
                    <a:pt x="16" y="232"/>
                    <a:pt x="15" y="226"/>
                    <a:pt x="15" y="220"/>
                  </a:cubicBezTo>
                  <a:cubicBezTo>
                    <a:pt x="15" y="209"/>
                    <a:pt x="16" y="199"/>
                    <a:pt x="16" y="187"/>
                  </a:cubicBezTo>
                  <a:cubicBezTo>
                    <a:pt x="19" y="154"/>
                    <a:pt x="19" y="154"/>
                    <a:pt x="19" y="154"/>
                  </a:cubicBezTo>
                  <a:cubicBezTo>
                    <a:pt x="21" y="137"/>
                    <a:pt x="22" y="119"/>
                    <a:pt x="25" y="101"/>
                  </a:cubicBezTo>
                  <a:cubicBezTo>
                    <a:pt x="26" y="95"/>
                    <a:pt x="27" y="90"/>
                    <a:pt x="28" y="84"/>
                  </a:cubicBezTo>
                  <a:cubicBezTo>
                    <a:pt x="29" y="77"/>
                    <a:pt x="31" y="70"/>
                    <a:pt x="32" y="62"/>
                  </a:cubicBezTo>
                  <a:cubicBezTo>
                    <a:pt x="33" y="60"/>
                    <a:pt x="33" y="60"/>
                    <a:pt x="33" y="60"/>
                  </a:cubicBezTo>
                  <a:cubicBezTo>
                    <a:pt x="33" y="60"/>
                    <a:pt x="33" y="60"/>
                    <a:pt x="33" y="60"/>
                  </a:cubicBezTo>
                  <a:cubicBezTo>
                    <a:pt x="33" y="59"/>
                    <a:pt x="33" y="59"/>
                    <a:pt x="33" y="59"/>
                  </a:cubicBezTo>
                  <a:cubicBezTo>
                    <a:pt x="33" y="58"/>
                    <a:pt x="33" y="58"/>
                    <a:pt x="33" y="58"/>
                  </a:cubicBezTo>
                  <a:cubicBezTo>
                    <a:pt x="33" y="58"/>
                    <a:pt x="33" y="57"/>
                    <a:pt x="34" y="56"/>
                  </a:cubicBezTo>
                  <a:cubicBezTo>
                    <a:pt x="35" y="56"/>
                    <a:pt x="34" y="55"/>
                    <a:pt x="34" y="55"/>
                  </a:cubicBezTo>
                  <a:cubicBezTo>
                    <a:pt x="34" y="54"/>
                    <a:pt x="34" y="54"/>
                    <a:pt x="35" y="54"/>
                  </a:cubicBezTo>
                  <a:cubicBezTo>
                    <a:pt x="35" y="54"/>
                    <a:pt x="35" y="54"/>
                    <a:pt x="35" y="53"/>
                  </a:cubicBezTo>
                  <a:cubicBezTo>
                    <a:pt x="35" y="53"/>
                    <a:pt x="36" y="53"/>
                    <a:pt x="36" y="52"/>
                  </a:cubicBezTo>
                  <a:cubicBezTo>
                    <a:pt x="36" y="52"/>
                    <a:pt x="36" y="52"/>
                    <a:pt x="36" y="52"/>
                  </a:cubicBezTo>
                  <a:cubicBezTo>
                    <a:pt x="36" y="51"/>
                    <a:pt x="36" y="51"/>
                    <a:pt x="36" y="50"/>
                  </a:cubicBezTo>
                  <a:cubicBezTo>
                    <a:pt x="36" y="50"/>
                    <a:pt x="36" y="49"/>
                    <a:pt x="36" y="49"/>
                  </a:cubicBezTo>
                  <a:cubicBezTo>
                    <a:pt x="36" y="48"/>
                    <a:pt x="36" y="48"/>
                    <a:pt x="36" y="48"/>
                  </a:cubicBezTo>
                  <a:cubicBezTo>
                    <a:pt x="36" y="47"/>
                    <a:pt x="36" y="47"/>
                    <a:pt x="36" y="46"/>
                  </a:cubicBezTo>
                  <a:cubicBezTo>
                    <a:pt x="36" y="46"/>
                    <a:pt x="35" y="45"/>
                    <a:pt x="35" y="45"/>
                  </a:cubicBezTo>
                  <a:cubicBezTo>
                    <a:pt x="35" y="45"/>
                    <a:pt x="35" y="45"/>
                    <a:pt x="35" y="44"/>
                  </a:cubicBezTo>
                  <a:cubicBezTo>
                    <a:pt x="35" y="43"/>
                    <a:pt x="34" y="42"/>
                    <a:pt x="33" y="41"/>
                  </a:cubicBezTo>
                  <a:cubicBezTo>
                    <a:pt x="33" y="41"/>
                    <a:pt x="33" y="41"/>
                    <a:pt x="32" y="40"/>
                  </a:cubicBezTo>
                  <a:cubicBezTo>
                    <a:pt x="32" y="40"/>
                    <a:pt x="32" y="40"/>
                    <a:pt x="32" y="40"/>
                  </a:cubicBezTo>
                  <a:cubicBezTo>
                    <a:pt x="32" y="40"/>
                    <a:pt x="31" y="40"/>
                    <a:pt x="30" y="39"/>
                  </a:cubicBezTo>
                  <a:cubicBezTo>
                    <a:pt x="30" y="39"/>
                    <a:pt x="30" y="39"/>
                    <a:pt x="30" y="39"/>
                  </a:cubicBezTo>
                  <a:cubicBezTo>
                    <a:pt x="29" y="39"/>
                    <a:pt x="28" y="39"/>
                    <a:pt x="27" y="38"/>
                  </a:cubicBezTo>
                  <a:cubicBezTo>
                    <a:pt x="26" y="39"/>
                    <a:pt x="26" y="38"/>
                    <a:pt x="25" y="39"/>
                  </a:cubicBezTo>
                  <a:cubicBezTo>
                    <a:pt x="25" y="39"/>
                    <a:pt x="25" y="39"/>
                    <a:pt x="24" y="39"/>
                  </a:cubicBezTo>
                  <a:cubicBezTo>
                    <a:pt x="24" y="39"/>
                    <a:pt x="24" y="39"/>
                    <a:pt x="23" y="40"/>
                  </a:cubicBezTo>
                  <a:cubicBezTo>
                    <a:pt x="23" y="39"/>
                    <a:pt x="23" y="40"/>
                    <a:pt x="22" y="40"/>
                  </a:cubicBezTo>
                  <a:cubicBezTo>
                    <a:pt x="22" y="40"/>
                    <a:pt x="22" y="40"/>
                    <a:pt x="21" y="41"/>
                  </a:cubicBezTo>
                  <a:cubicBezTo>
                    <a:pt x="21" y="41"/>
                    <a:pt x="21" y="41"/>
                    <a:pt x="21" y="41"/>
                  </a:cubicBezTo>
                  <a:cubicBezTo>
                    <a:pt x="20" y="41"/>
                    <a:pt x="19" y="42"/>
                    <a:pt x="19" y="43"/>
                  </a:cubicBezTo>
                  <a:cubicBezTo>
                    <a:pt x="19" y="43"/>
                    <a:pt x="19" y="43"/>
                    <a:pt x="19" y="43"/>
                  </a:cubicBezTo>
                  <a:cubicBezTo>
                    <a:pt x="19" y="44"/>
                    <a:pt x="18" y="45"/>
                    <a:pt x="18" y="46"/>
                  </a:cubicBezTo>
                  <a:cubicBezTo>
                    <a:pt x="18" y="46"/>
                    <a:pt x="18" y="46"/>
                    <a:pt x="18" y="46"/>
                  </a:cubicBezTo>
                  <a:cubicBezTo>
                    <a:pt x="17" y="46"/>
                    <a:pt x="17" y="46"/>
                    <a:pt x="17" y="47"/>
                  </a:cubicBezTo>
                  <a:cubicBezTo>
                    <a:pt x="17" y="47"/>
                    <a:pt x="17" y="47"/>
                    <a:pt x="17" y="48"/>
                  </a:cubicBezTo>
                  <a:cubicBezTo>
                    <a:pt x="17" y="48"/>
                    <a:pt x="17" y="48"/>
                    <a:pt x="17" y="49"/>
                  </a:cubicBezTo>
                  <a:cubicBezTo>
                    <a:pt x="17" y="49"/>
                    <a:pt x="17" y="49"/>
                    <a:pt x="17" y="49"/>
                  </a:cubicBezTo>
                  <a:cubicBezTo>
                    <a:pt x="17" y="50"/>
                    <a:pt x="17" y="51"/>
                    <a:pt x="16" y="51"/>
                  </a:cubicBezTo>
                  <a:cubicBezTo>
                    <a:pt x="16" y="51"/>
                    <a:pt x="16" y="51"/>
                    <a:pt x="16" y="52"/>
                  </a:cubicBezTo>
                  <a:cubicBezTo>
                    <a:pt x="16" y="52"/>
                    <a:pt x="16" y="52"/>
                    <a:pt x="17" y="52"/>
                  </a:cubicBezTo>
                  <a:cubicBezTo>
                    <a:pt x="17" y="53"/>
                    <a:pt x="16" y="54"/>
                    <a:pt x="17" y="55"/>
                  </a:cubicBezTo>
                  <a:cubicBezTo>
                    <a:pt x="16" y="56"/>
                    <a:pt x="16" y="56"/>
                    <a:pt x="16" y="56"/>
                  </a:cubicBezTo>
                  <a:cubicBezTo>
                    <a:pt x="16" y="57"/>
                    <a:pt x="16" y="57"/>
                    <a:pt x="16" y="57"/>
                  </a:cubicBezTo>
                  <a:cubicBezTo>
                    <a:pt x="16" y="57"/>
                    <a:pt x="16" y="57"/>
                    <a:pt x="16" y="57"/>
                  </a:cubicBezTo>
                  <a:cubicBezTo>
                    <a:pt x="16" y="58"/>
                    <a:pt x="16" y="58"/>
                    <a:pt x="16" y="58"/>
                  </a:cubicBezTo>
                  <a:cubicBezTo>
                    <a:pt x="15" y="65"/>
                    <a:pt x="15" y="65"/>
                    <a:pt x="15" y="65"/>
                  </a:cubicBezTo>
                  <a:cubicBezTo>
                    <a:pt x="14" y="71"/>
                    <a:pt x="14" y="71"/>
                    <a:pt x="14" y="71"/>
                  </a:cubicBezTo>
                  <a:cubicBezTo>
                    <a:pt x="13" y="74"/>
                    <a:pt x="13" y="78"/>
                    <a:pt x="12" y="82"/>
                  </a:cubicBezTo>
                  <a:cubicBezTo>
                    <a:pt x="11" y="89"/>
                    <a:pt x="10" y="95"/>
                    <a:pt x="9" y="101"/>
                  </a:cubicBezTo>
                  <a:cubicBezTo>
                    <a:pt x="8" y="110"/>
                    <a:pt x="7" y="116"/>
                    <a:pt x="6" y="124"/>
                  </a:cubicBezTo>
                  <a:cubicBezTo>
                    <a:pt x="5" y="132"/>
                    <a:pt x="5" y="132"/>
                    <a:pt x="5" y="132"/>
                  </a:cubicBezTo>
                  <a:cubicBezTo>
                    <a:pt x="4" y="140"/>
                    <a:pt x="4" y="140"/>
                    <a:pt x="4" y="140"/>
                  </a:cubicBezTo>
                  <a:cubicBezTo>
                    <a:pt x="3" y="149"/>
                    <a:pt x="3" y="149"/>
                    <a:pt x="3" y="149"/>
                  </a:cubicBezTo>
                  <a:cubicBezTo>
                    <a:pt x="3" y="154"/>
                    <a:pt x="3" y="154"/>
                    <a:pt x="3" y="154"/>
                  </a:cubicBezTo>
                  <a:cubicBezTo>
                    <a:pt x="3" y="156"/>
                    <a:pt x="2" y="158"/>
                    <a:pt x="2" y="160"/>
                  </a:cubicBezTo>
                  <a:cubicBezTo>
                    <a:pt x="2" y="168"/>
                    <a:pt x="2" y="168"/>
                    <a:pt x="2" y="168"/>
                  </a:cubicBezTo>
                  <a:cubicBezTo>
                    <a:pt x="1" y="177"/>
                    <a:pt x="0" y="187"/>
                    <a:pt x="0" y="195"/>
                  </a:cubicBezTo>
                  <a:cubicBezTo>
                    <a:pt x="0" y="211"/>
                    <a:pt x="0" y="225"/>
                    <a:pt x="1" y="243"/>
                  </a:cubicBezTo>
                  <a:cubicBezTo>
                    <a:pt x="2" y="256"/>
                    <a:pt x="2" y="256"/>
                    <a:pt x="2" y="256"/>
                  </a:cubicBezTo>
                  <a:cubicBezTo>
                    <a:pt x="2" y="257"/>
                    <a:pt x="2" y="257"/>
                    <a:pt x="3" y="259"/>
                  </a:cubicBezTo>
                  <a:cubicBezTo>
                    <a:pt x="4" y="269"/>
                    <a:pt x="6" y="279"/>
                    <a:pt x="9" y="289"/>
                  </a:cubicBezTo>
                  <a:cubicBezTo>
                    <a:pt x="9" y="289"/>
                    <a:pt x="9" y="290"/>
                    <a:pt x="9" y="290"/>
                  </a:cubicBezTo>
                  <a:cubicBezTo>
                    <a:pt x="11" y="297"/>
                    <a:pt x="14" y="305"/>
                    <a:pt x="19" y="312"/>
                  </a:cubicBezTo>
                  <a:cubicBezTo>
                    <a:pt x="23" y="319"/>
                    <a:pt x="29" y="324"/>
                    <a:pt x="33" y="328"/>
                  </a:cubicBezTo>
                  <a:cubicBezTo>
                    <a:pt x="40" y="334"/>
                    <a:pt x="49" y="339"/>
                    <a:pt x="59" y="344"/>
                  </a:cubicBezTo>
                  <a:cubicBezTo>
                    <a:pt x="63" y="346"/>
                    <a:pt x="68" y="348"/>
                    <a:pt x="72" y="349"/>
                  </a:cubicBezTo>
                  <a:cubicBezTo>
                    <a:pt x="81" y="352"/>
                    <a:pt x="93" y="355"/>
                    <a:pt x="101" y="356"/>
                  </a:cubicBezTo>
                  <a:cubicBezTo>
                    <a:pt x="104" y="357"/>
                    <a:pt x="106" y="357"/>
                    <a:pt x="109" y="357"/>
                  </a:cubicBezTo>
                  <a:cubicBezTo>
                    <a:pt x="113" y="358"/>
                    <a:pt x="118" y="359"/>
                    <a:pt x="123" y="359"/>
                  </a:cubicBezTo>
                  <a:cubicBezTo>
                    <a:pt x="141" y="361"/>
                    <a:pt x="163" y="362"/>
                    <a:pt x="179" y="361"/>
                  </a:cubicBezTo>
                  <a:cubicBezTo>
                    <a:pt x="184" y="361"/>
                    <a:pt x="188" y="361"/>
                    <a:pt x="194" y="360"/>
                  </a:cubicBezTo>
                  <a:cubicBezTo>
                    <a:pt x="203" y="359"/>
                    <a:pt x="213" y="359"/>
                    <a:pt x="222" y="358"/>
                  </a:cubicBezTo>
                  <a:cubicBezTo>
                    <a:pt x="229" y="357"/>
                    <a:pt x="229" y="357"/>
                    <a:pt x="229" y="357"/>
                  </a:cubicBezTo>
                  <a:cubicBezTo>
                    <a:pt x="234" y="356"/>
                    <a:pt x="240" y="355"/>
                    <a:pt x="245" y="354"/>
                  </a:cubicBezTo>
                  <a:cubicBezTo>
                    <a:pt x="260" y="351"/>
                    <a:pt x="274" y="348"/>
                    <a:pt x="287" y="344"/>
                  </a:cubicBezTo>
                  <a:cubicBezTo>
                    <a:pt x="295" y="341"/>
                    <a:pt x="306" y="338"/>
                    <a:pt x="316" y="333"/>
                  </a:cubicBezTo>
                  <a:cubicBezTo>
                    <a:pt x="321" y="330"/>
                    <a:pt x="326" y="327"/>
                    <a:pt x="331" y="323"/>
                  </a:cubicBezTo>
                  <a:cubicBezTo>
                    <a:pt x="333" y="321"/>
                    <a:pt x="335" y="319"/>
                    <a:pt x="337" y="316"/>
                  </a:cubicBezTo>
                  <a:cubicBezTo>
                    <a:pt x="339" y="313"/>
                    <a:pt x="340" y="311"/>
                    <a:pt x="341" y="308"/>
                  </a:cubicBezTo>
                  <a:cubicBezTo>
                    <a:pt x="343" y="304"/>
                    <a:pt x="345" y="300"/>
                    <a:pt x="347" y="295"/>
                  </a:cubicBezTo>
                  <a:cubicBezTo>
                    <a:pt x="351" y="281"/>
                    <a:pt x="354" y="263"/>
                    <a:pt x="357" y="248"/>
                  </a:cubicBezTo>
                  <a:cubicBezTo>
                    <a:pt x="361" y="216"/>
                    <a:pt x="362" y="184"/>
                    <a:pt x="361" y="152"/>
                  </a:cubicBezTo>
                  <a:close/>
                </a:path>
              </a:pathLst>
            </a:custGeom>
            <a:solidFill>
              <a:srgbClr val="FF0000"/>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9" name="Freeform 499"/>
            <p:cNvSpPr>
              <a:spLocks noEditPoints="1"/>
            </p:cNvSpPr>
            <p:nvPr/>
          </p:nvSpPr>
          <p:spPr bwMode="auto">
            <a:xfrm flipH="1">
              <a:off x="4875992" y="2343704"/>
              <a:ext cx="428628" cy="351766"/>
            </a:xfrm>
            <a:custGeom>
              <a:avLst/>
              <a:gdLst>
                <a:gd name="T0" fmla="*/ 207 w 362"/>
                <a:gd name="T1" fmla="*/ 1 h 362"/>
                <a:gd name="T2" fmla="*/ 177 w 362"/>
                <a:gd name="T3" fmla="*/ 5 h 362"/>
                <a:gd name="T4" fmla="*/ 137 w 362"/>
                <a:gd name="T5" fmla="*/ 19 h 362"/>
                <a:gd name="T6" fmla="*/ 79 w 362"/>
                <a:gd name="T7" fmla="*/ 24 h 362"/>
                <a:gd name="T8" fmla="*/ 49 w 362"/>
                <a:gd name="T9" fmla="*/ 33 h 362"/>
                <a:gd name="T10" fmla="*/ 54 w 362"/>
                <a:gd name="T11" fmla="*/ 32 h 362"/>
                <a:gd name="T12" fmla="*/ 50 w 362"/>
                <a:gd name="T13" fmla="*/ 30 h 362"/>
                <a:gd name="T14" fmla="*/ 51 w 362"/>
                <a:gd name="T15" fmla="*/ 36 h 362"/>
                <a:gd name="T16" fmla="*/ 49 w 362"/>
                <a:gd name="T17" fmla="*/ 30 h 362"/>
                <a:gd name="T18" fmla="*/ 51 w 362"/>
                <a:gd name="T19" fmla="*/ 36 h 362"/>
                <a:gd name="T20" fmla="*/ 49 w 362"/>
                <a:gd name="T21" fmla="*/ 33 h 362"/>
                <a:gd name="T22" fmla="*/ 48 w 362"/>
                <a:gd name="T23" fmla="*/ 32 h 362"/>
                <a:gd name="T24" fmla="*/ 47 w 362"/>
                <a:gd name="T25" fmla="*/ 38 h 362"/>
                <a:gd name="T26" fmla="*/ 47 w 362"/>
                <a:gd name="T27" fmla="*/ 41 h 362"/>
                <a:gd name="T28" fmla="*/ 111 w 362"/>
                <a:gd name="T29" fmla="*/ 27 h 362"/>
                <a:gd name="T30" fmla="*/ 50 w 362"/>
                <a:gd name="T31" fmla="*/ 35 h 362"/>
                <a:gd name="T32" fmla="*/ 49 w 362"/>
                <a:gd name="T33" fmla="*/ 31 h 362"/>
                <a:gd name="T34" fmla="*/ 47 w 362"/>
                <a:gd name="T35" fmla="*/ 32 h 362"/>
                <a:gd name="T36" fmla="*/ 46 w 362"/>
                <a:gd name="T37" fmla="*/ 32 h 362"/>
                <a:gd name="T38" fmla="*/ 159 w 362"/>
                <a:gd name="T39" fmla="*/ 18 h 362"/>
                <a:gd name="T40" fmla="*/ 317 w 362"/>
                <a:gd name="T41" fmla="*/ 14 h 362"/>
                <a:gd name="T42" fmla="*/ 260 w 362"/>
                <a:gd name="T43" fmla="*/ 1 h 362"/>
                <a:gd name="T44" fmla="*/ 184 w 362"/>
                <a:gd name="T45" fmla="*/ 5 h 362"/>
                <a:gd name="T46" fmla="*/ 129 w 362"/>
                <a:gd name="T47" fmla="*/ 13 h 362"/>
                <a:gd name="T48" fmla="*/ 85 w 362"/>
                <a:gd name="T49" fmla="*/ 22 h 362"/>
                <a:gd name="T50" fmla="*/ 97 w 362"/>
                <a:gd name="T51" fmla="*/ 20 h 362"/>
                <a:gd name="T52" fmla="*/ 97 w 362"/>
                <a:gd name="T53" fmla="*/ 21 h 362"/>
                <a:gd name="T54" fmla="*/ 137 w 362"/>
                <a:gd name="T55" fmla="*/ 14 h 362"/>
                <a:gd name="T56" fmla="*/ 143 w 362"/>
                <a:gd name="T57" fmla="*/ 14 h 362"/>
                <a:gd name="T58" fmla="*/ 112 w 362"/>
                <a:gd name="T59" fmla="*/ 20 h 362"/>
                <a:gd name="T60" fmla="*/ 182 w 362"/>
                <a:gd name="T61" fmla="*/ 12 h 362"/>
                <a:gd name="T62" fmla="*/ 53 w 362"/>
                <a:gd name="T63" fmla="*/ 36 h 362"/>
                <a:gd name="T64" fmla="*/ 56 w 362"/>
                <a:gd name="T65" fmla="*/ 36 h 362"/>
                <a:gd name="T66" fmla="*/ 158 w 362"/>
                <a:gd name="T67" fmla="*/ 18 h 362"/>
                <a:gd name="T68" fmla="*/ 221 w 362"/>
                <a:gd name="T69" fmla="*/ 12 h 362"/>
                <a:gd name="T70" fmla="*/ 327 w 362"/>
                <a:gd name="T71" fmla="*/ 43 h 362"/>
                <a:gd name="T72" fmla="*/ 344 w 362"/>
                <a:gd name="T73" fmla="*/ 235 h 362"/>
                <a:gd name="T74" fmla="*/ 273 w 362"/>
                <a:gd name="T75" fmla="*/ 333 h 362"/>
                <a:gd name="T76" fmla="*/ 91 w 362"/>
                <a:gd name="T77" fmla="*/ 339 h 362"/>
                <a:gd name="T78" fmla="*/ 16 w 362"/>
                <a:gd name="T79" fmla="*/ 244 h 362"/>
                <a:gd name="T80" fmla="*/ 28 w 362"/>
                <a:gd name="T81" fmla="*/ 84 h 362"/>
                <a:gd name="T82" fmla="*/ 34 w 362"/>
                <a:gd name="T83" fmla="*/ 56 h 362"/>
                <a:gd name="T84" fmla="*/ 36 w 362"/>
                <a:gd name="T85" fmla="*/ 50 h 362"/>
                <a:gd name="T86" fmla="*/ 33 w 362"/>
                <a:gd name="T87" fmla="*/ 41 h 362"/>
                <a:gd name="T88" fmla="*/ 25 w 362"/>
                <a:gd name="T89" fmla="*/ 39 h 362"/>
                <a:gd name="T90" fmla="*/ 19 w 362"/>
                <a:gd name="T91" fmla="*/ 43 h 362"/>
                <a:gd name="T92" fmla="*/ 17 w 362"/>
                <a:gd name="T93" fmla="*/ 49 h 362"/>
                <a:gd name="T94" fmla="*/ 16 w 362"/>
                <a:gd name="T95" fmla="*/ 56 h 362"/>
                <a:gd name="T96" fmla="*/ 12 w 362"/>
                <a:gd name="T97" fmla="*/ 82 h 362"/>
                <a:gd name="T98" fmla="*/ 3 w 362"/>
                <a:gd name="T99" fmla="*/ 154 h 362"/>
                <a:gd name="T100" fmla="*/ 3 w 362"/>
                <a:gd name="T101" fmla="*/ 259 h 362"/>
                <a:gd name="T102" fmla="*/ 72 w 362"/>
                <a:gd name="T103" fmla="*/ 349 h 362"/>
                <a:gd name="T104" fmla="*/ 222 w 362"/>
                <a:gd name="T105" fmla="*/ 358 h 362"/>
                <a:gd name="T106" fmla="*/ 337 w 362"/>
                <a:gd name="T107" fmla="*/ 31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2" h="362">
                  <a:moveTo>
                    <a:pt x="268" y="15"/>
                  </a:moveTo>
                  <a:cubicBezTo>
                    <a:pt x="267" y="15"/>
                    <a:pt x="265" y="14"/>
                    <a:pt x="264" y="14"/>
                  </a:cubicBezTo>
                  <a:cubicBezTo>
                    <a:pt x="264" y="14"/>
                    <a:pt x="266" y="14"/>
                    <a:pt x="268" y="15"/>
                  </a:cubicBezTo>
                  <a:close/>
                  <a:moveTo>
                    <a:pt x="207" y="1"/>
                  </a:moveTo>
                  <a:cubicBezTo>
                    <a:pt x="206" y="1"/>
                    <a:pt x="205" y="1"/>
                    <a:pt x="203" y="1"/>
                  </a:cubicBezTo>
                  <a:cubicBezTo>
                    <a:pt x="202" y="1"/>
                    <a:pt x="206" y="1"/>
                    <a:pt x="207" y="1"/>
                  </a:cubicBezTo>
                  <a:close/>
                  <a:moveTo>
                    <a:pt x="196" y="1"/>
                  </a:moveTo>
                  <a:cubicBezTo>
                    <a:pt x="197" y="1"/>
                    <a:pt x="200" y="1"/>
                    <a:pt x="201" y="1"/>
                  </a:cubicBezTo>
                  <a:cubicBezTo>
                    <a:pt x="200" y="1"/>
                    <a:pt x="196" y="1"/>
                    <a:pt x="196" y="1"/>
                  </a:cubicBezTo>
                  <a:close/>
                  <a:moveTo>
                    <a:pt x="177" y="5"/>
                  </a:moveTo>
                  <a:cubicBezTo>
                    <a:pt x="179" y="5"/>
                    <a:pt x="181" y="5"/>
                    <a:pt x="182" y="5"/>
                  </a:cubicBezTo>
                  <a:cubicBezTo>
                    <a:pt x="181" y="5"/>
                    <a:pt x="178" y="5"/>
                    <a:pt x="177" y="5"/>
                  </a:cubicBezTo>
                  <a:close/>
                  <a:moveTo>
                    <a:pt x="165" y="5"/>
                  </a:moveTo>
                  <a:cubicBezTo>
                    <a:pt x="169" y="4"/>
                    <a:pt x="172" y="4"/>
                    <a:pt x="173" y="4"/>
                  </a:cubicBezTo>
                  <a:cubicBezTo>
                    <a:pt x="171" y="4"/>
                    <a:pt x="167" y="4"/>
                    <a:pt x="165" y="5"/>
                  </a:cubicBezTo>
                  <a:close/>
                  <a:moveTo>
                    <a:pt x="137" y="19"/>
                  </a:moveTo>
                  <a:cubicBezTo>
                    <a:pt x="140" y="19"/>
                    <a:pt x="148" y="17"/>
                    <a:pt x="152" y="17"/>
                  </a:cubicBezTo>
                  <a:cubicBezTo>
                    <a:pt x="147" y="17"/>
                    <a:pt x="142" y="18"/>
                    <a:pt x="137" y="19"/>
                  </a:cubicBezTo>
                  <a:close/>
                  <a:moveTo>
                    <a:pt x="135" y="15"/>
                  </a:moveTo>
                  <a:cubicBezTo>
                    <a:pt x="131" y="15"/>
                    <a:pt x="131" y="15"/>
                    <a:pt x="131" y="15"/>
                  </a:cubicBezTo>
                  <a:cubicBezTo>
                    <a:pt x="129" y="16"/>
                    <a:pt x="119" y="17"/>
                    <a:pt x="120" y="17"/>
                  </a:cubicBezTo>
                  <a:cubicBezTo>
                    <a:pt x="126" y="16"/>
                    <a:pt x="135" y="15"/>
                    <a:pt x="140" y="14"/>
                  </a:cubicBezTo>
                  <a:cubicBezTo>
                    <a:pt x="138" y="14"/>
                    <a:pt x="137" y="14"/>
                    <a:pt x="135" y="15"/>
                  </a:cubicBezTo>
                  <a:close/>
                  <a:moveTo>
                    <a:pt x="79" y="24"/>
                  </a:moveTo>
                  <a:cubicBezTo>
                    <a:pt x="76" y="25"/>
                    <a:pt x="76" y="25"/>
                    <a:pt x="76" y="25"/>
                  </a:cubicBezTo>
                  <a:cubicBezTo>
                    <a:pt x="76" y="25"/>
                    <a:pt x="76" y="25"/>
                    <a:pt x="77" y="25"/>
                  </a:cubicBezTo>
                  <a:cubicBezTo>
                    <a:pt x="79" y="25"/>
                    <a:pt x="79" y="24"/>
                    <a:pt x="79" y="24"/>
                  </a:cubicBezTo>
                  <a:close/>
                  <a:moveTo>
                    <a:pt x="50" y="33"/>
                  </a:moveTo>
                  <a:cubicBezTo>
                    <a:pt x="50" y="33"/>
                    <a:pt x="50" y="33"/>
                    <a:pt x="50" y="33"/>
                  </a:cubicBezTo>
                  <a:cubicBezTo>
                    <a:pt x="50" y="33"/>
                    <a:pt x="49" y="33"/>
                    <a:pt x="49" y="33"/>
                  </a:cubicBezTo>
                  <a:cubicBezTo>
                    <a:pt x="49" y="33"/>
                    <a:pt x="49" y="33"/>
                    <a:pt x="50" y="33"/>
                  </a:cubicBezTo>
                  <a:close/>
                  <a:moveTo>
                    <a:pt x="50" y="32"/>
                  </a:moveTo>
                  <a:cubicBezTo>
                    <a:pt x="50" y="33"/>
                    <a:pt x="50" y="33"/>
                    <a:pt x="50" y="33"/>
                  </a:cubicBezTo>
                  <a:cubicBezTo>
                    <a:pt x="50" y="33"/>
                    <a:pt x="50" y="33"/>
                    <a:pt x="50" y="33"/>
                  </a:cubicBezTo>
                  <a:cubicBezTo>
                    <a:pt x="50" y="33"/>
                    <a:pt x="51" y="32"/>
                    <a:pt x="51" y="32"/>
                  </a:cubicBezTo>
                  <a:cubicBezTo>
                    <a:pt x="54" y="32"/>
                    <a:pt x="54" y="32"/>
                    <a:pt x="54" y="32"/>
                  </a:cubicBezTo>
                  <a:lnTo>
                    <a:pt x="50" y="32"/>
                  </a:lnTo>
                  <a:close/>
                  <a:moveTo>
                    <a:pt x="50" y="33"/>
                  </a:moveTo>
                  <a:cubicBezTo>
                    <a:pt x="50" y="33"/>
                    <a:pt x="50" y="33"/>
                    <a:pt x="50" y="33"/>
                  </a:cubicBezTo>
                  <a:cubicBezTo>
                    <a:pt x="50" y="33"/>
                    <a:pt x="50" y="33"/>
                    <a:pt x="50" y="33"/>
                  </a:cubicBezTo>
                  <a:cubicBezTo>
                    <a:pt x="50" y="33"/>
                    <a:pt x="50" y="33"/>
                    <a:pt x="50" y="33"/>
                  </a:cubicBezTo>
                  <a:close/>
                  <a:moveTo>
                    <a:pt x="50" y="30"/>
                  </a:move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lose/>
                  <a:moveTo>
                    <a:pt x="51" y="36"/>
                  </a:moveTo>
                  <a:cubicBezTo>
                    <a:pt x="51" y="36"/>
                    <a:pt x="51" y="36"/>
                    <a:pt x="51" y="36"/>
                  </a:cubicBezTo>
                  <a:cubicBezTo>
                    <a:pt x="51" y="36"/>
                    <a:pt x="51" y="36"/>
                    <a:pt x="51" y="36"/>
                  </a:cubicBezTo>
                  <a:close/>
                  <a:moveTo>
                    <a:pt x="50" y="31"/>
                  </a:moveTo>
                  <a:cubicBezTo>
                    <a:pt x="50" y="31"/>
                    <a:pt x="50" y="31"/>
                    <a:pt x="50" y="31"/>
                  </a:cubicBezTo>
                  <a:cubicBezTo>
                    <a:pt x="50" y="31"/>
                    <a:pt x="49" y="31"/>
                    <a:pt x="50" y="31"/>
                  </a:cubicBezTo>
                  <a:close/>
                  <a:moveTo>
                    <a:pt x="49" y="30"/>
                  </a:moveTo>
                  <a:cubicBezTo>
                    <a:pt x="49" y="30"/>
                    <a:pt x="50" y="30"/>
                    <a:pt x="50" y="30"/>
                  </a:cubicBezTo>
                  <a:cubicBezTo>
                    <a:pt x="49" y="30"/>
                    <a:pt x="49" y="30"/>
                    <a:pt x="49" y="30"/>
                  </a:cubicBezTo>
                  <a:close/>
                  <a:moveTo>
                    <a:pt x="51" y="38"/>
                  </a:moveTo>
                  <a:cubicBezTo>
                    <a:pt x="51" y="38"/>
                    <a:pt x="51" y="38"/>
                    <a:pt x="51" y="37"/>
                  </a:cubicBezTo>
                  <a:cubicBezTo>
                    <a:pt x="51" y="37"/>
                    <a:pt x="51" y="37"/>
                    <a:pt x="51" y="38"/>
                  </a:cubicBezTo>
                  <a:close/>
                  <a:moveTo>
                    <a:pt x="51" y="36"/>
                  </a:moveTo>
                  <a:cubicBezTo>
                    <a:pt x="50" y="36"/>
                    <a:pt x="50" y="36"/>
                    <a:pt x="50" y="37"/>
                  </a:cubicBezTo>
                  <a:cubicBezTo>
                    <a:pt x="50" y="37"/>
                    <a:pt x="50" y="36"/>
                    <a:pt x="51" y="36"/>
                  </a:cubicBezTo>
                  <a:close/>
                  <a:moveTo>
                    <a:pt x="48" y="31"/>
                  </a:moveTo>
                  <a:cubicBezTo>
                    <a:pt x="48" y="31"/>
                    <a:pt x="49" y="31"/>
                    <a:pt x="49" y="30"/>
                  </a:cubicBezTo>
                  <a:cubicBezTo>
                    <a:pt x="49" y="31"/>
                    <a:pt x="48" y="31"/>
                    <a:pt x="48" y="31"/>
                  </a:cubicBezTo>
                  <a:close/>
                  <a:moveTo>
                    <a:pt x="49" y="33"/>
                  </a:moveTo>
                  <a:cubicBezTo>
                    <a:pt x="49" y="33"/>
                    <a:pt x="49" y="33"/>
                    <a:pt x="49" y="33"/>
                  </a:cubicBezTo>
                  <a:cubicBezTo>
                    <a:pt x="49" y="33"/>
                    <a:pt x="48" y="33"/>
                    <a:pt x="49" y="33"/>
                  </a:cubicBezTo>
                  <a:close/>
                  <a:moveTo>
                    <a:pt x="48" y="33"/>
                  </a:moveTo>
                  <a:cubicBezTo>
                    <a:pt x="48" y="33"/>
                    <a:pt x="48" y="33"/>
                    <a:pt x="48" y="32"/>
                  </a:cubicBezTo>
                  <a:cubicBezTo>
                    <a:pt x="48" y="32"/>
                    <a:pt x="48" y="32"/>
                    <a:pt x="48" y="33"/>
                  </a:cubicBezTo>
                  <a:close/>
                  <a:moveTo>
                    <a:pt x="48" y="32"/>
                  </a:moveTo>
                  <a:cubicBezTo>
                    <a:pt x="48" y="32"/>
                    <a:pt x="48" y="32"/>
                    <a:pt x="48" y="32"/>
                  </a:cubicBezTo>
                  <a:cubicBezTo>
                    <a:pt x="47" y="32"/>
                    <a:pt x="48" y="32"/>
                    <a:pt x="48" y="32"/>
                  </a:cubicBezTo>
                  <a:cubicBezTo>
                    <a:pt x="48" y="32"/>
                    <a:pt x="48" y="32"/>
                    <a:pt x="48" y="32"/>
                  </a:cubicBezTo>
                  <a:close/>
                  <a:moveTo>
                    <a:pt x="48" y="36"/>
                  </a:moveTo>
                  <a:cubicBezTo>
                    <a:pt x="48" y="36"/>
                    <a:pt x="48" y="36"/>
                    <a:pt x="48" y="36"/>
                  </a:cubicBezTo>
                  <a:close/>
                  <a:moveTo>
                    <a:pt x="47" y="38"/>
                  </a:moveTo>
                  <a:cubicBezTo>
                    <a:pt x="47" y="38"/>
                    <a:pt x="47" y="38"/>
                    <a:pt x="48" y="38"/>
                  </a:cubicBezTo>
                  <a:cubicBezTo>
                    <a:pt x="48" y="38"/>
                    <a:pt x="47" y="38"/>
                    <a:pt x="47" y="38"/>
                  </a:cubicBezTo>
                  <a:close/>
                  <a:moveTo>
                    <a:pt x="48" y="38"/>
                  </a:moveTo>
                  <a:cubicBezTo>
                    <a:pt x="47" y="38"/>
                    <a:pt x="47" y="38"/>
                    <a:pt x="47" y="38"/>
                  </a:cubicBezTo>
                  <a:cubicBezTo>
                    <a:pt x="47" y="38"/>
                    <a:pt x="48" y="38"/>
                    <a:pt x="48" y="38"/>
                  </a:cubicBezTo>
                  <a:close/>
                  <a:moveTo>
                    <a:pt x="47" y="41"/>
                  </a:moveTo>
                  <a:cubicBezTo>
                    <a:pt x="48" y="41"/>
                    <a:pt x="48" y="41"/>
                    <a:pt x="48" y="40"/>
                  </a:cubicBezTo>
                  <a:cubicBezTo>
                    <a:pt x="48" y="40"/>
                    <a:pt x="47" y="41"/>
                    <a:pt x="47" y="41"/>
                  </a:cubicBezTo>
                  <a:close/>
                  <a:moveTo>
                    <a:pt x="46" y="41"/>
                  </a:moveTo>
                  <a:cubicBezTo>
                    <a:pt x="46" y="41"/>
                    <a:pt x="46" y="41"/>
                    <a:pt x="46" y="41"/>
                  </a:cubicBezTo>
                  <a:close/>
                  <a:moveTo>
                    <a:pt x="103" y="29"/>
                  </a:moveTo>
                  <a:cubicBezTo>
                    <a:pt x="106" y="28"/>
                    <a:pt x="109" y="27"/>
                    <a:pt x="111" y="27"/>
                  </a:cubicBezTo>
                  <a:cubicBezTo>
                    <a:pt x="112" y="27"/>
                    <a:pt x="113" y="27"/>
                    <a:pt x="114" y="26"/>
                  </a:cubicBezTo>
                  <a:cubicBezTo>
                    <a:pt x="110" y="27"/>
                    <a:pt x="106" y="28"/>
                    <a:pt x="103" y="29"/>
                  </a:cubicBezTo>
                  <a:close/>
                  <a:moveTo>
                    <a:pt x="49" y="35"/>
                  </a:moveTo>
                  <a:cubicBezTo>
                    <a:pt x="49" y="35"/>
                    <a:pt x="50" y="36"/>
                    <a:pt x="50" y="35"/>
                  </a:cubicBezTo>
                  <a:cubicBezTo>
                    <a:pt x="50" y="35"/>
                    <a:pt x="50" y="35"/>
                    <a:pt x="50" y="35"/>
                  </a:cubicBezTo>
                  <a:cubicBezTo>
                    <a:pt x="50" y="35"/>
                    <a:pt x="50" y="35"/>
                    <a:pt x="50" y="35"/>
                  </a:cubicBezTo>
                  <a:cubicBezTo>
                    <a:pt x="50" y="35"/>
                    <a:pt x="50" y="35"/>
                    <a:pt x="50" y="35"/>
                  </a:cubicBezTo>
                  <a:cubicBezTo>
                    <a:pt x="51" y="35"/>
                    <a:pt x="51" y="35"/>
                    <a:pt x="51" y="35"/>
                  </a:cubicBezTo>
                  <a:cubicBezTo>
                    <a:pt x="51" y="35"/>
                    <a:pt x="50" y="35"/>
                    <a:pt x="50" y="35"/>
                  </a:cubicBezTo>
                  <a:cubicBezTo>
                    <a:pt x="50" y="35"/>
                    <a:pt x="51" y="35"/>
                    <a:pt x="51" y="35"/>
                  </a:cubicBezTo>
                  <a:cubicBezTo>
                    <a:pt x="50" y="35"/>
                    <a:pt x="49" y="35"/>
                    <a:pt x="49" y="35"/>
                  </a:cubicBezTo>
                  <a:close/>
                  <a:moveTo>
                    <a:pt x="49" y="31"/>
                  </a:moveTo>
                  <a:cubicBezTo>
                    <a:pt x="49" y="31"/>
                    <a:pt x="49" y="31"/>
                    <a:pt x="49" y="31"/>
                  </a:cubicBezTo>
                  <a:cubicBezTo>
                    <a:pt x="49" y="31"/>
                    <a:pt x="49" y="31"/>
                    <a:pt x="49" y="31"/>
                  </a:cubicBezTo>
                  <a:cubicBezTo>
                    <a:pt x="50" y="31"/>
                    <a:pt x="49" y="31"/>
                    <a:pt x="49" y="31"/>
                  </a:cubicBezTo>
                  <a:close/>
                  <a:moveTo>
                    <a:pt x="46" y="32"/>
                  </a:moveTo>
                  <a:cubicBezTo>
                    <a:pt x="46" y="32"/>
                    <a:pt x="46" y="32"/>
                    <a:pt x="46" y="32"/>
                  </a:cubicBezTo>
                  <a:cubicBezTo>
                    <a:pt x="46" y="32"/>
                    <a:pt x="47" y="32"/>
                    <a:pt x="47" y="32"/>
                  </a:cubicBezTo>
                  <a:cubicBezTo>
                    <a:pt x="47" y="32"/>
                    <a:pt x="47" y="32"/>
                    <a:pt x="47" y="32"/>
                  </a:cubicBezTo>
                  <a:cubicBezTo>
                    <a:pt x="48" y="31"/>
                    <a:pt x="49" y="32"/>
                    <a:pt x="49" y="31"/>
                  </a:cubicBezTo>
                  <a:cubicBezTo>
                    <a:pt x="48" y="32"/>
                    <a:pt x="47" y="32"/>
                    <a:pt x="46" y="32"/>
                  </a:cubicBezTo>
                  <a:cubicBezTo>
                    <a:pt x="46" y="32"/>
                    <a:pt x="46" y="32"/>
                    <a:pt x="46" y="32"/>
                  </a:cubicBezTo>
                  <a:cubicBezTo>
                    <a:pt x="46" y="32"/>
                    <a:pt x="45" y="32"/>
                    <a:pt x="45" y="32"/>
                  </a:cubicBezTo>
                  <a:cubicBezTo>
                    <a:pt x="45" y="33"/>
                    <a:pt x="45" y="32"/>
                    <a:pt x="46" y="32"/>
                  </a:cubicBezTo>
                  <a:close/>
                  <a:moveTo>
                    <a:pt x="47" y="39"/>
                  </a:moveTo>
                  <a:cubicBezTo>
                    <a:pt x="47" y="38"/>
                    <a:pt x="48" y="38"/>
                    <a:pt x="48" y="38"/>
                  </a:cubicBezTo>
                  <a:cubicBezTo>
                    <a:pt x="47" y="38"/>
                    <a:pt x="47" y="39"/>
                    <a:pt x="47" y="39"/>
                  </a:cubicBezTo>
                  <a:close/>
                  <a:moveTo>
                    <a:pt x="159" y="18"/>
                  </a:moveTo>
                  <a:cubicBezTo>
                    <a:pt x="159" y="18"/>
                    <a:pt x="159" y="18"/>
                    <a:pt x="159" y="18"/>
                  </a:cubicBezTo>
                  <a:cubicBezTo>
                    <a:pt x="159" y="18"/>
                    <a:pt x="159" y="18"/>
                    <a:pt x="159" y="18"/>
                  </a:cubicBezTo>
                  <a:close/>
                  <a:moveTo>
                    <a:pt x="361" y="152"/>
                  </a:moveTo>
                  <a:cubicBezTo>
                    <a:pt x="360" y="120"/>
                    <a:pt x="356" y="87"/>
                    <a:pt x="347" y="57"/>
                  </a:cubicBezTo>
                  <a:cubicBezTo>
                    <a:pt x="345" y="52"/>
                    <a:pt x="343" y="45"/>
                    <a:pt x="341" y="41"/>
                  </a:cubicBezTo>
                  <a:cubicBezTo>
                    <a:pt x="340" y="40"/>
                    <a:pt x="339" y="37"/>
                    <a:pt x="338" y="35"/>
                  </a:cubicBezTo>
                  <a:cubicBezTo>
                    <a:pt x="336" y="31"/>
                    <a:pt x="333" y="27"/>
                    <a:pt x="330" y="23"/>
                  </a:cubicBezTo>
                  <a:cubicBezTo>
                    <a:pt x="326" y="19"/>
                    <a:pt x="322" y="16"/>
                    <a:pt x="317" y="14"/>
                  </a:cubicBezTo>
                  <a:cubicBezTo>
                    <a:pt x="314" y="13"/>
                    <a:pt x="309" y="10"/>
                    <a:pt x="305" y="9"/>
                  </a:cubicBezTo>
                  <a:cubicBezTo>
                    <a:pt x="303" y="8"/>
                    <a:pt x="307" y="9"/>
                    <a:pt x="304" y="8"/>
                  </a:cubicBezTo>
                  <a:cubicBezTo>
                    <a:pt x="301" y="7"/>
                    <a:pt x="294" y="5"/>
                    <a:pt x="287" y="4"/>
                  </a:cubicBezTo>
                  <a:cubicBezTo>
                    <a:pt x="279" y="3"/>
                    <a:pt x="271" y="2"/>
                    <a:pt x="266" y="1"/>
                  </a:cubicBezTo>
                  <a:cubicBezTo>
                    <a:pt x="267" y="1"/>
                    <a:pt x="267" y="1"/>
                    <a:pt x="266" y="1"/>
                  </a:cubicBezTo>
                  <a:cubicBezTo>
                    <a:pt x="264" y="1"/>
                    <a:pt x="263" y="1"/>
                    <a:pt x="260" y="1"/>
                  </a:cubicBezTo>
                  <a:cubicBezTo>
                    <a:pt x="243" y="0"/>
                    <a:pt x="230" y="1"/>
                    <a:pt x="215" y="2"/>
                  </a:cubicBezTo>
                  <a:cubicBezTo>
                    <a:pt x="213" y="2"/>
                    <a:pt x="208" y="2"/>
                    <a:pt x="206" y="2"/>
                  </a:cubicBezTo>
                  <a:cubicBezTo>
                    <a:pt x="209" y="2"/>
                    <a:pt x="212" y="2"/>
                    <a:pt x="212" y="2"/>
                  </a:cubicBezTo>
                  <a:cubicBezTo>
                    <a:pt x="208" y="2"/>
                    <a:pt x="202" y="3"/>
                    <a:pt x="199" y="3"/>
                  </a:cubicBezTo>
                  <a:cubicBezTo>
                    <a:pt x="193" y="4"/>
                    <a:pt x="190" y="4"/>
                    <a:pt x="185" y="4"/>
                  </a:cubicBezTo>
                  <a:cubicBezTo>
                    <a:pt x="184" y="4"/>
                    <a:pt x="187" y="5"/>
                    <a:pt x="184" y="5"/>
                  </a:cubicBezTo>
                  <a:cubicBezTo>
                    <a:pt x="176" y="5"/>
                    <a:pt x="172" y="6"/>
                    <a:pt x="166" y="7"/>
                  </a:cubicBezTo>
                  <a:cubicBezTo>
                    <a:pt x="164" y="7"/>
                    <a:pt x="155" y="8"/>
                    <a:pt x="153" y="9"/>
                  </a:cubicBezTo>
                  <a:cubicBezTo>
                    <a:pt x="151" y="9"/>
                    <a:pt x="155" y="8"/>
                    <a:pt x="154" y="9"/>
                  </a:cubicBezTo>
                  <a:cubicBezTo>
                    <a:pt x="147" y="10"/>
                    <a:pt x="141" y="11"/>
                    <a:pt x="136" y="11"/>
                  </a:cubicBezTo>
                  <a:cubicBezTo>
                    <a:pt x="134" y="12"/>
                    <a:pt x="133" y="12"/>
                    <a:pt x="131" y="12"/>
                  </a:cubicBezTo>
                  <a:cubicBezTo>
                    <a:pt x="129" y="13"/>
                    <a:pt x="131" y="12"/>
                    <a:pt x="129" y="13"/>
                  </a:cubicBezTo>
                  <a:cubicBezTo>
                    <a:pt x="127" y="13"/>
                    <a:pt x="131" y="13"/>
                    <a:pt x="130" y="13"/>
                  </a:cubicBezTo>
                  <a:cubicBezTo>
                    <a:pt x="127" y="13"/>
                    <a:pt x="128" y="13"/>
                    <a:pt x="126" y="14"/>
                  </a:cubicBezTo>
                  <a:cubicBezTo>
                    <a:pt x="122" y="14"/>
                    <a:pt x="119" y="15"/>
                    <a:pt x="115" y="16"/>
                  </a:cubicBezTo>
                  <a:cubicBezTo>
                    <a:pt x="103" y="18"/>
                    <a:pt x="103" y="18"/>
                    <a:pt x="103" y="18"/>
                  </a:cubicBezTo>
                  <a:cubicBezTo>
                    <a:pt x="99" y="19"/>
                    <a:pt x="98" y="19"/>
                    <a:pt x="94" y="20"/>
                  </a:cubicBezTo>
                  <a:cubicBezTo>
                    <a:pt x="91" y="21"/>
                    <a:pt x="88" y="21"/>
                    <a:pt x="85" y="22"/>
                  </a:cubicBezTo>
                  <a:cubicBezTo>
                    <a:pt x="83" y="22"/>
                    <a:pt x="86" y="22"/>
                    <a:pt x="84" y="22"/>
                  </a:cubicBezTo>
                  <a:cubicBezTo>
                    <a:pt x="72" y="25"/>
                    <a:pt x="60" y="27"/>
                    <a:pt x="51" y="30"/>
                  </a:cubicBezTo>
                  <a:cubicBezTo>
                    <a:pt x="64" y="26"/>
                    <a:pt x="74" y="25"/>
                    <a:pt x="86" y="22"/>
                  </a:cubicBezTo>
                  <a:cubicBezTo>
                    <a:pt x="88" y="22"/>
                    <a:pt x="92" y="21"/>
                    <a:pt x="93" y="21"/>
                  </a:cubicBezTo>
                  <a:cubicBezTo>
                    <a:pt x="94" y="20"/>
                    <a:pt x="91" y="21"/>
                    <a:pt x="94" y="20"/>
                  </a:cubicBezTo>
                  <a:cubicBezTo>
                    <a:pt x="95" y="20"/>
                    <a:pt x="95" y="20"/>
                    <a:pt x="97" y="20"/>
                  </a:cubicBezTo>
                  <a:cubicBezTo>
                    <a:pt x="95" y="20"/>
                    <a:pt x="98" y="20"/>
                    <a:pt x="99" y="20"/>
                  </a:cubicBezTo>
                  <a:cubicBezTo>
                    <a:pt x="109" y="18"/>
                    <a:pt x="117" y="16"/>
                    <a:pt x="125" y="15"/>
                  </a:cubicBezTo>
                  <a:cubicBezTo>
                    <a:pt x="127" y="15"/>
                    <a:pt x="124" y="15"/>
                    <a:pt x="126" y="15"/>
                  </a:cubicBezTo>
                  <a:cubicBezTo>
                    <a:pt x="136" y="13"/>
                    <a:pt x="136" y="13"/>
                    <a:pt x="136" y="13"/>
                  </a:cubicBezTo>
                  <a:cubicBezTo>
                    <a:pt x="137" y="13"/>
                    <a:pt x="140" y="13"/>
                    <a:pt x="139" y="13"/>
                  </a:cubicBezTo>
                  <a:cubicBezTo>
                    <a:pt x="127" y="15"/>
                    <a:pt x="111" y="18"/>
                    <a:pt x="97" y="21"/>
                  </a:cubicBezTo>
                  <a:cubicBezTo>
                    <a:pt x="92" y="22"/>
                    <a:pt x="88" y="22"/>
                    <a:pt x="85" y="23"/>
                  </a:cubicBezTo>
                  <a:cubicBezTo>
                    <a:pt x="92" y="22"/>
                    <a:pt x="97" y="21"/>
                    <a:pt x="102" y="20"/>
                  </a:cubicBezTo>
                  <a:cubicBezTo>
                    <a:pt x="109" y="19"/>
                    <a:pt x="117" y="17"/>
                    <a:pt x="124" y="16"/>
                  </a:cubicBezTo>
                  <a:cubicBezTo>
                    <a:pt x="129" y="15"/>
                    <a:pt x="129" y="15"/>
                    <a:pt x="129" y="15"/>
                  </a:cubicBezTo>
                  <a:cubicBezTo>
                    <a:pt x="134" y="14"/>
                    <a:pt x="134" y="14"/>
                    <a:pt x="134" y="14"/>
                  </a:cubicBezTo>
                  <a:cubicBezTo>
                    <a:pt x="136" y="14"/>
                    <a:pt x="136" y="14"/>
                    <a:pt x="137" y="14"/>
                  </a:cubicBezTo>
                  <a:cubicBezTo>
                    <a:pt x="140" y="14"/>
                    <a:pt x="142" y="13"/>
                    <a:pt x="146" y="13"/>
                  </a:cubicBezTo>
                  <a:cubicBezTo>
                    <a:pt x="163" y="10"/>
                    <a:pt x="163" y="10"/>
                    <a:pt x="163" y="10"/>
                  </a:cubicBezTo>
                  <a:cubicBezTo>
                    <a:pt x="164" y="10"/>
                    <a:pt x="163" y="11"/>
                    <a:pt x="162" y="11"/>
                  </a:cubicBezTo>
                  <a:cubicBezTo>
                    <a:pt x="155" y="12"/>
                    <a:pt x="154" y="12"/>
                    <a:pt x="146" y="13"/>
                  </a:cubicBezTo>
                  <a:cubicBezTo>
                    <a:pt x="147" y="13"/>
                    <a:pt x="148" y="13"/>
                    <a:pt x="148" y="13"/>
                  </a:cubicBezTo>
                  <a:cubicBezTo>
                    <a:pt x="145" y="13"/>
                    <a:pt x="144" y="13"/>
                    <a:pt x="143" y="14"/>
                  </a:cubicBezTo>
                  <a:cubicBezTo>
                    <a:pt x="148" y="13"/>
                    <a:pt x="148" y="13"/>
                    <a:pt x="146" y="14"/>
                  </a:cubicBezTo>
                  <a:cubicBezTo>
                    <a:pt x="132" y="16"/>
                    <a:pt x="116" y="19"/>
                    <a:pt x="105" y="21"/>
                  </a:cubicBezTo>
                  <a:cubicBezTo>
                    <a:pt x="104" y="21"/>
                    <a:pt x="103" y="21"/>
                    <a:pt x="101" y="22"/>
                  </a:cubicBezTo>
                  <a:cubicBezTo>
                    <a:pt x="88" y="24"/>
                    <a:pt x="74" y="27"/>
                    <a:pt x="61" y="30"/>
                  </a:cubicBezTo>
                  <a:cubicBezTo>
                    <a:pt x="76" y="27"/>
                    <a:pt x="92" y="23"/>
                    <a:pt x="110" y="20"/>
                  </a:cubicBezTo>
                  <a:cubicBezTo>
                    <a:pt x="111" y="20"/>
                    <a:pt x="110" y="20"/>
                    <a:pt x="112" y="20"/>
                  </a:cubicBezTo>
                  <a:cubicBezTo>
                    <a:pt x="119" y="18"/>
                    <a:pt x="128" y="17"/>
                    <a:pt x="134" y="16"/>
                  </a:cubicBezTo>
                  <a:cubicBezTo>
                    <a:pt x="142" y="15"/>
                    <a:pt x="142" y="15"/>
                    <a:pt x="142" y="15"/>
                  </a:cubicBezTo>
                  <a:cubicBezTo>
                    <a:pt x="161" y="12"/>
                    <a:pt x="174" y="11"/>
                    <a:pt x="192" y="10"/>
                  </a:cubicBezTo>
                  <a:cubicBezTo>
                    <a:pt x="192" y="10"/>
                    <a:pt x="194" y="10"/>
                    <a:pt x="194" y="10"/>
                  </a:cubicBezTo>
                  <a:cubicBezTo>
                    <a:pt x="190" y="11"/>
                    <a:pt x="190" y="11"/>
                    <a:pt x="190" y="11"/>
                  </a:cubicBezTo>
                  <a:cubicBezTo>
                    <a:pt x="187" y="11"/>
                    <a:pt x="184" y="11"/>
                    <a:pt x="182" y="12"/>
                  </a:cubicBezTo>
                  <a:cubicBezTo>
                    <a:pt x="167" y="13"/>
                    <a:pt x="145" y="16"/>
                    <a:pt x="126" y="19"/>
                  </a:cubicBezTo>
                  <a:cubicBezTo>
                    <a:pt x="124" y="20"/>
                    <a:pt x="126" y="20"/>
                    <a:pt x="128" y="20"/>
                  </a:cubicBezTo>
                  <a:cubicBezTo>
                    <a:pt x="137" y="19"/>
                    <a:pt x="145" y="17"/>
                    <a:pt x="154" y="16"/>
                  </a:cubicBezTo>
                  <a:cubicBezTo>
                    <a:pt x="158" y="16"/>
                    <a:pt x="154" y="17"/>
                    <a:pt x="147" y="18"/>
                  </a:cubicBezTo>
                  <a:cubicBezTo>
                    <a:pt x="135" y="20"/>
                    <a:pt x="114" y="23"/>
                    <a:pt x="106" y="25"/>
                  </a:cubicBezTo>
                  <a:cubicBezTo>
                    <a:pt x="88" y="28"/>
                    <a:pt x="70" y="32"/>
                    <a:pt x="53" y="36"/>
                  </a:cubicBezTo>
                  <a:cubicBezTo>
                    <a:pt x="51" y="37"/>
                    <a:pt x="51" y="37"/>
                    <a:pt x="51" y="37"/>
                  </a:cubicBezTo>
                  <a:cubicBezTo>
                    <a:pt x="50" y="37"/>
                    <a:pt x="50" y="37"/>
                    <a:pt x="50" y="37"/>
                  </a:cubicBezTo>
                  <a:cubicBezTo>
                    <a:pt x="49" y="37"/>
                    <a:pt x="49" y="37"/>
                    <a:pt x="48" y="38"/>
                  </a:cubicBezTo>
                  <a:cubicBezTo>
                    <a:pt x="49" y="37"/>
                    <a:pt x="49" y="37"/>
                    <a:pt x="50" y="37"/>
                  </a:cubicBezTo>
                  <a:cubicBezTo>
                    <a:pt x="51" y="37"/>
                    <a:pt x="51" y="37"/>
                    <a:pt x="51" y="37"/>
                  </a:cubicBezTo>
                  <a:cubicBezTo>
                    <a:pt x="56" y="36"/>
                    <a:pt x="56" y="36"/>
                    <a:pt x="56" y="36"/>
                  </a:cubicBezTo>
                  <a:cubicBezTo>
                    <a:pt x="56" y="36"/>
                    <a:pt x="57" y="35"/>
                    <a:pt x="58" y="35"/>
                  </a:cubicBezTo>
                  <a:cubicBezTo>
                    <a:pt x="76" y="31"/>
                    <a:pt x="95" y="27"/>
                    <a:pt x="111" y="24"/>
                  </a:cubicBezTo>
                  <a:cubicBezTo>
                    <a:pt x="118" y="23"/>
                    <a:pt x="130" y="21"/>
                    <a:pt x="137" y="20"/>
                  </a:cubicBezTo>
                  <a:cubicBezTo>
                    <a:pt x="136" y="21"/>
                    <a:pt x="130" y="22"/>
                    <a:pt x="123" y="23"/>
                  </a:cubicBezTo>
                  <a:cubicBezTo>
                    <a:pt x="130" y="22"/>
                    <a:pt x="137" y="21"/>
                    <a:pt x="143" y="20"/>
                  </a:cubicBezTo>
                  <a:cubicBezTo>
                    <a:pt x="148" y="19"/>
                    <a:pt x="156" y="18"/>
                    <a:pt x="158" y="18"/>
                  </a:cubicBezTo>
                  <a:cubicBezTo>
                    <a:pt x="159" y="18"/>
                    <a:pt x="158" y="18"/>
                    <a:pt x="159" y="18"/>
                  </a:cubicBezTo>
                  <a:cubicBezTo>
                    <a:pt x="160" y="18"/>
                    <a:pt x="163" y="17"/>
                    <a:pt x="163" y="17"/>
                  </a:cubicBezTo>
                  <a:cubicBezTo>
                    <a:pt x="166" y="17"/>
                    <a:pt x="165" y="17"/>
                    <a:pt x="168" y="17"/>
                  </a:cubicBezTo>
                  <a:cubicBezTo>
                    <a:pt x="172" y="16"/>
                    <a:pt x="172" y="16"/>
                    <a:pt x="175" y="16"/>
                  </a:cubicBezTo>
                  <a:cubicBezTo>
                    <a:pt x="189" y="15"/>
                    <a:pt x="202" y="13"/>
                    <a:pt x="216" y="13"/>
                  </a:cubicBezTo>
                  <a:cubicBezTo>
                    <a:pt x="221" y="12"/>
                    <a:pt x="221" y="12"/>
                    <a:pt x="221" y="12"/>
                  </a:cubicBezTo>
                  <a:cubicBezTo>
                    <a:pt x="222" y="12"/>
                    <a:pt x="221" y="13"/>
                    <a:pt x="223" y="13"/>
                  </a:cubicBezTo>
                  <a:cubicBezTo>
                    <a:pt x="224" y="13"/>
                    <a:pt x="223" y="12"/>
                    <a:pt x="225" y="12"/>
                  </a:cubicBezTo>
                  <a:cubicBezTo>
                    <a:pt x="230" y="12"/>
                    <a:pt x="236" y="12"/>
                    <a:pt x="242" y="12"/>
                  </a:cubicBezTo>
                  <a:cubicBezTo>
                    <a:pt x="255" y="12"/>
                    <a:pt x="271" y="14"/>
                    <a:pt x="281" y="16"/>
                  </a:cubicBezTo>
                  <a:cubicBezTo>
                    <a:pt x="284" y="16"/>
                    <a:pt x="281" y="16"/>
                    <a:pt x="284" y="16"/>
                  </a:cubicBezTo>
                  <a:cubicBezTo>
                    <a:pt x="301" y="20"/>
                    <a:pt x="321" y="26"/>
                    <a:pt x="327" y="43"/>
                  </a:cubicBezTo>
                  <a:cubicBezTo>
                    <a:pt x="328" y="44"/>
                    <a:pt x="327" y="43"/>
                    <a:pt x="328" y="45"/>
                  </a:cubicBezTo>
                  <a:cubicBezTo>
                    <a:pt x="329" y="48"/>
                    <a:pt x="329" y="47"/>
                    <a:pt x="330" y="49"/>
                  </a:cubicBezTo>
                  <a:cubicBezTo>
                    <a:pt x="330" y="51"/>
                    <a:pt x="331" y="52"/>
                    <a:pt x="331" y="53"/>
                  </a:cubicBezTo>
                  <a:cubicBezTo>
                    <a:pt x="339" y="74"/>
                    <a:pt x="343" y="98"/>
                    <a:pt x="345" y="122"/>
                  </a:cubicBezTo>
                  <a:cubicBezTo>
                    <a:pt x="347" y="144"/>
                    <a:pt x="348" y="166"/>
                    <a:pt x="347" y="188"/>
                  </a:cubicBezTo>
                  <a:cubicBezTo>
                    <a:pt x="347" y="205"/>
                    <a:pt x="346" y="221"/>
                    <a:pt x="344" y="235"/>
                  </a:cubicBezTo>
                  <a:cubicBezTo>
                    <a:pt x="342" y="255"/>
                    <a:pt x="339" y="273"/>
                    <a:pt x="333" y="290"/>
                  </a:cubicBezTo>
                  <a:cubicBezTo>
                    <a:pt x="331" y="296"/>
                    <a:pt x="329" y="303"/>
                    <a:pt x="326" y="308"/>
                  </a:cubicBezTo>
                  <a:cubicBezTo>
                    <a:pt x="323" y="311"/>
                    <a:pt x="318" y="315"/>
                    <a:pt x="314" y="318"/>
                  </a:cubicBezTo>
                  <a:cubicBezTo>
                    <a:pt x="312" y="319"/>
                    <a:pt x="310" y="320"/>
                    <a:pt x="308" y="321"/>
                  </a:cubicBezTo>
                  <a:cubicBezTo>
                    <a:pt x="305" y="322"/>
                    <a:pt x="302" y="323"/>
                    <a:pt x="299" y="325"/>
                  </a:cubicBezTo>
                  <a:cubicBezTo>
                    <a:pt x="291" y="328"/>
                    <a:pt x="282" y="331"/>
                    <a:pt x="273" y="333"/>
                  </a:cubicBezTo>
                  <a:cubicBezTo>
                    <a:pt x="263" y="336"/>
                    <a:pt x="253" y="338"/>
                    <a:pt x="243" y="340"/>
                  </a:cubicBezTo>
                  <a:cubicBezTo>
                    <a:pt x="237" y="341"/>
                    <a:pt x="232" y="342"/>
                    <a:pt x="226" y="343"/>
                  </a:cubicBezTo>
                  <a:cubicBezTo>
                    <a:pt x="222" y="343"/>
                    <a:pt x="218" y="344"/>
                    <a:pt x="214" y="344"/>
                  </a:cubicBezTo>
                  <a:cubicBezTo>
                    <a:pt x="203" y="345"/>
                    <a:pt x="192" y="346"/>
                    <a:pt x="182" y="347"/>
                  </a:cubicBezTo>
                  <a:cubicBezTo>
                    <a:pt x="168" y="347"/>
                    <a:pt x="153" y="347"/>
                    <a:pt x="139" y="346"/>
                  </a:cubicBezTo>
                  <a:cubicBezTo>
                    <a:pt x="124" y="345"/>
                    <a:pt x="105" y="343"/>
                    <a:pt x="91" y="339"/>
                  </a:cubicBezTo>
                  <a:cubicBezTo>
                    <a:pt x="79" y="336"/>
                    <a:pt x="67" y="332"/>
                    <a:pt x="56" y="326"/>
                  </a:cubicBezTo>
                  <a:cubicBezTo>
                    <a:pt x="55" y="325"/>
                    <a:pt x="54" y="325"/>
                    <a:pt x="53" y="324"/>
                  </a:cubicBezTo>
                  <a:cubicBezTo>
                    <a:pt x="44" y="319"/>
                    <a:pt x="37" y="312"/>
                    <a:pt x="32" y="304"/>
                  </a:cubicBezTo>
                  <a:cubicBezTo>
                    <a:pt x="27" y="296"/>
                    <a:pt x="24" y="287"/>
                    <a:pt x="22" y="279"/>
                  </a:cubicBezTo>
                  <a:cubicBezTo>
                    <a:pt x="20" y="273"/>
                    <a:pt x="19" y="268"/>
                    <a:pt x="18" y="262"/>
                  </a:cubicBezTo>
                  <a:cubicBezTo>
                    <a:pt x="18" y="256"/>
                    <a:pt x="17" y="250"/>
                    <a:pt x="16" y="244"/>
                  </a:cubicBezTo>
                  <a:cubicBezTo>
                    <a:pt x="16" y="242"/>
                    <a:pt x="16" y="241"/>
                    <a:pt x="16" y="239"/>
                  </a:cubicBezTo>
                  <a:cubicBezTo>
                    <a:pt x="16" y="232"/>
                    <a:pt x="15" y="226"/>
                    <a:pt x="15" y="220"/>
                  </a:cubicBezTo>
                  <a:cubicBezTo>
                    <a:pt x="15" y="209"/>
                    <a:pt x="16" y="199"/>
                    <a:pt x="16" y="187"/>
                  </a:cubicBezTo>
                  <a:cubicBezTo>
                    <a:pt x="19" y="154"/>
                    <a:pt x="19" y="154"/>
                    <a:pt x="19" y="154"/>
                  </a:cubicBezTo>
                  <a:cubicBezTo>
                    <a:pt x="21" y="137"/>
                    <a:pt x="22" y="119"/>
                    <a:pt x="25" y="101"/>
                  </a:cubicBezTo>
                  <a:cubicBezTo>
                    <a:pt x="26" y="95"/>
                    <a:pt x="27" y="90"/>
                    <a:pt x="28" y="84"/>
                  </a:cubicBezTo>
                  <a:cubicBezTo>
                    <a:pt x="29" y="77"/>
                    <a:pt x="31" y="70"/>
                    <a:pt x="32" y="62"/>
                  </a:cubicBezTo>
                  <a:cubicBezTo>
                    <a:pt x="33" y="60"/>
                    <a:pt x="33" y="60"/>
                    <a:pt x="33" y="60"/>
                  </a:cubicBezTo>
                  <a:cubicBezTo>
                    <a:pt x="33" y="60"/>
                    <a:pt x="33" y="60"/>
                    <a:pt x="33" y="60"/>
                  </a:cubicBezTo>
                  <a:cubicBezTo>
                    <a:pt x="33" y="59"/>
                    <a:pt x="33" y="59"/>
                    <a:pt x="33" y="59"/>
                  </a:cubicBezTo>
                  <a:cubicBezTo>
                    <a:pt x="33" y="58"/>
                    <a:pt x="33" y="58"/>
                    <a:pt x="33" y="58"/>
                  </a:cubicBezTo>
                  <a:cubicBezTo>
                    <a:pt x="33" y="58"/>
                    <a:pt x="33" y="57"/>
                    <a:pt x="34" y="56"/>
                  </a:cubicBezTo>
                  <a:cubicBezTo>
                    <a:pt x="35" y="56"/>
                    <a:pt x="34" y="55"/>
                    <a:pt x="34" y="55"/>
                  </a:cubicBezTo>
                  <a:cubicBezTo>
                    <a:pt x="34" y="54"/>
                    <a:pt x="34" y="54"/>
                    <a:pt x="35" y="54"/>
                  </a:cubicBezTo>
                  <a:cubicBezTo>
                    <a:pt x="35" y="54"/>
                    <a:pt x="35" y="54"/>
                    <a:pt x="35" y="53"/>
                  </a:cubicBezTo>
                  <a:cubicBezTo>
                    <a:pt x="35" y="53"/>
                    <a:pt x="36" y="53"/>
                    <a:pt x="36" y="52"/>
                  </a:cubicBezTo>
                  <a:cubicBezTo>
                    <a:pt x="36" y="52"/>
                    <a:pt x="36" y="52"/>
                    <a:pt x="36" y="52"/>
                  </a:cubicBezTo>
                  <a:cubicBezTo>
                    <a:pt x="36" y="51"/>
                    <a:pt x="36" y="51"/>
                    <a:pt x="36" y="50"/>
                  </a:cubicBezTo>
                  <a:cubicBezTo>
                    <a:pt x="36" y="50"/>
                    <a:pt x="36" y="49"/>
                    <a:pt x="36" y="49"/>
                  </a:cubicBezTo>
                  <a:cubicBezTo>
                    <a:pt x="36" y="48"/>
                    <a:pt x="36" y="48"/>
                    <a:pt x="36" y="48"/>
                  </a:cubicBezTo>
                  <a:cubicBezTo>
                    <a:pt x="36" y="47"/>
                    <a:pt x="36" y="47"/>
                    <a:pt x="36" y="46"/>
                  </a:cubicBezTo>
                  <a:cubicBezTo>
                    <a:pt x="36" y="46"/>
                    <a:pt x="35" y="45"/>
                    <a:pt x="35" y="45"/>
                  </a:cubicBezTo>
                  <a:cubicBezTo>
                    <a:pt x="35" y="45"/>
                    <a:pt x="35" y="45"/>
                    <a:pt x="35" y="44"/>
                  </a:cubicBezTo>
                  <a:cubicBezTo>
                    <a:pt x="35" y="43"/>
                    <a:pt x="34" y="42"/>
                    <a:pt x="33" y="41"/>
                  </a:cubicBezTo>
                  <a:cubicBezTo>
                    <a:pt x="33" y="41"/>
                    <a:pt x="33" y="41"/>
                    <a:pt x="32" y="40"/>
                  </a:cubicBezTo>
                  <a:cubicBezTo>
                    <a:pt x="32" y="40"/>
                    <a:pt x="32" y="40"/>
                    <a:pt x="32" y="40"/>
                  </a:cubicBezTo>
                  <a:cubicBezTo>
                    <a:pt x="32" y="40"/>
                    <a:pt x="31" y="40"/>
                    <a:pt x="30" y="39"/>
                  </a:cubicBezTo>
                  <a:cubicBezTo>
                    <a:pt x="30" y="39"/>
                    <a:pt x="30" y="39"/>
                    <a:pt x="30" y="39"/>
                  </a:cubicBezTo>
                  <a:cubicBezTo>
                    <a:pt x="29" y="39"/>
                    <a:pt x="28" y="39"/>
                    <a:pt x="27" y="38"/>
                  </a:cubicBezTo>
                  <a:cubicBezTo>
                    <a:pt x="26" y="39"/>
                    <a:pt x="26" y="38"/>
                    <a:pt x="25" y="39"/>
                  </a:cubicBezTo>
                  <a:cubicBezTo>
                    <a:pt x="25" y="39"/>
                    <a:pt x="25" y="39"/>
                    <a:pt x="24" y="39"/>
                  </a:cubicBezTo>
                  <a:cubicBezTo>
                    <a:pt x="24" y="39"/>
                    <a:pt x="24" y="39"/>
                    <a:pt x="23" y="40"/>
                  </a:cubicBezTo>
                  <a:cubicBezTo>
                    <a:pt x="23" y="39"/>
                    <a:pt x="23" y="40"/>
                    <a:pt x="22" y="40"/>
                  </a:cubicBezTo>
                  <a:cubicBezTo>
                    <a:pt x="22" y="40"/>
                    <a:pt x="22" y="40"/>
                    <a:pt x="21" y="41"/>
                  </a:cubicBezTo>
                  <a:cubicBezTo>
                    <a:pt x="21" y="41"/>
                    <a:pt x="21" y="41"/>
                    <a:pt x="21" y="41"/>
                  </a:cubicBezTo>
                  <a:cubicBezTo>
                    <a:pt x="20" y="41"/>
                    <a:pt x="19" y="42"/>
                    <a:pt x="19" y="43"/>
                  </a:cubicBezTo>
                  <a:cubicBezTo>
                    <a:pt x="19" y="43"/>
                    <a:pt x="19" y="43"/>
                    <a:pt x="19" y="43"/>
                  </a:cubicBezTo>
                  <a:cubicBezTo>
                    <a:pt x="19" y="44"/>
                    <a:pt x="18" y="45"/>
                    <a:pt x="18" y="46"/>
                  </a:cubicBezTo>
                  <a:cubicBezTo>
                    <a:pt x="18" y="46"/>
                    <a:pt x="18" y="46"/>
                    <a:pt x="18" y="46"/>
                  </a:cubicBezTo>
                  <a:cubicBezTo>
                    <a:pt x="17" y="46"/>
                    <a:pt x="17" y="46"/>
                    <a:pt x="17" y="47"/>
                  </a:cubicBezTo>
                  <a:cubicBezTo>
                    <a:pt x="17" y="47"/>
                    <a:pt x="17" y="47"/>
                    <a:pt x="17" y="48"/>
                  </a:cubicBezTo>
                  <a:cubicBezTo>
                    <a:pt x="17" y="48"/>
                    <a:pt x="17" y="48"/>
                    <a:pt x="17" y="49"/>
                  </a:cubicBezTo>
                  <a:cubicBezTo>
                    <a:pt x="17" y="49"/>
                    <a:pt x="17" y="49"/>
                    <a:pt x="17" y="49"/>
                  </a:cubicBezTo>
                  <a:cubicBezTo>
                    <a:pt x="17" y="50"/>
                    <a:pt x="17" y="51"/>
                    <a:pt x="16" y="51"/>
                  </a:cubicBezTo>
                  <a:cubicBezTo>
                    <a:pt x="16" y="51"/>
                    <a:pt x="16" y="51"/>
                    <a:pt x="16" y="52"/>
                  </a:cubicBezTo>
                  <a:cubicBezTo>
                    <a:pt x="16" y="52"/>
                    <a:pt x="16" y="52"/>
                    <a:pt x="17" y="52"/>
                  </a:cubicBezTo>
                  <a:cubicBezTo>
                    <a:pt x="17" y="53"/>
                    <a:pt x="16" y="54"/>
                    <a:pt x="17" y="55"/>
                  </a:cubicBezTo>
                  <a:cubicBezTo>
                    <a:pt x="16" y="56"/>
                    <a:pt x="16" y="56"/>
                    <a:pt x="16" y="56"/>
                  </a:cubicBezTo>
                  <a:cubicBezTo>
                    <a:pt x="16" y="57"/>
                    <a:pt x="16" y="57"/>
                    <a:pt x="16" y="57"/>
                  </a:cubicBezTo>
                  <a:cubicBezTo>
                    <a:pt x="16" y="57"/>
                    <a:pt x="16" y="57"/>
                    <a:pt x="16" y="57"/>
                  </a:cubicBezTo>
                  <a:cubicBezTo>
                    <a:pt x="16" y="58"/>
                    <a:pt x="16" y="58"/>
                    <a:pt x="16" y="58"/>
                  </a:cubicBezTo>
                  <a:cubicBezTo>
                    <a:pt x="15" y="65"/>
                    <a:pt x="15" y="65"/>
                    <a:pt x="15" y="65"/>
                  </a:cubicBezTo>
                  <a:cubicBezTo>
                    <a:pt x="14" y="71"/>
                    <a:pt x="14" y="71"/>
                    <a:pt x="14" y="71"/>
                  </a:cubicBezTo>
                  <a:cubicBezTo>
                    <a:pt x="13" y="74"/>
                    <a:pt x="13" y="78"/>
                    <a:pt x="12" y="82"/>
                  </a:cubicBezTo>
                  <a:cubicBezTo>
                    <a:pt x="11" y="89"/>
                    <a:pt x="10" y="95"/>
                    <a:pt x="9" y="101"/>
                  </a:cubicBezTo>
                  <a:cubicBezTo>
                    <a:pt x="8" y="110"/>
                    <a:pt x="7" y="116"/>
                    <a:pt x="6" y="124"/>
                  </a:cubicBezTo>
                  <a:cubicBezTo>
                    <a:pt x="5" y="132"/>
                    <a:pt x="5" y="132"/>
                    <a:pt x="5" y="132"/>
                  </a:cubicBezTo>
                  <a:cubicBezTo>
                    <a:pt x="4" y="140"/>
                    <a:pt x="4" y="140"/>
                    <a:pt x="4" y="140"/>
                  </a:cubicBezTo>
                  <a:cubicBezTo>
                    <a:pt x="3" y="149"/>
                    <a:pt x="3" y="149"/>
                    <a:pt x="3" y="149"/>
                  </a:cubicBezTo>
                  <a:cubicBezTo>
                    <a:pt x="3" y="154"/>
                    <a:pt x="3" y="154"/>
                    <a:pt x="3" y="154"/>
                  </a:cubicBezTo>
                  <a:cubicBezTo>
                    <a:pt x="3" y="156"/>
                    <a:pt x="2" y="158"/>
                    <a:pt x="2" y="160"/>
                  </a:cubicBezTo>
                  <a:cubicBezTo>
                    <a:pt x="2" y="168"/>
                    <a:pt x="2" y="168"/>
                    <a:pt x="2" y="168"/>
                  </a:cubicBezTo>
                  <a:cubicBezTo>
                    <a:pt x="1" y="177"/>
                    <a:pt x="0" y="187"/>
                    <a:pt x="0" y="195"/>
                  </a:cubicBezTo>
                  <a:cubicBezTo>
                    <a:pt x="0" y="211"/>
                    <a:pt x="0" y="225"/>
                    <a:pt x="1" y="243"/>
                  </a:cubicBezTo>
                  <a:cubicBezTo>
                    <a:pt x="2" y="256"/>
                    <a:pt x="2" y="256"/>
                    <a:pt x="2" y="256"/>
                  </a:cubicBezTo>
                  <a:cubicBezTo>
                    <a:pt x="2" y="257"/>
                    <a:pt x="2" y="257"/>
                    <a:pt x="3" y="259"/>
                  </a:cubicBezTo>
                  <a:cubicBezTo>
                    <a:pt x="4" y="269"/>
                    <a:pt x="6" y="279"/>
                    <a:pt x="9" y="289"/>
                  </a:cubicBezTo>
                  <a:cubicBezTo>
                    <a:pt x="9" y="289"/>
                    <a:pt x="9" y="290"/>
                    <a:pt x="9" y="290"/>
                  </a:cubicBezTo>
                  <a:cubicBezTo>
                    <a:pt x="11" y="297"/>
                    <a:pt x="14" y="305"/>
                    <a:pt x="19" y="312"/>
                  </a:cubicBezTo>
                  <a:cubicBezTo>
                    <a:pt x="23" y="319"/>
                    <a:pt x="29" y="324"/>
                    <a:pt x="33" y="328"/>
                  </a:cubicBezTo>
                  <a:cubicBezTo>
                    <a:pt x="40" y="334"/>
                    <a:pt x="49" y="339"/>
                    <a:pt x="59" y="344"/>
                  </a:cubicBezTo>
                  <a:cubicBezTo>
                    <a:pt x="63" y="346"/>
                    <a:pt x="68" y="348"/>
                    <a:pt x="72" y="349"/>
                  </a:cubicBezTo>
                  <a:cubicBezTo>
                    <a:pt x="81" y="352"/>
                    <a:pt x="93" y="355"/>
                    <a:pt x="101" y="356"/>
                  </a:cubicBezTo>
                  <a:cubicBezTo>
                    <a:pt x="104" y="357"/>
                    <a:pt x="106" y="357"/>
                    <a:pt x="109" y="357"/>
                  </a:cubicBezTo>
                  <a:cubicBezTo>
                    <a:pt x="113" y="358"/>
                    <a:pt x="118" y="359"/>
                    <a:pt x="123" y="359"/>
                  </a:cubicBezTo>
                  <a:cubicBezTo>
                    <a:pt x="141" y="361"/>
                    <a:pt x="163" y="362"/>
                    <a:pt x="179" y="361"/>
                  </a:cubicBezTo>
                  <a:cubicBezTo>
                    <a:pt x="184" y="361"/>
                    <a:pt x="188" y="361"/>
                    <a:pt x="194" y="360"/>
                  </a:cubicBezTo>
                  <a:cubicBezTo>
                    <a:pt x="203" y="359"/>
                    <a:pt x="213" y="359"/>
                    <a:pt x="222" y="358"/>
                  </a:cubicBezTo>
                  <a:cubicBezTo>
                    <a:pt x="229" y="357"/>
                    <a:pt x="229" y="357"/>
                    <a:pt x="229" y="357"/>
                  </a:cubicBezTo>
                  <a:cubicBezTo>
                    <a:pt x="234" y="356"/>
                    <a:pt x="240" y="355"/>
                    <a:pt x="245" y="354"/>
                  </a:cubicBezTo>
                  <a:cubicBezTo>
                    <a:pt x="260" y="351"/>
                    <a:pt x="274" y="348"/>
                    <a:pt x="287" y="344"/>
                  </a:cubicBezTo>
                  <a:cubicBezTo>
                    <a:pt x="295" y="341"/>
                    <a:pt x="306" y="338"/>
                    <a:pt x="316" y="333"/>
                  </a:cubicBezTo>
                  <a:cubicBezTo>
                    <a:pt x="321" y="330"/>
                    <a:pt x="326" y="327"/>
                    <a:pt x="331" y="323"/>
                  </a:cubicBezTo>
                  <a:cubicBezTo>
                    <a:pt x="333" y="321"/>
                    <a:pt x="335" y="319"/>
                    <a:pt x="337" y="316"/>
                  </a:cubicBezTo>
                  <a:cubicBezTo>
                    <a:pt x="339" y="313"/>
                    <a:pt x="340" y="311"/>
                    <a:pt x="341" y="308"/>
                  </a:cubicBezTo>
                  <a:cubicBezTo>
                    <a:pt x="343" y="304"/>
                    <a:pt x="345" y="300"/>
                    <a:pt x="347" y="295"/>
                  </a:cubicBezTo>
                  <a:cubicBezTo>
                    <a:pt x="351" y="281"/>
                    <a:pt x="354" y="263"/>
                    <a:pt x="357" y="248"/>
                  </a:cubicBezTo>
                  <a:cubicBezTo>
                    <a:pt x="361" y="216"/>
                    <a:pt x="362" y="184"/>
                    <a:pt x="361" y="152"/>
                  </a:cubicBezTo>
                  <a:close/>
                </a:path>
              </a:pathLst>
            </a:custGeom>
            <a:solidFill>
              <a:srgbClr val="FF0000"/>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20" name="Freeform 19"/>
          <p:cNvSpPr>
            <a:spLocks noChangeAspect="1" noEditPoints="1"/>
          </p:cNvSpPr>
          <p:nvPr/>
        </p:nvSpPr>
        <p:spPr bwMode="auto">
          <a:xfrm rot="3779162">
            <a:off x="1495878" y="3963531"/>
            <a:ext cx="1560519" cy="858389"/>
          </a:xfrm>
          <a:custGeom>
            <a:avLst/>
            <a:gdLst>
              <a:gd name="T0" fmla="*/ 715 w 868"/>
              <a:gd name="T1" fmla="*/ 128 h 351"/>
              <a:gd name="T2" fmla="*/ 363 w 868"/>
              <a:gd name="T3" fmla="*/ 50 h 351"/>
              <a:gd name="T4" fmla="*/ 226 w 868"/>
              <a:gd name="T5" fmla="*/ 94 h 351"/>
              <a:gd name="T6" fmla="*/ 155 w 868"/>
              <a:gd name="T7" fmla="*/ 112 h 351"/>
              <a:gd name="T8" fmla="*/ 111 w 868"/>
              <a:gd name="T9" fmla="*/ 138 h 351"/>
              <a:gd name="T10" fmla="*/ 85 w 868"/>
              <a:gd name="T11" fmla="*/ 163 h 351"/>
              <a:gd name="T12" fmla="*/ 104 w 868"/>
              <a:gd name="T13" fmla="*/ 185 h 351"/>
              <a:gd name="T14" fmla="*/ 69 w 868"/>
              <a:gd name="T15" fmla="*/ 174 h 351"/>
              <a:gd name="T16" fmla="*/ 92 w 868"/>
              <a:gd name="T17" fmla="*/ 203 h 351"/>
              <a:gd name="T18" fmla="*/ 66 w 868"/>
              <a:gd name="T19" fmla="*/ 192 h 351"/>
              <a:gd name="T20" fmla="*/ 75 w 868"/>
              <a:gd name="T21" fmla="*/ 207 h 351"/>
              <a:gd name="T22" fmla="*/ 72 w 868"/>
              <a:gd name="T23" fmla="*/ 224 h 351"/>
              <a:gd name="T24" fmla="*/ 64 w 868"/>
              <a:gd name="T25" fmla="*/ 228 h 351"/>
              <a:gd name="T26" fmla="*/ 29 w 868"/>
              <a:gd name="T27" fmla="*/ 217 h 351"/>
              <a:gd name="T28" fmla="*/ 31 w 868"/>
              <a:gd name="T29" fmla="*/ 228 h 351"/>
              <a:gd name="T30" fmla="*/ 53 w 868"/>
              <a:gd name="T31" fmla="*/ 253 h 351"/>
              <a:gd name="T32" fmla="*/ 36 w 868"/>
              <a:gd name="T33" fmla="*/ 257 h 351"/>
              <a:gd name="T34" fmla="*/ 774 w 868"/>
              <a:gd name="T35" fmla="*/ 258 h 351"/>
              <a:gd name="T36" fmla="*/ 640 w 868"/>
              <a:gd name="T37" fmla="*/ 136 h 351"/>
              <a:gd name="T38" fmla="*/ 376 w 868"/>
              <a:gd name="T39" fmla="*/ 47 h 351"/>
              <a:gd name="T40" fmla="*/ 235 w 868"/>
              <a:gd name="T41" fmla="*/ 76 h 351"/>
              <a:gd name="T42" fmla="*/ 221 w 868"/>
              <a:gd name="T43" fmla="*/ 70 h 351"/>
              <a:gd name="T44" fmla="*/ 180 w 868"/>
              <a:gd name="T45" fmla="*/ 89 h 351"/>
              <a:gd name="T46" fmla="*/ 168 w 868"/>
              <a:gd name="T47" fmla="*/ 110 h 351"/>
              <a:gd name="T48" fmla="*/ 140 w 868"/>
              <a:gd name="T49" fmla="*/ 145 h 351"/>
              <a:gd name="T50" fmla="*/ 81 w 868"/>
              <a:gd name="T51" fmla="*/ 192 h 351"/>
              <a:gd name="T52" fmla="*/ 126 w 868"/>
              <a:gd name="T53" fmla="*/ 134 h 351"/>
              <a:gd name="T54" fmla="*/ 253 w 868"/>
              <a:gd name="T55" fmla="*/ 36 h 351"/>
              <a:gd name="T56" fmla="*/ 399 w 868"/>
              <a:gd name="T57" fmla="*/ 2 h 351"/>
              <a:gd name="T58" fmla="*/ 510 w 868"/>
              <a:gd name="T59" fmla="*/ 14 h 351"/>
              <a:gd name="T60" fmla="*/ 732 w 868"/>
              <a:gd name="T61" fmla="*/ 145 h 351"/>
              <a:gd name="T62" fmla="*/ 794 w 868"/>
              <a:gd name="T63" fmla="*/ 260 h 351"/>
              <a:gd name="T64" fmla="*/ 787 w 868"/>
              <a:gd name="T65" fmla="*/ 222 h 351"/>
              <a:gd name="T66" fmla="*/ 721 w 868"/>
              <a:gd name="T67" fmla="*/ 150 h 351"/>
              <a:gd name="T68" fmla="*/ 533 w 868"/>
              <a:gd name="T69" fmla="*/ 22 h 351"/>
              <a:gd name="T70" fmla="*/ 380 w 868"/>
              <a:gd name="T71" fmla="*/ 47 h 351"/>
              <a:gd name="T72" fmla="*/ 307 w 868"/>
              <a:gd name="T73" fmla="*/ 53 h 351"/>
              <a:gd name="T74" fmla="*/ 281 w 868"/>
              <a:gd name="T75" fmla="*/ 47 h 351"/>
              <a:gd name="T76" fmla="*/ 242 w 868"/>
              <a:gd name="T77" fmla="*/ 43 h 351"/>
              <a:gd name="T78" fmla="*/ 222 w 868"/>
              <a:gd name="T79" fmla="*/ 51 h 351"/>
              <a:gd name="T80" fmla="*/ 197 w 868"/>
              <a:gd name="T81" fmla="*/ 73 h 351"/>
              <a:gd name="T82" fmla="*/ 164 w 868"/>
              <a:gd name="T83" fmla="*/ 99 h 351"/>
              <a:gd name="T84" fmla="*/ 142 w 868"/>
              <a:gd name="T85" fmla="*/ 117 h 351"/>
              <a:gd name="T86" fmla="*/ 141 w 868"/>
              <a:gd name="T87" fmla="*/ 138 h 351"/>
              <a:gd name="T88" fmla="*/ 124 w 868"/>
              <a:gd name="T89" fmla="*/ 129 h 351"/>
              <a:gd name="T90" fmla="*/ 113 w 868"/>
              <a:gd name="T91" fmla="*/ 142 h 351"/>
              <a:gd name="T92" fmla="*/ 337 w 868"/>
              <a:gd name="T93" fmla="*/ 9 h 351"/>
              <a:gd name="T94" fmla="*/ 168 w 868"/>
              <a:gd name="T95" fmla="*/ 125 h 351"/>
              <a:gd name="T96" fmla="*/ 197 w 868"/>
              <a:gd name="T97" fmla="*/ 105 h 351"/>
              <a:gd name="T98" fmla="*/ 131 w 868"/>
              <a:gd name="T99" fmla="*/ 159 h 351"/>
              <a:gd name="T100" fmla="*/ 88 w 868"/>
              <a:gd name="T101" fmla="*/ 171 h 351"/>
              <a:gd name="T102" fmla="*/ 85 w 868"/>
              <a:gd name="T103" fmla="*/ 191 h 351"/>
              <a:gd name="T104" fmla="*/ 79 w 868"/>
              <a:gd name="T105" fmla="*/ 215 h 351"/>
              <a:gd name="T106" fmla="*/ 48 w 868"/>
              <a:gd name="T107" fmla="*/ 193 h 351"/>
              <a:gd name="T108" fmla="*/ 64 w 868"/>
              <a:gd name="T109" fmla="*/ 238 h 351"/>
              <a:gd name="T110" fmla="*/ 17 w 868"/>
              <a:gd name="T111" fmla="*/ 235 h 351"/>
              <a:gd name="T112" fmla="*/ 87 w 868"/>
              <a:gd name="T113" fmla="*/ 158 h 351"/>
              <a:gd name="T114" fmla="*/ 865 w 868"/>
              <a:gd name="T115" fmla="*/ 172 h 351"/>
              <a:gd name="T116" fmla="*/ 859 w 868"/>
              <a:gd name="T117" fmla="*/ 117 h 351"/>
              <a:gd name="T118" fmla="*/ 782 w 868"/>
              <a:gd name="T119" fmla="*/ 277 h 351"/>
              <a:gd name="T120" fmla="*/ 841 w 868"/>
              <a:gd name="T121" fmla="*/ 164 h 351"/>
              <a:gd name="T122" fmla="*/ 861 w 868"/>
              <a:gd name="T123" fmla="*/ 201 h 351"/>
              <a:gd name="T124" fmla="*/ 666 w 868"/>
              <a:gd name="T125" fmla="*/ 29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8" h="351">
                <a:moveTo>
                  <a:pt x="813" y="278"/>
                </a:moveTo>
                <a:cubicBezTo>
                  <a:pt x="812" y="276"/>
                  <a:pt x="811" y="275"/>
                  <a:pt x="812" y="275"/>
                </a:cubicBezTo>
                <a:cubicBezTo>
                  <a:pt x="813" y="277"/>
                  <a:pt x="813" y="278"/>
                  <a:pt x="813" y="278"/>
                </a:cubicBezTo>
                <a:close/>
                <a:moveTo>
                  <a:pt x="812" y="266"/>
                </a:moveTo>
                <a:cubicBezTo>
                  <a:pt x="813" y="269"/>
                  <a:pt x="814" y="269"/>
                  <a:pt x="814" y="271"/>
                </a:cubicBezTo>
                <a:cubicBezTo>
                  <a:pt x="813" y="267"/>
                  <a:pt x="813" y="271"/>
                  <a:pt x="813" y="270"/>
                </a:cubicBezTo>
                <a:cubicBezTo>
                  <a:pt x="815" y="276"/>
                  <a:pt x="814" y="270"/>
                  <a:pt x="815" y="272"/>
                </a:cubicBezTo>
                <a:cubicBezTo>
                  <a:pt x="814" y="268"/>
                  <a:pt x="813" y="267"/>
                  <a:pt x="812" y="266"/>
                </a:cubicBezTo>
                <a:close/>
                <a:moveTo>
                  <a:pt x="781" y="282"/>
                </a:moveTo>
                <a:cubicBezTo>
                  <a:pt x="782" y="285"/>
                  <a:pt x="783" y="285"/>
                  <a:pt x="784" y="284"/>
                </a:cubicBezTo>
                <a:cubicBezTo>
                  <a:pt x="782" y="282"/>
                  <a:pt x="782" y="282"/>
                  <a:pt x="781" y="282"/>
                </a:cubicBezTo>
                <a:close/>
                <a:moveTo>
                  <a:pt x="798" y="267"/>
                </a:moveTo>
                <a:cubicBezTo>
                  <a:pt x="798" y="268"/>
                  <a:pt x="801" y="272"/>
                  <a:pt x="801" y="272"/>
                </a:cubicBezTo>
                <a:cubicBezTo>
                  <a:pt x="801" y="269"/>
                  <a:pt x="799" y="267"/>
                  <a:pt x="798" y="267"/>
                </a:cubicBezTo>
                <a:close/>
                <a:moveTo>
                  <a:pt x="791" y="270"/>
                </a:moveTo>
                <a:cubicBezTo>
                  <a:pt x="791" y="272"/>
                  <a:pt x="793" y="275"/>
                  <a:pt x="793" y="276"/>
                </a:cubicBezTo>
                <a:cubicBezTo>
                  <a:pt x="793" y="274"/>
                  <a:pt x="791" y="271"/>
                  <a:pt x="791" y="270"/>
                </a:cubicBezTo>
                <a:close/>
                <a:moveTo>
                  <a:pt x="789" y="269"/>
                </a:moveTo>
                <a:cubicBezTo>
                  <a:pt x="788" y="269"/>
                  <a:pt x="791" y="272"/>
                  <a:pt x="790" y="273"/>
                </a:cubicBezTo>
                <a:cubicBezTo>
                  <a:pt x="789" y="270"/>
                  <a:pt x="788" y="270"/>
                  <a:pt x="787" y="270"/>
                </a:cubicBezTo>
                <a:cubicBezTo>
                  <a:pt x="789" y="273"/>
                  <a:pt x="790" y="274"/>
                  <a:pt x="791" y="276"/>
                </a:cubicBezTo>
                <a:cubicBezTo>
                  <a:pt x="792" y="276"/>
                  <a:pt x="792" y="274"/>
                  <a:pt x="793" y="276"/>
                </a:cubicBezTo>
                <a:cubicBezTo>
                  <a:pt x="792" y="273"/>
                  <a:pt x="791" y="272"/>
                  <a:pt x="789" y="269"/>
                </a:cubicBezTo>
                <a:close/>
                <a:moveTo>
                  <a:pt x="801" y="266"/>
                </a:moveTo>
                <a:cubicBezTo>
                  <a:pt x="800" y="266"/>
                  <a:pt x="800" y="268"/>
                  <a:pt x="801" y="271"/>
                </a:cubicBezTo>
                <a:cubicBezTo>
                  <a:pt x="802" y="271"/>
                  <a:pt x="801" y="267"/>
                  <a:pt x="801" y="266"/>
                </a:cubicBezTo>
                <a:close/>
                <a:moveTo>
                  <a:pt x="799" y="270"/>
                </a:moveTo>
                <a:cubicBezTo>
                  <a:pt x="799" y="270"/>
                  <a:pt x="798" y="270"/>
                  <a:pt x="798" y="269"/>
                </a:cubicBezTo>
                <a:cubicBezTo>
                  <a:pt x="797" y="269"/>
                  <a:pt x="797" y="270"/>
                  <a:pt x="798" y="272"/>
                </a:cubicBezTo>
                <a:cubicBezTo>
                  <a:pt x="798" y="271"/>
                  <a:pt x="800" y="273"/>
                  <a:pt x="799" y="270"/>
                </a:cubicBezTo>
                <a:close/>
                <a:moveTo>
                  <a:pt x="770" y="269"/>
                </a:moveTo>
                <a:cubicBezTo>
                  <a:pt x="771" y="271"/>
                  <a:pt x="772" y="272"/>
                  <a:pt x="773" y="272"/>
                </a:cubicBezTo>
                <a:cubicBezTo>
                  <a:pt x="772" y="270"/>
                  <a:pt x="771" y="269"/>
                  <a:pt x="770" y="269"/>
                </a:cubicBezTo>
                <a:close/>
                <a:moveTo>
                  <a:pt x="807" y="248"/>
                </a:moveTo>
                <a:cubicBezTo>
                  <a:pt x="808" y="250"/>
                  <a:pt x="810" y="253"/>
                  <a:pt x="810" y="252"/>
                </a:cubicBezTo>
                <a:cubicBezTo>
                  <a:pt x="809" y="249"/>
                  <a:pt x="808" y="247"/>
                  <a:pt x="807" y="248"/>
                </a:cubicBezTo>
                <a:close/>
                <a:moveTo>
                  <a:pt x="802" y="246"/>
                </a:moveTo>
                <a:cubicBezTo>
                  <a:pt x="803" y="247"/>
                  <a:pt x="803" y="248"/>
                  <a:pt x="804" y="251"/>
                </a:cubicBezTo>
                <a:cubicBezTo>
                  <a:pt x="805" y="251"/>
                  <a:pt x="803" y="245"/>
                  <a:pt x="802" y="246"/>
                </a:cubicBezTo>
                <a:close/>
                <a:moveTo>
                  <a:pt x="805" y="245"/>
                </a:moveTo>
                <a:cubicBezTo>
                  <a:pt x="803" y="240"/>
                  <a:pt x="804" y="239"/>
                  <a:pt x="802" y="235"/>
                </a:cubicBezTo>
                <a:cubicBezTo>
                  <a:pt x="800" y="234"/>
                  <a:pt x="796" y="236"/>
                  <a:pt x="801" y="245"/>
                </a:cubicBezTo>
                <a:cubicBezTo>
                  <a:pt x="801" y="242"/>
                  <a:pt x="806" y="248"/>
                  <a:pt x="805" y="245"/>
                </a:cubicBezTo>
                <a:close/>
                <a:moveTo>
                  <a:pt x="759" y="246"/>
                </a:moveTo>
                <a:cubicBezTo>
                  <a:pt x="759" y="247"/>
                  <a:pt x="758" y="246"/>
                  <a:pt x="758" y="246"/>
                </a:cubicBezTo>
                <a:cubicBezTo>
                  <a:pt x="759" y="248"/>
                  <a:pt x="760" y="248"/>
                  <a:pt x="759" y="248"/>
                </a:cubicBezTo>
                <a:cubicBezTo>
                  <a:pt x="760" y="250"/>
                  <a:pt x="760" y="250"/>
                  <a:pt x="761" y="250"/>
                </a:cubicBezTo>
                <a:cubicBezTo>
                  <a:pt x="759" y="248"/>
                  <a:pt x="760" y="248"/>
                  <a:pt x="759" y="246"/>
                </a:cubicBezTo>
                <a:close/>
                <a:moveTo>
                  <a:pt x="766" y="178"/>
                </a:moveTo>
                <a:cubicBezTo>
                  <a:pt x="766" y="178"/>
                  <a:pt x="766" y="178"/>
                  <a:pt x="767" y="180"/>
                </a:cubicBezTo>
                <a:cubicBezTo>
                  <a:pt x="767" y="180"/>
                  <a:pt x="768" y="181"/>
                  <a:pt x="768" y="181"/>
                </a:cubicBezTo>
                <a:cubicBezTo>
                  <a:pt x="767" y="179"/>
                  <a:pt x="768" y="180"/>
                  <a:pt x="766" y="178"/>
                </a:cubicBezTo>
                <a:close/>
                <a:moveTo>
                  <a:pt x="756" y="167"/>
                </a:moveTo>
                <a:cubicBezTo>
                  <a:pt x="757" y="168"/>
                  <a:pt x="758" y="169"/>
                  <a:pt x="757" y="169"/>
                </a:cubicBezTo>
                <a:cubicBezTo>
                  <a:pt x="762" y="175"/>
                  <a:pt x="758" y="167"/>
                  <a:pt x="756" y="167"/>
                </a:cubicBezTo>
                <a:close/>
                <a:moveTo>
                  <a:pt x="713" y="128"/>
                </a:moveTo>
                <a:cubicBezTo>
                  <a:pt x="713" y="127"/>
                  <a:pt x="714" y="127"/>
                  <a:pt x="715" y="128"/>
                </a:cubicBezTo>
                <a:cubicBezTo>
                  <a:pt x="712" y="125"/>
                  <a:pt x="710" y="125"/>
                  <a:pt x="713" y="128"/>
                </a:cubicBezTo>
                <a:close/>
                <a:moveTo>
                  <a:pt x="640" y="70"/>
                </a:moveTo>
                <a:cubicBezTo>
                  <a:pt x="634" y="64"/>
                  <a:pt x="636" y="68"/>
                  <a:pt x="640" y="70"/>
                </a:cubicBezTo>
                <a:close/>
                <a:moveTo>
                  <a:pt x="545" y="23"/>
                </a:moveTo>
                <a:cubicBezTo>
                  <a:pt x="544" y="24"/>
                  <a:pt x="548" y="25"/>
                  <a:pt x="549" y="24"/>
                </a:cubicBezTo>
                <a:cubicBezTo>
                  <a:pt x="546" y="24"/>
                  <a:pt x="547" y="24"/>
                  <a:pt x="545" y="23"/>
                </a:cubicBezTo>
                <a:close/>
                <a:moveTo>
                  <a:pt x="539" y="20"/>
                </a:moveTo>
                <a:cubicBezTo>
                  <a:pt x="539" y="20"/>
                  <a:pt x="538" y="20"/>
                  <a:pt x="538" y="20"/>
                </a:cubicBezTo>
                <a:cubicBezTo>
                  <a:pt x="540" y="21"/>
                  <a:pt x="543" y="22"/>
                  <a:pt x="543" y="21"/>
                </a:cubicBezTo>
                <a:cubicBezTo>
                  <a:pt x="540" y="20"/>
                  <a:pt x="540" y="21"/>
                  <a:pt x="539" y="20"/>
                </a:cubicBezTo>
                <a:close/>
                <a:moveTo>
                  <a:pt x="530" y="17"/>
                </a:moveTo>
                <a:cubicBezTo>
                  <a:pt x="529" y="18"/>
                  <a:pt x="534" y="19"/>
                  <a:pt x="534" y="18"/>
                </a:cubicBezTo>
                <a:lnTo>
                  <a:pt x="530" y="17"/>
                </a:lnTo>
                <a:close/>
                <a:moveTo>
                  <a:pt x="524" y="16"/>
                </a:moveTo>
                <a:cubicBezTo>
                  <a:pt x="524" y="16"/>
                  <a:pt x="522" y="16"/>
                  <a:pt x="522" y="17"/>
                </a:cubicBezTo>
                <a:cubicBezTo>
                  <a:pt x="524" y="17"/>
                  <a:pt x="527" y="18"/>
                  <a:pt x="529" y="18"/>
                </a:cubicBezTo>
                <a:cubicBezTo>
                  <a:pt x="528" y="17"/>
                  <a:pt x="526" y="17"/>
                  <a:pt x="524" y="16"/>
                </a:cubicBezTo>
                <a:close/>
                <a:moveTo>
                  <a:pt x="498" y="10"/>
                </a:moveTo>
                <a:cubicBezTo>
                  <a:pt x="501" y="10"/>
                  <a:pt x="502" y="10"/>
                  <a:pt x="503" y="10"/>
                </a:cubicBezTo>
                <a:cubicBezTo>
                  <a:pt x="502" y="10"/>
                  <a:pt x="498" y="9"/>
                  <a:pt x="498" y="10"/>
                </a:cubicBezTo>
                <a:close/>
                <a:moveTo>
                  <a:pt x="467" y="7"/>
                </a:moveTo>
                <a:cubicBezTo>
                  <a:pt x="468" y="7"/>
                  <a:pt x="473" y="8"/>
                  <a:pt x="473" y="7"/>
                </a:cubicBezTo>
                <a:cubicBezTo>
                  <a:pt x="470" y="7"/>
                  <a:pt x="467" y="6"/>
                  <a:pt x="467" y="7"/>
                </a:cubicBezTo>
                <a:close/>
                <a:moveTo>
                  <a:pt x="443" y="52"/>
                </a:moveTo>
                <a:cubicBezTo>
                  <a:pt x="443" y="52"/>
                  <a:pt x="443" y="52"/>
                  <a:pt x="443" y="53"/>
                </a:cubicBezTo>
                <a:cubicBezTo>
                  <a:pt x="445" y="53"/>
                  <a:pt x="444" y="54"/>
                  <a:pt x="447" y="54"/>
                </a:cubicBezTo>
                <a:cubicBezTo>
                  <a:pt x="446" y="53"/>
                  <a:pt x="446" y="53"/>
                  <a:pt x="448" y="53"/>
                </a:cubicBezTo>
                <a:cubicBezTo>
                  <a:pt x="447" y="52"/>
                  <a:pt x="446" y="52"/>
                  <a:pt x="443" y="52"/>
                </a:cubicBezTo>
                <a:close/>
                <a:moveTo>
                  <a:pt x="435" y="51"/>
                </a:moveTo>
                <a:cubicBezTo>
                  <a:pt x="435" y="52"/>
                  <a:pt x="430" y="51"/>
                  <a:pt x="431" y="51"/>
                </a:cubicBezTo>
                <a:cubicBezTo>
                  <a:pt x="432" y="51"/>
                  <a:pt x="436" y="52"/>
                  <a:pt x="437" y="52"/>
                </a:cubicBezTo>
                <a:cubicBezTo>
                  <a:pt x="435" y="52"/>
                  <a:pt x="437" y="51"/>
                  <a:pt x="435" y="51"/>
                </a:cubicBezTo>
                <a:close/>
                <a:moveTo>
                  <a:pt x="402" y="50"/>
                </a:moveTo>
                <a:cubicBezTo>
                  <a:pt x="404" y="50"/>
                  <a:pt x="406" y="50"/>
                  <a:pt x="406" y="49"/>
                </a:cubicBezTo>
                <a:cubicBezTo>
                  <a:pt x="404" y="49"/>
                  <a:pt x="402" y="49"/>
                  <a:pt x="402" y="50"/>
                </a:cubicBezTo>
                <a:close/>
                <a:moveTo>
                  <a:pt x="391" y="1"/>
                </a:moveTo>
                <a:cubicBezTo>
                  <a:pt x="391" y="2"/>
                  <a:pt x="395" y="2"/>
                  <a:pt x="397" y="2"/>
                </a:cubicBezTo>
                <a:cubicBezTo>
                  <a:pt x="397" y="2"/>
                  <a:pt x="395" y="2"/>
                  <a:pt x="395" y="3"/>
                </a:cubicBezTo>
                <a:cubicBezTo>
                  <a:pt x="396" y="3"/>
                  <a:pt x="397" y="3"/>
                  <a:pt x="398" y="3"/>
                </a:cubicBezTo>
                <a:cubicBezTo>
                  <a:pt x="397" y="2"/>
                  <a:pt x="401" y="4"/>
                  <a:pt x="402" y="3"/>
                </a:cubicBezTo>
                <a:cubicBezTo>
                  <a:pt x="400" y="2"/>
                  <a:pt x="396" y="3"/>
                  <a:pt x="399" y="2"/>
                </a:cubicBezTo>
                <a:cubicBezTo>
                  <a:pt x="393" y="2"/>
                  <a:pt x="395" y="1"/>
                  <a:pt x="391" y="1"/>
                </a:cubicBezTo>
                <a:close/>
                <a:moveTo>
                  <a:pt x="394" y="3"/>
                </a:moveTo>
                <a:cubicBezTo>
                  <a:pt x="391" y="3"/>
                  <a:pt x="389" y="3"/>
                  <a:pt x="388" y="3"/>
                </a:cubicBezTo>
                <a:cubicBezTo>
                  <a:pt x="391" y="3"/>
                  <a:pt x="394" y="4"/>
                  <a:pt x="395" y="3"/>
                </a:cubicBezTo>
                <a:cubicBezTo>
                  <a:pt x="394" y="3"/>
                  <a:pt x="394" y="3"/>
                  <a:pt x="394" y="3"/>
                </a:cubicBezTo>
                <a:close/>
                <a:moveTo>
                  <a:pt x="384" y="2"/>
                </a:moveTo>
                <a:cubicBezTo>
                  <a:pt x="386" y="2"/>
                  <a:pt x="388" y="2"/>
                  <a:pt x="389" y="2"/>
                </a:cubicBezTo>
                <a:cubicBezTo>
                  <a:pt x="387" y="2"/>
                  <a:pt x="384" y="2"/>
                  <a:pt x="384" y="2"/>
                </a:cubicBezTo>
                <a:close/>
                <a:moveTo>
                  <a:pt x="371" y="5"/>
                </a:moveTo>
                <a:cubicBezTo>
                  <a:pt x="370" y="6"/>
                  <a:pt x="367" y="6"/>
                  <a:pt x="365" y="6"/>
                </a:cubicBezTo>
                <a:cubicBezTo>
                  <a:pt x="367" y="7"/>
                  <a:pt x="377" y="6"/>
                  <a:pt x="377" y="5"/>
                </a:cubicBezTo>
                <a:cubicBezTo>
                  <a:pt x="374" y="5"/>
                  <a:pt x="374" y="5"/>
                  <a:pt x="371" y="5"/>
                </a:cubicBezTo>
                <a:close/>
                <a:moveTo>
                  <a:pt x="364" y="51"/>
                </a:moveTo>
                <a:cubicBezTo>
                  <a:pt x="364" y="52"/>
                  <a:pt x="367" y="51"/>
                  <a:pt x="370" y="51"/>
                </a:cubicBezTo>
                <a:cubicBezTo>
                  <a:pt x="370" y="51"/>
                  <a:pt x="366" y="51"/>
                  <a:pt x="364" y="51"/>
                </a:cubicBezTo>
                <a:close/>
                <a:moveTo>
                  <a:pt x="363" y="50"/>
                </a:moveTo>
                <a:cubicBezTo>
                  <a:pt x="365" y="49"/>
                  <a:pt x="366" y="49"/>
                  <a:pt x="367" y="49"/>
                </a:cubicBezTo>
                <a:cubicBezTo>
                  <a:pt x="365" y="48"/>
                  <a:pt x="363" y="49"/>
                  <a:pt x="363" y="50"/>
                </a:cubicBezTo>
                <a:close/>
                <a:moveTo>
                  <a:pt x="326" y="13"/>
                </a:moveTo>
                <a:cubicBezTo>
                  <a:pt x="327" y="12"/>
                  <a:pt x="332" y="11"/>
                  <a:pt x="333" y="11"/>
                </a:cubicBezTo>
                <a:cubicBezTo>
                  <a:pt x="329" y="11"/>
                  <a:pt x="328" y="12"/>
                  <a:pt x="326" y="13"/>
                </a:cubicBezTo>
                <a:close/>
                <a:moveTo>
                  <a:pt x="321" y="10"/>
                </a:moveTo>
                <a:cubicBezTo>
                  <a:pt x="322" y="11"/>
                  <a:pt x="325" y="10"/>
                  <a:pt x="329" y="9"/>
                </a:cubicBezTo>
                <a:cubicBezTo>
                  <a:pt x="329" y="9"/>
                  <a:pt x="329" y="9"/>
                  <a:pt x="328" y="9"/>
                </a:cubicBezTo>
                <a:cubicBezTo>
                  <a:pt x="326" y="10"/>
                  <a:pt x="323" y="10"/>
                  <a:pt x="321" y="10"/>
                </a:cubicBezTo>
                <a:close/>
                <a:moveTo>
                  <a:pt x="322" y="58"/>
                </a:moveTo>
                <a:cubicBezTo>
                  <a:pt x="323" y="58"/>
                  <a:pt x="326" y="58"/>
                  <a:pt x="328" y="58"/>
                </a:cubicBezTo>
                <a:cubicBezTo>
                  <a:pt x="327" y="57"/>
                  <a:pt x="325" y="57"/>
                  <a:pt x="322" y="58"/>
                </a:cubicBezTo>
                <a:close/>
                <a:moveTo>
                  <a:pt x="313" y="59"/>
                </a:moveTo>
                <a:cubicBezTo>
                  <a:pt x="314" y="60"/>
                  <a:pt x="309" y="60"/>
                  <a:pt x="309" y="61"/>
                </a:cubicBezTo>
                <a:cubicBezTo>
                  <a:pt x="311" y="61"/>
                  <a:pt x="312" y="61"/>
                  <a:pt x="316" y="60"/>
                </a:cubicBezTo>
                <a:cubicBezTo>
                  <a:pt x="315" y="60"/>
                  <a:pt x="316" y="59"/>
                  <a:pt x="313" y="59"/>
                </a:cubicBezTo>
                <a:close/>
                <a:moveTo>
                  <a:pt x="286" y="24"/>
                </a:moveTo>
                <a:cubicBezTo>
                  <a:pt x="286" y="24"/>
                  <a:pt x="280" y="25"/>
                  <a:pt x="280" y="26"/>
                </a:cubicBezTo>
                <a:cubicBezTo>
                  <a:pt x="281" y="26"/>
                  <a:pt x="280" y="26"/>
                  <a:pt x="281" y="26"/>
                </a:cubicBezTo>
                <a:cubicBezTo>
                  <a:pt x="282" y="26"/>
                  <a:pt x="284" y="25"/>
                  <a:pt x="285" y="24"/>
                </a:cubicBezTo>
                <a:cubicBezTo>
                  <a:pt x="285" y="25"/>
                  <a:pt x="286" y="25"/>
                  <a:pt x="287" y="25"/>
                </a:cubicBezTo>
                <a:cubicBezTo>
                  <a:pt x="290" y="24"/>
                  <a:pt x="290" y="24"/>
                  <a:pt x="294" y="23"/>
                </a:cubicBezTo>
                <a:cubicBezTo>
                  <a:pt x="293" y="22"/>
                  <a:pt x="293" y="22"/>
                  <a:pt x="293" y="22"/>
                </a:cubicBezTo>
                <a:cubicBezTo>
                  <a:pt x="290" y="23"/>
                  <a:pt x="288" y="23"/>
                  <a:pt x="286" y="24"/>
                </a:cubicBezTo>
                <a:close/>
                <a:moveTo>
                  <a:pt x="287" y="68"/>
                </a:moveTo>
                <a:cubicBezTo>
                  <a:pt x="289" y="67"/>
                  <a:pt x="289" y="67"/>
                  <a:pt x="289" y="66"/>
                </a:cubicBezTo>
                <a:cubicBezTo>
                  <a:pt x="287" y="67"/>
                  <a:pt x="287" y="67"/>
                  <a:pt x="287" y="68"/>
                </a:cubicBezTo>
                <a:close/>
                <a:moveTo>
                  <a:pt x="237" y="80"/>
                </a:moveTo>
                <a:cubicBezTo>
                  <a:pt x="236" y="81"/>
                  <a:pt x="235" y="83"/>
                  <a:pt x="230" y="86"/>
                </a:cubicBezTo>
                <a:cubicBezTo>
                  <a:pt x="227" y="86"/>
                  <a:pt x="224" y="88"/>
                  <a:pt x="221" y="89"/>
                </a:cubicBezTo>
                <a:cubicBezTo>
                  <a:pt x="221" y="89"/>
                  <a:pt x="221" y="90"/>
                  <a:pt x="220" y="91"/>
                </a:cubicBezTo>
                <a:cubicBezTo>
                  <a:pt x="219" y="91"/>
                  <a:pt x="215" y="92"/>
                  <a:pt x="215" y="93"/>
                </a:cubicBezTo>
                <a:cubicBezTo>
                  <a:pt x="217" y="93"/>
                  <a:pt x="218" y="93"/>
                  <a:pt x="220" y="92"/>
                </a:cubicBezTo>
                <a:cubicBezTo>
                  <a:pt x="222" y="91"/>
                  <a:pt x="219" y="91"/>
                  <a:pt x="221" y="90"/>
                </a:cubicBezTo>
                <a:cubicBezTo>
                  <a:pt x="227" y="88"/>
                  <a:pt x="233" y="84"/>
                  <a:pt x="238" y="81"/>
                </a:cubicBezTo>
                <a:cubicBezTo>
                  <a:pt x="237" y="81"/>
                  <a:pt x="237" y="81"/>
                  <a:pt x="236" y="81"/>
                </a:cubicBezTo>
                <a:cubicBezTo>
                  <a:pt x="239" y="80"/>
                  <a:pt x="241" y="79"/>
                  <a:pt x="242" y="78"/>
                </a:cubicBezTo>
                <a:cubicBezTo>
                  <a:pt x="239" y="79"/>
                  <a:pt x="238" y="79"/>
                  <a:pt x="237" y="80"/>
                </a:cubicBezTo>
                <a:close/>
                <a:moveTo>
                  <a:pt x="228" y="79"/>
                </a:moveTo>
                <a:cubicBezTo>
                  <a:pt x="228" y="80"/>
                  <a:pt x="230" y="79"/>
                  <a:pt x="228" y="80"/>
                </a:cubicBezTo>
                <a:cubicBezTo>
                  <a:pt x="228" y="80"/>
                  <a:pt x="224" y="82"/>
                  <a:pt x="224" y="81"/>
                </a:cubicBezTo>
                <a:cubicBezTo>
                  <a:pt x="219" y="84"/>
                  <a:pt x="214" y="86"/>
                  <a:pt x="212" y="89"/>
                </a:cubicBezTo>
                <a:cubicBezTo>
                  <a:pt x="217" y="86"/>
                  <a:pt x="220" y="83"/>
                  <a:pt x="224" y="82"/>
                </a:cubicBezTo>
                <a:cubicBezTo>
                  <a:pt x="224" y="82"/>
                  <a:pt x="222" y="83"/>
                  <a:pt x="223" y="83"/>
                </a:cubicBezTo>
                <a:cubicBezTo>
                  <a:pt x="226" y="82"/>
                  <a:pt x="228" y="80"/>
                  <a:pt x="232" y="79"/>
                </a:cubicBezTo>
                <a:cubicBezTo>
                  <a:pt x="231" y="78"/>
                  <a:pt x="231" y="78"/>
                  <a:pt x="228" y="79"/>
                </a:cubicBezTo>
                <a:close/>
                <a:moveTo>
                  <a:pt x="209" y="55"/>
                </a:moveTo>
                <a:cubicBezTo>
                  <a:pt x="212" y="54"/>
                  <a:pt x="215" y="52"/>
                  <a:pt x="216" y="50"/>
                </a:cubicBezTo>
                <a:cubicBezTo>
                  <a:pt x="212" y="52"/>
                  <a:pt x="211" y="53"/>
                  <a:pt x="209" y="55"/>
                </a:cubicBezTo>
                <a:close/>
                <a:moveTo>
                  <a:pt x="220" y="66"/>
                </a:moveTo>
                <a:cubicBezTo>
                  <a:pt x="223" y="64"/>
                  <a:pt x="220" y="67"/>
                  <a:pt x="223" y="65"/>
                </a:cubicBezTo>
                <a:cubicBezTo>
                  <a:pt x="224" y="64"/>
                  <a:pt x="223" y="65"/>
                  <a:pt x="223" y="64"/>
                </a:cubicBezTo>
                <a:cubicBezTo>
                  <a:pt x="222" y="65"/>
                  <a:pt x="220" y="65"/>
                  <a:pt x="220" y="66"/>
                </a:cubicBezTo>
                <a:close/>
                <a:moveTo>
                  <a:pt x="217" y="67"/>
                </a:moveTo>
                <a:cubicBezTo>
                  <a:pt x="214" y="69"/>
                  <a:pt x="216" y="70"/>
                  <a:pt x="219" y="67"/>
                </a:cubicBezTo>
                <a:cubicBezTo>
                  <a:pt x="214" y="69"/>
                  <a:pt x="222" y="65"/>
                  <a:pt x="217" y="67"/>
                </a:cubicBezTo>
                <a:close/>
                <a:moveTo>
                  <a:pt x="226" y="94"/>
                </a:moveTo>
                <a:cubicBezTo>
                  <a:pt x="225" y="94"/>
                  <a:pt x="224" y="95"/>
                  <a:pt x="224" y="96"/>
                </a:cubicBezTo>
                <a:cubicBezTo>
                  <a:pt x="226" y="94"/>
                  <a:pt x="226" y="95"/>
                  <a:pt x="228" y="94"/>
                </a:cubicBezTo>
                <a:cubicBezTo>
                  <a:pt x="228" y="93"/>
                  <a:pt x="227" y="94"/>
                  <a:pt x="226" y="94"/>
                </a:cubicBezTo>
                <a:close/>
                <a:moveTo>
                  <a:pt x="216" y="80"/>
                </a:moveTo>
                <a:cubicBezTo>
                  <a:pt x="215" y="80"/>
                  <a:pt x="213" y="82"/>
                  <a:pt x="211" y="82"/>
                </a:cubicBezTo>
                <a:cubicBezTo>
                  <a:pt x="211" y="83"/>
                  <a:pt x="214" y="82"/>
                  <a:pt x="216" y="80"/>
                </a:cubicBezTo>
                <a:close/>
                <a:moveTo>
                  <a:pt x="206" y="79"/>
                </a:moveTo>
                <a:cubicBezTo>
                  <a:pt x="206" y="79"/>
                  <a:pt x="208" y="78"/>
                  <a:pt x="207" y="79"/>
                </a:cubicBezTo>
                <a:cubicBezTo>
                  <a:pt x="209" y="77"/>
                  <a:pt x="210" y="78"/>
                  <a:pt x="212" y="75"/>
                </a:cubicBezTo>
                <a:cubicBezTo>
                  <a:pt x="210" y="76"/>
                  <a:pt x="208" y="77"/>
                  <a:pt x="206" y="79"/>
                </a:cubicBezTo>
                <a:close/>
                <a:moveTo>
                  <a:pt x="192" y="65"/>
                </a:moveTo>
                <a:cubicBezTo>
                  <a:pt x="191" y="66"/>
                  <a:pt x="190" y="67"/>
                  <a:pt x="190" y="67"/>
                </a:cubicBezTo>
                <a:cubicBezTo>
                  <a:pt x="193" y="65"/>
                  <a:pt x="197" y="64"/>
                  <a:pt x="198" y="63"/>
                </a:cubicBezTo>
                <a:cubicBezTo>
                  <a:pt x="194" y="64"/>
                  <a:pt x="195" y="64"/>
                  <a:pt x="192" y="65"/>
                </a:cubicBezTo>
                <a:close/>
                <a:moveTo>
                  <a:pt x="208" y="90"/>
                </a:moveTo>
                <a:cubicBezTo>
                  <a:pt x="207" y="91"/>
                  <a:pt x="206" y="91"/>
                  <a:pt x="206" y="92"/>
                </a:cubicBezTo>
                <a:cubicBezTo>
                  <a:pt x="207" y="91"/>
                  <a:pt x="206" y="93"/>
                  <a:pt x="209" y="91"/>
                </a:cubicBezTo>
                <a:cubicBezTo>
                  <a:pt x="210" y="90"/>
                  <a:pt x="208" y="91"/>
                  <a:pt x="208" y="90"/>
                </a:cubicBezTo>
                <a:close/>
                <a:moveTo>
                  <a:pt x="207" y="101"/>
                </a:moveTo>
                <a:cubicBezTo>
                  <a:pt x="208" y="101"/>
                  <a:pt x="212" y="98"/>
                  <a:pt x="214" y="97"/>
                </a:cubicBezTo>
                <a:cubicBezTo>
                  <a:pt x="211" y="99"/>
                  <a:pt x="207" y="101"/>
                  <a:pt x="207" y="101"/>
                </a:cubicBezTo>
                <a:close/>
                <a:moveTo>
                  <a:pt x="190" y="86"/>
                </a:moveTo>
                <a:cubicBezTo>
                  <a:pt x="191" y="85"/>
                  <a:pt x="196" y="82"/>
                  <a:pt x="196" y="82"/>
                </a:cubicBezTo>
                <a:cubicBezTo>
                  <a:pt x="194" y="83"/>
                  <a:pt x="192" y="85"/>
                  <a:pt x="190" y="86"/>
                </a:cubicBezTo>
                <a:close/>
                <a:moveTo>
                  <a:pt x="198" y="111"/>
                </a:moveTo>
                <a:cubicBezTo>
                  <a:pt x="199" y="112"/>
                  <a:pt x="204" y="109"/>
                  <a:pt x="205" y="107"/>
                </a:cubicBezTo>
                <a:cubicBezTo>
                  <a:pt x="203" y="109"/>
                  <a:pt x="201" y="110"/>
                  <a:pt x="198" y="111"/>
                </a:cubicBezTo>
                <a:close/>
                <a:moveTo>
                  <a:pt x="185" y="86"/>
                </a:moveTo>
                <a:cubicBezTo>
                  <a:pt x="185" y="86"/>
                  <a:pt x="189" y="84"/>
                  <a:pt x="188" y="84"/>
                </a:cubicBezTo>
                <a:cubicBezTo>
                  <a:pt x="184" y="85"/>
                  <a:pt x="184" y="87"/>
                  <a:pt x="183" y="89"/>
                </a:cubicBezTo>
                <a:cubicBezTo>
                  <a:pt x="184" y="88"/>
                  <a:pt x="184" y="88"/>
                  <a:pt x="184" y="88"/>
                </a:cubicBezTo>
                <a:cubicBezTo>
                  <a:pt x="187" y="87"/>
                  <a:pt x="190" y="84"/>
                  <a:pt x="188" y="84"/>
                </a:cubicBezTo>
                <a:cubicBezTo>
                  <a:pt x="188" y="84"/>
                  <a:pt x="186" y="86"/>
                  <a:pt x="185" y="86"/>
                </a:cubicBezTo>
                <a:close/>
                <a:moveTo>
                  <a:pt x="175" y="77"/>
                </a:moveTo>
                <a:cubicBezTo>
                  <a:pt x="177" y="75"/>
                  <a:pt x="182" y="73"/>
                  <a:pt x="180" y="73"/>
                </a:cubicBezTo>
                <a:cubicBezTo>
                  <a:pt x="179" y="75"/>
                  <a:pt x="174" y="76"/>
                  <a:pt x="175" y="77"/>
                </a:cubicBezTo>
                <a:close/>
                <a:moveTo>
                  <a:pt x="186" y="115"/>
                </a:moveTo>
                <a:cubicBezTo>
                  <a:pt x="187" y="115"/>
                  <a:pt x="191" y="112"/>
                  <a:pt x="191" y="111"/>
                </a:cubicBezTo>
                <a:cubicBezTo>
                  <a:pt x="190" y="112"/>
                  <a:pt x="187" y="113"/>
                  <a:pt x="186" y="115"/>
                </a:cubicBezTo>
                <a:close/>
                <a:moveTo>
                  <a:pt x="177" y="93"/>
                </a:moveTo>
                <a:cubicBezTo>
                  <a:pt x="170" y="97"/>
                  <a:pt x="177" y="95"/>
                  <a:pt x="177" y="93"/>
                </a:cubicBezTo>
                <a:close/>
                <a:moveTo>
                  <a:pt x="183" y="114"/>
                </a:moveTo>
                <a:cubicBezTo>
                  <a:pt x="185" y="113"/>
                  <a:pt x="188" y="111"/>
                  <a:pt x="188" y="110"/>
                </a:cubicBezTo>
                <a:cubicBezTo>
                  <a:pt x="185" y="112"/>
                  <a:pt x="184" y="113"/>
                  <a:pt x="183" y="114"/>
                </a:cubicBezTo>
                <a:close/>
                <a:moveTo>
                  <a:pt x="158" y="89"/>
                </a:moveTo>
                <a:cubicBezTo>
                  <a:pt x="160" y="88"/>
                  <a:pt x="165" y="84"/>
                  <a:pt x="163" y="85"/>
                </a:cubicBezTo>
                <a:cubicBezTo>
                  <a:pt x="163" y="85"/>
                  <a:pt x="157" y="89"/>
                  <a:pt x="158" y="89"/>
                </a:cubicBezTo>
                <a:close/>
                <a:moveTo>
                  <a:pt x="166" y="104"/>
                </a:moveTo>
                <a:cubicBezTo>
                  <a:pt x="168" y="103"/>
                  <a:pt x="170" y="102"/>
                  <a:pt x="171" y="101"/>
                </a:cubicBezTo>
                <a:cubicBezTo>
                  <a:pt x="169" y="103"/>
                  <a:pt x="166" y="103"/>
                  <a:pt x="166" y="104"/>
                </a:cubicBezTo>
                <a:close/>
                <a:moveTo>
                  <a:pt x="172" y="122"/>
                </a:moveTo>
                <a:cubicBezTo>
                  <a:pt x="172" y="122"/>
                  <a:pt x="176" y="120"/>
                  <a:pt x="176" y="120"/>
                </a:cubicBezTo>
                <a:cubicBezTo>
                  <a:pt x="175" y="120"/>
                  <a:pt x="175" y="120"/>
                  <a:pt x="172" y="122"/>
                </a:cubicBezTo>
                <a:close/>
                <a:moveTo>
                  <a:pt x="142" y="97"/>
                </a:moveTo>
                <a:cubicBezTo>
                  <a:pt x="145" y="95"/>
                  <a:pt x="147" y="93"/>
                  <a:pt x="148" y="92"/>
                </a:cubicBezTo>
                <a:cubicBezTo>
                  <a:pt x="146" y="93"/>
                  <a:pt x="142" y="96"/>
                  <a:pt x="142" y="97"/>
                </a:cubicBezTo>
                <a:close/>
                <a:moveTo>
                  <a:pt x="155" y="112"/>
                </a:moveTo>
                <a:cubicBezTo>
                  <a:pt x="155" y="112"/>
                  <a:pt x="156" y="111"/>
                  <a:pt x="156" y="111"/>
                </a:cubicBezTo>
                <a:cubicBezTo>
                  <a:pt x="155" y="112"/>
                  <a:pt x="156" y="112"/>
                  <a:pt x="157" y="111"/>
                </a:cubicBezTo>
                <a:cubicBezTo>
                  <a:pt x="157" y="111"/>
                  <a:pt x="158" y="110"/>
                  <a:pt x="158" y="109"/>
                </a:cubicBezTo>
                <a:cubicBezTo>
                  <a:pt x="157" y="110"/>
                  <a:pt x="155" y="111"/>
                  <a:pt x="155" y="112"/>
                </a:cubicBezTo>
                <a:close/>
                <a:moveTo>
                  <a:pt x="164" y="129"/>
                </a:moveTo>
                <a:cubicBezTo>
                  <a:pt x="165" y="128"/>
                  <a:pt x="170" y="125"/>
                  <a:pt x="169" y="124"/>
                </a:cubicBezTo>
                <a:cubicBezTo>
                  <a:pt x="167" y="126"/>
                  <a:pt x="165" y="127"/>
                  <a:pt x="164" y="129"/>
                </a:cubicBezTo>
                <a:close/>
                <a:moveTo>
                  <a:pt x="153" y="112"/>
                </a:moveTo>
                <a:cubicBezTo>
                  <a:pt x="155" y="111"/>
                  <a:pt x="158" y="109"/>
                  <a:pt x="157" y="109"/>
                </a:cubicBezTo>
                <a:cubicBezTo>
                  <a:pt x="154" y="110"/>
                  <a:pt x="154" y="111"/>
                  <a:pt x="153" y="112"/>
                </a:cubicBezTo>
                <a:close/>
                <a:moveTo>
                  <a:pt x="164" y="125"/>
                </a:moveTo>
                <a:cubicBezTo>
                  <a:pt x="165" y="124"/>
                  <a:pt x="167" y="122"/>
                  <a:pt x="167" y="122"/>
                </a:cubicBezTo>
                <a:cubicBezTo>
                  <a:pt x="166" y="122"/>
                  <a:pt x="162" y="125"/>
                  <a:pt x="164" y="125"/>
                </a:cubicBezTo>
                <a:close/>
                <a:moveTo>
                  <a:pt x="162" y="131"/>
                </a:moveTo>
                <a:cubicBezTo>
                  <a:pt x="162" y="131"/>
                  <a:pt x="161" y="132"/>
                  <a:pt x="161" y="133"/>
                </a:cubicBezTo>
                <a:cubicBezTo>
                  <a:pt x="164" y="130"/>
                  <a:pt x="164" y="130"/>
                  <a:pt x="164" y="130"/>
                </a:cubicBezTo>
                <a:cubicBezTo>
                  <a:pt x="162" y="131"/>
                  <a:pt x="170" y="126"/>
                  <a:pt x="167" y="127"/>
                </a:cubicBezTo>
                <a:cubicBezTo>
                  <a:pt x="165" y="129"/>
                  <a:pt x="163" y="130"/>
                  <a:pt x="162" y="131"/>
                </a:cubicBezTo>
                <a:close/>
                <a:moveTo>
                  <a:pt x="153" y="115"/>
                </a:moveTo>
                <a:cubicBezTo>
                  <a:pt x="153" y="115"/>
                  <a:pt x="154" y="114"/>
                  <a:pt x="153" y="114"/>
                </a:cubicBezTo>
                <a:cubicBezTo>
                  <a:pt x="149" y="118"/>
                  <a:pt x="155" y="114"/>
                  <a:pt x="153" y="116"/>
                </a:cubicBezTo>
                <a:cubicBezTo>
                  <a:pt x="155" y="115"/>
                  <a:pt x="155" y="115"/>
                  <a:pt x="155" y="115"/>
                </a:cubicBezTo>
                <a:cubicBezTo>
                  <a:pt x="155" y="115"/>
                  <a:pt x="155" y="114"/>
                  <a:pt x="155" y="114"/>
                </a:cubicBezTo>
                <a:cubicBezTo>
                  <a:pt x="154" y="115"/>
                  <a:pt x="153" y="115"/>
                  <a:pt x="153" y="115"/>
                </a:cubicBezTo>
                <a:close/>
                <a:moveTo>
                  <a:pt x="132" y="105"/>
                </a:moveTo>
                <a:cubicBezTo>
                  <a:pt x="135" y="103"/>
                  <a:pt x="140" y="99"/>
                  <a:pt x="140" y="98"/>
                </a:cubicBezTo>
                <a:cubicBezTo>
                  <a:pt x="136" y="101"/>
                  <a:pt x="133" y="104"/>
                  <a:pt x="132" y="105"/>
                </a:cubicBezTo>
                <a:close/>
                <a:moveTo>
                  <a:pt x="158" y="134"/>
                </a:moveTo>
                <a:cubicBezTo>
                  <a:pt x="159" y="132"/>
                  <a:pt x="163" y="130"/>
                  <a:pt x="163" y="130"/>
                </a:cubicBezTo>
                <a:cubicBezTo>
                  <a:pt x="161" y="131"/>
                  <a:pt x="157" y="133"/>
                  <a:pt x="158" y="134"/>
                </a:cubicBezTo>
                <a:close/>
                <a:moveTo>
                  <a:pt x="149" y="141"/>
                </a:moveTo>
                <a:cubicBezTo>
                  <a:pt x="151" y="141"/>
                  <a:pt x="153" y="139"/>
                  <a:pt x="153" y="138"/>
                </a:cubicBezTo>
                <a:cubicBezTo>
                  <a:pt x="154" y="138"/>
                  <a:pt x="157" y="136"/>
                  <a:pt x="158" y="135"/>
                </a:cubicBezTo>
                <a:cubicBezTo>
                  <a:pt x="155" y="136"/>
                  <a:pt x="151" y="139"/>
                  <a:pt x="149" y="141"/>
                </a:cubicBezTo>
                <a:close/>
                <a:moveTo>
                  <a:pt x="132" y="110"/>
                </a:moveTo>
                <a:cubicBezTo>
                  <a:pt x="132" y="108"/>
                  <a:pt x="128" y="112"/>
                  <a:pt x="127" y="113"/>
                </a:cubicBezTo>
                <a:cubicBezTo>
                  <a:pt x="126" y="114"/>
                  <a:pt x="128" y="114"/>
                  <a:pt x="129" y="112"/>
                </a:cubicBezTo>
                <a:cubicBezTo>
                  <a:pt x="129" y="111"/>
                  <a:pt x="131" y="110"/>
                  <a:pt x="131" y="110"/>
                </a:cubicBezTo>
                <a:cubicBezTo>
                  <a:pt x="131" y="110"/>
                  <a:pt x="131" y="110"/>
                  <a:pt x="132" y="110"/>
                </a:cubicBezTo>
                <a:close/>
                <a:moveTo>
                  <a:pt x="137" y="153"/>
                </a:moveTo>
                <a:cubicBezTo>
                  <a:pt x="139" y="150"/>
                  <a:pt x="143" y="148"/>
                  <a:pt x="143" y="147"/>
                </a:cubicBezTo>
                <a:cubicBezTo>
                  <a:pt x="140" y="149"/>
                  <a:pt x="138" y="151"/>
                  <a:pt x="137" y="153"/>
                </a:cubicBezTo>
                <a:close/>
                <a:moveTo>
                  <a:pt x="105" y="131"/>
                </a:moveTo>
                <a:cubicBezTo>
                  <a:pt x="110" y="128"/>
                  <a:pt x="114" y="123"/>
                  <a:pt x="118" y="120"/>
                </a:cubicBezTo>
                <a:cubicBezTo>
                  <a:pt x="117" y="119"/>
                  <a:pt x="117" y="119"/>
                  <a:pt x="117" y="119"/>
                </a:cubicBezTo>
                <a:cubicBezTo>
                  <a:pt x="113" y="123"/>
                  <a:pt x="107" y="128"/>
                  <a:pt x="105" y="131"/>
                </a:cubicBezTo>
                <a:close/>
                <a:moveTo>
                  <a:pt x="144" y="153"/>
                </a:moveTo>
                <a:cubicBezTo>
                  <a:pt x="144" y="154"/>
                  <a:pt x="143" y="155"/>
                  <a:pt x="143" y="155"/>
                </a:cubicBezTo>
                <a:cubicBezTo>
                  <a:pt x="146" y="153"/>
                  <a:pt x="146" y="153"/>
                  <a:pt x="146" y="153"/>
                </a:cubicBezTo>
                <a:cubicBezTo>
                  <a:pt x="145" y="153"/>
                  <a:pt x="146" y="152"/>
                  <a:pt x="144" y="153"/>
                </a:cubicBezTo>
                <a:close/>
                <a:moveTo>
                  <a:pt x="124" y="137"/>
                </a:moveTo>
                <a:cubicBezTo>
                  <a:pt x="125" y="137"/>
                  <a:pt x="126" y="136"/>
                  <a:pt x="126" y="136"/>
                </a:cubicBezTo>
                <a:cubicBezTo>
                  <a:pt x="125" y="136"/>
                  <a:pt x="123" y="138"/>
                  <a:pt x="122" y="139"/>
                </a:cubicBezTo>
                <a:cubicBezTo>
                  <a:pt x="121" y="140"/>
                  <a:pt x="121" y="140"/>
                  <a:pt x="122" y="140"/>
                </a:cubicBezTo>
                <a:cubicBezTo>
                  <a:pt x="124" y="138"/>
                  <a:pt x="123" y="138"/>
                  <a:pt x="124" y="137"/>
                </a:cubicBezTo>
                <a:close/>
                <a:moveTo>
                  <a:pt x="112" y="136"/>
                </a:moveTo>
                <a:cubicBezTo>
                  <a:pt x="109" y="139"/>
                  <a:pt x="114" y="135"/>
                  <a:pt x="111" y="138"/>
                </a:cubicBezTo>
                <a:cubicBezTo>
                  <a:pt x="113" y="136"/>
                  <a:pt x="113" y="136"/>
                  <a:pt x="115" y="135"/>
                </a:cubicBezTo>
                <a:cubicBezTo>
                  <a:pt x="115" y="135"/>
                  <a:pt x="116" y="134"/>
                  <a:pt x="115" y="134"/>
                </a:cubicBezTo>
                <a:cubicBezTo>
                  <a:pt x="113" y="136"/>
                  <a:pt x="114" y="134"/>
                  <a:pt x="112" y="136"/>
                </a:cubicBezTo>
                <a:close/>
                <a:moveTo>
                  <a:pt x="125" y="156"/>
                </a:moveTo>
                <a:cubicBezTo>
                  <a:pt x="126" y="156"/>
                  <a:pt x="128" y="154"/>
                  <a:pt x="129" y="152"/>
                </a:cubicBezTo>
                <a:cubicBezTo>
                  <a:pt x="128" y="153"/>
                  <a:pt x="126" y="154"/>
                  <a:pt x="125" y="156"/>
                </a:cubicBezTo>
                <a:close/>
                <a:moveTo>
                  <a:pt x="113" y="150"/>
                </a:moveTo>
                <a:cubicBezTo>
                  <a:pt x="117" y="147"/>
                  <a:pt x="116" y="148"/>
                  <a:pt x="120" y="145"/>
                </a:cubicBezTo>
                <a:cubicBezTo>
                  <a:pt x="118" y="145"/>
                  <a:pt x="121" y="143"/>
                  <a:pt x="120" y="143"/>
                </a:cubicBezTo>
                <a:cubicBezTo>
                  <a:pt x="119" y="145"/>
                  <a:pt x="113" y="149"/>
                  <a:pt x="113" y="150"/>
                </a:cubicBezTo>
                <a:close/>
                <a:moveTo>
                  <a:pt x="112" y="138"/>
                </a:moveTo>
                <a:cubicBezTo>
                  <a:pt x="110" y="140"/>
                  <a:pt x="110" y="138"/>
                  <a:pt x="108" y="140"/>
                </a:cubicBezTo>
                <a:cubicBezTo>
                  <a:pt x="107" y="142"/>
                  <a:pt x="109" y="140"/>
                  <a:pt x="110" y="141"/>
                </a:cubicBezTo>
                <a:cubicBezTo>
                  <a:pt x="111" y="140"/>
                  <a:pt x="114" y="137"/>
                  <a:pt x="112" y="138"/>
                </a:cubicBezTo>
                <a:close/>
                <a:moveTo>
                  <a:pt x="96" y="141"/>
                </a:moveTo>
                <a:cubicBezTo>
                  <a:pt x="99" y="138"/>
                  <a:pt x="99" y="138"/>
                  <a:pt x="99" y="138"/>
                </a:cubicBezTo>
                <a:cubicBezTo>
                  <a:pt x="98" y="137"/>
                  <a:pt x="98" y="137"/>
                  <a:pt x="98" y="137"/>
                </a:cubicBezTo>
                <a:cubicBezTo>
                  <a:pt x="96" y="139"/>
                  <a:pt x="97" y="139"/>
                  <a:pt x="96" y="141"/>
                </a:cubicBezTo>
                <a:close/>
                <a:moveTo>
                  <a:pt x="119" y="170"/>
                </a:moveTo>
                <a:cubicBezTo>
                  <a:pt x="119" y="171"/>
                  <a:pt x="120" y="168"/>
                  <a:pt x="120" y="169"/>
                </a:cubicBezTo>
                <a:cubicBezTo>
                  <a:pt x="121" y="168"/>
                  <a:pt x="125" y="165"/>
                  <a:pt x="123" y="166"/>
                </a:cubicBezTo>
                <a:cubicBezTo>
                  <a:pt x="121" y="168"/>
                  <a:pt x="121" y="168"/>
                  <a:pt x="119" y="170"/>
                </a:cubicBezTo>
                <a:close/>
                <a:moveTo>
                  <a:pt x="111" y="161"/>
                </a:moveTo>
                <a:cubicBezTo>
                  <a:pt x="113" y="159"/>
                  <a:pt x="114" y="159"/>
                  <a:pt x="115" y="158"/>
                </a:cubicBezTo>
                <a:cubicBezTo>
                  <a:pt x="114" y="158"/>
                  <a:pt x="115" y="157"/>
                  <a:pt x="114" y="157"/>
                </a:cubicBezTo>
                <a:cubicBezTo>
                  <a:pt x="113" y="159"/>
                  <a:pt x="111" y="160"/>
                  <a:pt x="111" y="161"/>
                </a:cubicBezTo>
                <a:close/>
                <a:moveTo>
                  <a:pt x="85" y="151"/>
                </a:moveTo>
                <a:cubicBezTo>
                  <a:pt x="83" y="153"/>
                  <a:pt x="82" y="154"/>
                  <a:pt x="81" y="155"/>
                </a:cubicBezTo>
                <a:cubicBezTo>
                  <a:pt x="81" y="156"/>
                  <a:pt x="81" y="156"/>
                  <a:pt x="81" y="156"/>
                </a:cubicBezTo>
                <a:cubicBezTo>
                  <a:pt x="81" y="156"/>
                  <a:pt x="81" y="156"/>
                  <a:pt x="81" y="156"/>
                </a:cubicBezTo>
                <a:cubicBezTo>
                  <a:pt x="82" y="156"/>
                  <a:pt x="82" y="156"/>
                  <a:pt x="82" y="156"/>
                </a:cubicBezTo>
                <a:cubicBezTo>
                  <a:pt x="83" y="155"/>
                  <a:pt x="83" y="155"/>
                  <a:pt x="83" y="155"/>
                </a:cubicBezTo>
                <a:cubicBezTo>
                  <a:pt x="84" y="154"/>
                  <a:pt x="85" y="152"/>
                  <a:pt x="86" y="151"/>
                </a:cubicBezTo>
                <a:cubicBezTo>
                  <a:pt x="89" y="149"/>
                  <a:pt x="91" y="146"/>
                  <a:pt x="93" y="143"/>
                </a:cubicBezTo>
                <a:cubicBezTo>
                  <a:pt x="90" y="146"/>
                  <a:pt x="87" y="149"/>
                  <a:pt x="85" y="151"/>
                </a:cubicBezTo>
                <a:close/>
                <a:moveTo>
                  <a:pt x="88" y="156"/>
                </a:moveTo>
                <a:cubicBezTo>
                  <a:pt x="90" y="154"/>
                  <a:pt x="91" y="154"/>
                  <a:pt x="93" y="152"/>
                </a:cubicBezTo>
                <a:cubicBezTo>
                  <a:pt x="93" y="151"/>
                  <a:pt x="93" y="150"/>
                  <a:pt x="94" y="149"/>
                </a:cubicBezTo>
                <a:cubicBezTo>
                  <a:pt x="91" y="152"/>
                  <a:pt x="87" y="156"/>
                  <a:pt x="88" y="156"/>
                </a:cubicBezTo>
                <a:close/>
                <a:moveTo>
                  <a:pt x="86" y="154"/>
                </a:moveTo>
                <a:cubicBezTo>
                  <a:pt x="88" y="153"/>
                  <a:pt x="87" y="154"/>
                  <a:pt x="89" y="152"/>
                </a:cubicBezTo>
                <a:cubicBezTo>
                  <a:pt x="89" y="152"/>
                  <a:pt x="89" y="152"/>
                  <a:pt x="90" y="151"/>
                </a:cubicBezTo>
                <a:cubicBezTo>
                  <a:pt x="89" y="151"/>
                  <a:pt x="89" y="151"/>
                  <a:pt x="90" y="151"/>
                </a:cubicBezTo>
                <a:cubicBezTo>
                  <a:pt x="90" y="150"/>
                  <a:pt x="90" y="150"/>
                  <a:pt x="90" y="150"/>
                </a:cubicBezTo>
                <a:cubicBezTo>
                  <a:pt x="89" y="152"/>
                  <a:pt x="86" y="154"/>
                  <a:pt x="86" y="154"/>
                </a:cubicBezTo>
                <a:close/>
                <a:moveTo>
                  <a:pt x="96" y="160"/>
                </a:moveTo>
                <a:cubicBezTo>
                  <a:pt x="96" y="161"/>
                  <a:pt x="94" y="163"/>
                  <a:pt x="94" y="164"/>
                </a:cubicBezTo>
                <a:cubicBezTo>
                  <a:pt x="96" y="162"/>
                  <a:pt x="96" y="161"/>
                  <a:pt x="98" y="160"/>
                </a:cubicBezTo>
                <a:cubicBezTo>
                  <a:pt x="97" y="159"/>
                  <a:pt x="97" y="160"/>
                  <a:pt x="96" y="160"/>
                </a:cubicBezTo>
                <a:close/>
                <a:moveTo>
                  <a:pt x="95" y="158"/>
                </a:moveTo>
                <a:cubicBezTo>
                  <a:pt x="95" y="158"/>
                  <a:pt x="95" y="158"/>
                  <a:pt x="95" y="158"/>
                </a:cubicBezTo>
                <a:cubicBezTo>
                  <a:pt x="93" y="159"/>
                  <a:pt x="94" y="159"/>
                  <a:pt x="92" y="160"/>
                </a:cubicBezTo>
                <a:cubicBezTo>
                  <a:pt x="93" y="161"/>
                  <a:pt x="93" y="161"/>
                  <a:pt x="93" y="161"/>
                </a:cubicBezTo>
                <a:cubicBezTo>
                  <a:pt x="94" y="159"/>
                  <a:pt x="94" y="160"/>
                  <a:pt x="95" y="158"/>
                </a:cubicBezTo>
                <a:close/>
                <a:moveTo>
                  <a:pt x="85" y="163"/>
                </a:moveTo>
                <a:cubicBezTo>
                  <a:pt x="86" y="162"/>
                  <a:pt x="86" y="162"/>
                  <a:pt x="86" y="162"/>
                </a:cubicBezTo>
                <a:cubicBezTo>
                  <a:pt x="86" y="162"/>
                  <a:pt x="85" y="162"/>
                  <a:pt x="85" y="163"/>
                </a:cubicBezTo>
                <a:close/>
                <a:moveTo>
                  <a:pt x="91" y="167"/>
                </a:moveTo>
                <a:cubicBezTo>
                  <a:pt x="91" y="167"/>
                  <a:pt x="91" y="167"/>
                  <a:pt x="91" y="168"/>
                </a:cubicBezTo>
                <a:cubicBezTo>
                  <a:pt x="92" y="168"/>
                  <a:pt x="92" y="168"/>
                  <a:pt x="92" y="167"/>
                </a:cubicBezTo>
                <a:cubicBezTo>
                  <a:pt x="92" y="167"/>
                  <a:pt x="92" y="167"/>
                  <a:pt x="92" y="167"/>
                </a:cubicBezTo>
                <a:cubicBezTo>
                  <a:pt x="92" y="167"/>
                  <a:pt x="91" y="166"/>
                  <a:pt x="91" y="167"/>
                </a:cubicBezTo>
                <a:close/>
                <a:moveTo>
                  <a:pt x="101" y="179"/>
                </a:moveTo>
                <a:cubicBezTo>
                  <a:pt x="101" y="179"/>
                  <a:pt x="101" y="179"/>
                  <a:pt x="102" y="180"/>
                </a:cubicBezTo>
                <a:cubicBezTo>
                  <a:pt x="102" y="179"/>
                  <a:pt x="102" y="178"/>
                  <a:pt x="103" y="178"/>
                </a:cubicBezTo>
                <a:cubicBezTo>
                  <a:pt x="103" y="178"/>
                  <a:pt x="103" y="178"/>
                  <a:pt x="103" y="177"/>
                </a:cubicBezTo>
                <a:cubicBezTo>
                  <a:pt x="102" y="178"/>
                  <a:pt x="102" y="178"/>
                  <a:pt x="101" y="179"/>
                </a:cubicBezTo>
                <a:close/>
                <a:moveTo>
                  <a:pt x="111" y="187"/>
                </a:moveTo>
                <a:cubicBezTo>
                  <a:pt x="111" y="188"/>
                  <a:pt x="112" y="187"/>
                  <a:pt x="112" y="187"/>
                </a:cubicBezTo>
                <a:cubicBezTo>
                  <a:pt x="111" y="187"/>
                  <a:pt x="112" y="187"/>
                  <a:pt x="112" y="186"/>
                </a:cubicBezTo>
                <a:cubicBezTo>
                  <a:pt x="111" y="186"/>
                  <a:pt x="112" y="187"/>
                  <a:pt x="111" y="187"/>
                </a:cubicBezTo>
                <a:close/>
                <a:moveTo>
                  <a:pt x="100" y="178"/>
                </a:moveTo>
                <a:cubicBezTo>
                  <a:pt x="100" y="179"/>
                  <a:pt x="101" y="179"/>
                  <a:pt x="101" y="178"/>
                </a:cubicBezTo>
                <a:cubicBezTo>
                  <a:pt x="101" y="178"/>
                  <a:pt x="101" y="178"/>
                  <a:pt x="101" y="178"/>
                </a:cubicBezTo>
                <a:cubicBezTo>
                  <a:pt x="101" y="178"/>
                  <a:pt x="101" y="178"/>
                  <a:pt x="101" y="178"/>
                </a:cubicBezTo>
                <a:cubicBezTo>
                  <a:pt x="101" y="178"/>
                  <a:pt x="100" y="178"/>
                  <a:pt x="100" y="178"/>
                </a:cubicBezTo>
                <a:close/>
                <a:moveTo>
                  <a:pt x="101" y="180"/>
                </a:moveTo>
                <a:cubicBezTo>
                  <a:pt x="101" y="179"/>
                  <a:pt x="101" y="181"/>
                  <a:pt x="102" y="180"/>
                </a:cubicBezTo>
                <a:cubicBezTo>
                  <a:pt x="102" y="180"/>
                  <a:pt x="101" y="179"/>
                  <a:pt x="101" y="179"/>
                </a:cubicBezTo>
                <a:cubicBezTo>
                  <a:pt x="101" y="179"/>
                  <a:pt x="100" y="180"/>
                  <a:pt x="101" y="180"/>
                </a:cubicBezTo>
                <a:close/>
                <a:moveTo>
                  <a:pt x="76" y="157"/>
                </a:moveTo>
                <a:cubicBezTo>
                  <a:pt x="76" y="157"/>
                  <a:pt x="77" y="156"/>
                  <a:pt x="76" y="156"/>
                </a:cubicBezTo>
                <a:cubicBezTo>
                  <a:pt x="76" y="156"/>
                  <a:pt x="76" y="157"/>
                  <a:pt x="76" y="157"/>
                </a:cubicBezTo>
                <a:close/>
                <a:moveTo>
                  <a:pt x="99" y="179"/>
                </a:moveTo>
                <a:cubicBezTo>
                  <a:pt x="99" y="178"/>
                  <a:pt x="100" y="180"/>
                  <a:pt x="100" y="179"/>
                </a:cubicBezTo>
                <a:cubicBezTo>
                  <a:pt x="99" y="179"/>
                  <a:pt x="100" y="179"/>
                  <a:pt x="100" y="178"/>
                </a:cubicBezTo>
                <a:cubicBezTo>
                  <a:pt x="100" y="178"/>
                  <a:pt x="99" y="179"/>
                  <a:pt x="99" y="179"/>
                </a:cubicBezTo>
                <a:close/>
                <a:moveTo>
                  <a:pt x="104" y="186"/>
                </a:moveTo>
                <a:cubicBezTo>
                  <a:pt x="105" y="185"/>
                  <a:pt x="105" y="185"/>
                  <a:pt x="105" y="185"/>
                </a:cubicBezTo>
                <a:cubicBezTo>
                  <a:pt x="105" y="184"/>
                  <a:pt x="104" y="185"/>
                  <a:pt x="104" y="186"/>
                </a:cubicBezTo>
                <a:close/>
                <a:moveTo>
                  <a:pt x="100" y="181"/>
                </a:moveTo>
                <a:cubicBezTo>
                  <a:pt x="100" y="181"/>
                  <a:pt x="100" y="181"/>
                  <a:pt x="100" y="181"/>
                </a:cubicBezTo>
                <a:cubicBezTo>
                  <a:pt x="100" y="181"/>
                  <a:pt x="100" y="181"/>
                  <a:pt x="100" y="181"/>
                </a:cubicBezTo>
                <a:cubicBezTo>
                  <a:pt x="100" y="181"/>
                  <a:pt x="101" y="181"/>
                  <a:pt x="101" y="181"/>
                </a:cubicBezTo>
                <a:cubicBezTo>
                  <a:pt x="100" y="181"/>
                  <a:pt x="100" y="180"/>
                  <a:pt x="100" y="181"/>
                </a:cubicBezTo>
                <a:close/>
                <a:moveTo>
                  <a:pt x="108" y="192"/>
                </a:moveTo>
                <a:cubicBezTo>
                  <a:pt x="108" y="191"/>
                  <a:pt x="109" y="190"/>
                  <a:pt x="109" y="190"/>
                </a:cubicBezTo>
                <a:cubicBezTo>
                  <a:pt x="108" y="191"/>
                  <a:pt x="107" y="191"/>
                  <a:pt x="108" y="192"/>
                </a:cubicBezTo>
                <a:close/>
                <a:moveTo>
                  <a:pt x="76" y="161"/>
                </a:moveTo>
                <a:cubicBezTo>
                  <a:pt x="76" y="161"/>
                  <a:pt x="77" y="162"/>
                  <a:pt x="77" y="161"/>
                </a:cubicBezTo>
                <a:cubicBezTo>
                  <a:pt x="77" y="161"/>
                  <a:pt x="77" y="161"/>
                  <a:pt x="77" y="161"/>
                </a:cubicBezTo>
                <a:cubicBezTo>
                  <a:pt x="77" y="161"/>
                  <a:pt x="78" y="161"/>
                  <a:pt x="77" y="161"/>
                </a:cubicBezTo>
                <a:cubicBezTo>
                  <a:pt x="77" y="161"/>
                  <a:pt x="77" y="161"/>
                  <a:pt x="76" y="161"/>
                </a:cubicBezTo>
                <a:close/>
                <a:moveTo>
                  <a:pt x="99" y="182"/>
                </a:moveTo>
                <a:cubicBezTo>
                  <a:pt x="99" y="182"/>
                  <a:pt x="99" y="182"/>
                  <a:pt x="99" y="182"/>
                </a:cubicBezTo>
                <a:cubicBezTo>
                  <a:pt x="100" y="182"/>
                  <a:pt x="100" y="182"/>
                  <a:pt x="100" y="181"/>
                </a:cubicBezTo>
                <a:cubicBezTo>
                  <a:pt x="99" y="181"/>
                  <a:pt x="99" y="182"/>
                  <a:pt x="99" y="182"/>
                </a:cubicBezTo>
                <a:close/>
                <a:moveTo>
                  <a:pt x="102" y="184"/>
                </a:moveTo>
                <a:cubicBezTo>
                  <a:pt x="102" y="184"/>
                  <a:pt x="102" y="185"/>
                  <a:pt x="102" y="185"/>
                </a:cubicBezTo>
                <a:cubicBezTo>
                  <a:pt x="102" y="185"/>
                  <a:pt x="102" y="185"/>
                  <a:pt x="102" y="185"/>
                </a:cubicBezTo>
                <a:cubicBezTo>
                  <a:pt x="102" y="185"/>
                  <a:pt x="103" y="185"/>
                  <a:pt x="103" y="184"/>
                </a:cubicBezTo>
                <a:cubicBezTo>
                  <a:pt x="103" y="185"/>
                  <a:pt x="102" y="184"/>
                  <a:pt x="102" y="184"/>
                </a:cubicBezTo>
                <a:close/>
                <a:moveTo>
                  <a:pt x="103" y="187"/>
                </a:moveTo>
                <a:cubicBezTo>
                  <a:pt x="104" y="186"/>
                  <a:pt x="104" y="186"/>
                  <a:pt x="104" y="185"/>
                </a:cubicBezTo>
                <a:cubicBezTo>
                  <a:pt x="104" y="186"/>
                  <a:pt x="103" y="186"/>
                  <a:pt x="103" y="187"/>
                </a:cubicBezTo>
                <a:close/>
                <a:moveTo>
                  <a:pt x="99" y="185"/>
                </a:moveTo>
                <a:cubicBezTo>
                  <a:pt x="99" y="185"/>
                  <a:pt x="100" y="185"/>
                  <a:pt x="100" y="185"/>
                </a:cubicBezTo>
                <a:cubicBezTo>
                  <a:pt x="100" y="185"/>
                  <a:pt x="101" y="185"/>
                  <a:pt x="101" y="186"/>
                </a:cubicBezTo>
                <a:cubicBezTo>
                  <a:pt x="102" y="186"/>
                  <a:pt x="100" y="184"/>
                  <a:pt x="102" y="184"/>
                </a:cubicBezTo>
                <a:cubicBezTo>
                  <a:pt x="101" y="184"/>
                  <a:pt x="101" y="184"/>
                  <a:pt x="101" y="183"/>
                </a:cubicBezTo>
                <a:cubicBezTo>
                  <a:pt x="100" y="184"/>
                  <a:pt x="99" y="184"/>
                  <a:pt x="99" y="185"/>
                </a:cubicBezTo>
                <a:close/>
                <a:moveTo>
                  <a:pt x="84" y="169"/>
                </a:moveTo>
                <a:cubicBezTo>
                  <a:pt x="84" y="169"/>
                  <a:pt x="85" y="169"/>
                  <a:pt x="85" y="168"/>
                </a:cubicBezTo>
                <a:cubicBezTo>
                  <a:pt x="85" y="169"/>
                  <a:pt x="84" y="169"/>
                  <a:pt x="84" y="169"/>
                </a:cubicBezTo>
                <a:close/>
                <a:moveTo>
                  <a:pt x="97" y="181"/>
                </a:moveTo>
                <a:cubicBezTo>
                  <a:pt x="98" y="181"/>
                  <a:pt x="97" y="182"/>
                  <a:pt x="98" y="182"/>
                </a:cubicBezTo>
                <a:cubicBezTo>
                  <a:pt x="98" y="181"/>
                  <a:pt x="98" y="181"/>
                  <a:pt x="98" y="181"/>
                </a:cubicBezTo>
                <a:cubicBezTo>
                  <a:pt x="98" y="181"/>
                  <a:pt x="98" y="181"/>
                  <a:pt x="97" y="181"/>
                </a:cubicBezTo>
                <a:close/>
                <a:moveTo>
                  <a:pt x="105" y="194"/>
                </a:moveTo>
                <a:cubicBezTo>
                  <a:pt x="106" y="194"/>
                  <a:pt x="106" y="192"/>
                  <a:pt x="107" y="192"/>
                </a:cubicBezTo>
                <a:cubicBezTo>
                  <a:pt x="107" y="192"/>
                  <a:pt x="107" y="192"/>
                  <a:pt x="107" y="192"/>
                </a:cubicBezTo>
                <a:cubicBezTo>
                  <a:pt x="106" y="192"/>
                  <a:pt x="105" y="193"/>
                  <a:pt x="105" y="194"/>
                </a:cubicBezTo>
                <a:close/>
                <a:moveTo>
                  <a:pt x="91" y="184"/>
                </a:moveTo>
                <a:cubicBezTo>
                  <a:pt x="92" y="184"/>
                  <a:pt x="91" y="185"/>
                  <a:pt x="91" y="185"/>
                </a:cubicBezTo>
                <a:cubicBezTo>
                  <a:pt x="92" y="185"/>
                  <a:pt x="92" y="184"/>
                  <a:pt x="93" y="184"/>
                </a:cubicBezTo>
                <a:cubicBezTo>
                  <a:pt x="92" y="184"/>
                  <a:pt x="92" y="184"/>
                  <a:pt x="92" y="183"/>
                </a:cubicBezTo>
                <a:cubicBezTo>
                  <a:pt x="92" y="184"/>
                  <a:pt x="92" y="184"/>
                  <a:pt x="91" y="184"/>
                </a:cubicBezTo>
                <a:close/>
                <a:moveTo>
                  <a:pt x="72" y="169"/>
                </a:moveTo>
                <a:cubicBezTo>
                  <a:pt x="73" y="170"/>
                  <a:pt x="73" y="170"/>
                  <a:pt x="73" y="170"/>
                </a:cubicBezTo>
                <a:cubicBezTo>
                  <a:pt x="73" y="169"/>
                  <a:pt x="75" y="168"/>
                  <a:pt x="74" y="167"/>
                </a:cubicBezTo>
                <a:cubicBezTo>
                  <a:pt x="73" y="168"/>
                  <a:pt x="73" y="169"/>
                  <a:pt x="72" y="169"/>
                </a:cubicBezTo>
                <a:close/>
                <a:moveTo>
                  <a:pt x="74" y="170"/>
                </a:moveTo>
                <a:cubicBezTo>
                  <a:pt x="75" y="170"/>
                  <a:pt x="76" y="169"/>
                  <a:pt x="76" y="168"/>
                </a:cubicBezTo>
                <a:cubicBezTo>
                  <a:pt x="75" y="169"/>
                  <a:pt x="74" y="170"/>
                  <a:pt x="74" y="170"/>
                </a:cubicBezTo>
                <a:close/>
                <a:moveTo>
                  <a:pt x="88" y="184"/>
                </a:moveTo>
                <a:cubicBezTo>
                  <a:pt x="89" y="185"/>
                  <a:pt x="89" y="185"/>
                  <a:pt x="89" y="185"/>
                </a:cubicBezTo>
                <a:cubicBezTo>
                  <a:pt x="90" y="184"/>
                  <a:pt x="90" y="184"/>
                  <a:pt x="90" y="183"/>
                </a:cubicBezTo>
                <a:cubicBezTo>
                  <a:pt x="90" y="183"/>
                  <a:pt x="89" y="184"/>
                  <a:pt x="88" y="184"/>
                </a:cubicBezTo>
                <a:close/>
                <a:moveTo>
                  <a:pt x="71" y="168"/>
                </a:moveTo>
                <a:cubicBezTo>
                  <a:pt x="71" y="168"/>
                  <a:pt x="71" y="167"/>
                  <a:pt x="71" y="167"/>
                </a:cubicBezTo>
                <a:cubicBezTo>
                  <a:pt x="71" y="167"/>
                  <a:pt x="71" y="168"/>
                  <a:pt x="71" y="168"/>
                </a:cubicBezTo>
                <a:close/>
                <a:moveTo>
                  <a:pt x="89" y="187"/>
                </a:moveTo>
                <a:cubicBezTo>
                  <a:pt x="90" y="188"/>
                  <a:pt x="90" y="187"/>
                  <a:pt x="90" y="187"/>
                </a:cubicBezTo>
                <a:cubicBezTo>
                  <a:pt x="91" y="187"/>
                  <a:pt x="91" y="186"/>
                  <a:pt x="91" y="186"/>
                </a:cubicBezTo>
                <a:cubicBezTo>
                  <a:pt x="90" y="186"/>
                  <a:pt x="90" y="187"/>
                  <a:pt x="89" y="186"/>
                </a:cubicBezTo>
                <a:cubicBezTo>
                  <a:pt x="89" y="186"/>
                  <a:pt x="90" y="187"/>
                  <a:pt x="89" y="187"/>
                </a:cubicBezTo>
                <a:close/>
                <a:moveTo>
                  <a:pt x="84" y="182"/>
                </a:moveTo>
                <a:cubicBezTo>
                  <a:pt x="84" y="182"/>
                  <a:pt x="85" y="180"/>
                  <a:pt x="84" y="180"/>
                </a:cubicBezTo>
                <a:cubicBezTo>
                  <a:pt x="84" y="181"/>
                  <a:pt x="83" y="181"/>
                  <a:pt x="84" y="182"/>
                </a:cubicBezTo>
                <a:close/>
                <a:moveTo>
                  <a:pt x="72" y="173"/>
                </a:moveTo>
                <a:cubicBezTo>
                  <a:pt x="72" y="173"/>
                  <a:pt x="73" y="173"/>
                  <a:pt x="73" y="173"/>
                </a:cubicBezTo>
                <a:cubicBezTo>
                  <a:pt x="73" y="173"/>
                  <a:pt x="73" y="173"/>
                  <a:pt x="73" y="172"/>
                </a:cubicBezTo>
                <a:cubicBezTo>
                  <a:pt x="72" y="172"/>
                  <a:pt x="75" y="172"/>
                  <a:pt x="74" y="171"/>
                </a:cubicBezTo>
                <a:cubicBezTo>
                  <a:pt x="73" y="171"/>
                  <a:pt x="73" y="172"/>
                  <a:pt x="72" y="173"/>
                </a:cubicBezTo>
                <a:close/>
                <a:moveTo>
                  <a:pt x="97" y="197"/>
                </a:moveTo>
                <a:cubicBezTo>
                  <a:pt x="98" y="196"/>
                  <a:pt x="99" y="195"/>
                  <a:pt x="99" y="194"/>
                </a:cubicBezTo>
                <a:cubicBezTo>
                  <a:pt x="99" y="195"/>
                  <a:pt x="97" y="195"/>
                  <a:pt x="97" y="197"/>
                </a:cubicBezTo>
                <a:close/>
                <a:moveTo>
                  <a:pt x="69" y="174"/>
                </a:moveTo>
                <a:cubicBezTo>
                  <a:pt x="70" y="173"/>
                  <a:pt x="71" y="172"/>
                  <a:pt x="72" y="171"/>
                </a:cubicBezTo>
                <a:cubicBezTo>
                  <a:pt x="72" y="170"/>
                  <a:pt x="72" y="170"/>
                  <a:pt x="72" y="170"/>
                </a:cubicBezTo>
                <a:cubicBezTo>
                  <a:pt x="71" y="172"/>
                  <a:pt x="69" y="172"/>
                  <a:pt x="69" y="174"/>
                </a:cubicBezTo>
                <a:close/>
                <a:moveTo>
                  <a:pt x="91" y="189"/>
                </a:moveTo>
                <a:cubicBezTo>
                  <a:pt x="91" y="189"/>
                  <a:pt x="92" y="189"/>
                  <a:pt x="91" y="188"/>
                </a:cubicBezTo>
                <a:cubicBezTo>
                  <a:pt x="91" y="189"/>
                  <a:pt x="90" y="189"/>
                  <a:pt x="91" y="189"/>
                </a:cubicBezTo>
                <a:close/>
                <a:moveTo>
                  <a:pt x="69" y="171"/>
                </a:moveTo>
                <a:cubicBezTo>
                  <a:pt x="69" y="170"/>
                  <a:pt x="70" y="169"/>
                  <a:pt x="70" y="169"/>
                </a:cubicBezTo>
                <a:cubicBezTo>
                  <a:pt x="69" y="169"/>
                  <a:pt x="68" y="170"/>
                  <a:pt x="69" y="171"/>
                </a:cubicBezTo>
                <a:close/>
                <a:moveTo>
                  <a:pt x="67" y="172"/>
                </a:moveTo>
                <a:cubicBezTo>
                  <a:pt x="68" y="173"/>
                  <a:pt x="68" y="172"/>
                  <a:pt x="68" y="171"/>
                </a:cubicBezTo>
                <a:lnTo>
                  <a:pt x="67" y="172"/>
                </a:lnTo>
                <a:close/>
                <a:moveTo>
                  <a:pt x="96" y="198"/>
                </a:moveTo>
                <a:cubicBezTo>
                  <a:pt x="97" y="198"/>
                  <a:pt x="97" y="197"/>
                  <a:pt x="97" y="197"/>
                </a:cubicBezTo>
                <a:cubicBezTo>
                  <a:pt x="96" y="197"/>
                  <a:pt x="96" y="198"/>
                  <a:pt x="96" y="198"/>
                </a:cubicBezTo>
                <a:close/>
                <a:moveTo>
                  <a:pt x="75" y="181"/>
                </a:moveTo>
                <a:cubicBezTo>
                  <a:pt x="76" y="181"/>
                  <a:pt x="77" y="180"/>
                  <a:pt x="76" y="180"/>
                </a:cubicBezTo>
                <a:cubicBezTo>
                  <a:pt x="76" y="180"/>
                  <a:pt x="75" y="181"/>
                  <a:pt x="75" y="181"/>
                </a:cubicBezTo>
                <a:close/>
                <a:moveTo>
                  <a:pt x="90" y="195"/>
                </a:moveTo>
                <a:cubicBezTo>
                  <a:pt x="91" y="196"/>
                  <a:pt x="91" y="194"/>
                  <a:pt x="92" y="194"/>
                </a:cubicBezTo>
                <a:cubicBezTo>
                  <a:pt x="92" y="194"/>
                  <a:pt x="92" y="194"/>
                  <a:pt x="91" y="193"/>
                </a:cubicBezTo>
                <a:cubicBezTo>
                  <a:pt x="91" y="194"/>
                  <a:pt x="91" y="195"/>
                  <a:pt x="90" y="195"/>
                </a:cubicBezTo>
                <a:close/>
                <a:moveTo>
                  <a:pt x="65" y="173"/>
                </a:moveTo>
                <a:cubicBezTo>
                  <a:pt x="66" y="173"/>
                  <a:pt x="66" y="172"/>
                  <a:pt x="66" y="172"/>
                </a:cubicBezTo>
                <a:cubicBezTo>
                  <a:pt x="66" y="172"/>
                  <a:pt x="65" y="173"/>
                  <a:pt x="65" y="173"/>
                </a:cubicBezTo>
                <a:close/>
                <a:moveTo>
                  <a:pt x="67" y="176"/>
                </a:moveTo>
                <a:cubicBezTo>
                  <a:pt x="68" y="177"/>
                  <a:pt x="69" y="175"/>
                  <a:pt x="68" y="175"/>
                </a:cubicBezTo>
                <a:cubicBezTo>
                  <a:pt x="68" y="176"/>
                  <a:pt x="67" y="176"/>
                  <a:pt x="67" y="176"/>
                </a:cubicBezTo>
                <a:close/>
                <a:moveTo>
                  <a:pt x="70" y="178"/>
                </a:moveTo>
                <a:cubicBezTo>
                  <a:pt x="70" y="179"/>
                  <a:pt x="70" y="178"/>
                  <a:pt x="70" y="177"/>
                </a:cubicBezTo>
                <a:cubicBezTo>
                  <a:pt x="70" y="177"/>
                  <a:pt x="70" y="178"/>
                  <a:pt x="70" y="178"/>
                </a:cubicBezTo>
                <a:close/>
                <a:moveTo>
                  <a:pt x="88" y="196"/>
                </a:moveTo>
                <a:cubicBezTo>
                  <a:pt x="89" y="196"/>
                  <a:pt x="90" y="195"/>
                  <a:pt x="89" y="194"/>
                </a:cubicBezTo>
                <a:cubicBezTo>
                  <a:pt x="89" y="196"/>
                  <a:pt x="87" y="195"/>
                  <a:pt x="88" y="196"/>
                </a:cubicBezTo>
                <a:close/>
                <a:moveTo>
                  <a:pt x="63" y="174"/>
                </a:moveTo>
                <a:cubicBezTo>
                  <a:pt x="63" y="174"/>
                  <a:pt x="63" y="174"/>
                  <a:pt x="63" y="174"/>
                </a:cubicBezTo>
                <a:cubicBezTo>
                  <a:pt x="64" y="174"/>
                  <a:pt x="64" y="173"/>
                  <a:pt x="64" y="172"/>
                </a:cubicBezTo>
                <a:cubicBezTo>
                  <a:pt x="64" y="172"/>
                  <a:pt x="64" y="173"/>
                  <a:pt x="63" y="174"/>
                </a:cubicBezTo>
                <a:close/>
                <a:moveTo>
                  <a:pt x="87" y="195"/>
                </a:moveTo>
                <a:cubicBezTo>
                  <a:pt x="87" y="194"/>
                  <a:pt x="87" y="194"/>
                  <a:pt x="88" y="194"/>
                </a:cubicBezTo>
                <a:cubicBezTo>
                  <a:pt x="87" y="193"/>
                  <a:pt x="87" y="193"/>
                  <a:pt x="87" y="193"/>
                </a:cubicBezTo>
                <a:cubicBezTo>
                  <a:pt x="87" y="194"/>
                  <a:pt x="86" y="194"/>
                  <a:pt x="87" y="195"/>
                </a:cubicBezTo>
                <a:close/>
                <a:moveTo>
                  <a:pt x="89" y="196"/>
                </a:moveTo>
                <a:cubicBezTo>
                  <a:pt x="89" y="196"/>
                  <a:pt x="90" y="197"/>
                  <a:pt x="90" y="197"/>
                </a:cubicBezTo>
                <a:cubicBezTo>
                  <a:pt x="90" y="196"/>
                  <a:pt x="90" y="196"/>
                  <a:pt x="89" y="196"/>
                </a:cubicBezTo>
                <a:close/>
                <a:moveTo>
                  <a:pt x="70" y="180"/>
                </a:moveTo>
                <a:cubicBezTo>
                  <a:pt x="70" y="180"/>
                  <a:pt x="70" y="180"/>
                  <a:pt x="70" y="179"/>
                </a:cubicBezTo>
                <a:cubicBezTo>
                  <a:pt x="70" y="179"/>
                  <a:pt x="69" y="179"/>
                  <a:pt x="69" y="180"/>
                </a:cubicBezTo>
                <a:cubicBezTo>
                  <a:pt x="69" y="180"/>
                  <a:pt x="69" y="180"/>
                  <a:pt x="70" y="180"/>
                </a:cubicBezTo>
                <a:close/>
                <a:moveTo>
                  <a:pt x="63" y="175"/>
                </a:moveTo>
                <a:cubicBezTo>
                  <a:pt x="62" y="175"/>
                  <a:pt x="61" y="176"/>
                  <a:pt x="61" y="177"/>
                </a:cubicBezTo>
                <a:cubicBezTo>
                  <a:pt x="62" y="177"/>
                  <a:pt x="63" y="175"/>
                  <a:pt x="63" y="174"/>
                </a:cubicBezTo>
                <a:cubicBezTo>
                  <a:pt x="63" y="174"/>
                  <a:pt x="63" y="175"/>
                  <a:pt x="63" y="175"/>
                </a:cubicBezTo>
                <a:close/>
                <a:moveTo>
                  <a:pt x="88" y="201"/>
                </a:moveTo>
                <a:cubicBezTo>
                  <a:pt x="88" y="202"/>
                  <a:pt x="88" y="202"/>
                  <a:pt x="89" y="202"/>
                </a:cubicBezTo>
                <a:cubicBezTo>
                  <a:pt x="89" y="201"/>
                  <a:pt x="89" y="201"/>
                  <a:pt x="90" y="200"/>
                </a:cubicBezTo>
                <a:cubicBezTo>
                  <a:pt x="90" y="200"/>
                  <a:pt x="90" y="200"/>
                  <a:pt x="90" y="199"/>
                </a:cubicBezTo>
                <a:cubicBezTo>
                  <a:pt x="90" y="199"/>
                  <a:pt x="90" y="199"/>
                  <a:pt x="90" y="199"/>
                </a:cubicBezTo>
                <a:cubicBezTo>
                  <a:pt x="89" y="200"/>
                  <a:pt x="89" y="201"/>
                  <a:pt x="88" y="201"/>
                </a:cubicBezTo>
                <a:close/>
                <a:moveTo>
                  <a:pt x="92" y="203"/>
                </a:moveTo>
                <a:cubicBezTo>
                  <a:pt x="92" y="203"/>
                  <a:pt x="93" y="202"/>
                  <a:pt x="93" y="202"/>
                </a:cubicBezTo>
                <a:cubicBezTo>
                  <a:pt x="92" y="202"/>
                  <a:pt x="92" y="202"/>
                  <a:pt x="92" y="203"/>
                </a:cubicBezTo>
                <a:close/>
                <a:moveTo>
                  <a:pt x="62" y="177"/>
                </a:moveTo>
                <a:cubicBezTo>
                  <a:pt x="62" y="177"/>
                  <a:pt x="63" y="177"/>
                  <a:pt x="63" y="176"/>
                </a:cubicBezTo>
                <a:cubicBezTo>
                  <a:pt x="62" y="176"/>
                  <a:pt x="62" y="177"/>
                  <a:pt x="62" y="177"/>
                </a:cubicBezTo>
                <a:close/>
                <a:moveTo>
                  <a:pt x="62" y="177"/>
                </a:moveTo>
                <a:cubicBezTo>
                  <a:pt x="62" y="178"/>
                  <a:pt x="63" y="178"/>
                  <a:pt x="63" y="178"/>
                </a:cubicBezTo>
                <a:cubicBezTo>
                  <a:pt x="63" y="177"/>
                  <a:pt x="63" y="177"/>
                  <a:pt x="62" y="177"/>
                </a:cubicBezTo>
                <a:close/>
                <a:moveTo>
                  <a:pt x="90" y="205"/>
                </a:moveTo>
                <a:cubicBezTo>
                  <a:pt x="90" y="205"/>
                  <a:pt x="92" y="204"/>
                  <a:pt x="91" y="203"/>
                </a:cubicBezTo>
                <a:cubicBezTo>
                  <a:pt x="91" y="203"/>
                  <a:pt x="90" y="204"/>
                  <a:pt x="90" y="205"/>
                </a:cubicBezTo>
                <a:close/>
                <a:moveTo>
                  <a:pt x="89" y="203"/>
                </a:moveTo>
                <a:cubicBezTo>
                  <a:pt x="90" y="204"/>
                  <a:pt x="91" y="202"/>
                  <a:pt x="90" y="202"/>
                </a:cubicBezTo>
                <a:cubicBezTo>
                  <a:pt x="90" y="203"/>
                  <a:pt x="90" y="203"/>
                  <a:pt x="89" y="203"/>
                </a:cubicBezTo>
                <a:close/>
                <a:moveTo>
                  <a:pt x="78" y="193"/>
                </a:moveTo>
                <a:cubicBezTo>
                  <a:pt x="76" y="194"/>
                  <a:pt x="79" y="195"/>
                  <a:pt x="78" y="196"/>
                </a:cubicBezTo>
                <a:cubicBezTo>
                  <a:pt x="79" y="196"/>
                  <a:pt x="80" y="194"/>
                  <a:pt x="80" y="194"/>
                </a:cubicBezTo>
                <a:cubicBezTo>
                  <a:pt x="79" y="195"/>
                  <a:pt x="78" y="194"/>
                  <a:pt x="78" y="193"/>
                </a:cubicBezTo>
                <a:close/>
                <a:moveTo>
                  <a:pt x="70" y="188"/>
                </a:moveTo>
                <a:cubicBezTo>
                  <a:pt x="69" y="188"/>
                  <a:pt x="70" y="188"/>
                  <a:pt x="69" y="188"/>
                </a:cubicBezTo>
                <a:cubicBezTo>
                  <a:pt x="69" y="189"/>
                  <a:pt x="67" y="189"/>
                  <a:pt x="68" y="190"/>
                </a:cubicBezTo>
                <a:cubicBezTo>
                  <a:pt x="68" y="189"/>
                  <a:pt x="70" y="190"/>
                  <a:pt x="70" y="188"/>
                </a:cubicBezTo>
                <a:cubicBezTo>
                  <a:pt x="70" y="188"/>
                  <a:pt x="70" y="188"/>
                  <a:pt x="70" y="188"/>
                </a:cubicBezTo>
                <a:close/>
                <a:moveTo>
                  <a:pt x="66" y="185"/>
                </a:moveTo>
                <a:cubicBezTo>
                  <a:pt x="65" y="185"/>
                  <a:pt x="65" y="185"/>
                  <a:pt x="66" y="186"/>
                </a:cubicBezTo>
                <a:cubicBezTo>
                  <a:pt x="66" y="185"/>
                  <a:pt x="66" y="184"/>
                  <a:pt x="66" y="185"/>
                </a:cubicBezTo>
                <a:close/>
                <a:moveTo>
                  <a:pt x="79" y="199"/>
                </a:moveTo>
                <a:cubicBezTo>
                  <a:pt x="80" y="199"/>
                  <a:pt x="81" y="198"/>
                  <a:pt x="81" y="198"/>
                </a:cubicBezTo>
                <a:cubicBezTo>
                  <a:pt x="80" y="198"/>
                  <a:pt x="79" y="199"/>
                  <a:pt x="79" y="199"/>
                </a:cubicBezTo>
                <a:close/>
                <a:moveTo>
                  <a:pt x="84" y="202"/>
                </a:moveTo>
                <a:cubicBezTo>
                  <a:pt x="85" y="202"/>
                  <a:pt x="85" y="201"/>
                  <a:pt x="85" y="201"/>
                </a:cubicBezTo>
                <a:cubicBezTo>
                  <a:pt x="84" y="201"/>
                  <a:pt x="84" y="202"/>
                  <a:pt x="84" y="202"/>
                </a:cubicBezTo>
                <a:close/>
                <a:moveTo>
                  <a:pt x="58" y="182"/>
                </a:moveTo>
                <a:cubicBezTo>
                  <a:pt x="58" y="183"/>
                  <a:pt x="60" y="181"/>
                  <a:pt x="59" y="181"/>
                </a:cubicBezTo>
                <a:cubicBezTo>
                  <a:pt x="59" y="181"/>
                  <a:pt x="57" y="182"/>
                  <a:pt x="58" y="182"/>
                </a:cubicBezTo>
                <a:close/>
                <a:moveTo>
                  <a:pt x="76" y="197"/>
                </a:moveTo>
                <a:cubicBezTo>
                  <a:pt x="77" y="198"/>
                  <a:pt x="78" y="196"/>
                  <a:pt x="77" y="197"/>
                </a:cubicBezTo>
                <a:cubicBezTo>
                  <a:pt x="77" y="197"/>
                  <a:pt x="76" y="197"/>
                  <a:pt x="76" y="197"/>
                </a:cubicBezTo>
                <a:close/>
                <a:moveTo>
                  <a:pt x="68" y="191"/>
                </a:moveTo>
                <a:cubicBezTo>
                  <a:pt x="68" y="191"/>
                  <a:pt x="68" y="191"/>
                  <a:pt x="69" y="191"/>
                </a:cubicBezTo>
                <a:cubicBezTo>
                  <a:pt x="68" y="191"/>
                  <a:pt x="69" y="190"/>
                  <a:pt x="69" y="190"/>
                </a:cubicBezTo>
                <a:cubicBezTo>
                  <a:pt x="68" y="190"/>
                  <a:pt x="68" y="191"/>
                  <a:pt x="68" y="191"/>
                </a:cubicBezTo>
                <a:close/>
                <a:moveTo>
                  <a:pt x="69" y="194"/>
                </a:moveTo>
                <a:cubicBezTo>
                  <a:pt x="70" y="195"/>
                  <a:pt x="70" y="194"/>
                  <a:pt x="71" y="194"/>
                </a:cubicBezTo>
                <a:cubicBezTo>
                  <a:pt x="70" y="193"/>
                  <a:pt x="71" y="193"/>
                  <a:pt x="70" y="193"/>
                </a:cubicBezTo>
                <a:cubicBezTo>
                  <a:pt x="70" y="193"/>
                  <a:pt x="70" y="194"/>
                  <a:pt x="69" y="194"/>
                </a:cubicBezTo>
                <a:close/>
                <a:moveTo>
                  <a:pt x="64" y="195"/>
                </a:moveTo>
                <a:cubicBezTo>
                  <a:pt x="64" y="194"/>
                  <a:pt x="64" y="195"/>
                  <a:pt x="64" y="194"/>
                </a:cubicBezTo>
                <a:cubicBezTo>
                  <a:pt x="65" y="193"/>
                  <a:pt x="65" y="191"/>
                  <a:pt x="67" y="190"/>
                </a:cubicBezTo>
                <a:cubicBezTo>
                  <a:pt x="67" y="191"/>
                  <a:pt x="67" y="192"/>
                  <a:pt x="68" y="191"/>
                </a:cubicBezTo>
                <a:cubicBezTo>
                  <a:pt x="67" y="193"/>
                  <a:pt x="66" y="194"/>
                  <a:pt x="65" y="195"/>
                </a:cubicBezTo>
                <a:cubicBezTo>
                  <a:pt x="65" y="194"/>
                  <a:pt x="66" y="194"/>
                  <a:pt x="66" y="193"/>
                </a:cubicBezTo>
                <a:cubicBezTo>
                  <a:pt x="65" y="192"/>
                  <a:pt x="65" y="195"/>
                  <a:pt x="64" y="195"/>
                </a:cubicBezTo>
                <a:cubicBezTo>
                  <a:pt x="64" y="195"/>
                  <a:pt x="64" y="195"/>
                  <a:pt x="64" y="195"/>
                </a:cubicBezTo>
                <a:close/>
                <a:moveTo>
                  <a:pt x="66" y="192"/>
                </a:moveTo>
                <a:cubicBezTo>
                  <a:pt x="66" y="192"/>
                  <a:pt x="68" y="192"/>
                  <a:pt x="67" y="191"/>
                </a:cubicBezTo>
                <a:cubicBezTo>
                  <a:pt x="67" y="192"/>
                  <a:pt x="66" y="192"/>
                  <a:pt x="66" y="192"/>
                </a:cubicBezTo>
                <a:close/>
                <a:moveTo>
                  <a:pt x="68" y="196"/>
                </a:moveTo>
                <a:cubicBezTo>
                  <a:pt x="69" y="196"/>
                  <a:pt x="69" y="195"/>
                  <a:pt x="69" y="195"/>
                </a:cubicBezTo>
                <a:cubicBezTo>
                  <a:pt x="69" y="195"/>
                  <a:pt x="68" y="196"/>
                  <a:pt x="68" y="196"/>
                </a:cubicBezTo>
                <a:close/>
                <a:moveTo>
                  <a:pt x="81" y="205"/>
                </a:moveTo>
                <a:cubicBezTo>
                  <a:pt x="81" y="206"/>
                  <a:pt x="80" y="206"/>
                  <a:pt x="80" y="207"/>
                </a:cubicBezTo>
                <a:cubicBezTo>
                  <a:pt x="81" y="207"/>
                  <a:pt x="81" y="206"/>
                  <a:pt x="81" y="205"/>
                </a:cubicBezTo>
                <a:close/>
                <a:moveTo>
                  <a:pt x="85" y="210"/>
                </a:moveTo>
                <a:cubicBezTo>
                  <a:pt x="85" y="211"/>
                  <a:pt x="84" y="211"/>
                  <a:pt x="84" y="213"/>
                </a:cubicBezTo>
                <a:cubicBezTo>
                  <a:pt x="84" y="212"/>
                  <a:pt x="87" y="210"/>
                  <a:pt x="86" y="210"/>
                </a:cubicBezTo>
                <a:cubicBezTo>
                  <a:pt x="86" y="210"/>
                  <a:pt x="85" y="210"/>
                  <a:pt x="85" y="210"/>
                </a:cubicBezTo>
                <a:close/>
                <a:moveTo>
                  <a:pt x="81" y="210"/>
                </a:moveTo>
                <a:cubicBezTo>
                  <a:pt x="82" y="210"/>
                  <a:pt x="83" y="209"/>
                  <a:pt x="83" y="207"/>
                </a:cubicBezTo>
                <a:cubicBezTo>
                  <a:pt x="82" y="208"/>
                  <a:pt x="81" y="209"/>
                  <a:pt x="81" y="210"/>
                </a:cubicBezTo>
                <a:close/>
                <a:moveTo>
                  <a:pt x="67" y="196"/>
                </a:moveTo>
                <a:cubicBezTo>
                  <a:pt x="67" y="195"/>
                  <a:pt x="67" y="195"/>
                  <a:pt x="67" y="195"/>
                </a:cubicBezTo>
                <a:cubicBezTo>
                  <a:pt x="66" y="194"/>
                  <a:pt x="67" y="195"/>
                  <a:pt x="67" y="196"/>
                </a:cubicBezTo>
                <a:close/>
                <a:moveTo>
                  <a:pt x="54" y="186"/>
                </a:moveTo>
                <a:cubicBezTo>
                  <a:pt x="55" y="186"/>
                  <a:pt x="55" y="186"/>
                  <a:pt x="55" y="186"/>
                </a:cubicBezTo>
                <a:cubicBezTo>
                  <a:pt x="55" y="186"/>
                  <a:pt x="55" y="187"/>
                  <a:pt x="55" y="187"/>
                </a:cubicBezTo>
                <a:cubicBezTo>
                  <a:pt x="56" y="186"/>
                  <a:pt x="55" y="186"/>
                  <a:pt x="55" y="186"/>
                </a:cubicBezTo>
                <a:cubicBezTo>
                  <a:pt x="55" y="185"/>
                  <a:pt x="55" y="186"/>
                  <a:pt x="54" y="186"/>
                </a:cubicBezTo>
                <a:cubicBezTo>
                  <a:pt x="54" y="186"/>
                  <a:pt x="54" y="186"/>
                  <a:pt x="54" y="186"/>
                </a:cubicBezTo>
                <a:close/>
                <a:moveTo>
                  <a:pt x="63" y="194"/>
                </a:moveTo>
                <a:cubicBezTo>
                  <a:pt x="63" y="194"/>
                  <a:pt x="64" y="194"/>
                  <a:pt x="64" y="193"/>
                </a:cubicBezTo>
                <a:cubicBezTo>
                  <a:pt x="63" y="193"/>
                  <a:pt x="62" y="194"/>
                  <a:pt x="63" y="194"/>
                </a:cubicBezTo>
                <a:close/>
                <a:moveTo>
                  <a:pt x="68" y="198"/>
                </a:moveTo>
                <a:cubicBezTo>
                  <a:pt x="68" y="197"/>
                  <a:pt x="68" y="197"/>
                  <a:pt x="68" y="197"/>
                </a:cubicBezTo>
                <a:cubicBezTo>
                  <a:pt x="68" y="197"/>
                  <a:pt x="67" y="198"/>
                  <a:pt x="68" y="198"/>
                </a:cubicBezTo>
                <a:close/>
                <a:moveTo>
                  <a:pt x="68" y="200"/>
                </a:moveTo>
                <a:cubicBezTo>
                  <a:pt x="69" y="201"/>
                  <a:pt x="69" y="200"/>
                  <a:pt x="70" y="200"/>
                </a:cubicBezTo>
                <a:cubicBezTo>
                  <a:pt x="70" y="200"/>
                  <a:pt x="70" y="199"/>
                  <a:pt x="70" y="199"/>
                </a:cubicBezTo>
                <a:cubicBezTo>
                  <a:pt x="70" y="199"/>
                  <a:pt x="70" y="199"/>
                  <a:pt x="70" y="198"/>
                </a:cubicBezTo>
                <a:cubicBezTo>
                  <a:pt x="69" y="199"/>
                  <a:pt x="69" y="200"/>
                  <a:pt x="68" y="200"/>
                </a:cubicBezTo>
                <a:close/>
                <a:moveTo>
                  <a:pt x="53" y="186"/>
                </a:moveTo>
                <a:cubicBezTo>
                  <a:pt x="53" y="185"/>
                  <a:pt x="54" y="185"/>
                  <a:pt x="53" y="184"/>
                </a:cubicBezTo>
                <a:cubicBezTo>
                  <a:pt x="53" y="184"/>
                  <a:pt x="53" y="185"/>
                  <a:pt x="53" y="186"/>
                </a:cubicBezTo>
                <a:close/>
                <a:moveTo>
                  <a:pt x="66" y="197"/>
                </a:moveTo>
                <a:cubicBezTo>
                  <a:pt x="67" y="196"/>
                  <a:pt x="66" y="197"/>
                  <a:pt x="66" y="196"/>
                </a:cubicBezTo>
                <a:cubicBezTo>
                  <a:pt x="66" y="196"/>
                  <a:pt x="66" y="197"/>
                  <a:pt x="66" y="197"/>
                </a:cubicBezTo>
                <a:close/>
                <a:moveTo>
                  <a:pt x="71" y="202"/>
                </a:moveTo>
                <a:cubicBezTo>
                  <a:pt x="71" y="202"/>
                  <a:pt x="72" y="202"/>
                  <a:pt x="72" y="201"/>
                </a:cubicBezTo>
                <a:cubicBezTo>
                  <a:pt x="71" y="201"/>
                  <a:pt x="70" y="202"/>
                  <a:pt x="71" y="202"/>
                </a:cubicBezTo>
                <a:close/>
                <a:moveTo>
                  <a:pt x="60" y="193"/>
                </a:moveTo>
                <a:cubicBezTo>
                  <a:pt x="61" y="193"/>
                  <a:pt x="61" y="193"/>
                  <a:pt x="61" y="194"/>
                </a:cubicBezTo>
                <a:cubicBezTo>
                  <a:pt x="61" y="193"/>
                  <a:pt x="61" y="194"/>
                  <a:pt x="61" y="194"/>
                </a:cubicBezTo>
                <a:cubicBezTo>
                  <a:pt x="61" y="194"/>
                  <a:pt x="62" y="193"/>
                  <a:pt x="61" y="193"/>
                </a:cubicBezTo>
                <a:cubicBezTo>
                  <a:pt x="61" y="193"/>
                  <a:pt x="61" y="193"/>
                  <a:pt x="60" y="193"/>
                </a:cubicBezTo>
                <a:close/>
                <a:moveTo>
                  <a:pt x="54" y="191"/>
                </a:moveTo>
                <a:cubicBezTo>
                  <a:pt x="55" y="191"/>
                  <a:pt x="56" y="190"/>
                  <a:pt x="56" y="189"/>
                </a:cubicBezTo>
                <a:cubicBezTo>
                  <a:pt x="55" y="189"/>
                  <a:pt x="54" y="190"/>
                  <a:pt x="54" y="191"/>
                </a:cubicBezTo>
                <a:close/>
                <a:moveTo>
                  <a:pt x="76" y="210"/>
                </a:moveTo>
                <a:cubicBezTo>
                  <a:pt x="77" y="209"/>
                  <a:pt x="78" y="209"/>
                  <a:pt x="78" y="208"/>
                </a:cubicBezTo>
                <a:cubicBezTo>
                  <a:pt x="78" y="208"/>
                  <a:pt x="76" y="210"/>
                  <a:pt x="76" y="210"/>
                </a:cubicBezTo>
                <a:close/>
                <a:moveTo>
                  <a:pt x="75" y="208"/>
                </a:moveTo>
                <a:cubicBezTo>
                  <a:pt x="75" y="208"/>
                  <a:pt x="75" y="208"/>
                  <a:pt x="75" y="208"/>
                </a:cubicBezTo>
                <a:cubicBezTo>
                  <a:pt x="75" y="208"/>
                  <a:pt x="75" y="207"/>
                  <a:pt x="75" y="207"/>
                </a:cubicBezTo>
                <a:cubicBezTo>
                  <a:pt x="75" y="207"/>
                  <a:pt x="75" y="207"/>
                  <a:pt x="75" y="207"/>
                </a:cubicBezTo>
                <a:cubicBezTo>
                  <a:pt x="74" y="207"/>
                  <a:pt x="75" y="207"/>
                  <a:pt x="74" y="208"/>
                </a:cubicBezTo>
                <a:lnTo>
                  <a:pt x="75" y="208"/>
                </a:lnTo>
                <a:close/>
                <a:moveTo>
                  <a:pt x="74" y="206"/>
                </a:moveTo>
                <a:cubicBezTo>
                  <a:pt x="73" y="207"/>
                  <a:pt x="73" y="205"/>
                  <a:pt x="73" y="206"/>
                </a:cubicBezTo>
                <a:cubicBezTo>
                  <a:pt x="73" y="206"/>
                  <a:pt x="72" y="207"/>
                  <a:pt x="73" y="207"/>
                </a:cubicBezTo>
                <a:cubicBezTo>
                  <a:pt x="73" y="207"/>
                  <a:pt x="73" y="207"/>
                  <a:pt x="73" y="207"/>
                </a:cubicBezTo>
                <a:cubicBezTo>
                  <a:pt x="73" y="207"/>
                  <a:pt x="73" y="207"/>
                  <a:pt x="73" y="207"/>
                </a:cubicBezTo>
                <a:cubicBezTo>
                  <a:pt x="74" y="207"/>
                  <a:pt x="74" y="206"/>
                  <a:pt x="74" y="206"/>
                </a:cubicBezTo>
                <a:close/>
                <a:moveTo>
                  <a:pt x="50" y="189"/>
                </a:moveTo>
                <a:cubicBezTo>
                  <a:pt x="51" y="190"/>
                  <a:pt x="52" y="189"/>
                  <a:pt x="51" y="188"/>
                </a:cubicBezTo>
                <a:cubicBezTo>
                  <a:pt x="51" y="189"/>
                  <a:pt x="51" y="189"/>
                  <a:pt x="50" y="189"/>
                </a:cubicBezTo>
                <a:close/>
                <a:moveTo>
                  <a:pt x="53" y="192"/>
                </a:moveTo>
                <a:cubicBezTo>
                  <a:pt x="54" y="193"/>
                  <a:pt x="54" y="192"/>
                  <a:pt x="54" y="192"/>
                </a:cubicBezTo>
                <a:cubicBezTo>
                  <a:pt x="54" y="192"/>
                  <a:pt x="54" y="191"/>
                  <a:pt x="54" y="191"/>
                </a:cubicBezTo>
                <a:lnTo>
                  <a:pt x="53" y="192"/>
                </a:lnTo>
                <a:close/>
                <a:moveTo>
                  <a:pt x="73" y="209"/>
                </a:moveTo>
                <a:cubicBezTo>
                  <a:pt x="73" y="209"/>
                  <a:pt x="73" y="210"/>
                  <a:pt x="73" y="209"/>
                </a:cubicBezTo>
                <a:cubicBezTo>
                  <a:pt x="73" y="209"/>
                  <a:pt x="74" y="210"/>
                  <a:pt x="74" y="209"/>
                </a:cubicBezTo>
                <a:cubicBezTo>
                  <a:pt x="74" y="209"/>
                  <a:pt x="74" y="208"/>
                  <a:pt x="74" y="208"/>
                </a:cubicBezTo>
                <a:cubicBezTo>
                  <a:pt x="73" y="209"/>
                  <a:pt x="73" y="208"/>
                  <a:pt x="73" y="208"/>
                </a:cubicBezTo>
                <a:cubicBezTo>
                  <a:pt x="73" y="208"/>
                  <a:pt x="73" y="209"/>
                  <a:pt x="73" y="209"/>
                </a:cubicBezTo>
                <a:cubicBezTo>
                  <a:pt x="73" y="209"/>
                  <a:pt x="73" y="209"/>
                  <a:pt x="73" y="209"/>
                </a:cubicBezTo>
                <a:close/>
                <a:moveTo>
                  <a:pt x="49" y="190"/>
                </a:moveTo>
                <a:cubicBezTo>
                  <a:pt x="49" y="190"/>
                  <a:pt x="50" y="189"/>
                  <a:pt x="50" y="189"/>
                </a:cubicBezTo>
                <a:cubicBezTo>
                  <a:pt x="50" y="189"/>
                  <a:pt x="49" y="190"/>
                  <a:pt x="49" y="190"/>
                </a:cubicBezTo>
                <a:close/>
                <a:moveTo>
                  <a:pt x="52" y="194"/>
                </a:moveTo>
                <a:cubicBezTo>
                  <a:pt x="53" y="194"/>
                  <a:pt x="54" y="193"/>
                  <a:pt x="53" y="192"/>
                </a:cubicBezTo>
                <a:cubicBezTo>
                  <a:pt x="53" y="193"/>
                  <a:pt x="52" y="193"/>
                  <a:pt x="52" y="194"/>
                </a:cubicBezTo>
                <a:close/>
                <a:moveTo>
                  <a:pt x="66" y="205"/>
                </a:moveTo>
                <a:cubicBezTo>
                  <a:pt x="66" y="205"/>
                  <a:pt x="67" y="204"/>
                  <a:pt x="67" y="204"/>
                </a:cubicBezTo>
                <a:cubicBezTo>
                  <a:pt x="67" y="204"/>
                  <a:pt x="67" y="204"/>
                  <a:pt x="67" y="204"/>
                </a:cubicBezTo>
                <a:cubicBezTo>
                  <a:pt x="67" y="204"/>
                  <a:pt x="66" y="205"/>
                  <a:pt x="66" y="205"/>
                </a:cubicBezTo>
                <a:close/>
                <a:moveTo>
                  <a:pt x="58" y="198"/>
                </a:moveTo>
                <a:cubicBezTo>
                  <a:pt x="57" y="198"/>
                  <a:pt x="57" y="197"/>
                  <a:pt x="57" y="197"/>
                </a:cubicBezTo>
                <a:cubicBezTo>
                  <a:pt x="56" y="197"/>
                  <a:pt x="57" y="198"/>
                  <a:pt x="58" y="198"/>
                </a:cubicBezTo>
                <a:close/>
                <a:moveTo>
                  <a:pt x="50" y="197"/>
                </a:moveTo>
                <a:cubicBezTo>
                  <a:pt x="51" y="196"/>
                  <a:pt x="51" y="195"/>
                  <a:pt x="52" y="195"/>
                </a:cubicBezTo>
                <a:cubicBezTo>
                  <a:pt x="52" y="194"/>
                  <a:pt x="52" y="194"/>
                  <a:pt x="52" y="194"/>
                </a:cubicBezTo>
                <a:cubicBezTo>
                  <a:pt x="51" y="195"/>
                  <a:pt x="50" y="196"/>
                  <a:pt x="50" y="197"/>
                </a:cubicBezTo>
                <a:close/>
                <a:moveTo>
                  <a:pt x="79" y="218"/>
                </a:moveTo>
                <a:cubicBezTo>
                  <a:pt x="80" y="219"/>
                  <a:pt x="80" y="218"/>
                  <a:pt x="80" y="218"/>
                </a:cubicBezTo>
                <a:cubicBezTo>
                  <a:pt x="80" y="218"/>
                  <a:pt x="80" y="218"/>
                  <a:pt x="79" y="218"/>
                </a:cubicBezTo>
                <a:close/>
                <a:moveTo>
                  <a:pt x="45" y="192"/>
                </a:moveTo>
                <a:cubicBezTo>
                  <a:pt x="45" y="192"/>
                  <a:pt x="47" y="192"/>
                  <a:pt x="46" y="191"/>
                </a:cubicBezTo>
                <a:cubicBezTo>
                  <a:pt x="46" y="192"/>
                  <a:pt x="45" y="191"/>
                  <a:pt x="45" y="192"/>
                </a:cubicBezTo>
                <a:close/>
                <a:moveTo>
                  <a:pt x="42" y="196"/>
                </a:moveTo>
                <a:cubicBezTo>
                  <a:pt x="44" y="196"/>
                  <a:pt x="43" y="194"/>
                  <a:pt x="45" y="193"/>
                </a:cubicBezTo>
                <a:cubicBezTo>
                  <a:pt x="44" y="193"/>
                  <a:pt x="44" y="193"/>
                  <a:pt x="44" y="193"/>
                </a:cubicBezTo>
                <a:cubicBezTo>
                  <a:pt x="44" y="194"/>
                  <a:pt x="42" y="194"/>
                  <a:pt x="42" y="196"/>
                </a:cubicBezTo>
                <a:close/>
                <a:moveTo>
                  <a:pt x="49" y="199"/>
                </a:moveTo>
                <a:cubicBezTo>
                  <a:pt x="49" y="198"/>
                  <a:pt x="50" y="198"/>
                  <a:pt x="49" y="197"/>
                </a:cubicBezTo>
                <a:cubicBezTo>
                  <a:pt x="49" y="198"/>
                  <a:pt x="48" y="198"/>
                  <a:pt x="49" y="199"/>
                </a:cubicBezTo>
                <a:close/>
                <a:moveTo>
                  <a:pt x="67" y="214"/>
                </a:moveTo>
                <a:cubicBezTo>
                  <a:pt x="67" y="214"/>
                  <a:pt x="66" y="215"/>
                  <a:pt x="67" y="215"/>
                </a:cubicBezTo>
                <a:cubicBezTo>
                  <a:pt x="66" y="214"/>
                  <a:pt x="68" y="214"/>
                  <a:pt x="68" y="214"/>
                </a:cubicBezTo>
                <a:cubicBezTo>
                  <a:pt x="67" y="214"/>
                  <a:pt x="67" y="214"/>
                  <a:pt x="67" y="214"/>
                </a:cubicBezTo>
                <a:close/>
                <a:moveTo>
                  <a:pt x="72" y="224"/>
                </a:moveTo>
                <a:cubicBezTo>
                  <a:pt x="72" y="224"/>
                  <a:pt x="74" y="222"/>
                  <a:pt x="74" y="221"/>
                </a:cubicBezTo>
                <a:cubicBezTo>
                  <a:pt x="74" y="222"/>
                  <a:pt x="72" y="224"/>
                  <a:pt x="72" y="224"/>
                </a:cubicBezTo>
                <a:close/>
                <a:moveTo>
                  <a:pt x="59" y="212"/>
                </a:moveTo>
                <a:cubicBezTo>
                  <a:pt x="59" y="211"/>
                  <a:pt x="61" y="211"/>
                  <a:pt x="61" y="211"/>
                </a:cubicBezTo>
                <a:cubicBezTo>
                  <a:pt x="60" y="211"/>
                  <a:pt x="59" y="211"/>
                  <a:pt x="59" y="212"/>
                </a:cubicBezTo>
                <a:close/>
                <a:moveTo>
                  <a:pt x="71" y="219"/>
                </a:moveTo>
                <a:cubicBezTo>
                  <a:pt x="71" y="219"/>
                  <a:pt x="70" y="219"/>
                  <a:pt x="70" y="218"/>
                </a:cubicBezTo>
                <a:cubicBezTo>
                  <a:pt x="70" y="219"/>
                  <a:pt x="70" y="219"/>
                  <a:pt x="71" y="219"/>
                </a:cubicBezTo>
                <a:close/>
                <a:moveTo>
                  <a:pt x="41" y="197"/>
                </a:moveTo>
                <a:cubicBezTo>
                  <a:pt x="42" y="198"/>
                  <a:pt x="42" y="197"/>
                  <a:pt x="42" y="196"/>
                </a:cubicBezTo>
                <a:cubicBezTo>
                  <a:pt x="42" y="196"/>
                  <a:pt x="42" y="196"/>
                  <a:pt x="41" y="197"/>
                </a:cubicBezTo>
                <a:close/>
                <a:moveTo>
                  <a:pt x="57" y="214"/>
                </a:moveTo>
                <a:cubicBezTo>
                  <a:pt x="57" y="214"/>
                  <a:pt x="57" y="214"/>
                  <a:pt x="57" y="215"/>
                </a:cubicBezTo>
                <a:cubicBezTo>
                  <a:pt x="58" y="214"/>
                  <a:pt x="58" y="214"/>
                  <a:pt x="58" y="213"/>
                </a:cubicBezTo>
                <a:cubicBezTo>
                  <a:pt x="58" y="214"/>
                  <a:pt x="58" y="214"/>
                  <a:pt x="57" y="214"/>
                </a:cubicBezTo>
                <a:close/>
                <a:moveTo>
                  <a:pt x="62" y="219"/>
                </a:moveTo>
                <a:cubicBezTo>
                  <a:pt x="62" y="218"/>
                  <a:pt x="62" y="218"/>
                  <a:pt x="62" y="218"/>
                </a:cubicBezTo>
                <a:cubicBezTo>
                  <a:pt x="61" y="218"/>
                  <a:pt x="61" y="218"/>
                  <a:pt x="62" y="219"/>
                </a:cubicBezTo>
                <a:close/>
                <a:moveTo>
                  <a:pt x="62" y="219"/>
                </a:moveTo>
                <a:cubicBezTo>
                  <a:pt x="62" y="220"/>
                  <a:pt x="63" y="220"/>
                  <a:pt x="63" y="220"/>
                </a:cubicBezTo>
                <a:cubicBezTo>
                  <a:pt x="63" y="220"/>
                  <a:pt x="62" y="219"/>
                  <a:pt x="62" y="219"/>
                </a:cubicBezTo>
                <a:close/>
                <a:moveTo>
                  <a:pt x="43" y="206"/>
                </a:moveTo>
                <a:cubicBezTo>
                  <a:pt x="43" y="205"/>
                  <a:pt x="44" y="204"/>
                  <a:pt x="43" y="204"/>
                </a:cubicBezTo>
                <a:cubicBezTo>
                  <a:pt x="42" y="205"/>
                  <a:pt x="42" y="205"/>
                  <a:pt x="43" y="206"/>
                </a:cubicBezTo>
                <a:close/>
                <a:moveTo>
                  <a:pt x="59" y="218"/>
                </a:moveTo>
                <a:cubicBezTo>
                  <a:pt x="60" y="219"/>
                  <a:pt x="60" y="218"/>
                  <a:pt x="60" y="217"/>
                </a:cubicBezTo>
                <a:cubicBezTo>
                  <a:pt x="60" y="217"/>
                  <a:pt x="59" y="218"/>
                  <a:pt x="59" y="218"/>
                </a:cubicBezTo>
                <a:close/>
                <a:moveTo>
                  <a:pt x="57" y="218"/>
                </a:moveTo>
                <a:cubicBezTo>
                  <a:pt x="57" y="217"/>
                  <a:pt x="58" y="217"/>
                  <a:pt x="58" y="216"/>
                </a:cubicBezTo>
                <a:cubicBezTo>
                  <a:pt x="58" y="216"/>
                  <a:pt x="57" y="217"/>
                  <a:pt x="57" y="218"/>
                </a:cubicBezTo>
                <a:close/>
                <a:moveTo>
                  <a:pt x="64" y="226"/>
                </a:moveTo>
                <a:cubicBezTo>
                  <a:pt x="65" y="225"/>
                  <a:pt x="66" y="225"/>
                  <a:pt x="66" y="224"/>
                </a:cubicBezTo>
                <a:cubicBezTo>
                  <a:pt x="66" y="224"/>
                  <a:pt x="66" y="224"/>
                  <a:pt x="66" y="223"/>
                </a:cubicBezTo>
                <a:cubicBezTo>
                  <a:pt x="65" y="224"/>
                  <a:pt x="64" y="225"/>
                  <a:pt x="64" y="226"/>
                </a:cubicBezTo>
                <a:close/>
                <a:moveTo>
                  <a:pt x="49" y="214"/>
                </a:moveTo>
                <a:cubicBezTo>
                  <a:pt x="50" y="214"/>
                  <a:pt x="51" y="213"/>
                  <a:pt x="51" y="212"/>
                </a:cubicBezTo>
                <a:cubicBezTo>
                  <a:pt x="50" y="213"/>
                  <a:pt x="49" y="213"/>
                  <a:pt x="49" y="214"/>
                </a:cubicBezTo>
                <a:close/>
                <a:moveTo>
                  <a:pt x="57" y="221"/>
                </a:moveTo>
                <a:cubicBezTo>
                  <a:pt x="58" y="220"/>
                  <a:pt x="59" y="220"/>
                  <a:pt x="59" y="219"/>
                </a:cubicBezTo>
                <a:cubicBezTo>
                  <a:pt x="58" y="219"/>
                  <a:pt x="56" y="220"/>
                  <a:pt x="57" y="221"/>
                </a:cubicBezTo>
                <a:close/>
                <a:moveTo>
                  <a:pt x="41" y="208"/>
                </a:moveTo>
                <a:cubicBezTo>
                  <a:pt x="41" y="208"/>
                  <a:pt x="41" y="207"/>
                  <a:pt x="41" y="207"/>
                </a:cubicBezTo>
                <a:cubicBezTo>
                  <a:pt x="41" y="207"/>
                  <a:pt x="40" y="208"/>
                  <a:pt x="41" y="208"/>
                </a:cubicBezTo>
                <a:close/>
                <a:moveTo>
                  <a:pt x="62" y="226"/>
                </a:moveTo>
                <a:cubicBezTo>
                  <a:pt x="62" y="225"/>
                  <a:pt x="63" y="225"/>
                  <a:pt x="62" y="224"/>
                </a:cubicBezTo>
                <a:cubicBezTo>
                  <a:pt x="62" y="225"/>
                  <a:pt x="61" y="225"/>
                  <a:pt x="62" y="226"/>
                </a:cubicBezTo>
                <a:close/>
                <a:moveTo>
                  <a:pt x="53" y="219"/>
                </a:moveTo>
                <a:cubicBezTo>
                  <a:pt x="54" y="219"/>
                  <a:pt x="54" y="220"/>
                  <a:pt x="55" y="219"/>
                </a:cubicBezTo>
                <a:cubicBezTo>
                  <a:pt x="54" y="219"/>
                  <a:pt x="54" y="218"/>
                  <a:pt x="53" y="219"/>
                </a:cubicBezTo>
                <a:close/>
                <a:moveTo>
                  <a:pt x="68" y="232"/>
                </a:moveTo>
                <a:cubicBezTo>
                  <a:pt x="69" y="233"/>
                  <a:pt x="70" y="231"/>
                  <a:pt x="69" y="231"/>
                </a:cubicBezTo>
                <a:cubicBezTo>
                  <a:pt x="69" y="231"/>
                  <a:pt x="69" y="232"/>
                  <a:pt x="68" y="232"/>
                </a:cubicBezTo>
                <a:close/>
                <a:moveTo>
                  <a:pt x="55" y="224"/>
                </a:moveTo>
                <a:cubicBezTo>
                  <a:pt x="56" y="223"/>
                  <a:pt x="57" y="222"/>
                  <a:pt x="57" y="221"/>
                </a:cubicBezTo>
                <a:cubicBezTo>
                  <a:pt x="56" y="222"/>
                  <a:pt x="56" y="223"/>
                  <a:pt x="55" y="224"/>
                </a:cubicBezTo>
                <a:close/>
                <a:moveTo>
                  <a:pt x="62" y="228"/>
                </a:moveTo>
                <a:cubicBezTo>
                  <a:pt x="63" y="228"/>
                  <a:pt x="63" y="228"/>
                  <a:pt x="64" y="228"/>
                </a:cubicBezTo>
                <a:cubicBezTo>
                  <a:pt x="63" y="227"/>
                  <a:pt x="64" y="227"/>
                  <a:pt x="63" y="226"/>
                </a:cubicBezTo>
                <a:cubicBezTo>
                  <a:pt x="63" y="227"/>
                  <a:pt x="62" y="228"/>
                  <a:pt x="62" y="228"/>
                </a:cubicBezTo>
                <a:close/>
                <a:moveTo>
                  <a:pt x="53" y="220"/>
                </a:moveTo>
                <a:cubicBezTo>
                  <a:pt x="53" y="220"/>
                  <a:pt x="54" y="219"/>
                  <a:pt x="53" y="219"/>
                </a:cubicBezTo>
                <a:cubicBezTo>
                  <a:pt x="52" y="221"/>
                  <a:pt x="51" y="222"/>
                  <a:pt x="53" y="220"/>
                </a:cubicBezTo>
                <a:close/>
                <a:moveTo>
                  <a:pt x="47" y="216"/>
                </a:moveTo>
                <a:cubicBezTo>
                  <a:pt x="47" y="217"/>
                  <a:pt x="46" y="217"/>
                  <a:pt x="47" y="218"/>
                </a:cubicBezTo>
                <a:cubicBezTo>
                  <a:pt x="47" y="217"/>
                  <a:pt x="47" y="217"/>
                  <a:pt x="48" y="217"/>
                </a:cubicBezTo>
                <a:cubicBezTo>
                  <a:pt x="48" y="216"/>
                  <a:pt x="48" y="216"/>
                  <a:pt x="47" y="216"/>
                </a:cubicBezTo>
                <a:close/>
                <a:moveTo>
                  <a:pt x="59" y="227"/>
                </a:moveTo>
                <a:cubicBezTo>
                  <a:pt x="59" y="227"/>
                  <a:pt x="59" y="227"/>
                  <a:pt x="59" y="228"/>
                </a:cubicBezTo>
                <a:cubicBezTo>
                  <a:pt x="59" y="227"/>
                  <a:pt x="60" y="227"/>
                  <a:pt x="60" y="226"/>
                </a:cubicBezTo>
                <a:cubicBezTo>
                  <a:pt x="60" y="227"/>
                  <a:pt x="59" y="226"/>
                  <a:pt x="59" y="227"/>
                </a:cubicBezTo>
                <a:close/>
                <a:moveTo>
                  <a:pt x="57" y="227"/>
                </a:moveTo>
                <a:cubicBezTo>
                  <a:pt x="57" y="227"/>
                  <a:pt x="59" y="226"/>
                  <a:pt x="58" y="226"/>
                </a:cubicBezTo>
                <a:cubicBezTo>
                  <a:pt x="58" y="226"/>
                  <a:pt x="57" y="226"/>
                  <a:pt x="57" y="227"/>
                </a:cubicBezTo>
                <a:close/>
                <a:moveTo>
                  <a:pt x="51" y="223"/>
                </a:moveTo>
                <a:cubicBezTo>
                  <a:pt x="51" y="222"/>
                  <a:pt x="52" y="222"/>
                  <a:pt x="52" y="221"/>
                </a:cubicBezTo>
                <a:cubicBezTo>
                  <a:pt x="51" y="222"/>
                  <a:pt x="51" y="222"/>
                  <a:pt x="51" y="223"/>
                </a:cubicBezTo>
                <a:close/>
                <a:moveTo>
                  <a:pt x="33" y="211"/>
                </a:moveTo>
                <a:cubicBezTo>
                  <a:pt x="34" y="212"/>
                  <a:pt x="35" y="210"/>
                  <a:pt x="35" y="209"/>
                </a:cubicBezTo>
                <a:cubicBezTo>
                  <a:pt x="34" y="210"/>
                  <a:pt x="34" y="211"/>
                  <a:pt x="33" y="211"/>
                </a:cubicBezTo>
                <a:close/>
                <a:moveTo>
                  <a:pt x="40" y="214"/>
                </a:moveTo>
                <a:cubicBezTo>
                  <a:pt x="40" y="214"/>
                  <a:pt x="41" y="214"/>
                  <a:pt x="40" y="213"/>
                </a:cubicBezTo>
                <a:cubicBezTo>
                  <a:pt x="40" y="213"/>
                  <a:pt x="39" y="214"/>
                  <a:pt x="40" y="214"/>
                </a:cubicBezTo>
                <a:close/>
                <a:moveTo>
                  <a:pt x="35" y="215"/>
                </a:moveTo>
                <a:cubicBezTo>
                  <a:pt x="36" y="215"/>
                  <a:pt x="37" y="214"/>
                  <a:pt x="37" y="213"/>
                </a:cubicBezTo>
                <a:cubicBezTo>
                  <a:pt x="36" y="214"/>
                  <a:pt x="35" y="215"/>
                  <a:pt x="35" y="215"/>
                </a:cubicBezTo>
                <a:close/>
                <a:moveTo>
                  <a:pt x="48" y="223"/>
                </a:moveTo>
                <a:cubicBezTo>
                  <a:pt x="49" y="223"/>
                  <a:pt x="49" y="222"/>
                  <a:pt x="48" y="222"/>
                </a:cubicBezTo>
                <a:cubicBezTo>
                  <a:pt x="48" y="222"/>
                  <a:pt x="48" y="223"/>
                  <a:pt x="48" y="223"/>
                </a:cubicBezTo>
                <a:close/>
                <a:moveTo>
                  <a:pt x="38" y="217"/>
                </a:moveTo>
                <a:cubicBezTo>
                  <a:pt x="38" y="217"/>
                  <a:pt x="39" y="216"/>
                  <a:pt x="39" y="215"/>
                </a:cubicBezTo>
                <a:lnTo>
                  <a:pt x="38" y="217"/>
                </a:lnTo>
                <a:close/>
                <a:moveTo>
                  <a:pt x="43" y="223"/>
                </a:moveTo>
                <a:cubicBezTo>
                  <a:pt x="43" y="223"/>
                  <a:pt x="45" y="222"/>
                  <a:pt x="44" y="221"/>
                </a:cubicBezTo>
                <a:cubicBezTo>
                  <a:pt x="44" y="222"/>
                  <a:pt x="42" y="223"/>
                  <a:pt x="43" y="223"/>
                </a:cubicBezTo>
                <a:close/>
                <a:moveTo>
                  <a:pt x="62" y="237"/>
                </a:moveTo>
                <a:cubicBezTo>
                  <a:pt x="62" y="237"/>
                  <a:pt x="63" y="236"/>
                  <a:pt x="62" y="235"/>
                </a:cubicBezTo>
                <a:cubicBezTo>
                  <a:pt x="62" y="236"/>
                  <a:pt x="61" y="237"/>
                  <a:pt x="62" y="237"/>
                </a:cubicBezTo>
                <a:close/>
                <a:moveTo>
                  <a:pt x="30" y="213"/>
                </a:moveTo>
                <a:cubicBezTo>
                  <a:pt x="30" y="212"/>
                  <a:pt x="31" y="212"/>
                  <a:pt x="30" y="211"/>
                </a:cubicBezTo>
                <a:cubicBezTo>
                  <a:pt x="30" y="212"/>
                  <a:pt x="29" y="212"/>
                  <a:pt x="30" y="213"/>
                </a:cubicBezTo>
                <a:close/>
                <a:moveTo>
                  <a:pt x="49" y="228"/>
                </a:moveTo>
                <a:cubicBezTo>
                  <a:pt x="50" y="229"/>
                  <a:pt x="50" y="227"/>
                  <a:pt x="50" y="228"/>
                </a:cubicBezTo>
                <a:cubicBezTo>
                  <a:pt x="51" y="227"/>
                  <a:pt x="51" y="227"/>
                  <a:pt x="51" y="227"/>
                </a:cubicBezTo>
                <a:cubicBezTo>
                  <a:pt x="51" y="227"/>
                  <a:pt x="51" y="227"/>
                  <a:pt x="51" y="227"/>
                </a:cubicBezTo>
                <a:cubicBezTo>
                  <a:pt x="50" y="228"/>
                  <a:pt x="49" y="227"/>
                  <a:pt x="49" y="228"/>
                </a:cubicBezTo>
                <a:close/>
                <a:moveTo>
                  <a:pt x="44" y="225"/>
                </a:moveTo>
                <a:cubicBezTo>
                  <a:pt x="44" y="224"/>
                  <a:pt x="45" y="224"/>
                  <a:pt x="44" y="223"/>
                </a:cubicBezTo>
                <a:cubicBezTo>
                  <a:pt x="44" y="224"/>
                  <a:pt x="44" y="224"/>
                  <a:pt x="44" y="225"/>
                </a:cubicBezTo>
                <a:close/>
                <a:moveTo>
                  <a:pt x="64" y="238"/>
                </a:moveTo>
                <a:cubicBezTo>
                  <a:pt x="63" y="238"/>
                  <a:pt x="63" y="239"/>
                  <a:pt x="63" y="239"/>
                </a:cubicBezTo>
                <a:cubicBezTo>
                  <a:pt x="64" y="239"/>
                  <a:pt x="64" y="239"/>
                  <a:pt x="64" y="238"/>
                </a:cubicBezTo>
                <a:close/>
                <a:moveTo>
                  <a:pt x="29" y="217"/>
                </a:moveTo>
                <a:cubicBezTo>
                  <a:pt x="30" y="217"/>
                  <a:pt x="30" y="216"/>
                  <a:pt x="30" y="215"/>
                </a:cubicBezTo>
                <a:cubicBezTo>
                  <a:pt x="30" y="216"/>
                  <a:pt x="29" y="216"/>
                  <a:pt x="29" y="217"/>
                </a:cubicBezTo>
                <a:close/>
                <a:moveTo>
                  <a:pt x="55" y="237"/>
                </a:moveTo>
                <a:cubicBezTo>
                  <a:pt x="55" y="236"/>
                  <a:pt x="56" y="236"/>
                  <a:pt x="56" y="235"/>
                </a:cubicBezTo>
                <a:cubicBezTo>
                  <a:pt x="55" y="235"/>
                  <a:pt x="55" y="236"/>
                  <a:pt x="55" y="237"/>
                </a:cubicBezTo>
                <a:close/>
                <a:moveTo>
                  <a:pt x="47" y="231"/>
                </a:moveTo>
                <a:cubicBezTo>
                  <a:pt x="47" y="232"/>
                  <a:pt x="48" y="230"/>
                  <a:pt x="48" y="230"/>
                </a:cubicBezTo>
                <a:cubicBezTo>
                  <a:pt x="47" y="230"/>
                  <a:pt x="47" y="230"/>
                  <a:pt x="47" y="231"/>
                </a:cubicBezTo>
                <a:close/>
                <a:moveTo>
                  <a:pt x="61" y="240"/>
                </a:moveTo>
                <a:cubicBezTo>
                  <a:pt x="62" y="240"/>
                  <a:pt x="61" y="240"/>
                  <a:pt x="61" y="239"/>
                </a:cubicBezTo>
                <a:cubicBezTo>
                  <a:pt x="61" y="240"/>
                  <a:pt x="61" y="240"/>
                  <a:pt x="61" y="240"/>
                </a:cubicBezTo>
                <a:close/>
                <a:moveTo>
                  <a:pt x="34" y="223"/>
                </a:moveTo>
                <a:cubicBezTo>
                  <a:pt x="34" y="222"/>
                  <a:pt x="35" y="222"/>
                  <a:pt x="35" y="221"/>
                </a:cubicBezTo>
                <a:cubicBezTo>
                  <a:pt x="34" y="221"/>
                  <a:pt x="33" y="222"/>
                  <a:pt x="34" y="223"/>
                </a:cubicBezTo>
                <a:close/>
                <a:moveTo>
                  <a:pt x="26" y="217"/>
                </a:moveTo>
                <a:cubicBezTo>
                  <a:pt x="26" y="217"/>
                  <a:pt x="27" y="217"/>
                  <a:pt x="26" y="216"/>
                </a:cubicBezTo>
                <a:cubicBezTo>
                  <a:pt x="26" y="217"/>
                  <a:pt x="26" y="217"/>
                  <a:pt x="26" y="217"/>
                </a:cubicBezTo>
                <a:close/>
                <a:moveTo>
                  <a:pt x="32" y="222"/>
                </a:moveTo>
                <a:cubicBezTo>
                  <a:pt x="33" y="222"/>
                  <a:pt x="33" y="222"/>
                  <a:pt x="33" y="221"/>
                </a:cubicBezTo>
                <a:cubicBezTo>
                  <a:pt x="32" y="221"/>
                  <a:pt x="32" y="222"/>
                  <a:pt x="32" y="222"/>
                </a:cubicBezTo>
                <a:close/>
                <a:moveTo>
                  <a:pt x="27" y="218"/>
                </a:moveTo>
                <a:cubicBezTo>
                  <a:pt x="27" y="219"/>
                  <a:pt x="26" y="220"/>
                  <a:pt x="27" y="221"/>
                </a:cubicBezTo>
                <a:cubicBezTo>
                  <a:pt x="27" y="220"/>
                  <a:pt x="27" y="220"/>
                  <a:pt x="28" y="219"/>
                </a:cubicBezTo>
                <a:cubicBezTo>
                  <a:pt x="28" y="219"/>
                  <a:pt x="28" y="218"/>
                  <a:pt x="27" y="218"/>
                </a:cubicBezTo>
                <a:close/>
                <a:moveTo>
                  <a:pt x="32" y="225"/>
                </a:moveTo>
                <a:cubicBezTo>
                  <a:pt x="33" y="224"/>
                  <a:pt x="33" y="224"/>
                  <a:pt x="34" y="223"/>
                </a:cubicBezTo>
                <a:cubicBezTo>
                  <a:pt x="33" y="223"/>
                  <a:pt x="33" y="223"/>
                  <a:pt x="33" y="223"/>
                </a:cubicBezTo>
                <a:cubicBezTo>
                  <a:pt x="32" y="223"/>
                  <a:pt x="32" y="224"/>
                  <a:pt x="32" y="225"/>
                </a:cubicBezTo>
                <a:close/>
                <a:moveTo>
                  <a:pt x="23" y="221"/>
                </a:moveTo>
                <a:cubicBezTo>
                  <a:pt x="24" y="220"/>
                  <a:pt x="25" y="219"/>
                  <a:pt x="26" y="217"/>
                </a:cubicBezTo>
                <a:cubicBezTo>
                  <a:pt x="25" y="219"/>
                  <a:pt x="24" y="220"/>
                  <a:pt x="23" y="221"/>
                </a:cubicBezTo>
                <a:close/>
                <a:moveTo>
                  <a:pt x="57" y="242"/>
                </a:moveTo>
                <a:cubicBezTo>
                  <a:pt x="58" y="243"/>
                  <a:pt x="58" y="243"/>
                  <a:pt x="58" y="243"/>
                </a:cubicBezTo>
                <a:cubicBezTo>
                  <a:pt x="59" y="243"/>
                  <a:pt x="58" y="242"/>
                  <a:pt x="58" y="241"/>
                </a:cubicBezTo>
                <a:lnTo>
                  <a:pt x="57" y="242"/>
                </a:lnTo>
                <a:close/>
                <a:moveTo>
                  <a:pt x="25" y="220"/>
                </a:moveTo>
                <a:cubicBezTo>
                  <a:pt x="26" y="220"/>
                  <a:pt x="26" y="219"/>
                  <a:pt x="26" y="218"/>
                </a:cubicBezTo>
                <a:cubicBezTo>
                  <a:pt x="26" y="218"/>
                  <a:pt x="25" y="219"/>
                  <a:pt x="25" y="220"/>
                </a:cubicBezTo>
                <a:close/>
                <a:moveTo>
                  <a:pt x="44" y="234"/>
                </a:moveTo>
                <a:cubicBezTo>
                  <a:pt x="44" y="234"/>
                  <a:pt x="45" y="233"/>
                  <a:pt x="45" y="233"/>
                </a:cubicBezTo>
                <a:cubicBezTo>
                  <a:pt x="44" y="233"/>
                  <a:pt x="43" y="233"/>
                  <a:pt x="44" y="234"/>
                </a:cubicBezTo>
                <a:close/>
                <a:moveTo>
                  <a:pt x="49" y="243"/>
                </a:moveTo>
                <a:cubicBezTo>
                  <a:pt x="50" y="242"/>
                  <a:pt x="52" y="240"/>
                  <a:pt x="52" y="239"/>
                </a:cubicBezTo>
                <a:cubicBezTo>
                  <a:pt x="51" y="241"/>
                  <a:pt x="49" y="241"/>
                  <a:pt x="49" y="243"/>
                </a:cubicBezTo>
                <a:close/>
                <a:moveTo>
                  <a:pt x="31" y="225"/>
                </a:moveTo>
                <a:cubicBezTo>
                  <a:pt x="32" y="225"/>
                  <a:pt x="31" y="226"/>
                  <a:pt x="31" y="226"/>
                </a:cubicBezTo>
                <a:cubicBezTo>
                  <a:pt x="32" y="226"/>
                  <a:pt x="32" y="226"/>
                  <a:pt x="32" y="225"/>
                </a:cubicBezTo>
                <a:cubicBezTo>
                  <a:pt x="32" y="225"/>
                  <a:pt x="32" y="225"/>
                  <a:pt x="31" y="225"/>
                </a:cubicBezTo>
                <a:close/>
                <a:moveTo>
                  <a:pt x="42" y="242"/>
                </a:moveTo>
                <a:cubicBezTo>
                  <a:pt x="43" y="241"/>
                  <a:pt x="45" y="239"/>
                  <a:pt x="46" y="236"/>
                </a:cubicBezTo>
                <a:cubicBezTo>
                  <a:pt x="46" y="237"/>
                  <a:pt x="46" y="238"/>
                  <a:pt x="47" y="237"/>
                </a:cubicBezTo>
                <a:cubicBezTo>
                  <a:pt x="47" y="236"/>
                  <a:pt x="46" y="236"/>
                  <a:pt x="46" y="235"/>
                </a:cubicBezTo>
                <a:cubicBezTo>
                  <a:pt x="45" y="238"/>
                  <a:pt x="42" y="240"/>
                  <a:pt x="42" y="242"/>
                </a:cubicBezTo>
                <a:close/>
                <a:moveTo>
                  <a:pt x="23" y="220"/>
                </a:moveTo>
                <a:cubicBezTo>
                  <a:pt x="23" y="220"/>
                  <a:pt x="22" y="220"/>
                  <a:pt x="23" y="219"/>
                </a:cubicBezTo>
                <a:cubicBezTo>
                  <a:pt x="22" y="219"/>
                  <a:pt x="22" y="219"/>
                  <a:pt x="22" y="219"/>
                </a:cubicBezTo>
                <a:cubicBezTo>
                  <a:pt x="22" y="219"/>
                  <a:pt x="22" y="221"/>
                  <a:pt x="23" y="220"/>
                </a:cubicBezTo>
                <a:close/>
                <a:moveTo>
                  <a:pt x="30" y="227"/>
                </a:moveTo>
                <a:cubicBezTo>
                  <a:pt x="30" y="227"/>
                  <a:pt x="30" y="227"/>
                  <a:pt x="31" y="228"/>
                </a:cubicBezTo>
                <a:cubicBezTo>
                  <a:pt x="31" y="227"/>
                  <a:pt x="31" y="227"/>
                  <a:pt x="31" y="227"/>
                </a:cubicBezTo>
                <a:cubicBezTo>
                  <a:pt x="31" y="226"/>
                  <a:pt x="32" y="227"/>
                  <a:pt x="31" y="226"/>
                </a:cubicBezTo>
                <a:cubicBezTo>
                  <a:pt x="31" y="226"/>
                  <a:pt x="31" y="226"/>
                  <a:pt x="30" y="227"/>
                </a:cubicBezTo>
                <a:close/>
                <a:moveTo>
                  <a:pt x="31" y="230"/>
                </a:moveTo>
                <a:cubicBezTo>
                  <a:pt x="32" y="229"/>
                  <a:pt x="33" y="228"/>
                  <a:pt x="33" y="228"/>
                </a:cubicBezTo>
                <a:cubicBezTo>
                  <a:pt x="32" y="228"/>
                  <a:pt x="31" y="229"/>
                  <a:pt x="31" y="230"/>
                </a:cubicBezTo>
                <a:close/>
                <a:moveTo>
                  <a:pt x="57" y="246"/>
                </a:moveTo>
                <a:cubicBezTo>
                  <a:pt x="57" y="246"/>
                  <a:pt x="57" y="246"/>
                  <a:pt x="58" y="246"/>
                </a:cubicBezTo>
                <a:cubicBezTo>
                  <a:pt x="57" y="246"/>
                  <a:pt x="57" y="246"/>
                  <a:pt x="57" y="246"/>
                </a:cubicBezTo>
                <a:close/>
                <a:moveTo>
                  <a:pt x="21" y="224"/>
                </a:moveTo>
                <a:cubicBezTo>
                  <a:pt x="22" y="224"/>
                  <a:pt x="22" y="223"/>
                  <a:pt x="22" y="223"/>
                </a:cubicBezTo>
                <a:cubicBezTo>
                  <a:pt x="22" y="223"/>
                  <a:pt x="21" y="224"/>
                  <a:pt x="21" y="224"/>
                </a:cubicBezTo>
                <a:close/>
                <a:moveTo>
                  <a:pt x="52" y="249"/>
                </a:moveTo>
                <a:cubicBezTo>
                  <a:pt x="52" y="249"/>
                  <a:pt x="52" y="249"/>
                  <a:pt x="51" y="249"/>
                </a:cubicBezTo>
                <a:cubicBezTo>
                  <a:pt x="52" y="250"/>
                  <a:pt x="52" y="249"/>
                  <a:pt x="52" y="250"/>
                </a:cubicBezTo>
                <a:cubicBezTo>
                  <a:pt x="53" y="248"/>
                  <a:pt x="53" y="248"/>
                  <a:pt x="54" y="247"/>
                </a:cubicBezTo>
                <a:cubicBezTo>
                  <a:pt x="53" y="247"/>
                  <a:pt x="52" y="248"/>
                  <a:pt x="52" y="249"/>
                </a:cubicBezTo>
                <a:close/>
                <a:moveTo>
                  <a:pt x="29" y="230"/>
                </a:moveTo>
                <a:cubicBezTo>
                  <a:pt x="29" y="230"/>
                  <a:pt x="29" y="230"/>
                  <a:pt x="29" y="230"/>
                </a:cubicBezTo>
                <a:cubicBezTo>
                  <a:pt x="29" y="229"/>
                  <a:pt x="28" y="230"/>
                  <a:pt x="29" y="230"/>
                </a:cubicBezTo>
                <a:close/>
                <a:moveTo>
                  <a:pt x="54" y="249"/>
                </a:moveTo>
                <a:cubicBezTo>
                  <a:pt x="55" y="250"/>
                  <a:pt x="54" y="251"/>
                  <a:pt x="55" y="250"/>
                </a:cubicBezTo>
                <a:cubicBezTo>
                  <a:pt x="56" y="251"/>
                  <a:pt x="55" y="250"/>
                  <a:pt x="55" y="251"/>
                </a:cubicBezTo>
                <a:cubicBezTo>
                  <a:pt x="56" y="251"/>
                  <a:pt x="56" y="250"/>
                  <a:pt x="56" y="250"/>
                </a:cubicBezTo>
                <a:cubicBezTo>
                  <a:pt x="55" y="249"/>
                  <a:pt x="55" y="249"/>
                  <a:pt x="54" y="249"/>
                </a:cubicBezTo>
                <a:close/>
                <a:moveTo>
                  <a:pt x="47" y="245"/>
                </a:moveTo>
                <a:cubicBezTo>
                  <a:pt x="47" y="246"/>
                  <a:pt x="46" y="246"/>
                  <a:pt x="47" y="246"/>
                </a:cubicBezTo>
                <a:cubicBezTo>
                  <a:pt x="48" y="245"/>
                  <a:pt x="48" y="245"/>
                  <a:pt x="48" y="245"/>
                </a:cubicBezTo>
                <a:cubicBezTo>
                  <a:pt x="48" y="245"/>
                  <a:pt x="47" y="245"/>
                  <a:pt x="47" y="245"/>
                </a:cubicBezTo>
                <a:close/>
                <a:moveTo>
                  <a:pt x="28" y="231"/>
                </a:moveTo>
                <a:cubicBezTo>
                  <a:pt x="28" y="232"/>
                  <a:pt x="27" y="232"/>
                  <a:pt x="27" y="233"/>
                </a:cubicBezTo>
                <a:cubicBezTo>
                  <a:pt x="28" y="232"/>
                  <a:pt x="28" y="231"/>
                  <a:pt x="28" y="231"/>
                </a:cubicBezTo>
                <a:cubicBezTo>
                  <a:pt x="28" y="231"/>
                  <a:pt x="28" y="230"/>
                  <a:pt x="28" y="231"/>
                </a:cubicBezTo>
                <a:close/>
                <a:moveTo>
                  <a:pt x="28" y="235"/>
                </a:moveTo>
                <a:cubicBezTo>
                  <a:pt x="29" y="234"/>
                  <a:pt x="30" y="233"/>
                  <a:pt x="29" y="232"/>
                </a:cubicBezTo>
                <a:cubicBezTo>
                  <a:pt x="29" y="233"/>
                  <a:pt x="29" y="234"/>
                  <a:pt x="28" y="235"/>
                </a:cubicBezTo>
                <a:close/>
                <a:moveTo>
                  <a:pt x="48" y="247"/>
                </a:moveTo>
                <a:cubicBezTo>
                  <a:pt x="48" y="248"/>
                  <a:pt x="49" y="248"/>
                  <a:pt x="49" y="248"/>
                </a:cubicBezTo>
                <a:cubicBezTo>
                  <a:pt x="49" y="248"/>
                  <a:pt x="49" y="248"/>
                  <a:pt x="49" y="248"/>
                </a:cubicBezTo>
                <a:cubicBezTo>
                  <a:pt x="49" y="248"/>
                  <a:pt x="49" y="247"/>
                  <a:pt x="48" y="247"/>
                </a:cubicBezTo>
                <a:close/>
                <a:moveTo>
                  <a:pt x="17" y="226"/>
                </a:moveTo>
                <a:cubicBezTo>
                  <a:pt x="17" y="226"/>
                  <a:pt x="17" y="227"/>
                  <a:pt x="17" y="227"/>
                </a:cubicBezTo>
                <a:cubicBezTo>
                  <a:pt x="17" y="226"/>
                  <a:pt x="18" y="227"/>
                  <a:pt x="18" y="227"/>
                </a:cubicBezTo>
                <a:cubicBezTo>
                  <a:pt x="18" y="226"/>
                  <a:pt x="17" y="226"/>
                  <a:pt x="17" y="225"/>
                </a:cubicBezTo>
                <a:lnTo>
                  <a:pt x="17" y="226"/>
                </a:lnTo>
                <a:close/>
                <a:moveTo>
                  <a:pt x="41" y="244"/>
                </a:moveTo>
                <a:cubicBezTo>
                  <a:pt x="41" y="244"/>
                  <a:pt x="42" y="243"/>
                  <a:pt x="41" y="243"/>
                </a:cubicBezTo>
                <a:cubicBezTo>
                  <a:pt x="40" y="245"/>
                  <a:pt x="39" y="245"/>
                  <a:pt x="41" y="244"/>
                </a:cubicBezTo>
                <a:close/>
                <a:moveTo>
                  <a:pt x="50" y="252"/>
                </a:moveTo>
                <a:cubicBezTo>
                  <a:pt x="50" y="251"/>
                  <a:pt x="51" y="252"/>
                  <a:pt x="51" y="252"/>
                </a:cubicBezTo>
                <a:cubicBezTo>
                  <a:pt x="50" y="252"/>
                  <a:pt x="51" y="251"/>
                  <a:pt x="51" y="250"/>
                </a:cubicBezTo>
                <a:cubicBezTo>
                  <a:pt x="51" y="252"/>
                  <a:pt x="49" y="251"/>
                  <a:pt x="50" y="252"/>
                </a:cubicBezTo>
                <a:close/>
                <a:moveTo>
                  <a:pt x="42" y="245"/>
                </a:moveTo>
                <a:cubicBezTo>
                  <a:pt x="42" y="246"/>
                  <a:pt x="42" y="246"/>
                  <a:pt x="43" y="246"/>
                </a:cubicBezTo>
                <a:cubicBezTo>
                  <a:pt x="43" y="245"/>
                  <a:pt x="42" y="245"/>
                  <a:pt x="42" y="245"/>
                </a:cubicBezTo>
                <a:close/>
                <a:moveTo>
                  <a:pt x="53" y="255"/>
                </a:moveTo>
                <a:cubicBezTo>
                  <a:pt x="53" y="254"/>
                  <a:pt x="54" y="254"/>
                  <a:pt x="53" y="253"/>
                </a:cubicBezTo>
                <a:cubicBezTo>
                  <a:pt x="53" y="254"/>
                  <a:pt x="52" y="254"/>
                  <a:pt x="53" y="255"/>
                </a:cubicBezTo>
                <a:close/>
                <a:moveTo>
                  <a:pt x="40" y="247"/>
                </a:moveTo>
                <a:cubicBezTo>
                  <a:pt x="41" y="247"/>
                  <a:pt x="42" y="246"/>
                  <a:pt x="41" y="246"/>
                </a:cubicBezTo>
                <a:lnTo>
                  <a:pt x="40" y="247"/>
                </a:lnTo>
                <a:close/>
                <a:moveTo>
                  <a:pt x="43" y="248"/>
                </a:moveTo>
                <a:cubicBezTo>
                  <a:pt x="44" y="249"/>
                  <a:pt x="44" y="249"/>
                  <a:pt x="44" y="249"/>
                </a:cubicBezTo>
                <a:cubicBezTo>
                  <a:pt x="44" y="248"/>
                  <a:pt x="43" y="248"/>
                  <a:pt x="43" y="248"/>
                </a:cubicBezTo>
                <a:close/>
                <a:moveTo>
                  <a:pt x="15" y="234"/>
                </a:moveTo>
                <a:cubicBezTo>
                  <a:pt x="15" y="233"/>
                  <a:pt x="15" y="233"/>
                  <a:pt x="15" y="232"/>
                </a:cubicBezTo>
                <a:cubicBezTo>
                  <a:pt x="15" y="233"/>
                  <a:pt x="15" y="233"/>
                  <a:pt x="15" y="233"/>
                </a:cubicBezTo>
                <a:cubicBezTo>
                  <a:pt x="16" y="234"/>
                  <a:pt x="16" y="234"/>
                  <a:pt x="16" y="234"/>
                </a:cubicBezTo>
                <a:cubicBezTo>
                  <a:pt x="17" y="232"/>
                  <a:pt x="17" y="233"/>
                  <a:pt x="18" y="231"/>
                </a:cubicBezTo>
                <a:cubicBezTo>
                  <a:pt x="18" y="231"/>
                  <a:pt x="17" y="231"/>
                  <a:pt x="17" y="230"/>
                </a:cubicBezTo>
                <a:cubicBezTo>
                  <a:pt x="17" y="230"/>
                  <a:pt x="17" y="231"/>
                  <a:pt x="17" y="230"/>
                </a:cubicBezTo>
                <a:cubicBezTo>
                  <a:pt x="17" y="232"/>
                  <a:pt x="16" y="232"/>
                  <a:pt x="15" y="234"/>
                </a:cubicBezTo>
                <a:close/>
                <a:moveTo>
                  <a:pt x="51" y="255"/>
                </a:moveTo>
                <a:cubicBezTo>
                  <a:pt x="51" y="256"/>
                  <a:pt x="50" y="257"/>
                  <a:pt x="51" y="257"/>
                </a:cubicBezTo>
                <a:cubicBezTo>
                  <a:pt x="51" y="256"/>
                  <a:pt x="52" y="256"/>
                  <a:pt x="52" y="255"/>
                </a:cubicBezTo>
                <a:cubicBezTo>
                  <a:pt x="51" y="255"/>
                  <a:pt x="51" y="255"/>
                  <a:pt x="51" y="255"/>
                </a:cubicBezTo>
                <a:close/>
                <a:moveTo>
                  <a:pt x="20" y="235"/>
                </a:moveTo>
                <a:cubicBezTo>
                  <a:pt x="19" y="235"/>
                  <a:pt x="19" y="236"/>
                  <a:pt x="19" y="236"/>
                </a:cubicBezTo>
                <a:cubicBezTo>
                  <a:pt x="20" y="236"/>
                  <a:pt x="20" y="236"/>
                  <a:pt x="20" y="236"/>
                </a:cubicBezTo>
                <a:cubicBezTo>
                  <a:pt x="20" y="236"/>
                  <a:pt x="21" y="235"/>
                  <a:pt x="21" y="235"/>
                </a:cubicBezTo>
                <a:cubicBezTo>
                  <a:pt x="20" y="235"/>
                  <a:pt x="20" y="236"/>
                  <a:pt x="20" y="235"/>
                </a:cubicBezTo>
                <a:close/>
                <a:moveTo>
                  <a:pt x="21" y="238"/>
                </a:moveTo>
                <a:cubicBezTo>
                  <a:pt x="21" y="237"/>
                  <a:pt x="22" y="237"/>
                  <a:pt x="22" y="236"/>
                </a:cubicBezTo>
                <a:cubicBezTo>
                  <a:pt x="21" y="236"/>
                  <a:pt x="21" y="237"/>
                  <a:pt x="21" y="238"/>
                </a:cubicBezTo>
                <a:close/>
                <a:moveTo>
                  <a:pt x="17" y="236"/>
                </a:moveTo>
                <a:cubicBezTo>
                  <a:pt x="18" y="236"/>
                  <a:pt x="18" y="235"/>
                  <a:pt x="18" y="235"/>
                </a:cubicBezTo>
                <a:cubicBezTo>
                  <a:pt x="18" y="235"/>
                  <a:pt x="17" y="236"/>
                  <a:pt x="17" y="236"/>
                </a:cubicBezTo>
                <a:close/>
                <a:moveTo>
                  <a:pt x="23" y="243"/>
                </a:moveTo>
                <a:cubicBezTo>
                  <a:pt x="24" y="243"/>
                  <a:pt x="25" y="241"/>
                  <a:pt x="26" y="240"/>
                </a:cubicBezTo>
                <a:cubicBezTo>
                  <a:pt x="25" y="240"/>
                  <a:pt x="25" y="240"/>
                  <a:pt x="25" y="240"/>
                </a:cubicBezTo>
                <a:cubicBezTo>
                  <a:pt x="24" y="241"/>
                  <a:pt x="24" y="242"/>
                  <a:pt x="23" y="243"/>
                </a:cubicBezTo>
                <a:close/>
                <a:moveTo>
                  <a:pt x="17" y="238"/>
                </a:moveTo>
                <a:cubicBezTo>
                  <a:pt x="17" y="237"/>
                  <a:pt x="18" y="237"/>
                  <a:pt x="18" y="236"/>
                </a:cubicBezTo>
                <a:cubicBezTo>
                  <a:pt x="17" y="236"/>
                  <a:pt x="16" y="237"/>
                  <a:pt x="17" y="238"/>
                </a:cubicBezTo>
                <a:close/>
                <a:moveTo>
                  <a:pt x="35" y="251"/>
                </a:moveTo>
                <a:cubicBezTo>
                  <a:pt x="35" y="252"/>
                  <a:pt x="36" y="250"/>
                  <a:pt x="36" y="250"/>
                </a:cubicBezTo>
                <a:lnTo>
                  <a:pt x="35" y="251"/>
                </a:lnTo>
                <a:close/>
                <a:moveTo>
                  <a:pt x="38" y="255"/>
                </a:moveTo>
                <a:cubicBezTo>
                  <a:pt x="39" y="254"/>
                  <a:pt x="39" y="254"/>
                  <a:pt x="39" y="254"/>
                </a:cubicBezTo>
                <a:cubicBezTo>
                  <a:pt x="39" y="254"/>
                  <a:pt x="38" y="254"/>
                  <a:pt x="38" y="255"/>
                </a:cubicBezTo>
                <a:close/>
                <a:moveTo>
                  <a:pt x="12" y="236"/>
                </a:moveTo>
                <a:cubicBezTo>
                  <a:pt x="12" y="236"/>
                  <a:pt x="12" y="237"/>
                  <a:pt x="12" y="237"/>
                </a:cubicBezTo>
                <a:cubicBezTo>
                  <a:pt x="13" y="236"/>
                  <a:pt x="13" y="236"/>
                  <a:pt x="13" y="236"/>
                </a:cubicBezTo>
                <a:cubicBezTo>
                  <a:pt x="13" y="236"/>
                  <a:pt x="12" y="236"/>
                  <a:pt x="12" y="236"/>
                </a:cubicBezTo>
                <a:close/>
                <a:moveTo>
                  <a:pt x="38" y="253"/>
                </a:moveTo>
                <a:cubicBezTo>
                  <a:pt x="36" y="252"/>
                  <a:pt x="36" y="252"/>
                  <a:pt x="36" y="252"/>
                </a:cubicBezTo>
                <a:cubicBezTo>
                  <a:pt x="36" y="253"/>
                  <a:pt x="37" y="254"/>
                  <a:pt x="38" y="253"/>
                </a:cubicBezTo>
                <a:close/>
                <a:moveTo>
                  <a:pt x="12" y="239"/>
                </a:moveTo>
                <a:cubicBezTo>
                  <a:pt x="13" y="238"/>
                  <a:pt x="13" y="238"/>
                  <a:pt x="13" y="238"/>
                </a:cubicBezTo>
                <a:cubicBezTo>
                  <a:pt x="13" y="238"/>
                  <a:pt x="13" y="239"/>
                  <a:pt x="13" y="238"/>
                </a:cubicBezTo>
                <a:cubicBezTo>
                  <a:pt x="12" y="238"/>
                  <a:pt x="14" y="237"/>
                  <a:pt x="13" y="237"/>
                </a:cubicBezTo>
                <a:cubicBezTo>
                  <a:pt x="12" y="237"/>
                  <a:pt x="12" y="238"/>
                  <a:pt x="12" y="239"/>
                </a:cubicBezTo>
                <a:close/>
                <a:moveTo>
                  <a:pt x="35" y="256"/>
                </a:moveTo>
                <a:cubicBezTo>
                  <a:pt x="35" y="256"/>
                  <a:pt x="36" y="257"/>
                  <a:pt x="36" y="257"/>
                </a:cubicBezTo>
                <a:cubicBezTo>
                  <a:pt x="36" y="256"/>
                  <a:pt x="35" y="256"/>
                  <a:pt x="35" y="256"/>
                </a:cubicBezTo>
                <a:close/>
                <a:moveTo>
                  <a:pt x="27" y="255"/>
                </a:moveTo>
                <a:cubicBezTo>
                  <a:pt x="27" y="255"/>
                  <a:pt x="28" y="254"/>
                  <a:pt x="28" y="254"/>
                </a:cubicBezTo>
                <a:cubicBezTo>
                  <a:pt x="27" y="254"/>
                  <a:pt x="27" y="254"/>
                  <a:pt x="27" y="255"/>
                </a:cubicBezTo>
                <a:close/>
                <a:moveTo>
                  <a:pt x="8" y="244"/>
                </a:moveTo>
                <a:cubicBezTo>
                  <a:pt x="7" y="244"/>
                  <a:pt x="7" y="244"/>
                  <a:pt x="7" y="244"/>
                </a:cubicBezTo>
                <a:cubicBezTo>
                  <a:pt x="8" y="245"/>
                  <a:pt x="8" y="243"/>
                  <a:pt x="7" y="243"/>
                </a:cubicBezTo>
                <a:cubicBezTo>
                  <a:pt x="7" y="243"/>
                  <a:pt x="7" y="243"/>
                  <a:pt x="8" y="244"/>
                </a:cubicBezTo>
                <a:close/>
                <a:moveTo>
                  <a:pt x="6" y="247"/>
                </a:moveTo>
                <a:cubicBezTo>
                  <a:pt x="7" y="248"/>
                  <a:pt x="9" y="244"/>
                  <a:pt x="8" y="244"/>
                </a:cubicBezTo>
                <a:cubicBezTo>
                  <a:pt x="7" y="245"/>
                  <a:pt x="7" y="246"/>
                  <a:pt x="6" y="247"/>
                </a:cubicBezTo>
                <a:close/>
                <a:moveTo>
                  <a:pt x="11" y="248"/>
                </a:moveTo>
                <a:cubicBezTo>
                  <a:pt x="12" y="248"/>
                  <a:pt x="12" y="247"/>
                  <a:pt x="11" y="247"/>
                </a:cubicBezTo>
                <a:cubicBezTo>
                  <a:pt x="11" y="247"/>
                  <a:pt x="11" y="248"/>
                  <a:pt x="11" y="248"/>
                </a:cubicBezTo>
                <a:close/>
                <a:moveTo>
                  <a:pt x="32" y="264"/>
                </a:moveTo>
                <a:cubicBezTo>
                  <a:pt x="33" y="264"/>
                  <a:pt x="33" y="264"/>
                  <a:pt x="33" y="263"/>
                </a:cubicBezTo>
                <a:cubicBezTo>
                  <a:pt x="32" y="263"/>
                  <a:pt x="32" y="263"/>
                  <a:pt x="32" y="264"/>
                </a:cubicBezTo>
                <a:close/>
                <a:moveTo>
                  <a:pt x="10" y="250"/>
                </a:moveTo>
                <a:cubicBezTo>
                  <a:pt x="10" y="250"/>
                  <a:pt x="11" y="249"/>
                  <a:pt x="11" y="249"/>
                </a:cubicBezTo>
                <a:cubicBezTo>
                  <a:pt x="10" y="248"/>
                  <a:pt x="10" y="248"/>
                  <a:pt x="10" y="248"/>
                </a:cubicBezTo>
                <a:cubicBezTo>
                  <a:pt x="10" y="249"/>
                  <a:pt x="9" y="249"/>
                  <a:pt x="10" y="250"/>
                </a:cubicBezTo>
                <a:close/>
                <a:moveTo>
                  <a:pt x="7" y="252"/>
                </a:moveTo>
                <a:cubicBezTo>
                  <a:pt x="7" y="251"/>
                  <a:pt x="9" y="249"/>
                  <a:pt x="8" y="248"/>
                </a:cubicBezTo>
                <a:cubicBezTo>
                  <a:pt x="8" y="249"/>
                  <a:pt x="6" y="251"/>
                  <a:pt x="7" y="252"/>
                </a:cubicBezTo>
                <a:close/>
                <a:moveTo>
                  <a:pt x="3" y="247"/>
                </a:moveTo>
                <a:cubicBezTo>
                  <a:pt x="3" y="246"/>
                  <a:pt x="4" y="246"/>
                  <a:pt x="4" y="246"/>
                </a:cubicBezTo>
                <a:cubicBezTo>
                  <a:pt x="3" y="246"/>
                  <a:pt x="2" y="246"/>
                  <a:pt x="3" y="247"/>
                </a:cubicBezTo>
                <a:close/>
                <a:moveTo>
                  <a:pt x="0" y="255"/>
                </a:moveTo>
                <a:cubicBezTo>
                  <a:pt x="1" y="253"/>
                  <a:pt x="3" y="253"/>
                  <a:pt x="2" y="251"/>
                </a:cubicBezTo>
                <a:cubicBezTo>
                  <a:pt x="2" y="253"/>
                  <a:pt x="0" y="254"/>
                  <a:pt x="0" y="255"/>
                </a:cubicBezTo>
                <a:close/>
                <a:moveTo>
                  <a:pt x="30" y="271"/>
                </a:moveTo>
                <a:cubicBezTo>
                  <a:pt x="30" y="271"/>
                  <a:pt x="31" y="271"/>
                  <a:pt x="31" y="271"/>
                </a:cubicBezTo>
                <a:cubicBezTo>
                  <a:pt x="31" y="271"/>
                  <a:pt x="30" y="270"/>
                  <a:pt x="30" y="271"/>
                </a:cubicBezTo>
                <a:close/>
                <a:moveTo>
                  <a:pt x="34" y="274"/>
                </a:moveTo>
                <a:cubicBezTo>
                  <a:pt x="35" y="275"/>
                  <a:pt x="34" y="275"/>
                  <a:pt x="35" y="275"/>
                </a:cubicBezTo>
                <a:cubicBezTo>
                  <a:pt x="36" y="275"/>
                  <a:pt x="35" y="275"/>
                  <a:pt x="35" y="274"/>
                </a:cubicBezTo>
                <a:cubicBezTo>
                  <a:pt x="35" y="274"/>
                  <a:pt x="35" y="274"/>
                  <a:pt x="34" y="274"/>
                </a:cubicBezTo>
                <a:close/>
                <a:moveTo>
                  <a:pt x="3" y="254"/>
                </a:moveTo>
                <a:cubicBezTo>
                  <a:pt x="2" y="254"/>
                  <a:pt x="2" y="254"/>
                  <a:pt x="2" y="253"/>
                </a:cubicBezTo>
                <a:cubicBezTo>
                  <a:pt x="2" y="254"/>
                  <a:pt x="2" y="254"/>
                  <a:pt x="2" y="254"/>
                </a:cubicBezTo>
                <a:cubicBezTo>
                  <a:pt x="2" y="254"/>
                  <a:pt x="4" y="254"/>
                  <a:pt x="3" y="253"/>
                </a:cubicBezTo>
                <a:lnTo>
                  <a:pt x="3" y="254"/>
                </a:lnTo>
                <a:close/>
                <a:moveTo>
                  <a:pt x="27" y="271"/>
                </a:moveTo>
                <a:cubicBezTo>
                  <a:pt x="27" y="271"/>
                  <a:pt x="27" y="272"/>
                  <a:pt x="28" y="271"/>
                </a:cubicBezTo>
                <a:cubicBezTo>
                  <a:pt x="28" y="271"/>
                  <a:pt x="27" y="270"/>
                  <a:pt x="27" y="271"/>
                </a:cubicBezTo>
                <a:close/>
                <a:moveTo>
                  <a:pt x="31" y="278"/>
                </a:moveTo>
                <a:cubicBezTo>
                  <a:pt x="31" y="277"/>
                  <a:pt x="30" y="277"/>
                  <a:pt x="30" y="276"/>
                </a:cubicBezTo>
                <a:cubicBezTo>
                  <a:pt x="30" y="277"/>
                  <a:pt x="31" y="277"/>
                  <a:pt x="31" y="278"/>
                </a:cubicBezTo>
                <a:close/>
                <a:moveTo>
                  <a:pt x="31" y="281"/>
                </a:moveTo>
                <a:cubicBezTo>
                  <a:pt x="32" y="281"/>
                  <a:pt x="32" y="281"/>
                  <a:pt x="32" y="281"/>
                </a:cubicBezTo>
                <a:cubicBezTo>
                  <a:pt x="32" y="280"/>
                  <a:pt x="32" y="280"/>
                  <a:pt x="33" y="280"/>
                </a:cubicBezTo>
                <a:cubicBezTo>
                  <a:pt x="33" y="280"/>
                  <a:pt x="33" y="279"/>
                  <a:pt x="33" y="279"/>
                </a:cubicBezTo>
                <a:cubicBezTo>
                  <a:pt x="32" y="280"/>
                  <a:pt x="32" y="281"/>
                  <a:pt x="31" y="281"/>
                </a:cubicBezTo>
                <a:close/>
                <a:moveTo>
                  <a:pt x="782" y="255"/>
                </a:moveTo>
                <a:cubicBezTo>
                  <a:pt x="781" y="255"/>
                  <a:pt x="779" y="253"/>
                  <a:pt x="779" y="256"/>
                </a:cubicBezTo>
                <a:cubicBezTo>
                  <a:pt x="781" y="259"/>
                  <a:pt x="782" y="261"/>
                  <a:pt x="783" y="263"/>
                </a:cubicBezTo>
                <a:cubicBezTo>
                  <a:pt x="781" y="263"/>
                  <a:pt x="777" y="259"/>
                  <a:pt x="774" y="258"/>
                </a:cubicBezTo>
                <a:cubicBezTo>
                  <a:pt x="775" y="259"/>
                  <a:pt x="777" y="263"/>
                  <a:pt x="778" y="264"/>
                </a:cubicBezTo>
                <a:cubicBezTo>
                  <a:pt x="779" y="267"/>
                  <a:pt x="779" y="268"/>
                  <a:pt x="780" y="271"/>
                </a:cubicBezTo>
                <a:cubicBezTo>
                  <a:pt x="779" y="271"/>
                  <a:pt x="779" y="271"/>
                  <a:pt x="779" y="272"/>
                </a:cubicBezTo>
                <a:cubicBezTo>
                  <a:pt x="776" y="269"/>
                  <a:pt x="775" y="267"/>
                  <a:pt x="772" y="264"/>
                </a:cubicBezTo>
                <a:cubicBezTo>
                  <a:pt x="771" y="262"/>
                  <a:pt x="772" y="262"/>
                  <a:pt x="771" y="260"/>
                </a:cubicBezTo>
                <a:cubicBezTo>
                  <a:pt x="770" y="259"/>
                  <a:pt x="767" y="254"/>
                  <a:pt x="766" y="252"/>
                </a:cubicBezTo>
                <a:cubicBezTo>
                  <a:pt x="766" y="254"/>
                  <a:pt x="763" y="249"/>
                  <a:pt x="762" y="246"/>
                </a:cubicBezTo>
                <a:cubicBezTo>
                  <a:pt x="763" y="250"/>
                  <a:pt x="761" y="249"/>
                  <a:pt x="764" y="255"/>
                </a:cubicBezTo>
                <a:cubicBezTo>
                  <a:pt x="763" y="252"/>
                  <a:pt x="764" y="254"/>
                  <a:pt x="765" y="256"/>
                </a:cubicBezTo>
                <a:cubicBezTo>
                  <a:pt x="765" y="257"/>
                  <a:pt x="765" y="255"/>
                  <a:pt x="765" y="255"/>
                </a:cubicBezTo>
                <a:cubicBezTo>
                  <a:pt x="766" y="256"/>
                  <a:pt x="766" y="257"/>
                  <a:pt x="766" y="258"/>
                </a:cubicBezTo>
                <a:cubicBezTo>
                  <a:pt x="767" y="259"/>
                  <a:pt x="768" y="260"/>
                  <a:pt x="770" y="260"/>
                </a:cubicBezTo>
                <a:cubicBezTo>
                  <a:pt x="770" y="262"/>
                  <a:pt x="771" y="264"/>
                  <a:pt x="772" y="267"/>
                </a:cubicBezTo>
                <a:cubicBezTo>
                  <a:pt x="771" y="267"/>
                  <a:pt x="768" y="261"/>
                  <a:pt x="769" y="264"/>
                </a:cubicBezTo>
                <a:cubicBezTo>
                  <a:pt x="768" y="262"/>
                  <a:pt x="766" y="259"/>
                  <a:pt x="766" y="260"/>
                </a:cubicBezTo>
                <a:cubicBezTo>
                  <a:pt x="766" y="259"/>
                  <a:pt x="764" y="256"/>
                  <a:pt x="764" y="255"/>
                </a:cubicBezTo>
                <a:cubicBezTo>
                  <a:pt x="763" y="254"/>
                  <a:pt x="762" y="254"/>
                  <a:pt x="761" y="253"/>
                </a:cubicBezTo>
                <a:cubicBezTo>
                  <a:pt x="761" y="252"/>
                  <a:pt x="762" y="253"/>
                  <a:pt x="762" y="252"/>
                </a:cubicBezTo>
                <a:cubicBezTo>
                  <a:pt x="762" y="251"/>
                  <a:pt x="761" y="249"/>
                  <a:pt x="761" y="249"/>
                </a:cubicBezTo>
                <a:cubicBezTo>
                  <a:pt x="757" y="243"/>
                  <a:pt x="757" y="246"/>
                  <a:pt x="752" y="241"/>
                </a:cubicBezTo>
                <a:cubicBezTo>
                  <a:pt x="752" y="241"/>
                  <a:pt x="755" y="244"/>
                  <a:pt x="755" y="245"/>
                </a:cubicBezTo>
                <a:cubicBezTo>
                  <a:pt x="755" y="246"/>
                  <a:pt x="755" y="245"/>
                  <a:pt x="755" y="244"/>
                </a:cubicBezTo>
                <a:cubicBezTo>
                  <a:pt x="755" y="244"/>
                  <a:pt x="755" y="246"/>
                  <a:pt x="756" y="246"/>
                </a:cubicBezTo>
                <a:cubicBezTo>
                  <a:pt x="757" y="248"/>
                  <a:pt x="756" y="247"/>
                  <a:pt x="757" y="249"/>
                </a:cubicBezTo>
                <a:cubicBezTo>
                  <a:pt x="755" y="246"/>
                  <a:pt x="755" y="248"/>
                  <a:pt x="753" y="248"/>
                </a:cubicBezTo>
                <a:cubicBezTo>
                  <a:pt x="752" y="245"/>
                  <a:pt x="751" y="244"/>
                  <a:pt x="750" y="245"/>
                </a:cubicBezTo>
                <a:cubicBezTo>
                  <a:pt x="748" y="242"/>
                  <a:pt x="747" y="243"/>
                  <a:pt x="745" y="239"/>
                </a:cubicBezTo>
                <a:cubicBezTo>
                  <a:pt x="744" y="239"/>
                  <a:pt x="744" y="239"/>
                  <a:pt x="744" y="239"/>
                </a:cubicBezTo>
                <a:cubicBezTo>
                  <a:pt x="743" y="237"/>
                  <a:pt x="741" y="236"/>
                  <a:pt x="739" y="233"/>
                </a:cubicBezTo>
                <a:cubicBezTo>
                  <a:pt x="739" y="232"/>
                  <a:pt x="739" y="231"/>
                  <a:pt x="740" y="231"/>
                </a:cubicBezTo>
                <a:cubicBezTo>
                  <a:pt x="741" y="233"/>
                  <a:pt x="741" y="234"/>
                  <a:pt x="742" y="234"/>
                </a:cubicBezTo>
                <a:cubicBezTo>
                  <a:pt x="742" y="234"/>
                  <a:pt x="741" y="231"/>
                  <a:pt x="743" y="234"/>
                </a:cubicBezTo>
                <a:cubicBezTo>
                  <a:pt x="743" y="233"/>
                  <a:pt x="742" y="232"/>
                  <a:pt x="741" y="231"/>
                </a:cubicBezTo>
                <a:cubicBezTo>
                  <a:pt x="740" y="230"/>
                  <a:pt x="741" y="231"/>
                  <a:pt x="740" y="231"/>
                </a:cubicBezTo>
                <a:cubicBezTo>
                  <a:pt x="739" y="227"/>
                  <a:pt x="737" y="229"/>
                  <a:pt x="736" y="226"/>
                </a:cubicBezTo>
                <a:cubicBezTo>
                  <a:pt x="736" y="227"/>
                  <a:pt x="735" y="226"/>
                  <a:pt x="733" y="224"/>
                </a:cubicBezTo>
                <a:cubicBezTo>
                  <a:pt x="734" y="226"/>
                  <a:pt x="737" y="229"/>
                  <a:pt x="738" y="231"/>
                </a:cubicBezTo>
                <a:cubicBezTo>
                  <a:pt x="735" y="229"/>
                  <a:pt x="728" y="217"/>
                  <a:pt x="726" y="218"/>
                </a:cubicBezTo>
                <a:cubicBezTo>
                  <a:pt x="724" y="215"/>
                  <a:pt x="723" y="213"/>
                  <a:pt x="721" y="210"/>
                </a:cubicBezTo>
                <a:cubicBezTo>
                  <a:pt x="715" y="205"/>
                  <a:pt x="707" y="195"/>
                  <a:pt x="698" y="186"/>
                </a:cubicBezTo>
                <a:cubicBezTo>
                  <a:pt x="698" y="186"/>
                  <a:pt x="701" y="188"/>
                  <a:pt x="700" y="188"/>
                </a:cubicBezTo>
                <a:cubicBezTo>
                  <a:pt x="696" y="184"/>
                  <a:pt x="693" y="182"/>
                  <a:pt x="688" y="177"/>
                </a:cubicBezTo>
                <a:cubicBezTo>
                  <a:pt x="689" y="178"/>
                  <a:pt x="690" y="178"/>
                  <a:pt x="690" y="177"/>
                </a:cubicBezTo>
                <a:cubicBezTo>
                  <a:pt x="689" y="176"/>
                  <a:pt x="689" y="176"/>
                  <a:pt x="689" y="176"/>
                </a:cubicBezTo>
                <a:cubicBezTo>
                  <a:pt x="687" y="174"/>
                  <a:pt x="689" y="177"/>
                  <a:pt x="688" y="177"/>
                </a:cubicBezTo>
                <a:cubicBezTo>
                  <a:pt x="686" y="175"/>
                  <a:pt x="687" y="175"/>
                  <a:pt x="686" y="174"/>
                </a:cubicBezTo>
                <a:cubicBezTo>
                  <a:pt x="684" y="172"/>
                  <a:pt x="686" y="174"/>
                  <a:pt x="684" y="173"/>
                </a:cubicBezTo>
                <a:cubicBezTo>
                  <a:pt x="683" y="172"/>
                  <a:pt x="682" y="169"/>
                  <a:pt x="681" y="170"/>
                </a:cubicBezTo>
                <a:cubicBezTo>
                  <a:pt x="680" y="169"/>
                  <a:pt x="681" y="169"/>
                  <a:pt x="681" y="169"/>
                </a:cubicBezTo>
                <a:cubicBezTo>
                  <a:pt x="680" y="168"/>
                  <a:pt x="679" y="168"/>
                  <a:pt x="678" y="168"/>
                </a:cubicBezTo>
                <a:cubicBezTo>
                  <a:pt x="676" y="165"/>
                  <a:pt x="672" y="163"/>
                  <a:pt x="672" y="161"/>
                </a:cubicBezTo>
                <a:cubicBezTo>
                  <a:pt x="670" y="160"/>
                  <a:pt x="662" y="154"/>
                  <a:pt x="657" y="149"/>
                </a:cubicBezTo>
                <a:cubicBezTo>
                  <a:pt x="660" y="152"/>
                  <a:pt x="654" y="146"/>
                  <a:pt x="654" y="146"/>
                </a:cubicBezTo>
                <a:cubicBezTo>
                  <a:pt x="653" y="145"/>
                  <a:pt x="653" y="145"/>
                  <a:pt x="652" y="145"/>
                </a:cubicBezTo>
                <a:cubicBezTo>
                  <a:pt x="648" y="142"/>
                  <a:pt x="644" y="139"/>
                  <a:pt x="645" y="138"/>
                </a:cubicBezTo>
                <a:cubicBezTo>
                  <a:pt x="641" y="135"/>
                  <a:pt x="641" y="135"/>
                  <a:pt x="641" y="135"/>
                </a:cubicBezTo>
                <a:cubicBezTo>
                  <a:pt x="642" y="137"/>
                  <a:pt x="641" y="136"/>
                  <a:pt x="640" y="136"/>
                </a:cubicBezTo>
                <a:cubicBezTo>
                  <a:pt x="637" y="133"/>
                  <a:pt x="636" y="133"/>
                  <a:pt x="633" y="130"/>
                </a:cubicBezTo>
                <a:cubicBezTo>
                  <a:pt x="633" y="130"/>
                  <a:pt x="632" y="129"/>
                  <a:pt x="633" y="129"/>
                </a:cubicBezTo>
                <a:cubicBezTo>
                  <a:pt x="629" y="126"/>
                  <a:pt x="631" y="129"/>
                  <a:pt x="629" y="128"/>
                </a:cubicBezTo>
                <a:cubicBezTo>
                  <a:pt x="628" y="126"/>
                  <a:pt x="625" y="124"/>
                  <a:pt x="622" y="123"/>
                </a:cubicBezTo>
                <a:cubicBezTo>
                  <a:pt x="626" y="124"/>
                  <a:pt x="620" y="120"/>
                  <a:pt x="618" y="120"/>
                </a:cubicBezTo>
                <a:cubicBezTo>
                  <a:pt x="618" y="120"/>
                  <a:pt x="620" y="122"/>
                  <a:pt x="621" y="122"/>
                </a:cubicBezTo>
                <a:cubicBezTo>
                  <a:pt x="623" y="124"/>
                  <a:pt x="615" y="119"/>
                  <a:pt x="617" y="119"/>
                </a:cubicBezTo>
                <a:cubicBezTo>
                  <a:pt x="614" y="117"/>
                  <a:pt x="614" y="117"/>
                  <a:pt x="614" y="117"/>
                </a:cubicBezTo>
                <a:cubicBezTo>
                  <a:pt x="613" y="116"/>
                  <a:pt x="614" y="118"/>
                  <a:pt x="611" y="116"/>
                </a:cubicBezTo>
                <a:cubicBezTo>
                  <a:pt x="611" y="116"/>
                  <a:pt x="613" y="116"/>
                  <a:pt x="612" y="115"/>
                </a:cubicBezTo>
                <a:cubicBezTo>
                  <a:pt x="610" y="114"/>
                  <a:pt x="612" y="116"/>
                  <a:pt x="610" y="115"/>
                </a:cubicBezTo>
                <a:cubicBezTo>
                  <a:pt x="607" y="112"/>
                  <a:pt x="602" y="111"/>
                  <a:pt x="596" y="106"/>
                </a:cubicBezTo>
                <a:cubicBezTo>
                  <a:pt x="596" y="106"/>
                  <a:pt x="595" y="106"/>
                  <a:pt x="595" y="105"/>
                </a:cubicBezTo>
                <a:cubicBezTo>
                  <a:pt x="594" y="105"/>
                  <a:pt x="594" y="105"/>
                  <a:pt x="594" y="106"/>
                </a:cubicBezTo>
                <a:cubicBezTo>
                  <a:pt x="587" y="101"/>
                  <a:pt x="583" y="99"/>
                  <a:pt x="576" y="95"/>
                </a:cubicBezTo>
                <a:cubicBezTo>
                  <a:pt x="573" y="94"/>
                  <a:pt x="576" y="96"/>
                  <a:pt x="575" y="96"/>
                </a:cubicBezTo>
                <a:cubicBezTo>
                  <a:pt x="575" y="95"/>
                  <a:pt x="571" y="94"/>
                  <a:pt x="571" y="94"/>
                </a:cubicBezTo>
                <a:cubicBezTo>
                  <a:pt x="568" y="92"/>
                  <a:pt x="566" y="90"/>
                  <a:pt x="562" y="88"/>
                </a:cubicBezTo>
                <a:cubicBezTo>
                  <a:pt x="555" y="85"/>
                  <a:pt x="548" y="82"/>
                  <a:pt x="540" y="79"/>
                </a:cubicBezTo>
                <a:cubicBezTo>
                  <a:pt x="540" y="78"/>
                  <a:pt x="540" y="78"/>
                  <a:pt x="540" y="78"/>
                </a:cubicBezTo>
                <a:cubicBezTo>
                  <a:pt x="537" y="77"/>
                  <a:pt x="535" y="76"/>
                  <a:pt x="533" y="75"/>
                </a:cubicBezTo>
                <a:cubicBezTo>
                  <a:pt x="530" y="74"/>
                  <a:pt x="529" y="74"/>
                  <a:pt x="526" y="73"/>
                </a:cubicBezTo>
                <a:cubicBezTo>
                  <a:pt x="526" y="72"/>
                  <a:pt x="526" y="72"/>
                  <a:pt x="526" y="72"/>
                </a:cubicBezTo>
                <a:cubicBezTo>
                  <a:pt x="521" y="71"/>
                  <a:pt x="517" y="70"/>
                  <a:pt x="514" y="68"/>
                </a:cubicBezTo>
                <a:cubicBezTo>
                  <a:pt x="510" y="68"/>
                  <a:pt x="504" y="65"/>
                  <a:pt x="502" y="64"/>
                </a:cubicBezTo>
                <a:cubicBezTo>
                  <a:pt x="500" y="63"/>
                  <a:pt x="502" y="65"/>
                  <a:pt x="502" y="65"/>
                </a:cubicBezTo>
                <a:cubicBezTo>
                  <a:pt x="497" y="64"/>
                  <a:pt x="493" y="62"/>
                  <a:pt x="488" y="60"/>
                </a:cubicBezTo>
                <a:cubicBezTo>
                  <a:pt x="485" y="60"/>
                  <a:pt x="481" y="60"/>
                  <a:pt x="480" y="59"/>
                </a:cubicBezTo>
                <a:cubicBezTo>
                  <a:pt x="483" y="59"/>
                  <a:pt x="485" y="60"/>
                  <a:pt x="484" y="59"/>
                </a:cubicBezTo>
                <a:cubicBezTo>
                  <a:pt x="482" y="58"/>
                  <a:pt x="480" y="59"/>
                  <a:pt x="480" y="58"/>
                </a:cubicBezTo>
                <a:cubicBezTo>
                  <a:pt x="479" y="58"/>
                  <a:pt x="479" y="58"/>
                  <a:pt x="479" y="59"/>
                </a:cubicBezTo>
                <a:cubicBezTo>
                  <a:pt x="474" y="58"/>
                  <a:pt x="470" y="57"/>
                  <a:pt x="468" y="56"/>
                </a:cubicBezTo>
                <a:cubicBezTo>
                  <a:pt x="466" y="56"/>
                  <a:pt x="469" y="57"/>
                  <a:pt x="464" y="56"/>
                </a:cubicBezTo>
                <a:cubicBezTo>
                  <a:pt x="465" y="55"/>
                  <a:pt x="461" y="54"/>
                  <a:pt x="459" y="54"/>
                </a:cubicBezTo>
                <a:cubicBezTo>
                  <a:pt x="459" y="54"/>
                  <a:pt x="459" y="54"/>
                  <a:pt x="458" y="54"/>
                </a:cubicBezTo>
                <a:cubicBezTo>
                  <a:pt x="458" y="54"/>
                  <a:pt x="459" y="54"/>
                  <a:pt x="461" y="54"/>
                </a:cubicBezTo>
                <a:cubicBezTo>
                  <a:pt x="461" y="53"/>
                  <a:pt x="460" y="53"/>
                  <a:pt x="458" y="53"/>
                </a:cubicBezTo>
                <a:cubicBezTo>
                  <a:pt x="457" y="53"/>
                  <a:pt x="456" y="53"/>
                  <a:pt x="456" y="54"/>
                </a:cubicBezTo>
                <a:cubicBezTo>
                  <a:pt x="453" y="53"/>
                  <a:pt x="452" y="52"/>
                  <a:pt x="450" y="52"/>
                </a:cubicBezTo>
                <a:cubicBezTo>
                  <a:pt x="448" y="51"/>
                  <a:pt x="451" y="52"/>
                  <a:pt x="450" y="52"/>
                </a:cubicBezTo>
                <a:cubicBezTo>
                  <a:pt x="442" y="51"/>
                  <a:pt x="434" y="51"/>
                  <a:pt x="428" y="49"/>
                </a:cubicBezTo>
                <a:cubicBezTo>
                  <a:pt x="426" y="49"/>
                  <a:pt x="429" y="50"/>
                  <a:pt x="427" y="50"/>
                </a:cubicBezTo>
                <a:cubicBezTo>
                  <a:pt x="424" y="50"/>
                  <a:pt x="424" y="49"/>
                  <a:pt x="426" y="49"/>
                </a:cubicBezTo>
                <a:cubicBezTo>
                  <a:pt x="426" y="48"/>
                  <a:pt x="425" y="49"/>
                  <a:pt x="423" y="48"/>
                </a:cubicBezTo>
                <a:cubicBezTo>
                  <a:pt x="423" y="49"/>
                  <a:pt x="423" y="49"/>
                  <a:pt x="423" y="49"/>
                </a:cubicBezTo>
                <a:cubicBezTo>
                  <a:pt x="416" y="48"/>
                  <a:pt x="410" y="48"/>
                  <a:pt x="402" y="48"/>
                </a:cubicBezTo>
                <a:cubicBezTo>
                  <a:pt x="404" y="47"/>
                  <a:pt x="401" y="47"/>
                  <a:pt x="397" y="47"/>
                </a:cubicBezTo>
                <a:cubicBezTo>
                  <a:pt x="397" y="46"/>
                  <a:pt x="397" y="46"/>
                  <a:pt x="397" y="46"/>
                </a:cubicBezTo>
                <a:cubicBezTo>
                  <a:pt x="394" y="47"/>
                  <a:pt x="393" y="46"/>
                  <a:pt x="391" y="46"/>
                </a:cubicBezTo>
                <a:cubicBezTo>
                  <a:pt x="389" y="46"/>
                  <a:pt x="395" y="47"/>
                  <a:pt x="393" y="48"/>
                </a:cubicBezTo>
                <a:cubicBezTo>
                  <a:pt x="390" y="47"/>
                  <a:pt x="390" y="47"/>
                  <a:pt x="388" y="47"/>
                </a:cubicBezTo>
                <a:cubicBezTo>
                  <a:pt x="386" y="47"/>
                  <a:pt x="388" y="47"/>
                  <a:pt x="388" y="48"/>
                </a:cubicBezTo>
                <a:cubicBezTo>
                  <a:pt x="385" y="48"/>
                  <a:pt x="385" y="47"/>
                  <a:pt x="382" y="48"/>
                </a:cubicBezTo>
                <a:cubicBezTo>
                  <a:pt x="382" y="47"/>
                  <a:pt x="383" y="47"/>
                  <a:pt x="384" y="47"/>
                </a:cubicBezTo>
                <a:cubicBezTo>
                  <a:pt x="383" y="47"/>
                  <a:pt x="380" y="48"/>
                  <a:pt x="380" y="47"/>
                </a:cubicBezTo>
                <a:cubicBezTo>
                  <a:pt x="379" y="47"/>
                  <a:pt x="380" y="48"/>
                  <a:pt x="377" y="48"/>
                </a:cubicBezTo>
                <a:cubicBezTo>
                  <a:pt x="376" y="47"/>
                  <a:pt x="377" y="47"/>
                  <a:pt x="376" y="47"/>
                </a:cubicBezTo>
                <a:cubicBezTo>
                  <a:pt x="375" y="47"/>
                  <a:pt x="371" y="48"/>
                  <a:pt x="375" y="48"/>
                </a:cubicBezTo>
                <a:cubicBezTo>
                  <a:pt x="374" y="48"/>
                  <a:pt x="373" y="49"/>
                  <a:pt x="371" y="49"/>
                </a:cubicBezTo>
                <a:cubicBezTo>
                  <a:pt x="372" y="48"/>
                  <a:pt x="370" y="48"/>
                  <a:pt x="371" y="47"/>
                </a:cubicBezTo>
                <a:cubicBezTo>
                  <a:pt x="370" y="47"/>
                  <a:pt x="367" y="48"/>
                  <a:pt x="368" y="47"/>
                </a:cubicBezTo>
                <a:cubicBezTo>
                  <a:pt x="365" y="48"/>
                  <a:pt x="363" y="48"/>
                  <a:pt x="361" y="48"/>
                </a:cubicBezTo>
                <a:cubicBezTo>
                  <a:pt x="361" y="47"/>
                  <a:pt x="362" y="47"/>
                  <a:pt x="363" y="47"/>
                </a:cubicBezTo>
                <a:cubicBezTo>
                  <a:pt x="363" y="47"/>
                  <a:pt x="361" y="47"/>
                  <a:pt x="359" y="47"/>
                </a:cubicBezTo>
                <a:cubicBezTo>
                  <a:pt x="358" y="48"/>
                  <a:pt x="355" y="48"/>
                  <a:pt x="351" y="48"/>
                </a:cubicBezTo>
                <a:cubicBezTo>
                  <a:pt x="351" y="49"/>
                  <a:pt x="354" y="48"/>
                  <a:pt x="354" y="49"/>
                </a:cubicBezTo>
                <a:cubicBezTo>
                  <a:pt x="350" y="50"/>
                  <a:pt x="351" y="49"/>
                  <a:pt x="348" y="49"/>
                </a:cubicBezTo>
                <a:cubicBezTo>
                  <a:pt x="350" y="50"/>
                  <a:pt x="344" y="50"/>
                  <a:pt x="342" y="50"/>
                </a:cubicBezTo>
                <a:cubicBezTo>
                  <a:pt x="340" y="50"/>
                  <a:pt x="343" y="50"/>
                  <a:pt x="341" y="51"/>
                </a:cubicBezTo>
                <a:cubicBezTo>
                  <a:pt x="336" y="52"/>
                  <a:pt x="334" y="52"/>
                  <a:pt x="332" y="51"/>
                </a:cubicBezTo>
                <a:cubicBezTo>
                  <a:pt x="334" y="50"/>
                  <a:pt x="335" y="51"/>
                  <a:pt x="335" y="51"/>
                </a:cubicBezTo>
                <a:cubicBezTo>
                  <a:pt x="336" y="51"/>
                  <a:pt x="336" y="51"/>
                  <a:pt x="336" y="51"/>
                </a:cubicBezTo>
                <a:cubicBezTo>
                  <a:pt x="336" y="50"/>
                  <a:pt x="334" y="51"/>
                  <a:pt x="335" y="50"/>
                </a:cubicBezTo>
                <a:cubicBezTo>
                  <a:pt x="331" y="51"/>
                  <a:pt x="331" y="51"/>
                  <a:pt x="331" y="52"/>
                </a:cubicBezTo>
                <a:cubicBezTo>
                  <a:pt x="330" y="51"/>
                  <a:pt x="326" y="51"/>
                  <a:pt x="326" y="52"/>
                </a:cubicBezTo>
                <a:cubicBezTo>
                  <a:pt x="323" y="53"/>
                  <a:pt x="325" y="52"/>
                  <a:pt x="326" y="51"/>
                </a:cubicBezTo>
                <a:cubicBezTo>
                  <a:pt x="326" y="51"/>
                  <a:pt x="322" y="52"/>
                  <a:pt x="321" y="53"/>
                </a:cubicBezTo>
                <a:cubicBezTo>
                  <a:pt x="321" y="53"/>
                  <a:pt x="322" y="53"/>
                  <a:pt x="323" y="53"/>
                </a:cubicBezTo>
                <a:cubicBezTo>
                  <a:pt x="321" y="53"/>
                  <a:pt x="315" y="54"/>
                  <a:pt x="316" y="55"/>
                </a:cubicBezTo>
                <a:cubicBezTo>
                  <a:pt x="314" y="56"/>
                  <a:pt x="314" y="55"/>
                  <a:pt x="312" y="55"/>
                </a:cubicBezTo>
                <a:cubicBezTo>
                  <a:pt x="313" y="55"/>
                  <a:pt x="314" y="54"/>
                  <a:pt x="315" y="54"/>
                </a:cubicBezTo>
                <a:cubicBezTo>
                  <a:pt x="317" y="53"/>
                  <a:pt x="317" y="53"/>
                  <a:pt x="320" y="52"/>
                </a:cubicBezTo>
                <a:cubicBezTo>
                  <a:pt x="319" y="52"/>
                  <a:pt x="314" y="54"/>
                  <a:pt x="313" y="54"/>
                </a:cubicBezTo>
                <a:cubicBezTo>
                  <a:pt x="310" y="54"/>
                  <a:pt x="314" y="54"/>
                  <a:pt x="312" y="55"/>
                </a:cubicBezTo>
                <a:cubicBezTo>
                  <a:pt x="308" y="56"/>
                  <a:pt x="308" y="56"/>
                  <a:pt x="304" y="57"/>
                </a:cubicBezTo>
                <a:cubicBezTo>
                  <a:pt x="305" y="57"/>
                  <a:pt x="307" y="57"/>
                  <a:pt x="307" y="56"/>
                </a:cubicBezTo>
                <a:cubicBezTo>
                  <a:pt x="305" y="56"/>
                  <a:pt x="302" y="58"/>
                  <a:pt x="302" y="58"/>
                </a:cubicBezTo>
                <a:cubicBezTo>
                  <a:pt x="299" y="59"/>
                  <a:pt x="304" y="57"/>
                  <a:pt x="301" y="58"/>
                </a:cubicBezTo>
                <a:cubicBezTo>
                  <a:pt x="301" y="57"/>
                  <a:pt x="304" y="57"/>
                  <a:pt x="303" y="57"/>
                </a:cubicBezTo>
                <a:cubicBezTo>
                  <a:pt x="303" y="57"/>
                  <a:pt x="298" y="58"/>
                  <a:pt x="297" y="58"/>
                </a:cubicBezTo>
                <a:cubicBezTo>
                  <a:pt x="298" y="59"/>
                  <a:pt x="301" y="57"/>
                  <a:pt x="301" y="58"/>
                </a:cubicBezTo>
                <a:cubicBezTo>
                  <a:pt x="296" y="59"/>
                  <a:pt x="295" y="60"/>
                  <a:pt x="292" y="60"/>
                </a:cubicBezTo>
                <a:cubicBezTo>
                  <a:pt x="290" y="61"/>
                  <a:pt x="289" y="61"/>
                  <a:pt x="289" y="62"/>
                </a:cubicBezTo>
                <a:cubicBezTo>
                  <a:pt x="288" y="62"/>
                  <a:pt x="283" y="62"/>
                  <a:pt x="283" y="63"/>
                </a:cubicBezTo>
                <a:cubicBezTo>
                  <a:pt x="279" y="65"/>
                  <a:pt x="279" y="64"/>
                  <a:pt x="276" y="65"/>
                </a:cubicBezTo>
                <a:cubicBezTo>
                  <a:pt x="274" y="66"/>
                  <a:pt x="277" y="66"/>
                  <a:pt x="276" y="66"/>
                </a:cubicBezTo>
                <a:cubicBezTo>
                  <a:pt x="273" y="67"/>
                  <a:pt x="273" y="67"/>
                  <a:pt x="273" y="67"/>
                </a:cubicBezTo>
                <a:cubicBezTo>
                  <a:pt x="275" y="65"/>
                  <a:pt x="264" y="71"/>
                  <a:pt x="260" y="71"/>
                </a:cubicBezTo>
                <a:cubicBezTo>
                  <a:pt x="259" y="72"/>
                  <a:pt x="259" y="72"/>
                  <a:pt x="259" y="73"/>
                </a:cubicBezTo>
                <a:cubicBezTo>
                  <a:pt x="257" y="73"/>
                  <a:pt x="254" y="74"/>
                  <a:pt x="253" y="75"/>
                </a:cubicBezTo>
                <a:cubicBezTo>
                  <a:pt x="253" y="75"/>
                  <a:pt x="253" y="75"/>
                  <a:pt x="253" y="74"/>
                </a:cubicBezTo>
                <a:cubicBezTo>
                  <a:pt x="248" y="77"/>
                  <a:pt x="246" y="78"/>
                  <a:pt x="239" y="81"/>
                </a:cubicBezTo>
                <a:cubicBezTo>
                  <a:pt x="240" y="80"/>
                  <a:pt x="244" y="78"/>
                  <a:pt x="245" y="78"/>
                </a:cubicBezTo>
                <a:cubicBezTo>
                  <a:pt x="244" y="78"/>
                  <a:pt x="244" y="76"/>
                  <a:pt x="243" y="77"/>
                </a:cubicBezTo>
                <a:cubicBezTo>
                  <a:pt x="243" y="77"/>
                  <a:pt x="242" y="76"/>
                  <a:pt x="243" y="75"/>
                </a:cubicBezTo>
                <a:cubicBezTo>
                  <a:pt x="244" y="75"/>
                  <a:pt x="244" y="75"/>
                  <a:pt x="245" y="75"/>
                </a:cubicBezTo>
                <a:cubicBezTo>
                  <a:pt x="247" y="74"/>
                  <a:pt x="243" y="74"/>
                  <a:pt x="246" y="73"/>
                </a:cubicBezTo>
                <a:cubicBezTo>
                  <a:pt x="245" y="73"/>
                  <a:pt x="244" y="74"/>
                  <a:pt x="243" y="75"/>
                </a:cubicBezTo>
                <a:cubicBezTo>
                  <a:pt x="243" y="73"/>
                  <a:pt x="250" y="71"/>
                  <a:pt x="252" y="71"/>
                </a:cubicBezTo>
                <a:cubicBezTo>
                  <a:pt x="254" y="70"/>
                  <a:pt x="251" y="70"/>
                  <a:pt x="254" y="69"/>
                </a:cubicBezTo>
                <a:cubicBezTo>
                  <a:pt x="247" y="70"/>
                  <a:pt x="242" y="74"/>
                  <a:pt x="237" y="76"/>
                </a:cubicBezTo>
                <a:cubicBezTo>
                  <a:pt x="236" y="76"/>
                  <a:pt x="237" y="76"/>
                  <a:pt x="237" y="76"/>
                </a:cubicBezTo>
                <a:cubicBezTo>
                  <a:pt x="235" y="77"/>
                  <a:pt x="233" y="78"/>
                  <a:pt x="233" y="78"/>
                </a:cubicBezTo>
                <a:cubicBezTo>
                  <a:pt x="234" y="77"/>
                  <a:pt x="235" y="77"/>
                  <a:pt x="235" y="76"/>
                </a:cubicBezTo>
                <a:cubicBezTo>
                  <a:pt x="232" y="77"/>
                  <a:pt x="234" y="77"/>
                  <a:pt x="231" y="78"/>
                </a:cubicBezTo>
                <a:cubicBezTo>
                  <a:pt x="229" y="78"/>
                  <a:pt x="231" y="77"/>
                  <a:pt x="227" y="79"/>
                </a:cubicBezTo>
                <a:cubicBezTo>
                  <a:pt x="227" y="78"/>
                  <a:pt x="230" y="77"/>
                  <a:pt x="231" y="76"/>
                </a:cubicBezTo>
                <a:cubicBezTo>
                  <a:pt x="229" y="77"/>
                  <a:pt x="228" y="77"/>
                  <a:pt x="224" y="79"/>
                </a:cubicBezTo>
                <a:cubicBezTo>
                  <a:pt x="227" y="76"/>
                  <a:pt x="236" y="73"/>
                  <a:pt x="233" y="72"/>
                </a:cubicBezTo>
                <a:cubicBezTo>
                  <a:pt x="233" y="72"/>
                  <a:pt x="231" y="72"/>
                  <a:pt x="231" y="72"/>
                </a:cubicBezTo>
                <a:cubicBezTo>
                  <a:pt x="229" y="73"/>
                  <a:pt x="233" y="72"/>
                  <a:pt x="230" y="73"/>
                </a:cubicBezTo>
                <a:cubicBezTo>
                  <a:pt x="230" y="73"/>
                  <a:pt x="232" y="73"/>
                  <a:pt x="232" y="73"/>
                </a:cubicBezTo>
                <a:cubicBezTo>
                  <a:pt x="227" y="76"/>
                  <a:pt x="222" y="80"/>
                  <a:pt x="219" y="80"/>
                </a:cubicBezTo>
                <a:cubicBezTo>
                  <a:pt x="223" y="79"/>
                  <a:pt x="216" y="80"/>
                  <a:pt x="222" y="77"/>
                </a:cubicBezTo>
                <a:cubicBezTo>
                  <a:pt x="221" y="76"/>
                  <a:pt x="216" y="78"/>
                  <a:pt x="218" y="76"/>
                </a:cubicBezTo>
                <a:cubicBezTo>
                  <a:pt x="217" y="77"/>
                  <a:pt x="210" y="80"/>
                  <a:pt x="210" y="82"/>
                </a:cubicBezTo>
                <a:cubicBezTo>
                  <a:pt x="205" y="84"/>
                  <a:pt x="210" y="81"/>
                  <a:pt x="203" y="85"/>
                </a:cubicBezTo>
                <a:cubicBezTo>
                  <a:pt x="207" y="83"/>
                  <a:pt x="205" y="85"/>
                  <a:pt x="206" y="85"/>
                </a:cubicBezTo>
                <a:cubicBezTo>
                  <a:pt x="203" y="87"/>
                  <a:pt x="205" y="85"/>
                  <a:pt x="204" y="85"/>
                </a:cubicBezTo>
                <a:cubicBezTo>
                  <a:pt x="202" y="86"/>
                  <a:pt x="201" y="88"/>
                  <a:pt x="199" y="88"/>
                </a:cubicBezTo>
                <a:cubicBezTo>
                  <a:pt x="199" y="89"/>
                  <a:pt x="199" y="89"/>
                  <a:pt x="198" y="89"/>
                </a:cubicBezTo>
                <a:cubicBezTo>
                  <a:pt x="200" y="89"/>
                  <a:pt x="202" y="86"/>
                  <a:pt x="203" y="86"/>
                </a:cubicBezTo>
                <a:cubicBezTo>
                  <a:pt x="204" y="87"/>
                  <a:pt x="202" y="88"/>
                  <a:pt x="201" y="88"/>
                </a:cubicBezTo>
                <a:cubicBezTo>
                  <a:pt x="201" y="89"/>
                  <a:pt x="205" y="87"/>
                  <a:pt x="202" y="89"/>
                </a:cubicBezTo>
                <a:cubicBezTo>
                  <a:pt x="202" y="89"/>
                  <a:pt x="204" y="88"/>
                  <a:pt x="205" y="87"/>
                </a:cubicBezTo>
                <a:cubicBezTo>
                  <a:pt x="203" y="89"/>
                  <a:pt x="198" y="91"/>
                  <a:pt x="198" y="92"/>
                </a:cubicBezTo>
                <a:cubicBezTo>
                  <a:pt x="198" y="92"/>
                  <a:pt x="198" y="91"/>
                  <a:pt x="195" y="93"/>
                </a:cubicBezTo>
                <a:cubicBezTo>
                  <a:pt x="195" y="92"/>
                  <a:pt x="196" y="92"/>
                  <a:pt x="197" y="91"/>
                </a:cubicBezTo>
                <a:cubicBezTo>
                  <a:pt x="196" y="91"/>
                  <a:pt x="194" y="92"/>
                  <a:pt x="192" y="94"/>
                </a:cubicBezTo>
                <a:cubicBezTo>
                  <a:pt x="191" y="94"/>
                  <a:pt x="190" y="94"/>
                  <a:pt x="190" y="93"/>
                </a:cubicBezTo>
                <a:cubicBezTo>
                  <a:pt x="187" y="95"/>
                  <a:pt x="190" y="94"/>
                  <a:pt x="187" y="96"/>
                </a:cubicBezTo>
                <a:cubicBezTo>
                  <a:pt x="189" y="94"/>
                  <a:pt x="184" y="97"/>
                  <a:pt x="184" y="96"/>
                </a:cubicBezTo>
                <a:cubicBezTo>
                  <a:pt x="182" y="98"/>
                  <a:pt x="180" y="99"/>
                  <a:pt x="179" y="100"/>
                </a:cubicBezTo>
                <a:cubicBezTo>
                  <a:pt x="179" y="99"/>
                  <a:pt x="179" y="98"/>
                  <a:pt x="181" y="98"/>
                </a:cubicBezTo>
                <a:cubicBezTo>
                  <a:pt x="184" y="96"/>
                  <a:pt x="180" y="98"/>
                  <a:pt x="180" y="97"/>
                </a:cubicBezTo>
                <a:cubicBezTo>
                  <a:pt x="184" y="95"/>
                  <a:pt x="186" y="93"/>
                  <a:pt x="191" y="90"/>
                </a:cubicBezTo>
                <a:cubicBezTo>
                  <a:pt x="188" y="92"/>
                  <a:pt x="189" y="92"/>
                  <a:pt x="192" y="90"/>
                </a:cubicBezTo>
                <a:cubicBezTo>
                  <a:pt x="194" y="88"/>
                  <a:pt x="194" y="88"/>
                  <a:pt x="198" y="86"/>
                </a:cubicBezTo>
                <a:cubicBezTo>
                  <a:pt x="200" y="85"/>
                  <a:pt x="196" y="86"/>
                  <a:pt x="200" y="84"/>
                </a:cubicBezTo>
                <a:cubicBezTo>
                  <a:pt x="199" y="85"/>
                  <a:pt x="204" y="82"/>
                  <a:pt x="204" y="84"/>
                </a:cubicBezTo>
                <a:cubicBezTo>
                  <a:pt x="204" y="84"/>
                  <a:pt x="206" y="83"/>
                  <a:pt x="208" y="82"/>
                </a:cubicBezTo>
                <a:cubicBezTo>
                  <a:pt x="208" y="81"/>
                  <a:pt x="209" y="81"/>
                  <a:pt x="209" y="81"/>
                </a:cubicBezTo>
                <a:cubicBezTo>
                  <a:pt x="209" y="80"/>
                  <a:pt x="205" y="82"/>
                  <a:pt x="207" y="82"/>
                </a:cubicBezTo>
                <a:cubicBezTo>
                  <a:pt x="205" y="83"/>
                  <a:pt x="203" y="84"/>
                  <a:pt x="203" y="83"/>
                </a:cubicBezTo>
                <a:cubicBezTo>
                  <a:pt x="206" y="81"/>
                  <a:pt x="206" y="81"/>
                  <a:pt x="206" y="81"/>
                </a:cubicBezTo>
                <a:cubicBezTo>
                  <a:pt x="206" y="81"/>
                  <a:pt x="205" y="82"/>
                  <a:pt x="206" y="82"/>
                </a:cubicBezTo>
                <a:cubicBezTo>
                  <a:pt x="208" y="81"/>
                  <a:pt x="207" y="81"/>
                  <a:pt x="207" y="80"/>
                </a:cubicBezTo>
                <a:cubicBezTo>
                  <a:pt x="208" y="79"/>
                  <a:pt x="209" y="80"/>
                  <a:pt x="210" y="79"/>
                </a:cubicBezTo>
                <a:cubicBezTo>
                  <a:pt x="212" y="78"/>
                  <a:pt x="209" y="81"/>
                  <a:pt x="213" y="79"/>
                </a:cubicBezTo>
                <a:cubicBezTo>
                  <a:pt x="215" y="78"/>
                  <a:pt x="214" y="77"/>
                  <a:pt x="216" y="77"/>
                </a:cubicBezTo>
                <a:cubicBezTo>
                  <a:pt x="218" y="75"/>
                  <a:pt x="218" y="73"/>
                  <a:pt x="217" y="73"/>
                </a:cubicBezTo>
                <a:cubicBezTo>
                  <a:pt x="216" y="74"/>
                  <a:pt x="216" y="74"/>
                  <a:pt x="213" y="75"/>
                </a:cubicBezTo>
                <a:cubicBezTo>
                  <a:pt x="213" y="74"/>
                  <a:pt x="213" y="74"/>
                  <a:pt x="213" y="74"/>
                </a:cubicBezTo>
                <a:cubicBezTo>
                  <a:pt x="219" y="70"/>
                  <a:pt x="218" y="72"/>
                  <a:pt x="221" y="70"/>
                </a:cubicBezTo>
                <a:cubicBezTo>
                  <a:pt x="222" y="70"/>
                  <a:pt x="220" y="71"/>
                  <a:pt x="219" y="72"/>
                </a:cubicBezTo>
                <a:cubicBezTo>
                  <a:pt x="218" y="73"/>
                  <a:pt x="221" y="71"/>
                  <a:pt x="219" y="73"/>
                </a:cubicBezTo>
                <a:cubicBezTo>
                  <a:pt x="219" y="73"/>
                  <a:pt x="223" y="71"/>
                  <a:pt x="222" y="72"/>
                </a:cubicBezTo>
                <a:cubicBezTo>
                  <a:pt x="224" y="71"/>
                  <a:pt x="221" y="72"/>
                  <a:pt x="221" y="71"/>
                </a:cubicBezTo>
                <a:cubicBezTo>
                  <a:pt x="224" y="70"/>
                  <a:pt x="221" y="70"/>
                  <a:pt x="224" y="68"/>
                </a:cubicBezTo>
                <a:cubicBezTo>
                  <a:pt x="224" y="68"/>
                  <a:pt x="224" y="68"/>
                  <a:pt x="224" y="68"/>
                </a:cubicBezTo>
                <a:cubicBezTo>
                  <a:pt x="223" y="68"/>
                  <a:pt x="223" y="69"/>
                  <a:pt x="221" y="70"/>
                </a:cubicBezTo>
                <a:cubicBezTo>
                  <a:pt x="224" y="66"/>
                  <a:pt x="231" y="66"/>
                  <a:pt x="235" y="63"/>
                </a:cubicBezTo>
                <a:cubicBezTo>
                  <a:pt x="234" y="63"/>
                  <a:pt x="233" y="64"/>
                  <a:pt x="234" y="62"/>
                </a:cubicBezTo>
                <a:cubicBezTo>
                  <a:pt x="231" y="63"/>
                  <a:pt x="234" y="63"/>
                  <a:pt x="231" y="64"/>
                </a:cubicBezTo>
                <a:cubicBezTo>
                  <a:pt x="233" y="63"/>
                  <a:pt x="232" y="63"/>
                  <a:pt x="234" y="61"/>
                </a:cubicBezTo>
                <a:cubicBezTo>
                  <a:pt x="236" y="60"/>
                  <a:pt x="235" y="61"/>
                  <a:pt x="234" y="61"/>
                </a:cubicBezTo>
                <a:cubicBezTo>
                  <a:pt x="235" y="61"/>
                  <a:pt x="236" y="61"/>
                  <a:pt x="236" y="62"/>
                </a:cubicBezTo>
                <a:cubicBezTo>
                  <a:pt x="239" y="60"/>
                  <a:pt x="239" y="60"/>
                  <a:pt x="241" y="59"/>
                </a:cubicBezTo>
                <a:cubicBezTo>
                  <a:pt x="240" y="60"/>
                  <a:pt x="244" y="58"/>
                  <a:pt x="245" y="58"/>
                </a:cubicBezTo>
                <a:cubicBezTo>
                  <a:pt x="248" y="57"/>
                  <a:pt x="244" y="57"/>
                  <a:pt x="247" y="57"/>
                </a:cubicBezTo>
                <a:cubicBezTo>
                  <a:pt x="249" y="55"/>
                  <a:pt x="249" y="56"/>
                  <a:pt x="249" y="56"/>
                </a:cubicBezTo>
                <a:cubicBezTo>
                  <a:pt x="248" y="58"/>
                  <a:pt x="246" y="58"/>
                  <a:pt x="244" y="59"/>
                </a:cubicBezTo>
                <a:cubicBezTo>
                  <a:pt x="245" y="59"/>
                  <a:pt x="246" y="59"/>
                  <a:pt x="244" y="61"/>
                </a:cubicBezTo>
                <a:cubicBezTo>
                  <a:pt x="244" y="61"/>
                  <a:pt x="245" y="60"/>
                  <a:pt x="245" y="61"/>
                </a:cubicBezTo>
                <a:cubicBezTo>
                  <a:pt x="245" y="60"/>
                  <a:pt x="245" y="60"/>
                  <a:pt x="246" y="59"/>
                </a:cubicBezTo>
                <a:cubicBezTo>
                  <a:pt x="247" y="59"/>
                  <a:pt x="248" y="59"/>
                  <a:pt x="248" y="59"/>
                </a:cubicBezTo>
                <a:cubicBezTo>
                  <a:pt x="250" y="58"/>
                  <a:pt x="245" y="59"/>
                  <a:pt x="246" y="59"/>
                </a:cubicBezTo>
                <a:cubicBezTo>
                  <a:pt x="248" y="57"/>
                  <a:pt x="253" y="56"/>
                  <a:pt x="253" y="55"/>
                </a:cubicBezTo>
                <a:cubicBezTo>
                  <a:pt x="255" y="54"/>
                  <a:pt x="255" y="55"/>
                  <a:pt x="257" y="55"/>
                </a:cubicBezTo>
                <a:cubicBezTo>
                  <a:pt x="257" y="54"/>
                  <a:pt x="264" y="50"/>
                  <a:pt x="267" y="50"/>
                </a:cubicBezTo>
                <a:cubicBezTo>
                  <a:pt x="271" y="49"/>
                  <a:pt x="268" y="48"/>
                  <a:pt x="268" y="48"/>
                </a:cubicBezTo>
                <a:cubicBezTo>
                  <a:pt x="266" y="49"/>
                  <a:pt x="263" y="49"/>
                  <a:pt x="263" y="50"/>
                </a:cubicBezTo>
                <a:cubicBezTo>
                  <a:pt x="263" y="50"/>
                  <a:pt x="265" y="50"/>
                  <a:pt x="266" y="49"/>
                </a:cubicBezTo>
                <a:cubicBezTo>
                  <a:pt x="263" y="51"/>
                  <a:pt x="256" y="53"/>
                  <a:pt x="253" y="55"/>
                </a:cubicBezTo>
                <a:cubicBezTo>
                  <a:pt x="253" y="54"/>
                  <a:pt x="252" y="54"/>
                  <a:pt x="254" y="53"/>
                </a:cubicBezTo>
                <a:cubicBezTo>
                  <a:pt x="256" y="52"/>
                  <a:pt x="258" y="52"/>
                  <a:pt x="258" y="51"/>
                </a:cubicBezTo>
                <a:cubicBezTo>
                  <a:pt x="261" y="50"/>
                  <a:pt x="259" y="52"/>
                  <a:pt x="257" y="52"/>
                </a:cubicBezTo>
                <a:cubicBezTo>
                  <a:pt x="261" y="51"/>
                  <a:pt x="263" y="49"/>
                  <a:pt x="267" y="48"/>
                </a:cubicBezTo>
                <a:cubicBezTo>
                  <a:pt x="262" y="49"/>
                  <a:pt x="253" y="52"/>
                  <a:pt x="247" y="55"/>
                </a:cubicBezTo>
                <a:cubicBezTo>
                  <a:pt x="244" y="56"/>
                  <a:pt x="242" y="56"/>
                  <a:pt x="242" y="55"/>
                </a:cubicBezTo>
                <a:cubicBezTo>
                  <a:pt x="240" y="56"/>
                  <a:pt x="242" y="56"/>
                  <a:pt x="242" y="57"/>
                </a:cubicBezTo>
                <a:cubicBezTo>
                  <a:pt x="240" y="57"/>
                  <a:pt x="241" y="58"/>
                  <a:pt x="239" y="58"/>
                </a:cubicBezTo>
                <a:cubicBezTo>
                  <a:pt x="238" y="58"/>
                  <a:pt x="240" y="57"/>
                  <a:pt x="239" y="57"/>
                </a:cubicBezTo>
                <a:cubicBezTo>
                  <a:pt x="238" y="57"/>
                  <a:pt x="236" y="58"/>
                  <a:pt x="234" y="59"/>
                </a:cubicBezTo>
                <a:cubicBezTo>
                  <a:pt x="233" y="60"/>
                  <a:pt x="235" y="59"/>
                  <a:pt x="234" y="60"/>
                </a:cubicBezTo>
                <a:cubicBezTo>
                  <a:pt x="236" y="59"/>
                  <a:pt x="235" y="59"/>
                  <a:pt x="235" y="59"/>
                </a:cubicBezTo>
                <a:cubicBezTo>
                  <a:pt x="237" y="57"/>
                  <a:pt x="237" y="58"/>
                  <a:pt x="239" y="58"/>
                </a:cubicBezTo>
                <a:cubicBezTo>
                  <a:pt x="238" y="59"/>
                  <a:pt x="227" y="63"/>
                  <a:pt x="229" y="64"/>
                </a:cubicBezTo>
                <a:cubicBezTo>
                  <a:pt x="228" y="64"/>
                  <a:pt x="227" y="64"/>
                  <a:pt x="226" y="64"/>
                </a:cubicBezTo>
                <a:cubicBezTo>
                  <a:pt x="229" y="61"/>
                  <a:pt x="225" y="63"/>
                  <a:pt x="223" y="62"/>
                </a:cubicBezTo>
                <a:cubicBezTo>
                  <a:pt x="222" y="63"/>
                  <a:pt x="222" y="63"/>
                  <a:pt x="220" y="64"/>
                </a:cubicBezTo>
                <a:cubicBezTo>
                  <a:pt x="220" y="64"/>
                  <a:pt x="221" y="63"/>
                  <a:pt x="221" y="63"/>
                </a:cubicBezTo>
                <a:cubicBezTo>
                  <a:pt x="216" y="65"/>
                  <a:pt x="222" y="64"/>
                  <a:pt x="217" y="66"/>
                </a:cubicBezTo>
                <a:cubicBezTo>
                  <a:pt x="217" y="65"/>
                  <a:pt x="218" y="65"/>
                  <a:pt x="218" y="64"/>
                </a:cubicBezTo>
                <a:cubicBezTo>
                  <a:pt x="213" y="68"/>
                  <a:pt x="214" y="68"/>
                  <a:pt x="210" y="70"/>
                </a:cubicBezTo>
                <a:cubicBezTo>
                  <a:pt x="209" y="69"/>
                  <a:pt x="209" y="69"/>
                  <a:pt x="209" y="69"/>
                </a:cubicBezTo>
                <a:cubicBezTo>
                  <a:pt x="209" y="69"/>
                  <a:pt x="207" y="71"/>
                  <a:pt x="205" y="72"/>
                </a:cubicBezTo>
                <a:cubicBezTo>
                  <a:pt x="205" y="72"/>
                  <a:pt x="207" y="72"/>
                  <a:pt x="204" y="74"/>
                </a:cubicBezTo>
                <a:cubicBezTo>
                  <a:pt x="204" y="73"/>
                  <a:pt x="205" y="72"/>
                  <a:pt x="203" y="73"/>
                </a:cubicBezTo>
                <a:cubicBezTo>
                  <a:pt x="201" y="75"/>
                  <a:pt x="199" y="76"/>
                  <a:pt x="198" y="77"/>
                </a:cubicBezTo>
                <a:cubicBezTo>
                  <a:pt x="199" y="76"/>
                  <a:pt x="202" y="75"/>
                  <a:pt x="198" y="78"/>
                </a:cubicBezTo>
                <a:cubicBezTo>
                  <a:pt x="199" y="78"/>
                  <a:pt x="201" y="77"/>
                  <a:pt x="203" y="75"/>
                </a:cubicBezTo>
                <a:cubicBezTo>
                  <a:pt x="203" y="76"/>
                  <a:pt x="196" y="80"/>
                  <a:pt x="194" y="81"/>
                </a:cubicBezTo>
                <a:cubicBezTo>
                  <a:pt x="197" y="79"/>
                  <a:pt x="196" y="79"/>
                  <a:pt x="197" y="77"/>
                </a:cubicBezTo>
                <a:cubicBezTo>
                  <a:pt x="194" y="79"/>
                  <a:pt x="195" y="78"/>
                  <a:pt x="192" y="80"/>
                </a:cubicBezTo>
                <a:cubicBezTo>
                  <a:pt x="191" y="80"/>
                  <a:pt x="192" y="80"/>
                  <a:pt x="192" y="81"/>
                </a:cubicBezTo>
                <a:cubicBezTo>
                  <a:pt x="187" y="83"/>
                  <a:pt x="184" y="85"/>
                  <a:pt x="179" y="89"/>
                </a:cubicBezTo>
                <a:cubicBezTo>
                  <a:pt x="179" y="89"/>
                  <a:pt x="180" y="89"/>
                  <a:pt x="180" y="89"/>
                </a:cubicBezTo>
                <a:cubicBezTo>
                  <a:pt x="181" y="88"/>
                  <a:pt x="181" y="88"/>
                  <a:pt x="183" y="87"/>
                </a:cubicBezTo>
                <a:cubicBezTo>
                  <a:pt x="182" y="88"/>
                  <a:pt x="182" y="89"/>
                  <a:pt x="182" y="90"/>
                </a:cubicBezTo>
                <a:cubicBezTo>
                  <a:pt x="179" y="91"/>
                  <a:pt x="178" y="93"/>
                  <a:pt x="177" y="92"/>
                </a:cubicBezTo>
                <a:cubicBezTo>
                  <a:pt x="176" y="94"/>
                  <a:pt x="174" y="95"/>
                  <a:pt x="172" y="96"/>
                </a:cubicBezTo>
                <a:cubicBezTo>
                  <a:pt x="171" y="96"/>
                  <a:pt x="173" y="94"/>
                  <a:pt x="173" y="94"/>
                </a:cubicBezTo>
                <a:cubicBezTo>
                  <a:pt x="169" y="96"/>
                  <a:pt x="172" y="96"/>
                  <a:pt x="171" y="97"/>
                </a:cubicBezTo>
                <a:cubicBezTo>
                  <a:pt x="171" y="97"/>
                  <a:pt x="172" y="96"/>
                  <a:pt x="173" y="95"/>
                </a:cubicBezTo>
                <a:cubicBezTo>
                  <a:pt x="173" y="96"/>
                  <a:pt x="169" y="100"/>
                  <a:pt x="173" y="97"/>
                </a:cubicBezTo>
                <a:cubicBezTo>
                  <a:pt x="171" y="99"/>
                  <a:pt x="166" y="102"/>
                  <a:pt x="166" y="101"/>
                </a:cubicBezTo>
                <a:cubicBezTo>
                  <a:pt x="169" y="98"/>
                  <a:pt x="167" y="98"/>
                  <a:pt x="169" y="97"/>
                </a:cubicBezTo>
                <a:cubicBezTo>
                  <a:pt x="168" y="96"/>
                  <a:pt x="165" y="99"/>
                  <a:pt x="163" y="101"/>
                </a:cubicBezTo>
                <a:cubicBezTo>
                  <a:pt x="163" y="101"/>
                  <a:pt x="162" y="101"/>
                  <a:pt x="162" y="101"/>
                </a:cubicBezTo>
                <a:cubicBezTo>
                  <a:pt x="162" y="101"/>
                  <a:pt x="163" y="100"/>
                  <a:pt x="163" y="100"/>
                </a:cubicBezTo>
                <a:cubicBezTo>
                  <a:pt x="163" y="100"/>
                  <a:pt x="162" y="100"/>
                  <a:pt x="161" y="101"/>
                </a:cubicBezTo>
                <a:cubicBezTo>
                  <a:pt x="162" y="102"/>
                  <a:pt x="162" y="102"/>
                  <a:pt x="158" y="102"/>
                </a:cubicBezTo>
                <a:cubicBezTo>
                  <a:pt x="157" y="104"/>
                  <a:pt x="161" y="102"/>
                  <a:pt x="157" y="105"/>
                </a:cubicBezTo>
                <a:cubicBezTo>
                  <a:pt x="157" y="104"/>
                  <a:pt x="155" y="105"/>
                  <a:pt x="154" y="106"/>
                </a:cubicBezTo>
                <a:cubicBezTo>
                  <a:pt x="157" y="105"/>
                  <a:pt x="154" y="107"/>
                  <a:pt x="154" y="107"/>
                </a:cubicBezTo>
                <a:cubicBezTo>
                  <a:pt x="152" y="109"/>
                  <a:pt x="153" y="108"/>
                  <a:pt x="151" y="109"/>
                </a:cubicBezTo>
                <a:cubicBezTo>
                  <a:pt x="151" y="109"/>
                  <a:pt x="153" y="108"/>
                  <a:pt x="152" y="108"/>
                </a:cubicBezTo>
                <a:cubicBezTo>
                  <a:pt x="152" y="108"/>
                  <a:pt x="152" y="108"/>
                  <a:pt x="151" y="108"/>
                </a:cubicBezTo>
                <a:cubicBezTo>
                  <a:pt x="150" y="109"/>
                  <a:pt x="151" y="109"/>
                  <a:pt x="150" y="110"/>
                </a:cubicBezTo>
                <a:cubicBezTo>
                  <a:pt x="150" y="111"/>
                  <a:pt x="153" y="108"/>
                  <a:pt x="150" y="111"/>
                </a:cubicBezTo>
                <a:cubicBezTo>
                  <a:pt x="151" y="111"/>
                  <a:pt x="154" y="109"/>
                  <a:pt x="154" y="108"/>
                </a:cubicBezTo>
                <a:cubicBezTo>
                  <a:pt x="154" y="109"/>
                  <a:pt x="156" y="108"/>
                  <a:pt x="156" y="108"/>
                </a:cubicBezTo>
                <a:cubicBezTo>
                  <a:pt x="154" y="110"/>
                  <a:pt x="154" y="109"/>
                  <a:pt x="153" y="110"/>
                </a:cubicBezTo>
                <a:cubicBezTo>
                  <a:pt x="152" y="111"/>
                  <a:pt x="149" y="113"/>
                  <a:pt x="149" y="114"/>
                </a:cubicBezTo>
                <a:cubicBezTo>
                  <a:pt x="150" y="113"/>
                  <a:pt x="153" y="110"/>
                  <a:pt x="154" y="111"/>
                </a:cubicBezTo>
                <a:cubicBezTo>
                  <a:pt x="151" y="113"/>
                  <a:pt x="152" y="113"/>
                  <a:pt x="153" y="113"/>
                </a:cubicBezTo>
                <a:cubicBezTo>
                  <a:pt x="153" y="113"/>
                  <a:pt x="152" y="113"/>
                  <a:pt x="152" y="113"/>
                </a:cubicBezTo>
                <a:cubicBezTo>
                  <a:pt x="152" y="113"/>
                  <a:pt x="152" y="114"/>
                  <a:pt x="152" y="114"/>
                </a:cubicBezTo>
                <a:cubicBezTo>
                  <a:pt x="150" y="114"/>
                  <a:pt x="153" y="111"/>
                  <a:pt x="149" y="114"/>
                </a:cubicBezTo>
                <a:cubicBezTo>
                  <a:pt x="149" y="116"/>
                  <a:pt x="146" y="119"/>
                  <a:pt x="150" y="117"/>
                </a:cubicBezTo>
                <a:cubicBezTo>
                  <a:pt x="149" y="118"/>
                  <a:pt x="149" y="118"/>
                  <a:pt x="149" y="118"/>
                </a:cubicBezTo>
                <a:cubicBezTo>
                  <a:pt x="147" y="120"/>
                  <a:pt x="146" y="119"/>
                  <a:pt x="147" y="118"/>
                </a:cubicBezTo>
                <a:cubicBezTo>
                  <a:pt x="144" y="118"/>
                  <a:pt x="140" y="124"/>
                  <a:pt x="138" y="124"/>
                </a:cubicBezTo>
                <a:cubicBezTo>
                  <a:pt x="139" y="124"/>
                  <a:pt x="136" y="126"/>
                  <a:pt x="136" y="127"/>
                </a:cubicBezTo>
                <a:cubicBezTo>
                  <a:pt x="137" y="127"/>
                  <a:pt x="140" y="125"/>
                  <a:pt x="143" y="122"/>
                </a:cubicBezTo>
                <a:cubicBezTo>
                  <a:pt x="143" y="122"/>
                  <a:pt x="143" y="122"/>
                  <a:pt x="143" y="122"/>
                </a:cubicBezTo>
                <a:cubicBezTo>
                  <a:pt x="144" y="121"/>
                  <a:pt x="142" y="123"/>
                  <a:pt x="144" y="123"/>
                </a:cubicBezTo>
                <a:cubicBezTo>
                  <a:pt x="142" y="122"/>
                  <a:pt x="139" y="127"/>
                  <a:pt x="138" y="126"/>
                </a:cubicBezTo>
                <a:cubicBezTo>
                  <a:pt x="135" y="128"/>
                  <a:pt x="135" y="129"/>
                  <a:pt x="134" y="130"/>
                </a:cubicBezTo>
                <a:cubicBezTo>
                  <a:pt x="137" y="129"/>
                  <a:pt x="137" y="128"/>
                  <a:pt x="139" y="127"/>
                </a:cubicBezTo>
                <a:cubicBezTo>
                  <a:pt x="139" y="128"/>
                  <a:pt x="140" y="127"/>
                  <a:pt x="139" y="128"/>
                </a:cubicBezTo>
                <a:cubicBezTo>
                  <a:pt x="140" y="128"/>
                  <a:pt x="141" y="127"/>
                  <a:pt x="141" y="127"/>
                </a:cubicBezTo>
                <a:cubicBezTo>
                  <a:pt x="142" y="126"/>
                  <a:pt x="142" y="126"/>
                  <a:pt x="142" y="126"/>
                </a:cubicBezTo>
                <a:cubicBezTo>
                  <a:pt x="143" y="125"/>
                  <a:pt x="144" y="125"/>
                  <a:pt x="146" y="123"/>
                </a:cubicBezTo>
                <a:cubicBezTo>
                  <a:pt x="147" y="121"/>
                  <a:pt x="151" y="120"/>
                  <a:pt x="154" y="116"/>
                </a:cubicBezTo>
                <a:cubicBezTo>
                  <a:pt x="159" y="114"/>
                  <a:pt x="160" y="110"/>
                  <a:pt x="162" y="111"/>
                </a:cubicBezTo>
                <a:cubicBezTo>
                  <a:pt x="165" y="107"/>
                  <a:pt x="169" y="106"/>
                  <a:pt x="173" y="103"/>
                </a:cubicBezTo>
                <a:cubicBezTo>
                  <a:pt x="175" y="101"/>
                  <a:pt x="172" y="103"/>
                  <a:pt x="174" y="102"/>
                </a:cubicBezTo>
                <a:cubicBezTo>
                  <a:pt x="175" y="101"/>
                  <a:pt x="176" y="101"/>
                  <a:pt x="178" y="100"/>
                </a:cubicBezTo>
                <a:cubicBezTo>
                  <a:pt x="174" y="104"/>
                  <a:pt x="169" y="106"/>
                  <a:pt x="163" y="111"/>
                </a:cubicBezTo>
                <a:cubicBezTo>
                  <a:pt x="166" y="111"/>
                  <a:pt x="178" y="99"/>
                  <a:pt x="183" y="98"/>
                </a:cubicBezTo>
                <a:cubicBezTo>
                  <a:pt x="183" y="98"/>
                  <a:pt x="180" y="101"/>
                  <a:pt x="183" y="99"/>
                </a:cubicBezTo>
                <a:cubicBezTo>
                  <a:pt x="183" y="100"/>
                  <a:pt x="177" y="103"/>
                  <a:pt x="177" y="104"/>
                </a:cubicBezTo>
                <a:cubicBezTo>
                  <a:pt x="173" y="106"/>
                  <a:pt x="172" y="108"/>
                  <a:pt x="168" y="110"/>
                </a:cubicBezTo>
                <a:cubicBezTo>
                  <a:pt x="168" y="111"/>
                  <a:pt x="168" y="111"/>
                  <a:pt x="168" y="111"/>
                </a:cubicBezTo>
                <a:cubicBezTo>
                  <a:pt x="170" y="109"/>
                  <a:pt x="173" y="108"/>
                  <a:pt x="176" y="106"/>
                </a:cubicBezTo>
                <a:cubicBezTo>
                  <a:pt x="175" y="107"/>
                  <a:pt x="175" y="107"/>
                  <a:pt x="176" y="107"/>
                </a:cubicBezTo>
                <a:cubicBezTo>
                  <a:pt x="173" y="109"/>
                  <a:pt x="173" y="109"/>
                  <a:pt x="169" y="112"/>
                </a:cubicBezTo>
                <a:cubicBezTo>
                  <a:pt x="168" y="112"/>
                  <a:pt x="168" y="112"/>
                  <a:pt x="168" y="112"/>
                </a:cubicBezTo>
                <a:cubicBezTo>
                  <a:pt x="166" y="114"/>
                  <a:pt x="163" y="116"/>
                  <a:pt x="159" y="119"/>
                </a:cubicBezTo>
                <a:cubicBezTo>
                  <a:pt x="160" y="120"/>
                  <a:pt x="165" y="115"/>
                  <a:pt x="166" y="114"/>
                </a:cubicBezTo>
                <a:cubicBezTo>
                  <a:pt x="167" y="114"/>
                  <a:pt x="166" y="114"/>
                  <a:pt x="166" y="114"/>
                </a:cubicBezTo>
                <a:cubicBezTo>
                  <a:pt x="164" y="116"/>
                  <a:pt x="168" y="113"/>
                  <a:pt x="168" y="114"/>
                </a:cubicBezTo>
                <a:cubicBezTo>
                  <a:pt x="169" y="112"/>
                  <a:pt x="172" y="111"/>
                  <a:pt x="175" y="108"/>
                </a:cubicBezTo>
                <a:cubicBezTo>
                  <a:pt x="175" y="109"/>
                  <a:pt x="174" y="110"/>
                  <a:pt x="174" y="110"/>
                </a:cubicBezTo>
                <a:cubicBezTo>
                  <a:pt x="176" y="108"/>
                  <a:pt x="181" y="104"/>
                  <a:pt x="183" y="104"/>
                </a:cubicBezTo>
                <a:cubicBezTo>
                  <a:pt x="185" y="102"/>
                  <a:pt x="189" y="100"/>
                  <a:pt x="190" y="98"/>
                </a:cubicBezTo>
                <a:cubicBezTo>
                  <a:pt x="191" y="98"/>
                  <a:pt x="196" y="95"/>
                  <a:pt x="199" y="93"/>
                </a:cubicBezTo>
                <a:cubicBezTo>
                  <a:pt x="199" y="93"/>
                  <a:pt x="198" y="94"/>
                  <a:pt x="198" y="94"/>
                </a:cubicBezTo>
                <a:cubicBezTo>
                  <a:pt x="203" y="90"/>
                  <a:pt x="208" y="88"/>
                  <a:pt x="215" y="83"/>
                </a:cubicBezTo>
                <a:cubicBezTo>
                  <a:pt x="214" y="84"/>
                  <a:pt x="214" y="85"/>
                  <a:pt x="215" y="84"/>
                </a:cubicBezTo>
                <a:cubicBezTo>
                  <a:pt x="218" y="83"/>
                  <a:pt x="214" y="85"/>
                  <a:pt x="215" y="85"/>
                </a:cubicBezTo>
                <a:cubicBezTo>
                  <a:pt x="212" y="86"/>
                  <a:pt x="211" y="87"/>
                  <a:pt x="208" y="88"/>
                </a:cubicBezTo>
                <a:cubicBezTo>
                  <a:pt x="206" y="89"/>
                  <a:pt x="209" y="88"/>
                  <a:pt x="209" y="89"/>
                </a:cubicBezTo>
                <a:cubicBezTo>
                  <a:pt x="204" y="91"/>
                  <a:pt x="202" y="93"/>
                  <a:pt x="200" y="95"/>
                </a:cubicBezTo>
                <a:cubicBezTo>
                  <a:pt x="198" y="95"/>
                  <a:pt x="196" y="97"/>
                  <a:pt x="194" y="98"/>
                </a:cubicBezTo>
                <a:cubicBezTo>
                  <a:pt x="193" y="99"/>
                  <a:pt x="193" y="99"/>
                  <a:pt x="193" y="99"/>
                </a:cubicBezTo>
                <a:cubicBezTo>
                  <a:pt x="190" y="100"/>
                  <a:pt x="188" y="102"/>
                  <a:pt x="184" y="105"/>
                </a:cubicBezTo>
                <a:cubicBezTo>
                  <a:pt x="184" y="104"/>
                  <a:pt x="184" y="104"/>
                  <a:pt x="184" y="104"/>
                </a:cubicBezTo>
                <a:cubicBezTo>
                  <a:pt x="183" y="105"/>
                  <a:pt x="182" y="106"/>
                  <a:pt x="182" y="106"/>
                </a:cubicBezTo>
                <a:cubicBezTo>
                  <a:pt x="182" y="106"/>
                  <a:pt x="175" y="111"/>
                  <a:pt x="170" y="115"/>
                </a:cubicBezTo>
                <a:cubicBezTo>
                  <a:pt x="170" y="115"/>
                  <a:pt x="170" y="115"/>
                  <a:pt x="170" y="115"/>
                </a:cubicBezTo>
                <a:cubicBezTo>
                  <a:pt x="164" y="119"/>
                  <a:pt x="167" y="119"/>
                  <a:pt x="161" y="123"/>
                </a:cubicBezTo>
                <a:cubicBezTo>
                  <a:pt x="162" y="123"/>
                  <a:pt x="161" y="124"/>
                  <a:pt x="162" y="123"/>
                </a:cubicBezTo>
                <a:cubicBezTo>
                  <a:pt x="161" y="124"/>
                  <a:pt x="156" y="128"/>
                  <a:pt x="156" y="128"/>
                </a:cubicBezTo>
                <a:cubicBezTo>
                  <a:pt x="155" y="128"/>
                  <a:pt x="156" y="129"/>
                  <a:pt x="155" y="130"/>
                </a:cubicBezTo>
                <a:cubicBezTo>
                  <a:pt x="152" y="130"/>
                  <a:pt x="154" y="128"/>
                  <a:pt x="154" y="127"/>
                </a:cubicBezTo>
                <a:cubicBezTo>
                  <a:pt x="151" y="129"/>
                  <a:pt x="154" y="128"/>
                  <a:pt x="151" y="131"/>
                </a:cubicBezTo>
                <a:cubicBezTo>
                  <a:pt x="151" y="131"/>
                  <a:pt x="152" y="130"/>
                  <a:pt x="152" y="131"/>
                </a:cubicBezTo>
                <a:cubicBezTo>
                  <a:pt x="149" y="133"/>
                  <a:pt x="150" y="133"/>
                  <a:pt x="148" y="135"/>
                </a:cubicBezTo>
                <a:cubicBezTo>
                  <a:pt x="146" y="136"/>
                  <a:pt x="146" y="137"/>
                  <a:pt x="145" y="138"/>
                </a:cubicBezTo>
                <a:cubicBezTo>
                  <a:pt x="145" y="137"/>
                  <a:pt x="145" y="137"/>
                  <a:pt x="142" y="139"/>
                </a:cubicBezTo>
                <a:cubicBezTo>
                  <a:pt x="140" y="141"/>
                  <a:pt x="144" y="138"/>
                  <a:pt x="143" y="139"/>
                </a:cubicBezTo>
                <a:cubicBezTo>
                  <a:pt x="142" y="140"/>
                  <a:pt x="139" y="142"/>
                  <a:pt x="141" y="141"/>
                </a:cubicBezTo>
                <a:cubicBezTo>
                  <a:pt x="141" y="141"/>
                  <a:pt x="139" y="143"/>
                  <a:pt x="139" y="142"/>
                </a:cubicBezTo>
                <a:cubicBezTo>
                  <a:pt x="138" y="144"/>
                  <a:pt x="137" y="145"/>
                  <a:pt x="135" y="148"/>
                </a:cubicBezTo>
                <a:cubicBezTo>
                  <a:pt x="139" y="145"/>
                  <a:pt x="143" y="141"/>
                  <a:pt x="147" y="137"/>
                </a:cubicBezTo>
                <a:cubicBezTo>
                  <a:pt x="149" y="137"/>
                  <a:pt x="147" y="138"/>
                  <a:pt x="149" y="137"/>
                </a:cubicBezTo>
                <a:cubicBezTo>
                  <a:pt x="151" y="135"/>
                  <a:pt x="151" y="135"/>
                  <a:pt x="151" y="134"/>
                </a:cubicBezTo>
                <a:cubicBezTo>
                  <a:pt x="154" y="132"/>
                  <a:pt x="152" y="134"/>
                  <a:pt x="151" y="135"/>
                </a:cubicBezTo>
                <a:cubicBezTo>
                  <a:pt x="152" y="135"/>
                  <a:pt x="154" y="133"/>
                  <a:pt x="156" y="132"/>
                </a:cubicBezTo>
                <a:cubicBezTo>
                  <a:pt x="153" y="132"/>
                  <a:pt x="159" y="128"/>
                  <a:pt x="161" y="127"/>
                </a:cubicBezTo>
                <a:cubicBezTo>
                  <a:pt x="163" y="125"/>
                  <a:pt x="159" y="129"/>
                  <a:pt x="157" y="130"/>
                </a:cubicBezTo>
                <a:cubicBezTo>
                  <a:pt x="159" y="130"/>
                  <a:pt x="156" y="132"/>
                  <a:pt x="156" y="133"/>
                </a:cubicBezTo>
                <a:cubicBezTo>
                  <a:pt x="155" y="134"/>
                  <a:pt x="150" y="138"/>
                  <a:pt x="150" y="139"/>
                </a:cubicBezTo>
                <a:cubicBezTo>
                  <a:pt x="148" y="140"/>
                  <a:pt x="146" y="141"/>
                  <a:pt x="145" y="143"/>
                </a:cubicBezTo>
                <a:cubicBezTo>
                  <a:pt x="144" y="143"/>
                  <a:pt x="145" y="143"/>
                  <a:pt x="145" y="142"/>
                </a:cubicBezTo>
                <a:cubicBezTo>
                  <a:pt x="144" y="145"/>
                  <a:pt x="143" y="144"/>
                  <a:pt x="141" y="145"/>
                </a:cubicBezTo>
                <a:cubicBezTo>
                  <a:pt x="139" y="147"/>
                  <a:pt x="142" y="145"/>
                  <a:pt x="142" y="146"/>
                </a:cubicBezTo>
                <a:cubicBezTo>
                  <a:pt x="140" y="147"/>
                  <a:pt x="141" y="147"/>
                  <a:pt x="139" y="148"/>
                </a:cubicBezTo>
                <a:cubicBezTo>
                  <a:pt x="138" y="148"/>
                  <a:pt x="138" y="147"/>
                  <a:pt x="140" y="145"/>
                </a:cubicBezTo>
                <a:cubicBezTo>
                  <a:pt x="140" y="145"/>
                  <a:pt x="139" y="145"/>
                  <a:pt x="139" y="145"/>
                </a:cubicBezTo>
                <a:cubicBezTo>
                  <a:pt x="137" y="148"/>
                  <a:pt x="135" y="150"/>
                  <a:pt x="136" y="151"/>
                </a:cubicBezTo>
                <a:cubicBezTo>
                  <a:pt x="134" y="153"/>
                  <a:pt x="135" y="151"/>
                  <a:pt x="133" y="152"/>
                </a:cubicBezTo>
                <a:cubicBezTo>
                  <a:pt x="133" y="153"/>
                  <a:pt x="134" y="153"/>
                  <a:pt x="131" y="156"/>
                </a:cubicBezTo>
                <a:cubicBezTo>
                  <a:pt x="131" y="155"/>
                  <a:pt x="131" y="155"/>
                  <a:pt x="130" y="155"/>
                </a:cubicBezTo>
                <a:cubicBezTo>
                  <a:pt x="130" y="156"/>
                  <a:pt x="129" y="157"/>
                  <a:pt x="129" y="158"/>
                </a:cubicBezTo>
                <a:cubicBezTo>
                  <a:pt x="125" y="161"/>
                  <a:pt x="122" y="164"/>
                  <a:pt x="119" y="167"/>
                </a:cubicBezTo>
                <a:cubicBezTo>
                  <a:pt x="118" y="168"/>
                  <a:pt x="118" y="168"/>
                  <a:pt x="118" y="168"/>
                </a:cubicBezTo>
                <a:cubicBezTo>
                  <a:pt x="116" y="169"/>
                  <a:pt x="117" y="169"/>
                  <a:pt x="115" y="171"/>
                </a:cubicBezTo>
                <a:cubicBezTo>
                  <a:pt x="113" y="171"/>
                  <a:pt x="111" y="174"/>
                  <a:pt x="109" y="175"/>
                </a:cubicBezTo>
                <a:cubicBezTo>
                  <a:pt x="110" y="174"/>
                  <a:pt x="110" y="174"/>
                  <a:pt x="110" y="173"/>
                </a:cubicBezTo>
                <a:cubicBezTo>
                  <a:pt x="114" y="170"/>
                  <a:pt x="118" y="163"/>
                  <a:pt x="121" y="162"/>
                </a:cubicBezTo>
                <a:cubicBezTo>
                  <a:pt x="125" y="157"/>
                  <a:pt x="129" y="153"/>
                  <a:pt x="133" y="151"/>
                </a:cubicBezTo>
                <a:cubicBezTo>
                  <a:pt x="134" y="150"/>
                  <a:pt x="134" y="149"/>
                  <a:pt x="134" y="149"/>
                </a:cubicBezTo>
                <a:cubicBezTo>
                  <a:pt x="134" y="148"/>
                  <a:pt x="130" y="152"/>
                  <a:pt x="130" y="150"/>
                </a:cubicBezTo>
                <a:cubicBezTo>
                  <a:pt x="131" y="150"/>
                  <a:pt x="131" y="150"/>
                  <a:pt x="131" y="150"/>
                </a:cubicBezTo>
                <a:cubicBezTo>
                  <a:pt x="133" y="149"/>
                  <a:pt x="133" y="148"/>
                  <a:pt x="135" y="147"/>
                </a:cubicBezTo>
                <a:cubicBezTo>
                  <a:pt x="126" y="153"/>
                  <a:pt x="125" y="155"/>
                  <a:pt x="119" y="161"/>
                </a:cubicBezTo>
                <a:cubicBezTo>
                  <a:pt x="118" y="160"/>
                  <a:pt x="122" y="157"/>
                  <a:pt x="123" y="155"/>
                </a:cubicBezTo>
                <a:cubicBezTo>
                  <a:pt x="121" y="157"/>
                  <a:pt x="123" y="155"/>
                  <a:pt x="121" y="156"/>
                </a:cubicBezTo>
                <a:cubicBezTo>
                  <a:pt x="121" y="155"/>
                  <a:pt x="123" y="153"/>
                  <a:pt x="123" y="153"/>
                </a:cubicBezTo>
                <a:cubicBezTo>
                  <a:pt x="125" y="151"/>
                  <a:pt x="125" y="153"/>
                  <a:pt x="123" y="155"/>
                </a:cubicBezTo>
                <a:cubicBezTo>
                  <a:pt x="123" y="155"/>
                  <a:pt x="127" y="151"/>
                  <a:pt x="125" y="153"/>
                </a:cubicBezTo>
                <a:cubicBezTo>
                  <a:pt x="128" y="151"/>
                  <a:pt x="128" y="151"/>
                  <a:pt x="131" y="148"/>
                </a:cubicBezTo>
                <a:cubicBezTo>
                  <a:pt x="132" y="145"/>
                  <a:pt x="130" y="145"/>
                  <a:pt x="125" y="149"/>
                </a:cubicBezTo>
                <a:cubicBezTo>
                  <a:pt x="120" y="156"/>
                  <a:pt x="111" y="162"/>
                  <a:pt x="106" y="170"/>
                </a:cubicBezTo>
                <a:cubicBezTo>
                  <a:pt x="104" y="170"/>
                  <a:pt x="103" y="171"/>
                  <a:pt x="102" y="172"/>
                </a:cubicBezTo>
                <a:cubicBezTo>
                  <a:pt x="101" y="173"/>
                  <a:pt x="100" y="174"/>
                  <a:pt x="100" y="174"/>
                </a:cubicBezTo>
                <a:cubicBezTo>
                  <a:pt x="100" y="175"/>
                  <a:pt x="100" y="175"/>
                  <a:pt x="99" y="176"/>
                </a:cubicBezTo>
                <a:cubicBezTo>
                  <a:pt x="100" y="176"/>
                  <a:pt x="100" y="176"/>
                  <a:pt x="100" y="175"/>
                </a:cubicBezTo>
                <a:cubicBezTo>
                  <a:pt x="101" y="176"/>
                  <a:pt x="99" y="176"/>
                  <a:pt x="100" y="177"/>
                </a:cubicBezTo>
                <a:cubicBezTo>
                  <a:pt x="99" y="176"/>
                  <a:pt x="98" y="175"/>
                  <a:pt x="97" y="175"/>
                </a:cubicBezTo>
                <a:cubicBezTo>
                  <a:pt x="97" y="175"/>
                  <a:pt x="97" y="176"/>
                  <a:pt x="97" y="176"/>
                </a:cubicBezTo>
                <a:cubicBezTo>
                  <a:pt x="97" y="175"/>
                  <a:pt x="96" y="177"/>
                  <a:pt x="96" y="176"/>
                </a:cubicBezTo>
                <a:cubicBezTo>
                  <a:pt x="97" y="175"/>
                  <a:pt x="97" y="174"/>
                  <a:pt x="98" y="175"/>
                </a:cubicBezTo>
                <a:cubicBezTo>
                  <a:pt x="98" y="174"/>
                  <a:pt x="97" y="174"/>
                  <a:pt x="98" y="174"/>
                </a:cubicBezTo>
                <a:cubicBezTo>
                  <a:pt x="97" y="173"/>
                  <a:pt x="96" y="175"/>
                  <a:pt x="95" y="176"/>
                </a:cubicBezTo>
                <a:cubicBezTo>
                  <a:pt x="95" y="176"/>
                  <a:pt x="95" y="177"/>
                  <a:pt x="94" y="177"/>
                </a:cubicBezTo>
                <a:cubicBezTo>
                  <a:pt x="95" y="178"/>
                  <a:pt x="95" y="177"/>
                  <a:pt x="96" y="177"/>
                </a:cubicBezTo>
                <a:cubicBezTo>
                  <a:pt x="95" y="178"/>
                  <a:pt x="95" y="178"/>
                  <a:pt x="94" y="178"/>
                </a:cubicBezTo>
                <a:cubicBezTo>
                  <a:pt x="94" y="179"/>
                  <a:pt x="95" y="179"/>
                  <a:pt x="95" y="179"/>
                </a:cubicBezTo>
                <a:cubicBezTo>
                  <a:pt x="94" y="179"/>
                  <a:pt x="92" y="179"/>
                  <a:pt x="92" y="180"/>
                </a:cubicBezTo>
                <a:cubicBezTo>
                  <a:pt x="92" y="180"/>
                  <a:pt x="92" y="180"/>
                  <a:pt x="93" y="180"/>
                </a:cubicBezTo>
                <a:cubicBezTo>
                  <a:pt x="93" y="180"/>
                  <a:pt x="93" y="181"/>
                  <a:pt x="93" y="181"/>
                </a:cubicBezTo>
                <a:cubicBezTo>
                  <a:pt x="92" y="181"/>
                  <a:pt x="92" y="180"/>
                  <a:pt x="92" y="181"/>
                </a:cubicBezTo>
                <a:cubicBezTo>
                  <a:pt x="91" y="181"/>
                  <a:pt x="92" y="181"/>
                  <a:pt x="92" y="181"/>
                </a:cubicBezTo>
                <a:cubicBezTo>
                  <a:pt x="92" y="182"/>
                  <a:pt x="91" y="181"/>
                  <a:pt x="91" y="182"/>
                </a:cubicBezTo>
                <a:cubicBezTo>
                  <a:pt x="90" y="182"/>
                  <a:pt x="90" y="183"/>
                  <a:pt x="89" y="183"/>
                </a:cubicBezTo>
                <a:cubicBezTo>
                  <a:pt x="89" y="183"/>
                  <a:pt x="90" y="182"/>
                  <a:pt x="90" y="183"/>
                </a:cubicBezTo>
                <a:cubicBezTo>
                  <a:pt x="89" y="183"/>
                  <a:pt x="89" y="183"/>
                  <a:pt x="88" y="183"/>
                </a:cubicBezTo>
                <a:cubicBezTo>
                  <a:pt x="87" y="184"/>
                  <a:pt x="88" y="184"/>
                  <a:pt x="88" y="184"/>
                </a:cubicBezTo>
                <a:cubicBezTo>
                  <a:pt x="87" y="184"/>
                  <a:pt x="87" y="186"/>
                  <a:pt x="86" y="186"/>
                </a:cubicBezTo>
                <a:cubicBezTo>
                  <a:pt x="86" y="186"/>
                  <a:pt x="86" y="186"/>
                  <a:pt x="86" y="186"/>
                </a:cubicBezTo>
                <a:cubicBezTo>
                  <a:pt x="86" y="186"/>
                  <a:pt x="86" y="186"/>
                  <a:pt x="85" y="186"/>
                </a:cubicBezTo>
                <a:cubicBezTo>
                  <a:pt x="85" y="186"/>
                  <a:pt x="86" y="186"/>
                  <a:pt x="86" y="186"/>
                </a:cubicBezTo>
                <a:cubicBezTo>
                  <a:pt x="84" y="188"/>
                  <a:pt x="83" y="190"/>
                  <a:pt x="81" y="192"/>
                </a:cubicBezTo>
                <a:cubicBezTo>
                  <a:pt x="81" y="192"/>
                  <a:pt x="81" y="192"/>
                  <a:pt x="81" y="192"/>
                </a:cubicBezTo>
                <a:cubicBezTo>
                  <a:pt x="81" y="193"/>
                  <a:pt x="82" y="192"/>
                  <a:pt x="81" y="193"/>
                </a:cubicBezTo>
                <a:cubicBezTo>
                  <a:pt x="81" y="193"/>
                  <a:pt x="81" y="193"/>
                  <a:pt x="81" y="193"/>
                </a:cubicBezTo>
                <a:cubicBezTo>
                  <a:pt x="80" y="193"/>
                  <a:pt x="80" y="194"/>
                  <a:pt x="80" y="193"/>
                </a:cubicBezTo>
                <a:cubicBezTo>
                  <a:pt x="79" y="193"/>
                  <a:pt x="81" y="192"/>
                  <a:pt x="80" y="192"/>
                </a:cubicBezTo>
                <a:cubicBezTo>
                  <a:pt x="80" y="191"/>
                  <a:pt x="80" y="192"/>
                  <a:pt x="80" y="192"/>
                </a:cubicBezTo>
                <a:cubicBezTo>
                  <a:pt x="79" y="191"/>
                  <a:pt x="80" y="191"/>
                  <a:pt x="81" y="190"/>
                </a:cubicBezTo>
                <a:cubicBezTo>
                  <a:pt x="81" y="191"/>
                  <a:pt x="80" y="191"/>
                  <a:pt x="81" y="191"/>
                </a:cubicBezTo>
                <a:cubicBezTo>
                  <a:pt x="81" y="191"/>
                  <a:pt x="82" y="191"/>
                  <a:pt x="82" y="190"/>
                </a:cubicBezTo>
                <a:cubicBezTo>
                  <a:pt x="82" y="190"/>
                  <a:pt x="81" y="191"/>
                  <a:pt x="81" y="190"/>
                </a:cubicBezTo>
                <a:cubicBezTo>
                  <a:pt x="81" y="189"/>
                  <a:pt x="82" y="190"/>
                  <a:pt x="82" y="190"/>
                </a:cubicBezTo>
                <a:cubicBezTo>
                  <a:pt x="83" y="189"/>
                  <a:pt x="82" y="189"/>
                  <a:pt x="81" y="189"/>
                </a:cubicBezTo>
                <a:cubicBezTo>
                  <a:pt x="81" y="189"/>
                  <a:pt x="81" y="190"/>
                  <a:pt x="81" y="190"/>
                </a:cubicBezTo>
                <a:cubicBezTo>
                  <a:pt x="80" y="190"/>
                  <a:pt x="82" y="188"/>
                  <a:pt x="82" y="188"/>
                </a:cubicBezTo>
                <a:cubicBezTo>
                  <a:pt x="83" y="188"/>
                  <a:pt x="82" y="189"/>
                  <a:pt x="82" y="189"/>
                </a:cubicBezTo>
                <a:cubicBezTo>
                  <a:pt x="83" y="189"/>
                  <a:pt x="83" y="188"/>
                  <a:pt x="83" y="189"/>
                </a:cubicBezTo>
                <a:cubicBezTo>
                  <a:pt x="83" y="188"/>
                  <a:pt x="83" y="188"/>
                  <a:pt x="83" y="187"/>
                </a:cubicBezTo>
                <a:cubicBezTo>
                  <a:pt x="86" y="183"/>
                  <a:pt x="86" y="183"/>
                  <a:pt x="86" y="183"/>
                </a:cubicBezTo>
                <a:cubicBezTo>
                  <a:pt x="86" y="184"/>
                  <a:pt x="86" y="183"/>
                  <a:pt x="87" y="184"/>
                </a:cubicBezTo>
                <a:cubicBezTo>
                  <a:pt x="87" y="183"/>
                  <a:pt x="87" y="183"/>
                  <a:pt x="86" y="183"/>
                </a:cubicBezTo>
                <a:cubicBezTo>
                  <a:pt x="87" y="183"/>
                  <a:pt x="86" y="182"/>
                  <a:pt x="87" y="182"/>
                </a:cubicBezTo>
                <a:cubicBezTo>
                  <a:pt x="87" y="182"/>
                  <a:pt x="87" y="182"/>
                  <a:pt x="87" y="183"/>
                </a:cubicBezTo>
                <a:cubicBezTo>
                  <a:pt x="88" y="182"/>
                  <a:pt x="87" y="182"/>
                  <a:pt x="87" y="182"/>
                </a:cubicBezTo>
                <a:cubicBezTo>
                  <a:pt x="89" y="179"/>
                  <a:pt x="92" y="175"/>
                  <a:pt x="95" y="172"/>
                </a:cubicBezTo>
                <a:cubicBezTo>
                  <a:pt x="95" y="172"/>
                  <a:pt x="95" y="172"/>
                  <a:pt x="95" y="172"/>
                </a:cubicBezTo>
                <a:cubicBezTo>
                  <a:pt x="95" y="172"/>
                  <a:pt x="95" y="171"/>
                  <a:pt x="95" y="171"/>
                </a:cubicBezTo>
                <a:cubicBezTo>
                  <a:pt x="95" y="170"/>
                  <a:pt x="95" y="171"/>
                  <a:pt x="95" y="171"/>
                </a:cubicBezTo>
                <a:cubicBezTo>
                  <a:pt x="95" y="171"/>
                  <a:pt x="95" y="171"/>
                  <a:pt x="95" y="170"/>
                </a:cubicBezTo>
                <a:cubicBezTo>
                  <a:pt x="94" y="170"/>
                  <a:pt x="94" y="170"/>
                  <a:pt x="94" y="171"/>
                </a:cubicBezTo>
                <a:cubicBezTo>
                  <a:pt x="93" y="170"/>
                  <a:pt x="94" y="169"/>
                  <a:pt x="95" y="169"/>
                </a:cubicBezTo>
                <a:cubicBezTo>
                  <a:pt x="95" y="169"/>
                  <a:pt x="94" y="169"/>
                  <a:pt x="95" y="170"/>
                </a:cubicBezTo>
                <a:cubicBezTo>
                  <a:pt x="95" y="170"/>
                  <a:pt x="95" y="169"/>
                  <a:pt x="95" y="169"/>
                </a:cubicBezTo>
                <a:cubicBezTo>
                  <a:pt x="96" y="170"/>
                  <a:pt x="95" y="170"/>
                  <a:pt x="95" y="170"/>
                </a:cubicBezTo>
                <a:cubicBezTo>
                  <a:pt x="96" y="170"/>
                  <a:pt x="96" y="170"/>
                  <a:pt x="96" y="170"/>
                </a:cubicBezTo>
                <a:cubicBezTo>
                  <a:pt x="96" y="168"/>
                  <a:pt x="103" y="164"/>
                  <a:pt x="102" y="163"/>
                </a:cubicBezTo>
                <a:cubicBezTo>
                  <a:pt x="105" y="161"/>
                  <a:pt x="102" y="163"/>
                  <a:pt x="105" y="161"/>
                </a:cubicBezTo>
                <a:cubicBezTo>
                  <a:pt x="107" y="157"/>
                  <a:pt x="113" y="152"/>
                  <a:pt x="118" y="147"/>
                </a:cubicBezTo>
                <a:cubicBezTo>
                  <a:pt x="116" y="151"/>
                  <a:pt x="121" y="145"/>
                  <a:pt x="123" y="143"/>
                </a:cubicBezTo>
                <a:cubicBezTo>
                  <a:pt x="123" y="143"/>
                  <a:pt x="123" y="143"/>
                  <a:pt x="123" y="143"/>
                </a:cubicBezTo>
                <a:cubicBezTo>
                  <a:pt x="124" y="142"/>
                  <a:pt x="124" y="143"/>
                  <a:pt x="126" y="141"/>
                </a:cubicBezTo>
                <a:cubicBezTo>
                  <a:pt x="124" y="141"/>
                  <a:pt x="130" y="137"/>
                  <a:pt x="128" y="138"/>
                </a:cubicBezTo>
                <a:cubicBezTo>
                  <a:pt x="129" y="136"/>
                  <a:pt x="131" y="136"/>
                  <a:pt x="131" y="136"/>
                </a:cubicBezTo>
                <a:cubicBezTo>
                  <a:pt x="132" y="135"/>
                  <a:pt x="131" y="135"/>
                  <a:pt x="131" y="135"/>
                </a:cubicBezTo>
                <a:cubicBezTo>
                  <a:pt x="133" y="134"/>
                  <a:pt x="133" y="133"/>
                  <a:pt x="136" y="131"/>
                </a:cubicBezTo>
                <a:cubicBezTo>
                  <a:pt x="135" y="132"/>
                  <a:pt x="136" y="132"/>
                  <a:pt x="137" y="131"/>
                </a:cubicBezTo>
                <a:cubicBezTo>
                  <a:pt x="141" y="128"/>
                  <a:pt x="136" y="130"/>
                  <a:pt x="139" y="128"/>
                </a:cubicBezTo>
                <a:cubicBezTo>
                  <a:pt x="138" y="128"/>
                  <a:pt x="136" y="130"/>
                  <a:pt x="135" y="130"/>
                </a:cubicBezTo>
                <a:cubicBezTo>
                  <a:pt x="134" y="131"/>
                  <a:pt x="134" y="132"/>
                  <a:pt x="134" y="132"/>
                </a:cubicBezTo>
                <a:cubicBezTo>
                  <a:pt x="130" y="134"/>
                  <a:pt x="128" y="137"/>
                  <a:pt x="123" y="141"/>
                </a:cubicBezTo>
                <a:cubicBezTo>
                  <a:pt x="122" y="141"/>
                  <a:pt x="121" y="143"/>
                  <a:pt x="122" y="141"/>
                </a:cubicBezTo>
                <a:cubicBezTo>
                  <a:pt x="121" y="142"/>
                  <a:pt x="120" y="143"/>
                  <a:pt x="117" y="145"/>
                </a:cubicBezTo>
                <a:cubicBezTo>
                  <a:pt x="121" y="141"/>
                  <a:pt x="127" y="135"/>
                  <a:pt x="130" y="134"/>
                </a:cubicBezTo>
                <a:cubicBezTo>
                  <a:pt x="131" y="133"/>
                  <a:pt x="130" y="132"/>
                  <a:pt x="131" y="132"/>
                </a:cubicBezTo>
                <a:cubicBezTo>
                  <a:pt x="129" y="133"/>
                  <a:pt x="130" y="133"/>
                  <a:pt x="128" y="135"/>
                </a:cubicBezTo>
                <a:cubicBezTo>
                  <a:pt x="131" y="131"/>
                  <a:pt x="126" y="134"/>
                  <a:pt x="127" y="132"/>
                </a:cubicBezTo>
                <a:cubicBezTo>
                  <a:pt x="125" y="133"/>
                  <a:pt x="125" y="133"/>
                  <a:pt x="125" y="133"/>
                </a:cubicBezTo>
                <a:cubicBezTo>
                  <a:pt x="124" y="134"/>
                  <a:pt x="127" y="133"/>
                  <a:pt x="125" y="135"/>
                </a:cubicBezTo>
                <a:cubicBezTo>
                  <a:pt x="126" y="134"/>
                  <a:pt x="126" y="134"/>
                  <a:pt x="126" y="134"/>
                </a:cubicBezTo>
                <a:cubicBezTo>
                  <a:pt x="113" y="146"/>
                  <a:pt x="113" y="146"/>
                  <a:pt x="113" y="146"/>
                </a:cubicBezTo>
                <a:cubicBezTo>
                  <a:pt x="112" y="146"/>
                  <a:pt x="112" y="146"/>
                  <a:pt x="113" y="145"/>
                </a:cubicBezTo>
                <a:cubicBezTo>
                  <a:pt x="111" y="147"/>
                  <a:pt x="111" y="147"/>
                  <a:pt x="111" y="147"/>
                </a:cubicBezTo>
                <a:cubicBezTo>
                  <a:pt x="111" y="148"/>
                  <a:pt x="112" y="146"/>
                  <a:pt x="113" y="146"/>
                </a:cubicBezTo>
                <a:cubicBezTo>
                  <a:pt x="113" y="147"/>
                  <a:pt x="111" y="147"/>
                  <a:pt x="110" y="148"/>
                </a:cubicBezTo>
                <a:cubicBezTo>
                  <a:pt x="106" y="153"/>
                  <a:pt x="106" y="153"/>
                  <a:pt x="106" y="153"/>
                </a:cubicBezTo>
                <a:cubicBezTo>
                  <a:pt x="106" y="150"/>
                  <a:pt x="103" y="155"/>
                  <a:pt x="100" y="157"/>
                </a:cubicBezTo>
                <a:cubicBezTo>
                  <a:pt x="101" y="156"/>
                  <a:pt x="104" y="154"/>
                  <a:pt x="104" y="152"/>
                </a:cubicBezTo>
                <a:cubicBezTo>
                  <a:pt x="108" y="149"/>
                  <a:pt x="109" y="148"/>
                  <a:pt x="111" y="145"/>
                </a:cubicBezTo>
                <a:cubicBezTo>
                  <a:pt x="110" y="145"/>
                  <a:pt x="109" y="147"/>
                  <a:pt x="108" y="148"/>
                </a:cubicBezTo>
                <a:cubicBezTo>
                  <a:pt x="108" y="145"/>
                  <a:pt x="106" y="148"/>
                  <a:pt x="103" y="152"/>
                </a:cubicBezTo>
                <a:cubicBezTo>
                  <a:pt x="105" y="150"/>
                  <a:pt x="103" y="150"/>
                  <a:pt x="101" y="151"/>
                </a:cubicBezTo>
                <a:cubicBezTo>
                  <a:pt x="103" y="149"/>
                  <a:pt x="103" y="149"/>
                  <a:pt x="104" y="149"/>
                </a:cubicBezTo>
                <a:cubicBezTo>
                  <a:pt x="105" y="148"/>
                  <a:pt x="105" y="147"/>
                  <a:pt x="107" y="145"/>
                </a:cubicBezTo>
                <a:cubicBezTo>
                  <a:pt x="108" y="144"/>
                  <a:pt x="108" y="146"/>
                  <a:pt x="109" y="144"/>
                </a:cubicBezTo>
                <a:cubicBezTo>
                  <a:pt x="111" y="142"/>
                  <a:pt x="109" y="141"/>
                  <a:pt x="113" y="139"/>
                </a:cubicBezTo>
                <a:cubicBezTo>
                  <a:pt x="113" y="139"/>
                  <a:pt x="111" y="141"/>
                  <a:pt x="111" y="141"/>
                </a:cubicBezTo>
                <a:cubicBezTo>
                  <a:pt x="114" y="139"/>
                  <a:pt x="114" y="138"/>
                  <a:pt x="113" y="138"/>
                </a:cubicBezTo>
                <a:cubicBezTo>
                  <a:pt x="115" y="136"/>
                  <a:pt x="115" y="137"/>
                  <a:pt x="115" y="137"/>
                </a:cubicBezTo>
                <a:cubicBezTo>
                  <a:pt x="115" y="136"/>
                  <a:pt x="118" y="134"/>
                  <a:pt x="118" y="133"/>
                </a:cubicBezTo>
                <a:cubicBezTo>
                  <a:pt x="118" y="133"/>
                  <a:pt x="116" y="134"/>
                  <a:pt x="115" y="135"/>
                </a:cubicBezTo>
                <a:cubicBezTo>
                  <a:pt x="116" y="134"/>
                  <a:pt x="116" y="134"/>
                  <a:pt x="117" y="132"/>
                </a:cubicBezTo>
                <a:cubicBezTo>
                  <a:pt x="115" y="134"/>
                  <a:pt x="115" y="134"/>
                  <a:pt x="116" y="132"/>
                </a:cubicBezTo>
                <a:cubicBezTo>
                  <a:pt x="115" y="132"/>
                  <a:pt x="115" y="132"/>
                  <a:pt x="115" y="132"/>
                </a:cubicBezTo>
                <a:cubicBezTo>
                  <a:pt x="114" y="133"/>
                  <a:pt x="113" y="134"/>
                  <a:pt x="112" y="135"/>
                </a:cubicBezTo>
                <a:cubicBezTo>
                  <a:pt x="111" y="136"/>
                  <a:pt x="112" y="134"/>
                  <a:pt x="109" y="137"/>
                </a:cubicBezTo>
                <a:cubicBezTo>
                  <a:pt x="111" y="135"/>
                  <a:pt x="109" y="136"/>
                  <a:pt x="110" y="134"/>
                </a:cubicBezTo>
                <a:cubicBezTo>
                  <a:pt x="112" y="133"/>
                  <a:pt x="110" y="133"/>
                  <a:pt x="111" y="133"/>
                </a:cubicBezTo>
                <a:cubicBezTo>
                  <a:pt x="112" y="131"/>
                  <a:pt x="115" y="128"/>
                  <a:pt x="116" y="127"/>
                </a:cubicBezTo>
                <a:cubicBezTo>
                  <a:pt x="118" y="126"/>
                  <a:pt x="119" y="125"/>
                  <a:pt x="120" y="126"/>
                </a:cubicBezTo>
                <a:cubicBezTo>
                  <a:pt x="121" y="125"/>
                  <a:pt x="121" y="124"/>
                  <a:pt x="121" y="124"/>
                </a:cubicBezTo>
                <a:cubicBezTo>
                  <a:pt x="121" y="124"/>
                  <a:pt x="119" y="125"/>
                  <a:pt x="119" y="124"/>
                </a:cubicBezTo>
                <a:cubicBezTo>
                  <a:pt x="122" y="121"/>
                  <a:pt x="125" y="119"/>
                  <a:pt x="126" y="117"/>
                </a:cubicBezTo>
                <a:cubicBezTo>
                  <a:pt x="127" y="116"/>
                  <a:pt x="127" y="116"/>
                  <a:pt x="128" y="116"/>
                </a:cubicBezTo>
                <a:cubicBezTo>
                  <a:pt x="142" y="104"/>
                  <a:pt x="148" y="99"/>
                  <a:pt x="162" y="88"/>
                </a:cubicBezTo>
                <a:cubicBezTo>
                  <a:pt x="163" y="89"/>
                  <a:pt x="163" y="89"/>
                  <a:pt x="164" y="88"/>
                </a:cubicBezTo>
                <a:cubicBezTo>
                  <a:pt x="166" y="86"/>
                  <a:pt x="163" y="88"/>
                  <a:pt x="163" y="88"/>
                </a:cubicBezTo>
                <a:cubicBezTo>
                  <a:pt x="175" y="79"/>
                  <a:pt x="184" y="73"/>
                  <a:pt x="197" y="65"/>
                </a:cubicBezTo>
                <a:cubicBezTo>
                  <a:pt x="197" y="65"/>
                  <a:pt x="196" y="65"/>
                  <a:pt x="195" y="66"/>
                </a:cubicBezTo>
                <a:cubicBezTo>
                  <a:pt x="196" y="65"/>
                  <a:pt x="197" y="65"/>
                  <a:pt x="199" y="63"/>
                </a:cubicBezTo>
                <a:cubicBezTo>
                  <a:pt x="199" y="64"/>
                  <a:pt x="199" y="64"/>
                  <a:pt x="201" y="63"/>
                </a:cubicBezTo>
                <a:cubicBezTo>
                  <a:pt x="202" y="63"/>
                  <a:pt x="201" y="62"/>
                  <a:pt x="201" y="62"/>
                </a:cubicBezTo>
                <a:cubicBezTo>
                  <a:pt x="203" y="61"/>
                  <a:pt x="203" y="61"/>
                  <a:pt x="203" y="62"/>
                </a:cubicBezTo>
                <a:cubicBezTo>
                  <a:pt x="207" y="60"/>
                  <a:pt x="211" y="58"/>
                  <a:pt x="214" y="56"/>
                </a:cubicBezTo>
                <a:cubicBezTo>
                  <a:pt x="213" y="56"/>
                  <a:pt x="212" y="57"/>
                  <a:pt x="210" y="57"/>
                </a:cubicBezTo>
                <a:cubicBezTo>
                  <a:pt x="214" y="54"/>
                  <a:pt x="214" y="57"/>
                  <a:pt x="222" y="53"/>
                </a:cubicBezTo>
                <a:cubicBezTo>
                  <a:pt x="222" y="52"/>
                  <a:pt x="218" y="54"/>
                  <a:pt x="217" y="54"/>
                </a:cubicBezTo>
                <a:cubicBezTo>
                  <a:pt x="219" y="52"/>
                  <a:pt x="216" y="54"/>
                  <a:pt x="216" y="53"/>
                </a:cubicBezTo>
                <a:cubicBezTo>
                  <a:pt x="215" y="53"/>
                  <a:pt x="214" y="54"/>
                  <a:pt x="214" y="54"/>
                </a:cubicBezTo>
                <a:cubicBezTo>
                  <a:pt x="212" y="54"/>
                  <a:pt x="215" y="53"/>
                  <a:pt x="210" y="56"/>
                </a:cubicBezTo>
                <a:cubicBezTo>
                  <a:pt x="211" y="54"/>
                  <a:pt x="217" y="52"/>
                  <a:pt x="219" y="50"/>
                </a:cubicBezTo>
                <a:cubicBezTo>
                  <a:pt x="220" y="50"/>
                  <a:pt x="219" y="51"/>
                  <a:pt x="221" y="50"/>
                </a:cubicBezTo>
                <a:cubicBezTo>
                  <a:pt x="227" y="46"/>
                  <a:pt x="237" y="41"/>
                  <a:pt x="245" y="39"/>
                </a:cubicBezTo>
                <a:cubicBezTo>
                  <a:pt x="246" y="40"/>
                  <a:pt x="242" y="40"/>
                  <a:pt x="241" y="41"/>
                </a:cubicBezTo>
                <a:cubicBezTo>
                  <a:pt x="242" y="41"/>
                  <a:pt x="244" y="40"/>
                  <a:pt x="245" y="40"/>
                </a:cubicBezTo>
                <a:cubicBezTo>
                  <a:pt x="247" y="39"/>
                  <a:pt x="249" y="39"/>
                  <a:pt x="254" y="37"/>
                </a:cubicBezTo>
                <a:cubicBezTo>
                  <a:pt x="252" y="37"/>
                  <a:pt x="247" y="38"/>
                  <a:pt x="253" y="36"/>
                </a:cubicBezTo>
                <a:cubicBezTo>
                  <a:pt x="252" y="36"/>
                  <a:pt x="250" y="37"/>
                  <a:pt x="251" y="36"/>
                </a:cubicBezTo>
                <a:cubicBezTo>
                  <a:pt x="252" y="36"/>
                  <a:pt x="254" y="35"/>
                  <a:pt x="255" y="35"/>
                </a:cubicBezTo>
                <a:cubicBezTo>
                  <a:pt x="257" y="35"/>
                  <a:pt x="255" y="34"/>
                  <a:pt x="258" y="33"/>
                </a:cubicBezTo>
                <a:cubicBezTo>
                  <a:pt x="259" y="34"/>
                  <a:pt x="259" y="34"/>
                  <a:pt x="259" y="34"/>
                </a:cubicBezTo>
                <a:cubicBezTo>
                  <a:pt x="263" y="32"/>
                  <a:pt x="265" y="32"/>
                  <a:pt x="267" y="31"/>
                </a:cubicBezTo>
                <a:cubicBezTo>
                  <a:pt x="273" y="28"/>
                  <a:pt x="273" y="30"/>
                  <a:pt x="279" y="27"/>
                </a:cubicBezTo>
                <a:cubicBezTo>
                  <a:pt x="280" y="27"/>
                  <a:pt x="279" y="27"/>
                  <a:pt x="279" y="28"/>
                </a:cubicBezTo>
                <a:cubicBezTo>
                  <a:pt x="282" y="27"/>
                  <a:pt x="285" y="26"/>
                  <a:pt x="285" y="25"/>
                </a:cubicBezTo>
                <a:cubicBezTo>
                  <a:pt x="288" y="26"/>
                  <a:pt x="294" y="23"/>
                  <a:pt x="301" y="22"/>
                </a:cubicBezTo>
                <a:cubicBezTo>
                  <a:pt x="301" y="21"/>
                  <a:pt x="301" y="21"/>
                  <a:pt x="301" y="21"/>
                </a:cubicBezTo>
                <a:cubicBezTo>
                  <a:pt x="301" y="21"/>
                  <a:pt x="297" y="22"/>
                  <a:pt x="296" y="22"/>
                </a:cubicBezTo>
                <a:cubicBezTo>
                  <a:pt x="298" y="21"/>
                  <a:pt x="297" y="22"/>
                  <a:pt x="298" y="21"/>
                </a:cubicBezTo>
                <a:cubicBezTo>
                  <a:pt x="301" y="20"/>
                  <a:pt x="301" y="20"/>
                  <a:pt x="301" y="20"/>
                </a:cubicBezTo>
                <a:cubicBezTo>
                  <a:pt x="301" y="20"/>
                  <a:pt x="297" y="21"/>
                  <a:pt x="297" y="21"/>
                </a:cubicBezTo>
                <a:cubicBezTo>
                  <a:pt x="300" y="19"/>
                  <a:pt x="301" y="19"/>
                  <a:pt x="305" y="18"/>
                </a:cubicBezTo>
                <a:cubicBezTo>
                  <a:pt x="305" y="19"/>
                  <a:pt x="307" y="18"/>
                  <a:pt x="306" y="19"/>
                </a:cubicBezTo>
                <a:cubicBezTo>
                  <a:pt x="308" y="18"/>
                  <a:pt x="309" y="17"/>
                  <a:pt x="309" y="18"/>
                </a:cubicBezTo>
                <a:cubicBezTo>
                  <a:pt x="316" y="16"/>
                  <a:pt x="316" y="16"/>
                  <a:pt x="322" y="15"/>
                </a:cubicBezTo>
                <a:cubicBezTo>
                  <a:pt x="325" y="15"/>
                  <a:pt x="325" y="14"/>
                  <a:pt x="327" y="13"/>
                </a:cubicBezTo>
                <a:cubicBezTo>
                  <a:pt x="329" y="12"/>
                  <a:pt x="329" y="13"/>
                  <a:pt x="330" y="13"/>
                </a:cubicBezTo>
                <a:cubicBezTo>
                  <a:pt x="332" y="13"/>
                  <a:pt x="332" y="12"/>
                  <a:pt x="334" y="12"/>
                </a:cubicBezTo>
                <a:cubicBezTo>
                  <a:pt x="336" y="12"/>
                  <a:pt x="338" y="11"/>
                  <a:pt x="338" y="12"/>
                </a:cubicBezTo>
                <a:cubicBezTo>
                  <a:pt x="337" y="12"/>
                  <a:pt x="338" y="12"/>
                  <a:pt x="337" y="12"/>
                </a:cubicBezTo>
                <a:cubicBezTo>
                  <a:pt x="337" y="12"/>
                  <a:pt x="336" y="12"/>
                  <a:pt x="336" y="12"/>
                </a:cubicBezTo>
                <a:cubicBezTo>
                  <a:pt x="336" y="13"/>
                  <a:pt x="340" y="11"/>
                  <a:pt x="341" y="12"/>
                </a:cubicBezTo>
                <a:cubicBezTo>
                  <a:pt x="343" y="12"/>
                  <a:pt x="337" y="12"/>
                  <a:pt x="340" y="11"/>
                </a:cubicBezTo>
                <a:cubicBezTo>
                  <a:pt x="342" y="11"/>
                  <a:pt x="342" y="11"/>
                  <a:pt x="342" y="11"/>
                </a:cubicBezTo>
                <a:cubicBezTo>
                  <a:pt x="344" y="11"/>
                  <a:pt x="344" y="11"/>
                  <a:pt x="345" y="11"/>
                </a:cubicBezTo>
                <a:cubicBezTo>
                  <a:pt x="346" y="10"/>
                  <a:pt x="340" y="11"/>
                  <a:pt x="342" y="10"/>
                </a:cubicBezTo>
                <a:cubicBezTo>
                  <a:pt x="347" y="10"/>
                  <a:pt x="347" y="10"/>
                  <a:pt x="347" y="10"/>
                </a:cubicBezTo>
                <a:cubicBezTo>
                  <a:pt x="347" y="9"/>
                  <a:pt x="347" y="9"/>
                  <a:pt x="345" y="9"/>
                </a:cubicBezTo>
                <a:cubicBezTo>
                  <a:pt x="349" y="8"/>
                  <a:pt x="350" y="10"/>
                  <a:pt x="354" y="10"/>
                </a:cubicBezTo>
                <a:cubicBezTo>
                  <a:pt x="356" y="10"/>
                  <a:pt x="358" y="9"/>
                  <a:pt x="360" y="9"/>
                </a:cubicBezTo>
                <a:cubicBezTo>
                  <a:pt x="361" y="9"/>
                  <a:pt x="359" y="9"/>
                  <a:pt x="361" y="9"/>
                </a:cubicBezTo>
                <a:cubicBezTo>
                  <a:pt x="360" y="9"/>
                  <a:pt x="359" y="9"/>
                  <a:pt x="358" y="9"/>
                </a:cubicBezTo>
                <a:cubicBezTo>
                  <a:pt x="355" y="8"/>
                  <a:pt x="363" y="8"/>
                  <a:pt x="360" y="8"/>
                </a:cubicBezTo>
                <a:cubicBezTo>
                  <a:pt x="361" y="7"/>
                  <a:pt x="362" y="9"/>
                  <a:pt x="364" y="8"/>
                </a:cubicBezTo>
                <a:cubicBezTo>
                  <a:pt x="367" y="8"/>
                  <a:pt x="362" y="8"/>
                  <a:pt x="363" y="7"/>
                </a:cubicBezTo>
                <a:cubicBezTo>
                  <a:pt x="364" y="7"/>
                  <a:pt x="365" y="7"/>
                  <a:pt x="365" y="7"/>
                </a:cubicBezTo>
                <a:cubicBezTo>
                  <a:pt x="366" y="7"/>
                  <a:pt x="367" y="8"/>
                  <a:pt x="367" y="8"/>
                </a:cubicBezTo>
                <a:cubicBezTo>
                  <a:pt x="367" y="9"/>
                  <a:pt x="370" y="8"/>
                  <a:pt x="371" y="9"/>
                </a:cubicBezTo>
                <a:cubicBezTo>
                  <a:pt x="374" y="8"/>
                  <a:pt x="371" y="8"/>
                  <a:pt x="372" y="8"/>
                </a:cubicBezTo>
                <a:cubicBezTo>
                  <a:pt x="372" y="7"/>
                  <a:pt x="371" y="8"/>
                  <a:pt x="371" y="8"/>
                </a:cubicBezTo>
                <a:cubicBezTo>
                  <a:pt x="371" y="7"/>
                  <a:pt x="379" y="9"/>
                  <a:pt x="381" y="7"/>
                </a:cubicBezTo>
                <a:cubicBezTo>
                  <a:pt x="384" y="7"/>
                  <a:pt x="386" y="8"/>
                  <a:pt x="390" y="7"/>
                </a:cubicBezTo>
                <a:cubicBezTo>
                  <a:pt x="390" y="7"/>
                  <a:pt x="389" y="7"/>
                  <a:pt x="390" y="7"/>
                </a:cubicBezTo>
                <a:cubicBezTo>
                  <a:pt x="387" y="6"/>
                  <a:pt x="389" y="6"/>
                  <a:pt x="386" y="5"/>
                </a:cubicBezTo>
                <a:cubicBezTo>
                  <a:pt x="388" y="6"/>
                  <a:pt x="389" y="7"/>
                  <a:pt x="391" y="6"/>
                </a:cubicBezTo>
                <a:cubicBezTo>
                  <a:pt x="392" y="6"/>
                  <a:pt x="392" y="7"/>
                  <a:pt x="394" y="7"/>
                </a:cubicBezTo>
                <a:cubicBezTo>
                  <a:pt x="395" y="7"/>
                  <a:pt x="395" y="6"/>
                  <a:pt x="395" y="6"/>
                </a:cubicBezTo>
                <a:cubicBezTo>
                  <a:pt x="396" y="6"/>
                  <a:pt x="399" y="6"/>
                  <a:pt x="397" y="6"/>
                </a:cubicBezTo>
                <a:cubicBezTo>
                  <a:pt x="401" y="5"/>
                  <a:pt x="402" y="7"/>
                  <a:pt x="401" y="7"/>
                </a:cubicBezTo>
                <a:cubicBezTo>
                  <a:pt x="408" y="7"/>
                  <a:pt x="400" y="5"/>
                  <a:pt x="400" y="4"/>
                </a:cubicBezTo>
                <a:cubicBezTo>
                  <a:pt x="402" y="5"/>
                  <a:pt x="404" y="4"/>
                  <a:pt x="401" y="4"/>
                </a:cubicBezTo>
                <a:cubicBezTo>
                  <a:pt x="406" y="3"/>
                  <a:pt x="402" y="5"/>
                  <a:pt x="407" y="5"/>
                </a:cubicBezTo>
                <a:cubicBezTo>
                  <a:pt x="411" y="4"/>
                  <a:pt x="406" y="3"/>
                  <a:pt x="410" y="3"/>
                </a:cubicBezTo>
                <a:cubicBezTo>
                  <a:pt x="408" y="2"/>
                  <a:pt x="400" y="3"/>
                  <a:pt x="399" y="2"/>
                </a:cubicBezTo>
                <a:cubicBezTo>
                  <a:pt x="400" y="1"/>
                  <a:pt x="404" y="2"/>
                  <a:pt x="404" y="2"/>
                </a:cubicBezTo>
                <a:cubicBezTo>
                  <a:pt x="407" y="2"/>
                  <a:pt x="407" y="1"/>
                  <a:pt x="412" y="2"/>
                </a:cubicBezTo>
                <a:cubicBezTo>
                  <a:pt x="411" y="2"/>
                  <a:pt x="413" y="2"/>
                  <a:pt x="412" y="3"/>
                </a:cubicBezTo>
                <a:cubicBezTo>
                  <a:pt x="415" y="3"/>
                  <a:pt x="415" y="1"/>
                  <a:pt x="419" y="1"/>
                </a:cubicBezTo>
                <a:cubicBezTo>
                  <a:pt x="417" y="2"/>
                  <a:pt x="416" y="2"/>
                  <a:pt x="421" y="2"/>
                </a:cubicBezTo>
                <a:cubicBezTo>
                  <a:pt x="420" y="3"/>
                  <a:pt x="417" y="3"/>
                  <a:pt x="417" y="2"/>
                </a:cubicBezTo>
                <a:cubicBezTo>
                  <a:pt x="416" y="2"/>
                  <a:pt x="416" y="3"/>
                  <a:pt x="415" y="3"/>
                </a:cubicBezTo>
                <a:cubicBezTo>
                  <a:pt x="414" y="3"/>
                  <a:pt x="417" y="3"/>
                  <a:pt x="417" y="4"/>
                </a:cubicBezTo>
                <a:cubicBezTo>
                  <a:pt x="419" y="4"/>
                  <a:pt x="418" y="3"/>
                  <a:pt x="416" y="3"/>
                </a:cubicBezTo>
                <a:cubicBezTo>
                  <a:pt x="417" y="3"/>
                  <a:pt x="421" y="3"/>
                  <a:pt x="421" y="4"/>
                </a:cubicBezTo>
                <a:cubicBezTo>
                  <a:pt x="418" y="4"/>
                  <a:pt x="427" y="5"/>
                  <a:pt x="424" y="5"/>
                </a:cubicBezTo>
                <a:cubicBezTo>
                  <a:pt x="427" y="5"/>
                  <a:pt x="427" y="6"/>
                  <a:pt x="430" y="6"/>
                </a:cubicBezTo>
                <a:cubicBezTo>
                  <a:pt x="426" y="5"/>
                  <a:pt x="427" y="5"/>
                  <a:pt x="425" y="4"/>
                </a:cubicBezTo>
                <a:cubicBezTo>
                  <a:pt x="426" y="4"/>
                  <a:pt x="428" y="4"/>
                  <a:pt x="430" y="4"/>
                </a:cubicBezTo>
                <a:cubicBezTo>
                  <a:pt x="427" y="4"/>
                  <a:pt x="430" y="4"/>
                  <a:pt x="428" y="4"/>
                </a:cubicBezTo>
                <a:cubicBezTo>
                  <a:pt x="429" y="5"/>
                  <a:pt x="432" y="5"/>
                  <a:pt x="433" y="5"/>
                </a:cubicBezTo>
                <a:cubicBezTo>
                  <a:pt x="434" y="5"/>
                  <a:pt x="431" y="5"/>
                  <a:pt x="431" y="4"/>
                </a:cubicBezTo>
                <a:cubicBezTo>
                  <a:pt x="432" y="4"/>
                  <a:pt x="438" y="5"/>
                  <a:pt x="438" y="5"/>
                </a:cubicBezTo>
                <a:cubicBezTo>
                  <a:pt x="442" y="6"/>
                  <a:pt x="445" y="6"/>
                  <a:pt x="453" y="7"/>
                </a:cubicBezTo>
                <a:cubicBezTo>
                  <a:pt x="453" y="7"/>
                  <a:pt x="452" y="7"/>
                  <a:pt x="451" y="7"/>
                </a:cubicBezTo>
                <a:cubicBezTo>
                  <a:pt x="451" y="7"/>
                  <a:pt x="453" y="7"/>
                  <a:pt x="453" y="7"/>
                </a:cubicBezTo>
                <a:cubicBezTo>
                  <a:pt x="452" y="8"/>
                  <a:pt x="450" y="7"/>
                  <a:pt x="447" y="6"/>
                </a:cubicBezTo>
                <a:cubicBezTo>
                  <a:pt x="447" y="7"/>
                  <a:pt x="447" y="7"/>
                  <a:pt x="447" y="7"/>
                </a:cubicBezTo>
                <a:cubicBezTo>
                  <a:pt x="448" y="7"/>
                  <a:pt x="453" y="8"/>
                  <a:pt x="453" y="9"/>
                </a:cubicBezTo>
                <a:cubicBezTo>
                  <a:pt x="454" y="8"/>
                  <a:pt x="456" y="7"/>
                  <a:pt x="453" y="6"/>
                </a:cubicBezTo>
                <a:cubicBezTo>
                  <a:pt x="454" y="6"/>
                  <a:pt x="457" y="7"/>
                  <a:pt x="455" y="6"/>
                </a:cubicBezTo>
                <a:cubicBezTo>
                  <a:pt x="456" y="6"/>
                  <a:pt x="458" y="7"/>
                  <a:pt x="460" y="7"/>
                </a:cubicBezTo>
                <a:cubicBezTo>
                  <a:pt x="460" y="7"/>
                  <a:pt x="459" y="7"/>
                  <a:pt x="458" y="6"/>
                </a:cubicBezTo>
                <a:cubicBezTo>
                  <a:pt x="460" y="6"/>
                  <a:pt x="465" y="7"/>
                  <a:pt x="465" y="6"/>
                </a:cubicBezTo>
                <a:cubicBezTo>
                  <a:pt x="466" y="7"/>
                  <a:pt x="466" y="7"/>
                  <a:pt x="465" y="7"/>
                </a:cubicBezTo>
                <a:cubicBezTo>
                  <a:pt x="466" y="7"/>
                  <a:pt x="469" y="8"/>
                  <a:pt x="468" y="8"/>
                </a:cubicBezTo>
                <a:cubicBezTo>
                  <a:pt x="466" y="8"/>
                  <a:pt x="466" y="8"/>
                  <a:pt x="463" y="7"/>
                </a:cubicBezTo>
                <a:cubicBezTo>
                  <a:pt x="463" y="8"/>
                  <a:pt x="464" y="8"/>
                  <a:pt x="464" y="8"/>
                </a:cubicBezTo>
                <a:cubicBezTo>
                  <a:pt x="468" y="9"/>
                  <a:pt x="467" y="8"/>
                  <a:pt x="470" y="9"/>
                </a:cubicBezTo>
                <a:cubicBezTo>
                  <a:pt x="470" y="8"/>
                  <a:pt x="473" y="8"/>
                  <a:pt x="477" y="9"/>
                </a:cubicBezTo>
                <a:cubicBezTo>
                  <a:pt x="476" y="10"/>
                  <a:pt x="474" y="9"/>
                  <a:pt x="471" y="9"/>
                </a:cubicBezTo>
                <a:cubicBezTo>
                  <a:pt x="472" y="9"/>
                  <a:pt x="472" y="10"/>
                  <a:pt x="472" y="10"/>
                </a:cubicBezTo>
                <a:cubicBezTo>
                  <a:pt x="473" y="10"/>
                  <a:pt x="475" y="10"/>
                  <a:pt x="476" y="10"/>
                </a:cubicBezTo>
                <a:cubicBezTo>
                  <a:pt x="478" y="10"/>
                  <a:pt x="478" y="11"/>
                  <a:pt x="478" y="11"/>
                </a:cubicBezTo>
                <a:cubicBezTo>
                  <a:pt x="479" y="11"/>
                  <a:pt x="481" y="11"/>
                  <a:pt x="483" y="12"/>
                </a:cubicBezTo>
                <a:cubicBezTo>
                  <a:pt x="483" y="11"/>
                  <a:pt x="484" y="11"/>
                  <a:pt x="482" y="11"/>
                </a:cubicBezTo>
                <a:cubicBezTo>
                  <a:pt x="483" y="10"/>
                  <a:pt x="485" y="11"/>
                  <a:pt x="484" y="12"/>
                </a:cubicBezTo>
                <a:cubicBezTo>
                  <a:pt x="485" y="12"/>
                  <a:pt x="486" y="11"/>
                  <a:pt x="487" y="12"/>
                </a:cubicBezTo>
                <a:cubicBezTo>
                  <a:pt x="487" y="12"/>
                  <a:pt x="485" y="10"/>
                  <a:pt x="490" y="11"/>
                </a:cubicBezTo>
                <a:cubicBezTo>
                  <a:pt x="490" y="10"/>
                  <a:pt x="485" y="10"/>
                  <a:pt x="484" y="9"/>
                </a:cubicBezTo>
                <a:cubicBezTo>
                  <a:pt x="482" y="9"/>
                  <a:pt x="481" y="9"/>
                  <a:pt x="482" y="9"/>
                </a:cubicBezTo>
                <a:cubicBezTo>
                  <a:pt x="480" y="9"/>
                  <a:pt x="481" y="9"/>
                  <a:pt x="478" y="8"/>
                </a:cubicBezTo>
                <a:cubicBezTo>
                  <a:pt x="478" y="8"/>
                  <a:pt x="482" y="9"/>
                  <a:pt x="481" y="7"/>
                </a:cubicBezTo>
                <a:cubicBezTo>
                  <a:pt x="484" y="8"/>
                  <a:pt x="482" y="8"/>
                  <a:pt x="482" y="8"/>
                </a:cubicBezTo>
                <a:cubicBezTo>
                  <a:pt x="486" y="9"/>
                  <a:pt x="486" y="9"/>
                  <a:pt x="489" y="9"/>
                </a:cubicBezTo>
                <a:cubicBezTo>
                  <a:pt x="489" y="9"/>
                  <a:pt x="487" y="9"/>
                  <a:pt x="487" y="8"/>
                </a:cubicBezTo>
                <a:cubicBezTo>
                  <a:pt x="491" y="9"/>
                  <a:pt x="493" y="10"/>
                  <a:pt x="496" y="11"/>
                </a:cubicBezTo>
                <a:cubicBezTo>
                  <a:pt x="495" y="11"/>
                  <a:pt x="495" y="10"/>
                  <a:pt x="495" y="11"/>
                </a:cubicBezTo>
                <a:cubicBezTo>
                  <a:pt x="496" y="11"/>
                  <a:pt x="499" y="12"/>
                  <a:pt x="499" y="11"/>
                </a:cubicBezTo>
                <a:cubicBezTo>
                  <a:pt x="500" y="12"/>
                  <a:pt x="500" y="12"/>
                  <a:pt x="501" y="13"/>
                </a:cubicBezTo>
                <a:cubicBezTo>
                  <a:pt x="505" y="13"/>
                  <a:pt x="510" y="15"/>
                  <a:pt x="512" y="16"/>
                </a:cubicBezTo>
                <a:cubicBezTo>
                  <a:pt x="514" y="17"/>
                  <a:pt x="512" y="15"/>
                  <a:pt x="510" y="14"/>
                </a:cubicBezTo>
                <a:cubicBezTo>
                  <a:pt x="510" y="14"/>
                  <a:pt x="516" y="16"/>
                  <a:pt x="514" y="16"/>
                </a:cubicBezTo>
                <a:cubicBezTo>
                  <a:pt x="516" y="17"/>
                  <a:pt x="519" y="18"/>
                  <a:pt x="520" y="18"/>
                </a:cubicBezTo>
                <a:cubicBezTo>
                  <a:pt x="519" y="17"/>
                  <a:pt x="518" y="17"/>
                  <a:pt x="517" y="17"/>
                </a:cubicBezTo>
                <a:cubicBezTo>
                  <a:pt x="520" y="17"/>
                  <a:pt x="527" y="19"/>
                  <a:pt x="532" y="21"/>
                </a:cubicBezTo>
                <a:cubicBezTo>
                  <a:pt x="529" y="19"/>
                  <a:pt x="537" y="22"/>
                  <a:pt x="537" y="22"/>
                </a:cubicBezTo>
                <a:cubicBezTo>
                  <a:pt x="539" y="22"/>
                  <a:pt x="538" y="23"/>
                  <a:pt x="540" y="23"/>
                </a:cubicBezTo>
                <a:cubicBezTo>
                  <a:pt x="539" y="23"/>
                  <a:pt x="538" y="23"/>
                  <a:pt x="536" y="22"/>
                </a:cubicBezTo>
                <a:cubicBezTo>
                  <a:pt x="536" y="23"/>
                  <a:pt x="543" y="25"/>
                  <a:pt x="545" y="25"/>
                </a:cubicBezTo>
                <a:cubicBezTo>
                  <a:pt x="545" y="25"/>
                  <a:pt x="542" y="25"/>
                  <a:pt x="540" y="24"/>
                </a:cubicBezTo>
                <a:cubicBezTo>
                  <a:pt x="543" y="24"/>
                  <a:pt x="547" y="25"/>
                  <a:pt x="551" y="27"/>
                </a:cubicBezTo>
                <a:cubicBezTo>
                  <a:pt x="551" y="27"/>
                  <a:pt x="550" y="27"/>
                  <a:pt x="552" y="28"/>
                </a:cubicBezTo>
                <a:cubicBezTo>
                  <a:pt x="551" y="28"/>
                  <a:pt x="549" y="26"/>
                  <a:pt x="549" y="27"/>
                </a:cubicBezTo>
                <a:cubicBezTo>
                  <a:pt x="550" y="28"/>
                  <a:pt x="552" y="28"/>
                  <a:pt x="552" y="29"/>
                </a:cubicBezTo>
                <a:cubicBezTo>
                  <a:pt x="554" y="30"/>
                  <a:pt x="550" y="28"/>
                  <a:pt x="551" y="29"/>
                </a:cubicBezTo>
                <a:cubicBezTo>
                  <a:pt x="555" y="29"/>
                  <a:pt x="555" y="30"/>
                  <a:pt x="558" y="30"/>
                </a:cubicBezTo>
                <a:cubicBezTo>
                  <a:pt x="562" y="32"/>
                  <a:pt x="569" y="34"/>
                  <a:pt x="569" y="35"/>
                </a:cubicBezTo>
                <a:cubicBezTo>
                  <a:pt x="571" y="36"/>
                  <a:pt x="570" y="35"/>
                  <a:pt x="571" y="35"/>
                </a:cubicBezTo>
                <a:cubicBezTo>
                  <a:pt x="572" y="36"/>
                  <a:pt x="575" y="37"/>
                  <a:pt x="573" y="37"/>
                </a:cubicBezTo>
                <a:cubicBezTo>
                  <a:pt x="575" y="38"/>
                  <a:pt x="575" y="38"/>
                  <a:pt x="577" y="39"/>
                </a:cubicBezTo>
                <a:cubicBezTo>
                  <a:pt x="577" y="39"/>
                  <a:pt x="575" y="39"/>
                  <a:pt x="576" y="39"/>
                </a:cubicBezTo>
                <a:cubicBezTo>
                  <a:pt x="578" y="40"/>
                  <a:pt x="578" y="39"/>
                  <a:pt x="579" y="39"/>
                </a:cubicBezTo>
                <a:cubicBezTo>
                  <a:pt x="579" y="38"/>
                  <a:pt x="576" y="38"/>
                  <a:pt x="576" y="38"/>
                </a:cubicBezTo>
                <a:cubicBezTo>
                  <a:pt x="576" y="37"/>
                  <a:pt x="580" y="39"/>
                  <a:pt x="579" y="39"/>
                </a:cubicBezTo>
                <a:cubicBezTo>
                  <a:pt x="581" y="40"/>
                  <a:pt x="581" y="40"/>
                  <a:pt x="583" y="40"/>
                </a:cubicBezTo>
                <a:cubicBezTo>
                  <a:pt x="586" y="42"/>
                  <a:pt x="586" y="42"/>
                  <a:pt x="589" y="44"/>
                </a:cubicBezTo>
                <a:cubicBezTo>
                  <a:pt x="587" y="43"/>
                  <a:pt x="587" y="42"/>
                  <a:pt x="586" y="42"/>
                </a:cubicBezTo>
                <a:cubicBezTo>
                  <a:pt x="585" y="40"/>
                  <a:pt x="593" y="44"/>
                  <a:pt x="594" y="45"/>
                </a:cubicBezTo>
                <a:cubicBezTo>
                  <a:pt x="594" y="45"/>
                  <a:pt x="591" y="43"/>
                  <a:pt x="590" y="43"/>
                </a:cubicBezTo>
                <a:cubicBezTo>
                  <a:pt x="592" y="45"/>
                  <a:pt x="596" y="46"/>
                  <a:pt x="598" y="48"/>
                </a:cubicBezTo>
                <a:cubicBezTo>
                  <a:pt x="600" y="49"/>
                  <a:pt x="597" y="46"/>
                  <a:pt x="599" y="47"/>
                </a:cubicBezTo>
                <a:cubicBezTo>
                  <a:pt x="600" y="48"/>
                  <a:pt x="601" y="49"/>
                  <a:pt x="603" y="50"/>
                </a:cubicBezTo>
                <a:cubicBezTo>
                  <a:pt x="603" y="50"/>
                  <a:pt x="606" y="52"/>
                  <a:pt x="606" y="51"/>
                </a:cubicBezTo>
                <a:cubicBezTo>
                  <a:pt x="612" y="54"/>
                  <a:pt x="615" y="56"/>
                  <a:pt x="620" y="59"/>
                </a:cubicBezTo>
                <a:cubicBezTo>
                  <a:pt x="619" y="58"/>
                  <a:pt x="619" y="59"/>
                  <a:pt x="619" y="59"/>
                </a:cubicBezTo>
                <a:cubicBezTo>
                  <a:pt x="624" y="60"/>
                  <a:pt x="634" y="67"/>
                  <a:pt x="640" y="71"/>
                </a:cubicBezTo>
                <a:cubicBezTo>
                  <a:pt x="642" y="72"/>
                  <a:pt x="641" y="71"/>
                  <a:pt x="643" y="73"/>
                </a:cubicBezTo>
                <a:cubicBezTo>
                  <a:pt x="643" y="73"/>
                  <a:pt x="643" y="73"/>
                  <a:pt x="644" y="73"/>
                </a:cubicBezTo>
                <a:cubicBezTo>
                  <a:pt x="644" y="73"/>
                  <a:pt x="643" y="72"/>
                  <a:pt x="642" y="72"/>
                </a:cubicBezTo>
                <a:cubicBezTo>
                  <a:pt x="645" y="73"/>
                  <a:pt x="651" y="78"/>
                  <a:pt x="653" y="78"/>
                </a:cubicBezTo>
                <a:cubicBezTo>
                  <a:pt x="655" y="80"/>
                  <a:pt x="658" y="83"/>
                  <a:pt x="661" y="84"/>
                </a:cubicBezTo>
                <a:cubicBezTo>
                  <a:pt x="665" y="87"/>
                  <a:pt x="675" y="94"/>
                  <a:pt x="680" y="98"/>
                </a:cubicBezTo>
                <a:cubicBezTo>
                  <a:pt x="680" y="98"/>
                  <a:pt x="679" y="97"/>
                  <a:pt x="679" y="98"/>
                </a:cubicBezTo>
                <a:cubicBezTo>
                  <a:pt x="681" y="99"/>
                  <a:pt x="682" y="100"/>
                  <a:pt x="684" y="102"/>
                </a:cubicBezTo>
                <a:cubicBezTo>
                  <a:pt x="685" y="102"/>
                  <a:pt x="683" y="101"/>
                  <a:pt x="684" y="101"/>
                </a:cubicBezTo>
                <a:cubicBezTo>
                  <a:pt x="688" y="104"/>
                  <a:pt x="693" y="109"/>
                  <a:pt x="699" y="114"/>
                </a:cubicBezTo>
                <a:cubicBezTo>
                  <a:pt x="698" y="114"/>
                  <a:pt x="698" y="114"/>
                  <a:pt x="699" y="115"/>
                </a:cubicBezTo>
                <a:cubicBezTo>
                  <a:pt x="701" y="117"/>
                  <a:pt x="702" y="118"/>
                  <a:pt x="703" y="118"/>
                </a:cubicBezTo>
                <a:cubicBezTo>
                  <a:pt x="705" y="120"/>
                  <a:pt x="704" y="119"/>
                  <a:pt x="705" y="120"/>
                </a:cubicBezTo>
                <a:cubicBezTo>
                  <a:pt x="707" y="122"/>
                  <a:pt x="704" y="119"/>
                  <a:pt x="705" y="119"/>
                </a:cubicBezTo>
                <a:cubicBezTo>
                  <a:pt x="707" y="121"/>
                  <a:pt x="707" y="121"/>
                  <a:pt x="709" y="123"/>
                </a:cubicBezTo>
                <a:cubicBezTo>
                  <a:pt x="705" y="121"/>
                  <a:pt x="715" y="129"/>
                  <a:pt x="718" y="132"/>
                </a:cubicBezTo>
                <a:cubicBezTo>
                  <a:pt x="716" y="131"/>
                  <a:pt x="717" y="131"/>
                  <a:pt x="716" y="129"/>
                </a:cubicBezTo>
                <a:cubicBezTo>
                  <a:pt x="716" y="129"/>
                  <a:pt x="717" y="130"/>
                  <a:pt x="717" y="130"/>
                </a:cubicBezTo>
                <a:cubicBezTo>
                  <a:pt x="722" y="135"/>
                  <a:pt x="722" y="134"/>
                  <a:pt x="723" y="137"/>
                </a:cubicBezTo>
                <a:cubicBezTo>
                  <a:pt x="724" y="138"/>
                  <a:pt x="723" y="136"/>
                  <a:pt x="724" y="136"/>
                </a:cubicBezTo>
                <a:cubicBezTo>
                  <a:pt x="727" y="139"/>
                  <a:pt x="727" y="140"/>
                  <a:pt x="728" y="141"/>
                </a:cubicBezTo>
                <a:cubicBezTo>
                  <a:pt x="729" y="142"/>
                  <a:pt x="732" y="144"/>
                  <a:pt x="732" y="145"/>
                </a:cubicBezTo>
                <a:cubicBezTo>
                  <a:pt x="732" y="146"/>
                  <a:pt x="735" y="148"/>
                  <a:pt x="734" y="148"/>
                </a:cubicBezTo>
                <a:cubicBezTo>
                  <a:pt x="736" y="149"/>
                  <a:pt x="736" y="149"/>
                  <a:pt x="737" y="150"/>
                </a:cubicBezTo>
                <a:cubicBezTo>
                  <a:pt x="738" y="150"/>
                  <a:pt x="735" y="148"/>
                  <a:pt x="734" y="147"/>
                </a:cubicBezTo>
                <a:cubicBezTo>
                  <a:pt x="736" y="147"/>
                  <a:pt x="734" y="144"/>
                  <a:pt x="736" y="144"/>
                </a:cubicBezTo>
                <a:cubicBezTo>
                  <a:pt x="739" y="150"/>
                  <a:pt x="741" y="155"/>
                  <a:pt x="745" y="161"/>
                </a:cubicBezTo>
                <a:cubicBezTo>
                  <a:pt x="747" y="163"/>
                  <a:pt x="742" y="157"/>
                  <a:pt x="747" y="162"/>
                </a:cubicBezTo>
                <a:cubicBezTo>
                  <a:pt x="747" y="161"/>
                  <a:pt x="745" y="159"/>
                  <a:pt x="746" y="160"/>
                </a:cubicBezTo>
                <a:cubicBezTo>
                  <a:pt x="744" y="157"/>
                  <a:pt x="744" y="158"/>
                  <a:pt x="743" y="156"/>
                </a:cubicBezTo>
                <a:cubicBezTo>
                  <a:pt x="743" y="156"/>
                  <a:pt x="745" y="158"/>
                  <a:pt x="746" y="159"/>
                </a:cubicBezTo>
                <a:cubicBezTo>
                  <a:pt x="746" y="159"/>
                  <a:pt x="745" y="156"/>
                  <a:pt x="747" y="158"/>
                </a:cubicBezTo>
                <a:cubicBezTo>
                  <a:pt x="746" y="156"/>
                  <a:pt x="744" y="153"/>
                  <a:pt x="745" y="154"/>
                </a:cubicBezTo>
                <a:cubicBezTo>
                  <a:pt x="747" y="156"/>
                  <a:pt x="748" y="158"/>
                  <a:pt x="749" y="159"/>
                </a:cubicBezTo>
                <a:cubicBezTo>
                  <a:pt x="749" y="160"/>
                  <a:pt x="752" y="165"/>
                  <a:pt x="750" y="164"/>
                </a:cubicBezTo>
                <a:cubicBezTo>
                  <a:pt x="752" y="166"/>
                  <a:pt x="751" y="167"/>
                  <a:pt x="751" y="167"/>
                </a:cubicBezTo>
                <a:cubicBezTo>
                  <a:pt x="753" y="170"/>
                  <a:pt x="756" y="173"/>
                  <a:pt x="757" y="174"/>
                </a:cubicBezTo>
                <a:cubicBezTo>
                  <a:pt x="757" y="173"/>
                  <a:pt x="755" y="172"/>
                  <a:pt x="754" y="170"/>
                </a:cubicBezTo>
                <a:cubicBezTo>
                  <a:pt x="754" y="168"/>
                  <a:pt x="759" y="172"/>
                  <a:pt x="756" y="168"/>
                </a:cubicBezTo>
                <a:cubicBezTo>
                  <a:pt x="757" y="169"/>
                  <a:pt x="757" y="170"/>
                  <a:pt x="759" y="173"/>
                </a:cubicBezTo>
                <a:cubicBezTo>
                  <a:pt x="759" y="174"/>
                  <a:pt x="757" y="173"/>
                  <a:pt x="760" y="177"/>
                </a:cubicBezTo>
                <a:cubicBezTo>
                  <a:pt x="759" y="176"/>
                  <a:pt x="759" y="175"/>
                  <a:pt x="758" y="175"/>
                </a:cubicBezTo>
                <a:cubicBezTo>
                  <a:pt x="760" y="177"/>
                  <a:pt x="760" y="179"/>
                  <a:pt x="762" y="181"/>
                </a:cubicBezTo>
                <a:cubicBezTo>
                  <a:pt x="762" y="182"/>
                  <a:pt x="762" y="181"/>
                  <a:pt x="764" y="182"/>
                </a:cubicBezTo>
                <a:cubicBezTo>
                  <a:pt x="765" y="184"/>
                  <a:pt x="766" y="187"/>
                  <a:pt x="767" y="186"/>
                </a:cubicBezTo>
                <a:cubicBezTo>
                  <a:pt x="768" y="186"/>
                  <a:pt x="765" y="183"/>
                  <a:pt x="764" y="182"/>
                </a:cubicBezTo>
                <a:cubicBezTo>
                  <a:pt x="762" y="178"/>
                  <a:pt x="767" y="183"/>
                  <a:pt x="764" y="178"/>
                </a:cubicBezTo>
                <a:cubicBezTo>
                  <a:pt x="766" y="180"/>
                  <a:pt x="766" y="181"/>
                  <a:pt x="766" y="179"/>
                </a:cubicBezTo>
                <a:cubicBezTo>
                  <a:pt x="767" y="180"/>
                  <a:pt x="768" y="181"/>
                  <a:pt x="768" y="181"/>
                </a:cubicBezTo>
                <a:cubicBezTo>
                  <a:pt x="770" y="185"/>
                  <a:pt x="768" y="190"/>
                  <a:pt x="774" y="194"/>
                </a:cubicBezTo>
                <a:cubicBezTo>
                  <a:pt x="773" y="192"/>
                  <a:pt x="774" y="192"/>
                  <a:pt x="776" y="194"/>
                </a:cubicBezTo>
                <a:cubicBezTo>
                  <a:pt x="775" y="192"/>
                  <a:pt x="774" y="188"/>
                  <a:pt x="776" y="190"/>
                </a:cubicBezTo>
                <a:cubicBezTo>
                  <a:pt x="782" y="200"/>
                  <a:pt x="774" y="198"/>
                  <a:pt x="781" y="209"/>
                </a:cubicBezTo>
                <a:cubicBezTo>
                  <a:pt x="782" y="211"/>
                  <a:pt x="782" y="210"/>
                  <a:pt x="784" y="211"/>
                </a:cubicBezTo>
                <a:cubicBezTo>
                  <a:pt x="782" y="207"/>
                  <a:pt x="785" y="207"/>
                  <a:pt x="785" y="203"/>
                </a:cubicBezTo>
                <a:cubicBezTo>
                  <a:pt x="789" y="210"/>
                  <a:pt x="784" y="206"/>
                  <a:pt x="788" y="212"/>
                </a:cubicBezTo>
                <a:cubicBezTo>
                  <a:pt x="786" y="212"/>
                  <a:pt x="788" y="216"/>
                  <a:pt x="786" y="217"/>
                </a:cubicBezTo>
                <a:cubicBezTo>
                  <a:pt x="787" y="218"/>
                  <a:pt x="788" y="218"/>
                  <a:pt x="789" y="220"/>
                </a:cubicBezTo>
                <a:cubicBezTo>
                  <a:pt x="788" y="220"/>
                  <a:pt x="787" y="218"/>
                  <a:pt x="787" y="219"/>
                </a:cubicBezTo>
                <a:cubicBezTo>
                  <a:pt x="788" y="221"/>
                  <a:pt x="789" y="223"/>
                  <a:pt x="791" y="226"/>
                </a:cubicBezTo>
                <a:cubicBezTo>
                  <a:pt x="793" y="227"/>
                  <a:pt x="790" y="222"/>
                  <a:pt x="793" y="224"/>
                </a:cubicBezTo>
                <a:cubicBezTo>
                  <a:pt x="792" y="220"/>
                  <a:pt x="793" y="220"/>
                  <a:pt x="795" y="221"/>
                </a:cubicBezTo>
                <a:cubicBezTo>
                  <a:pt x="798" y="227"/>
                  <a:pt x="796" y="231"/>
                  <a:pt x="795" y="230"/>
                </a:cubicBezTo>
                <a:cubicBezTo>
                  <a:pt x="795" y="231"/>
                  <a:pt x="796" y="233"/>
                  <a:pt x="796" y="234"/>
                </a:cubicBezTo>
                <a:cubicBezTo>
                  <a:pt x="793" y="231"/>
                  <a:pt x="796" y="239"/>
                  <a:pt x="792" y="235"/>
                </a:cubicBezTo>
                <a:cubicBezTo>
                  <a:pt x="794" y="238"/>
                  <a:pt x="793" y="237"/>
                  <a:pt x="792" y="236"/>
                </a:cubicBezTo>
                <a:cubicBezTo>
                  <a:pt x="794" y="240"/>
                  <a:pt x="794" y="243"/>
                  <a:pt x="797" y="248"/>
                </a:cubicBezTo>
                <a:cubicBezTo>
                  <a:pt x="797" y="246"/>
                  <a:pt x="797" y="245"/>
                  <a:pt x="799" y="248"/>
                </a:cubicBezTo>
                <a:cubicBezTo>
                  <a:pt x="799" y="247"/>
                  <a:pt x="798" y="246"/>
                  <a:pt x="798" y="245"/>
                </a:cubicBezTo>
                <a:cubicBezTo>
                  <a:pt x="798" y="244"/>
                  <a:pt x="799" y="247"/>
                  <a:pt x="800" y="247"/>
                </a:cubicBezTo>
                <a:cubicBezTo>
                  <a:pt x="800" y="246"/>
                  <a:pt x="799" y="246"/>
                  <a:pt x="798" y="244"/>
                </a:cubicBezTo>
                <a:cubicBezTo>
                  <a:pt x="799" y="244"/>
                  <a:pt x="800" y="246"/>
                  <a:pt x="800" y="246"/>
                </a:cubicBezTo>
                <a:cubicBezTo>
                  <a:pt x="802" y="250"/>
                  <a:pt x="800" y="249"/>
                  <a:pt x="801" y="252"/>
                </a:cubicBezTo>
                <a:cubicBezTo>
                  <a:pt x="799" y="250"/>
                  <a:pt x="800" y="252"/>
                  <a:pt x="799" y="251"/>
                </a:cubicBezTo>
                <a:cubicBezTo>
                  <a:pt x="800" y="252"/>
                  <a:pt x="801" y="254"/>
                  <a:pt x="802" y="256"/>
                </a:cubicBezTo>
                <a:cubicBezTo>
                  <a:pt x="800" y="254"/>
                  <a:pt x="800" y="256"/>
                  <a:pt x="799" y="255"/>
                </a:cubicBezTo>
                <a:cubicBezTo>
                  <a:pt x="799" y="256"/>
                  <a:pt x="800" y="257"/>
                  <a:pt x="800" y="258"/>
                </a:cubicBezTo>
                <a:cubicBezTo>
                  <a:pt x="798" y="257"/>
                  <a:pt x="797" y="261"/>
                  <a:pt x="794" y="257"/>
                </a:cubicBezTo>
                <a:cubicBezTo>
                  <a:pt x="794" y="258"/>
                  <a:pt x="795" y="260"/>
                  <a:pt x="794" y="260"/>
                </a:cubicBezTo>
                <a:cubicBezTo>
                  <a:pt x="792" y="255"/>
                  <a:pt x="791" y="256"/>
                  <a:pt x="790" y="256"/>
                </a:cubicBezTo>
                <a:cubicBezTo>
                  <a:pt x="792" y="259"/>
                  <a:pt x="794" y="261"/>
                  <a:pt x="795" y="265"/>
                </a:cubicBezTo>
                <a:cubicBezTo>
                  <a:pt x="793" y="262"/>
                  <a:pt x="795" y="266"/>
                  <a:pt x="793" y="262"/>
                </a:cubicBezTo>
                <a:cubicBezTo>
                  <a:pt x="792" y="267"/>
                  <a:pt x="790" y="268"/>
                  <a:pt x="787" y="266"/>
                </a:cubicBezTo>
                <a:cubicBezTo>
                  <a:pt x="786" y="263"/>
                  <a:pt x="784" y="260"/>
                  <a:pt x="784" y="259"/>
                </a:cubicBezTo>
                <a:cubicBezTo>
                  <a:pt x="784" y="258"/>
                  <a:pt x="783" y="258"/>
                  <a:pt x="783" y="257"/>
                </a:cubicBezTo>
                <a:cubicBezTo>
                  <a:pt x="783" y="257"/>
                  <a:pt x="783" y="258"/>
                  <a:pt x="784" y="259"/>
                </a:cubicBezTo>
                <a:cubicBezTo>
                  <a:pt x="783" y="258"/>
                  <a:pt x="782" y="256"/>
                  <a:pt x="782" y="255"/>
                </a:cubicBezTo>
                <a:close/>
                <a:moveTo>
                  <a:pt x="340" y="50"/>
                </a:moveTo>
                <a:cubicBezTo>
                  <a:pt x="338" y="51"/>
                  <a:pt x="336" y="51"/>
                  <a:pt x="336" y="51"/>
                </a:cubicBezTo>
                <a:cubicBezTo>
                  <a:pt x="338" y="51"/>
                  <a:pt x="340" y="51"/>
                  <a:pt x="340" y="50"/>
                </a:cubicBezTo>
                <a:close/>
                <a:moveTo>
                  <a:pt x="236" y="74"/>
                </a:moveTo>
                <a:cubicBezTo>
                  <a:pt x="236" y="74"/>
                  <a:pt x="235" y="75"/>
                  <a:pt x="235" y="74"/>
                </a:cubicBezTo>
                <a:cubicBezTo>
                  <a:pt x="234" y="75"/>
                  <a:pt x="233" y="75"/>
                  <a:pt x="233" y="76"/>
                </a:cubicBezTo>
                <a:cubicBezTo>
                  <a:pt x="236" y="75"/>
                  <a:pt x="230" y="77"/>
                  <a:pt x="232" y="77"/>
                </a:cubicBezTo>
                <a:cubicBezTo>
                  <a:pt x="234" y="76"/>
                  <a:pt x="235" y="75"/>
                  <a:pt x="236" y="74"/>
                </a:cubicBezTo>
                <a:close/>
                <a:moveTo>
                  <a:pt x="231" y="76"/>
                </a:moveTo>
                <a:cubicBezTo>
                  <a:pt x="232" y="75"/>
                  <a:pt x="233" y="76"/>
                  <a:pt x="234" y="74"/>
                </a:cubicBezTo>
                <a:cubicBezTo>
                  <a:pt x="234" y="75"/>
                  <a:pt x="236" y="72"/>
                  <a:pt x="237" y="71"/>
                </a:cubicBezTo>
                <a:cubicBezTo>
                  <a:pt x="233" y="73"/>
                  <a:pt x="233" y="74"/>
                  <a:pt x="231" y="76"/>
                </a:cubicBezTo>
                <a:close/>
                <a:moveTo>
                  <a:pt x="162" y="116"/>
                </a:moveTo>
                <a:cubicBezTo>
                  <a:pt x="164" y="115"/>
                  <a:pt x="164" y="115"/>
                  <a:pt x="164" y="115"/>
                </a:cubicBezTo>
                <a:cubicBezTo>
                  <a:pt x="162" y="115"/>
                  <a:pt x="165" y="114"/>
                  <a:pt x="167" y="112"/>
                </a:cubicBezTo>
                <a:cubicBezTo>
                  <a:pt x="165" y="113"/>
                  <a:pt x="164" y="114"/>
                  <a:pt x="164" y="114"/>
                </a:cubicBezTo>
                <a:cubicBezTo>
                  <a:pt x="167" y="111"/>
                  <a:pt x="164" y="113"/>
                  <a:pt x="165" y="111"/>
                </a:cubicBezTo>
                <a:cubicBezTo>
                  <a:pt x="164" y="112"/>
                  <a:pt x="162" y="113"/>
                  <a:pt x="162" y="114"/>
                </a:cubicBezTo>
                <a:cubicBezTo>
                  <a:pt x="168" y="110"/>
                  <a:pt x="160" y="115"/>
                  <a:pt x="162" y="114"/>
                </a:cubicBezTo>
                <a:cubicBezTo>
                  <a:pt x="166" y="112"/>
                  <a:pt x="161" y="116"/>
                  <a:pt x="162" y="116"/>
                </a:cubicBezTo>
                <a:close/>
                <a:moveTo>
                  <a:pt x="132" y="113"/>
                </a:moveTo>
                <a:cubicBezTo>
                  <a:pt x="134" y="112"/>
                  <a:pt x="135" y="111"/>
                  <a:pt x="134" y="111"/>
                </a:cubicBezTo>
                <a:cubicBezTo>
                  <a:pt x="132" y="113"/>
                  <a:pt x="132" y="113"/>
                  <a:pt x="132" y="113"/>
                </a:cubicBezTo>
                <a:close/>
                <a:moveTo>
                  <a:pt x="788" y="254"/>
                </a:moveTo>
                <a:cubicBezTo>
                  <a:pt x="788" y="256"/>
                  <a:pt x="790" y="259"/>
                  <a:pt x="791" y="260"/>
                </a:cubicBezTo>
                <a:cubicBezTo>
                  <a:pt x="790" y="258"/>
                  <a:pt x="789" y="255"/>
                  <a:pt x="788" y="254"/>
                </a:cubicBezTo>
                <a:close/>
                <a:moveTo>
                  <a:pt x="792" y="242"/>
                </a:moveTo>
                <a:cubicBezTo>
                  <a:pt x="793" y="245"/>
                  <a:pt x="794" y="247"/>
                  <a:pt x="796" y="250"/>
                </a:cubicBezTo>
                <a:cubicBezTo>
                  <a:pt x="797" y="249"/>
                  <a:pt x="792" y="240"/>
                  <a:pt x="790" y="237"/>
                </a:cubicBezTo>
                <a:cubicBezTo>
                  <a:pt x="790" y="239"/>
                  <a:pt x="794" y="244"/>
                  <a:pt x="795" y="246"/>
                </a:cubicBezTo>
                <a:cubicBezTo>
                  <a:pt x="794" y="246"/>
                  <a:pt x="793" y="243"/>
                  <a:pt x="792" y="242"/>
                </a:cubicBezTo>
                <a:close/>
                <a:moveTo>
                  <a:pt x="787" y="245"/>
                </a:moveTo>
                <a:cubicBezTo>
                  <a:pt x="787" y="245"/>
                  <a:pt x="787" y="247"/>
                  <a:pt x="786" y="246"/>
                </a:cubicBezTo>
                <a:cubicBezTo>
                  <a:pt x="788" y="248"/>
                  <a:pt x="789" y="252"/>
                  <a:pt x="790" y="253"/>
                </a:cubicBezTo>
                <a:cubicBezTo>
                  <a:pt x="789" y="250"/>
                  <a:pt x="788" y="247"/>
                  <a:pt x="787" y="245"/>
                </a:cubicBezTo>
                <a:close/>
                <a:moveTo>
                  <a:pt x="779" y="256"/>
                </a:moveTo>
                <a:cubicBezTo>
                  <a:pt x="779" y="256"/>
                  <a:pt x="776" y="252"/>
                  <a:pt x="777" y="255"/>
                </a:cubicBezTo>
                <a:cubicBezTo>
                  <a:pt x="778" y="255"/>
                  <a:pt x="778" y="255"/>
                  <a:pt x="779" y="257"/>
                </a:cubicBezTo>
                <a:cubicBezTo>
                  <a:pt x="779" y="258"/>
                  <a:pt x="779" y="258"/>
                  <a:pt x="779" y="258"/>
                </a:cubicBezTo>
                <a:cubicBezTo>
                  <a:pt x="780" y="258"/>
                  <a:pt x="780" y="258"/>
                  <a:pt x="779" y="256"/>
                </a:cubicBezTo>
                <a:close/>
                <a:moveTo>
                  <a:pt x="785" y="244"/>
                </a:moveTo>
                <a:cubicBezTo>
                  <a:pt x="787" y="249"/>
                  <a:pt x="783" y="241"/>
                  <a:pt x="784" y="244"/>
                </a:cubicBezTo>
                <a:cubicBezTo>
                  <a:pt x="786" y="246"/>
                  <a:pt x="784" y="246"/>
                  <a:pt x="785" y="247"/>
                </a:cubicBezTo>
                <a:cubicBezTo>
                  <a:pt x="785" y="246"/>
                  <a:pt x="787" y="249"/>
                  <a:pt x="787" y="249"/>
                </a:cubicBezTo>
                <a:cubicBezTo>
                  <a:pt x="786" y="247"/>
                  <a:pt x="786" y="245"/>
                  <a:pt x="785" y="244"/>
                </a:cubicBezTo>
                <a:close/>
                <a:moveTo>
                  <a:pt x="789" y="230"/>
                </a:moveTo>
                <a:cubicBezTo>
                  <a:pt x="790" y="231"/>
                  <a:pt x="791" y="232"/>
                  <a:pt x="792" y="233"/>
                </a:cubicBezTo>
                <a:cubicBezTo>
                  <a:pt x="790" y="230"/>
                  <a:pt x="789" y="228"/>
                  <a:pt x="790" y="229"/>
                </a:cubicBezTo>
                <a:cubicBezTo>
                  <a:pt x="788" y="225"/>
                  <a:pt x="789" y="224"/>
                  <a:pt x="787" y="222"/>
                </a:cubicBezTo>
                <a:cubicBezTo>
                  <a:pt x="787" y="222"/>
                  <a:pt x="787" y="224"/>
                  <a:pt x="786" y="224"/>
                </a:cubicBezTo>
                <a:cubicBezTo>
                  <a:pt x="788" y="225"/>
                  <a:pt x="788" y="226"/>
                  <a:pt x="789" y="227"/>
                </a:cubicBezTo>
                <a:cubicBezTo>
                  <a:pt x="789" y="228"/>
                  <a:pt x="789" y="229"/>
                  <a:pt x="789" y="229"/>
                </a:cubicBezTo>
                <a:cubicBezTo>
                  <a:pt x="788" y="226"/>
                  <a:pt x="787" y="226"/>
                  <a:pt x="785" y="224"/>
                </a:cubicBezTo>
                <a:cubicBezTo>
                  <a:pt x="787" y="227"/>
                  <a:pt x="786" y="227"/>
                  <a:pt x="785" y="226"/>
                </a:cubicBezTo>
                <a:cubicBezTo>
                  <a:pt x="787" y="230"/>
                  <a:pt x="786" y="228"/>
                  <a:pt x="787" y="231"/>
                </a:cubicBezTo>
                <a:cubicBezTo>
                  <a:pt x="788" y="231"/>
                  <a:pt x="789" y="234"/>
                  <a:pt x="790" y="235"/>
                </a:cubicBezTo>
                <a:cubicBezTo>
                  <a:pt x="790" y="235"/>
                  <a:pt x="792" y="237"/>
                  <a:pt x="791" y="235"/>
                </a:cubicBezTo>
                <a:cubicBezTo>
                  <a:pt x="790" y="235"/>
                  <a:pt x="790" y="233"/>
                  <a:pt x="789" y="232"/>
                </a:cubicBezTo>
                <a:cubicBezTo>
                  <a:pt x="789" y="232"/>
                  <a:pt x="790" y="235"/>
                  <a:pt x="789" y="233"/>
                </a:cubicBezTo>
                <a:cubicBezTo>
                  <a:pt x="789" y="233"/>
                  <a:pt x="787" y="230"/>
                  <a:pt x="788" y="230"/>
                </a:cubicBezTo>
                <a:cubicBezTo>
                  <a:pt x="789" y="232"/>
                  <a:pt x="790" y="234"/>
                  <a:pt x="792" y="235"/>
                </a:cubicBezTo>
                <a:cubicBezTo>
                  <a:pt x="791" y="234"/>
                  <a:pt x="789" y="231"/>
                  <a:pt x="789" y="230"/>
                </a:cubicBezTo>
                <a:close/>
                <a:moveTo>
                  <a:pt x="788" y="235"/>
                </a:moveTo>
                <a:cubicBezTo>
                  <a:pt x="788" y="233"/>
                  <a:pt x="786" y="229"/>
                  <a:pt x="785" y="229"/>
                </a:cubicBezTo>
                <a:cubicBezTo>
                  <a:pt x="787" y="231"/>
                  <a:pt x="787" y="234"/>
                  <a:pt x="788" y="235"/>
                </a:cubicBezTo>
                <a:close/>
                <a:moveTo>
                  <a:pt x="756" y="236"/>
                </a:moveTo>
                <a:cubicBezTo>
                  <a:pt x="755" y="236"/>
                  <a:pt x="757" y="239"/>
                  <a:pt x="758" y="240"/>
                </a:cubicBezTo>
                <a:cubicBezTo>
                  <a:pt x="760" y="241"/>
                  <a:pt x="759" y="242"/>
                  <a:pt x="760" y="244"/>
                </a:cubicBezTo>
                <a:cubicBezTo>
                  <a:pt x="760" y="243"/>
                  <a:pt x="762" y="245"/>
                  <a:pt x="761" y="242"/>
                </a:cubicBezTo>
                <a:cubicBezTo>
                  <a:pt x="759" y="241"/>
                  <a:pt x="759" y="241"/>
                  <a:pt x="756" y="236"/>
                </a:cubicBezTo>
                <a:close/>
                <a:moveTo>
                  <a:pt x="780" y="220"/>
                </a:moveTo>
                <a:cubicBezTo>
                  <a:pt x="781" y="222"/>
                  <a:pt x="781" y="223"/>
                  <a:pt x="782" y="225"/>
                </a:cubicBezTo>
                <a:cubicBezTo>
                  <a:pt x="783" y="226"/>
                  <a:pt x="784" y="227"/>
                  <a:pt x="785" y="228"/>
                </a:cubicBezTo>
                <a:cubicBezTo>
                  <a:pt x="783" y="225"/>
                  <a:pt x="782" y="222"/>
                  <a:pt x="780" y="220"/>
                </a:cubicBezTo>
                <a:close/>
                <a:moveTo>
                  <a:pt x="787" y="219"/>
                </a:moveTo>
                <a:cubicBezTo>
                  <a:pt x="786" y="219"/>
                  <a:pt x="786" y="220"/>
                  <a:pt x="787" y="221"/>
                </a:cubicBezTo>
                <a:cubicBezTo>
                  <a:pt x="787" y="221"/>
                  <a:pt x="789" y="225"/>
                  <a:pt x="789" y="223"/>
                </a:cubicBezTo>
                <a:cubicBezTo>
                  <a:pt x="787" y="221"/>
                  <a:pt x="787" y="220"/>
                  <a:pt x="787" y="219"/>
                </a:cubicBezTo>
                <a:close/>
                <a:moveTo>
                  <a:pt x="781" y="226"/>
                </a:moveTo>
                <a:cubicBezTo>
                  <a:pt x="781" y="227"/>
                  <a:pt x="780" y="223"/>
                  <a:pt x="779" y="224"/>
                </a:cubicBezTo>
                <a:cubicBezTo>
                  <a:pt x="780" y="224"/>
                  <a:pt x="780" y="225"/>
                  <a:pt x="779" y="225"/>
                </a:cubicBezTo>
                <a:cubicBezTo>
                  <a:pt x="781" y="228"/>
                  <a:pt x="783" y="228"/>
                  <a:pt x="781" y="226"/>
                </a:cubicBezTo>
                <a:close/>
                <a:moveTo>
                  <a:pt x="760" y="233"/>
                </a:moveTo>
                <a:cubicBezTo>
                  <a:pt x="761" y="237"/>
                  <a:pt x="756" y="230"/>
                  <a:pt x="756" y="233"/>
                </a:cubicBezTo>
                <a:cubicBezTo>
                  <a:pt x="758" y="234"/>
                  <a:pt x="760" y="235"/>
                  <a:pt x="762" y="237"/>
                </a:cubicBezTo>
                <a:cubicBezTo>
                  <a:pt x="761" y="235"/>
                  <a:pt x="761" y="233"/>
                  <a:pt x="760" y="233"/>
                </a:cubicBezTo>
                <a:close/>
                <a:moveTo>
                  <a:pt x="754" y="232"/>
                </a:moveTo>
                <a:cubicBezTo>
                  <a:pt x="755" y="231"/>
                  <a:pt x="756" y="235"/>
                  <a:pt x="757" y="236"/>
                </a:cubicBezTo>
                <a:cubicBezTo>
                  <a:pt x="757" y="234"/>
                  <a:pt x="753" y="229"/>
                  <a:pt x="754" y="232"/>
                </a:cubicBezTo>
                <a:close/>
                <a:moveTo>
                  <a:pt x="747" y="236"/>
                </a:moveTo>
                <a:cubicBezTo>
                  <a:pt x="746" y="236"/>
                  <a:pt x="748" y="238"/>
                  <a:pt x="748" y="239"/>
                </a:cubicBezTo>
                <a:cubicBezTo>
                  <a:pt x="749" y="239"/>
                  <a:pt x="749" y="240"/>
                  <a:pt x="749" y="239"/>
                </a:cubicBezTo>
                <a:cubicBezTo>
                  <a:pt x="748" y="239"/>
                  <a:pt x="748" y="237"/>
                  <a:pt x="747" y="236"/>
                </a:cubicBezTo>
                <a:close/>
                <a:moveTo>
                  <a:pt x="753" y="170"/>
                </a:moveTo>
                <a:cubicBezTo>
                  <a:pt x="752" y="170"/>
                  <a:pt x="752" y="170"/>
                  <a:pt x="753" y="172"/>
                </a:cubicBezTo>
                <a:cubicBezTo>
                  <a:pt x="754" y="172"/>
                  <a:pt x="755" y="172"/>
                  <a:pt x="756" y="173"/>
                </a:cubicBezTo>
                <a:cubicBezTo>
                  <a:pt x="754" y="172"/>
                  <a:pt x="753" y="171"/>
                  <a:pt x="753" y="170"/>
                </a:cubicBezTo>
                <a:close/>
                <a:moveTo>
                  <a:pt x="747" y="163"/>
                </a:moveTo>
                <a:cubicBezTo>
                  <a:pt x="746" y="162"/>
                  <a:pt x="745" y="163"/>
                  <a:pt x="746" y="165"/>
                </a:cubicBezTo>
                <a:cubicBezTo>
                  <a:pt x="746" y="164"/>
                  <a:pt x="749" y="168"/>
                  <a:pt x="749" y="167"/>
                </a:cubicBezTo>
                <a:cubicBezTo>
                  <a:pt x="746" y="163"/>
                  <a:pt x="748" y="165"/>
                  <a:pt x="747" y="163"/>
                </a:cubicBezTo>
                <a:close/>
                <a:moveTo>
                  <a:pt x="726" y="156"/>
                </a:moveTo>
                <a:cubicBezTo>
                  <a:pt x="725" y="156"/>
                  <a:pt x="728" y="159"/>
                  <a:pt x="729" y="160"/>
                </a:cubicBezTo>
                <a:cubicBezTo>
                  <a:pt x="730" y="160"/>
                  <a:pt x="728" y="158"/>
                  <a:pt x="726" y="156"/>
                </a:cubicBezTo>
                <a:close/>
                <a:moveTo>
                  <a:pt x="723" y="152"/>
                </a:moveTo>
                <a:cubicBezTo>
                  <a:pt x="722" y="152"/>
                  <a:pt x="721" y="151"/>
                  <a:pt x="721" y="150"/>
                </a:cubicBezTo>
                <a:cubicBezTo>
                  <a:pt x="720" y="150"/>
                  <a:pt x="720" y="151"/>
                  <a:pt x="721" y="152"/>
                </a:cubicBezTo>
                <a:cubicBezTo>
                  <a:pt x="722" y="151"/>
                  <a:pt x="725" y="155"/>
                  <a:pt x="724" y="153"/>
                </a:cubicBezTo>
                <a:cubicBezTo>
                  <a:pt x="723" y="153"/>
                  <a:pt x="723" y="153"/>
                  <a:pt x="723" y="152"/>
                </a:cubicBezTo>
                <a:close/>
                <a:moveTo>
                  <a:pt x="726" y="146"/>
                </a:moveTo>
                <a:cubicBezTo>
                  <a:pt x="727" y="147"/>
                  <a:pt x="726" y="147"/>
                  <a:pt x="728" y="149"/>
                </a:cubicBezTo>
                <a:cubicBezTo>
                  <a:pt x="729" y="150"/>
                  <a:pt x="727" y="147"/>
                  <a:pt x="726" y="146"/>
                </a:cubicBezTo>
                <a:close/>
                <a:moveTo>
                  <a:pt x="717" y="154"/>
                </a:moveTo>
                <a:cubicBezTo>
                  <a:pt x="718" y="156"/>
                  <a:pt x="715" y="152"/>
                  <a:pt x="714" y="152"/>
                </a:cubicBezTo>
                <a:cubicBezTo>
                  <a:pt x="714" y="153"/>
                  <a:pt x="716" y="154"/>
                  <a:pt x="717" y="156"/>
                </a:cubicBezTo>
                <a:cubicBezTo>
                  <a:pt x="718" y="156"/>
                  <a:pt x="718" y="155"/>
                  <a:pt x="717" y="154"/>
                </a:cubicBezTo>
                <a:close/>
                <a:moveTo>
                  <a:pt x="723" y="138"/>
                </a:moveTo>
                <a:cubicBezTo>
                  <a:pt x="726" y="140"/>
                  <a:pt x="727" y="142"/>
                  <a:pt x="728" y="143"/>
                </a:cubicBezTo>
                <a:cubicBezTo>
                  <a:pt x="727" y="141"/>
                  <a:pt x="725" y="139"/>
                  <a:pt x="723" y="138"/>
                </a:cubicBezTo>
                <a:close/>
                <a:moveTo>
                  <a:pt x="723" y="139"/>
                </a:moveTo>
                <a:cubicBezTo>
                  <a:pt x="723" y="138"/>
                  <a:pt x="722" y="137"/>
                  <a:pt x="721" y="137"/>
                </a:cubicBezTo>
                <a:cubicBezTo>
                  <a:pt x="720" y="136"/>
                  <a:pt x="720" y="136"/>
                  <a:pt x="720" y="137"/>
                </a:cubicBezTo>
                <a:cubicBezTo>
                  <a:pt x="721" y="139"/>
                  <a:pt x="722" y="140"/>
                  <a:pt x="723" y="141"/>
                </a:cubicBezTo>
                <a:cubicBezTo>
                  <a:pt x="722" y="139"/>
                  <a:pt x="720" y="138"/>
                  <a:pt x="721" y="137"/>
                </a:cubicBezTo>
                <a:cubicBezTo>
                  <a:pt x="723" y="139"/>
                  <a:pt x="724" y="140"/>
                  <a:pt x="725" y="140"/>
                </a:cubicBezTo>
                <a:cubicBezTo>
                  <a:pt x="724" y="139"/>
                  <a:pt x="724" y="139"/>
                  <a:pt x="723" y="139"/>
                </a:cubicBezTo>
                <a:close/>
                <a:moveTo>
                  <a:pt x="722" y="140"/>
                </a:moveTo>
                <a:cubicBezTo>
                  <a:pt x="719" y="137"/>
                  <a:pt x="719" y="137"/>
                  <a:pt x="719" y="137"/>
                </a:cubicBezTo>
                <a:cubicBezTo>
                  <a:pt x="718" y="137"/>
                  <a:pt x="720" y="140"/>
                  <a:pt x="721" y="141"/>
                </a:cubicBezTo>
                <a:cubicBezTo>
                  <a:pt x="722" y="141"/>
                  <a:pt x="722" y="141"/>
                  <a:pt x="722" y="140"/>
                </a:cubicBezTo>
                <a:close/>
                <a:moveTo>
                  <a:pt x="721" y="134"/>
                </a:moveTo>
                <a:cubicBezTo>
                  <a:pt x="720" y="134"/>
                  <a:pt x="719" y="134"/>
                  <a:pt x="719" y="134"/>
                </a:cubicBezTo>
                <a:cubicBezTo>
                  <a:pt x="723" y="138"/>
                  <a:pt x="724" y="137"/>
                  <a:pt x="721" y="134"/>
                </a:cubicBezTo>
                <a:close/>
                <a:moveTo>
                  <a:pt x="714" y="136"/>
                </a:moveTo>
                <a:cubicBezTo>
                  <a:pt x="715" y="135"/>
                  <a:pt x="715" y="135"/>
                  <a:pt x="714" y="134"/>
                </a:cubicBezTo>
                <a:cubicBezTo>
                  <a:pt x="713" y="133"/>
                  <a:pt x="712" y="134"/>
                  <a:pt x="714" y="136"/>
                </a:cubicBezTo>
                <a:close/>
                <a:moveTo>
                  <a:pt x="697" y="113"/>
                </a:moveTo>
                <a:cubicBezTo>
                  <a:pt x="698" y="114"/>
                  <a:pt x="698" y="113"/>
                  <a:pt x="697" y="113"/>
                </a:cubicBezTo>
                <a:cubicBezTo>
                  <a:pt x="696" y="113"/>
                  <a:pt x="694" y="110"/>
                  <a:pt x="693" y="110"/>
                </a:cubicBezTo>
                <a:cubicBezTo>
                  <a:pt x="695" y="112"/>
                  <a:pt x="698" y="116"/>
                  <a:pt x="700" y="117"/>
                </a:cubicBezTo>
                <a:cubicBezTo>
                  <a:pt x="699" y="116"/>
                  <a:pt x="696" y="113"/>
                  <a:pt x="697" y="113"/>
                </a:cubicBezTo>
                <a:close/>
                <a:moveTo>
                  <a:pt x="662" y="153"/>
                </a:moveTo>
                <a:cubicBezTo>
                  <a:pt x="663" y="154"/>
                  <a:pt x="665" y="156"/>
                  <a:pt x="666" y="156"/>
                </a:cubicBezTo>
                <a:cubicBezTo>
                  <a:pt x="665" y="155"/>
                  <a:pt x="663" y="152"/>
                  <a:pt x="662" y="153"/>
                </a:cubicBezTo>
                <a:close/>
                <a:moveTo>
                  <a:pt x="685" y="103"/>
                </a:moveTo>
                <a:cubicBezTo>
                  <a:pt x="687" y="104"/>
                  <a:pt x="686" y="104"/>
                  <a:pt x="687" y="105"/>
                </a:cubicBezTo>
                <a:cubicBezTo>
                  <a:pt x="688" y="106"/>
                  <a:pt x="689" y="106"/>
                  <a:pt x="689" y="106"/>
                </a:cubicBezTo>
                <a:cubicBezTo>
                  <a:pt x="688" y="105"/>
                  <a:pt x="687" y="103"/>
                  <a:pt x="685" y="103"/>
                </a:cubicBezTo>
                <a:close/>
                <a:moveTo>
                  <a:pt x="599" y="49"/>
                </a:moveTo>
                <a:cubicBezTo>
                  <a:pt x="600" y="50"/>
                  <a:pt x="603" y="51"/>
                  <a:pt x="603" y="50"/>
                </a:cubicBezTo>
                <a:cubicBezTo>
                  <a:pt x="600" y="49"/>
                  <a:pt x="601" y="50"/>
                  <a:pt x="599" y="49"/>
                </a:cubicBezTo>
                <a:close/>
                <a:moveTo>
                  <a:pt x="579" y="43"/>
                </a:moveTo>
                <a:cubicBezTo>
                  <a:pt x="579" y="42"/>
                  <a:pt x="584" y="44"/>
                  <a:pt x="581" y="43"/>
                </a:cubicBezTo>
                <a:cubicBezTo>
                  <a:pt x="581" y="43"/>
                  <a:pt x="576" y="41"/>
                  <a:pt x="579" y="43"/>
                </a:cubicBezTo>
                <a:close/>
                <a:moveTo>
                  <a:pt x="568" y="37"/>
                </a:moveTo>
                <a:cubicBezTo>
                  <a:pt x="568" y="36"/>
                  <a:pt x="570" y="37"/>
                  <a:pt x="571" y="38"/>
                </a:cubicBezTo>
                <a:cubicBezTo>
                  <a:pt x="573" y="38"/>
                  <a:pt x="568" y="36"/>
                  <a:pt x="567" y="36"/>
                </a:cubicBezTo>
                <a:cubicBezTo>
                  <a:pt x="570" y="37"/>
                  <a:pt x="565" y="36"/>
                  <a:pt x="568" y="37"/>
                </a:cubicBezTo>
                <a:close/>
                <a:moveTo>
                  <a:pt x="562" y="33"/>
                </a:moveTo>
                <a:cubicBezTo>
                  <a:pt x="563" y="34"/>
                  <a:pt x="563" y="33"/>
                  <a:pt x="565" y="33"/>
                </a:cubicBezTo>
                <a:cubicBezTo>
                  <a:pt x="567" y="35"/>
                  <a:pt x="567" y="35"/>
                  <a:pt x="567" y="35"/>
                </a:cubicBezTo>
                <a:cubicBezTo>
                  <a:pt x="570" y="35"/>
                  <a:pt x="558" y="30"/>
                  <a:pt x="562" y="33"/>
                </a:cubicBezTo>
                <a:close/>
                <a:moveTo>
                  <a:pt x="533" y="22"/>
                </a:moveTo>
                <a:cubicBezTo>
                  <a:pt x="531" y="22"/>
                  <a:pt x="527" y="19"/>
                  <a:pt x="523" y="19"/>
                </a:cubicBezTo>
                <a:cubicBezTo>
                  <a:pt x="524" y="20"/>
                  <a:pt x="519" y="18"/>
                  <a:pt x="519" y="19"/>
                </a:cubicBezTo>
                <a:cubicBezTo>
                  <a:pt x="522" y="20"/>
                  <a:pt x="520" y="20"/>
                  <a:pt x="524" y="21"/>
                </a:cubicBezTo>
                <a:cubicBezTo>
                  <a:pt x="522" y="19"/>
                  <a:pt x="526" y="20"/>
                  <a:pt x="528" y="20"/>
                </a:cubicBezTo>
                <a:cubicBezTo>
                  <a:pt x="529" y="21"/>
                  <a:pt x="532" y="22"/>
                  <a:pt x="535" y="23"/>
                </a:cubicBezTo>
                <a:cubicBezTo>
                  <a:pt x="534" y="23"/>
                  <a:pt x="535" y="22"/>
                  <a:pt x="533" y="22"/>
                </a:cubicBezTo>
                <a:close/>
                <a:moveTo>
                  <a:pt x="513" y="21"/>
                </a:moveTo>
                <a:cubicBezTo>
                  <a:pt x="515" y="21"/>
                  <a:pt x="520" y="24"/>
                  <a:pt x="520" y="23"/>
                </a:cubicBezTo>
                <a:cubicBezTo>
                  <a:pt x="516" y="22"/>
                  <a:pt x="514" y="21"/>
                  <a:pt x="513" y="21"/>
                </a:cubicBezTo>
                <a:close/>
                <a:moveTo>
                  <a:pt x="499" y="13"/>
                </a:moveTo>
                <a:cubicBezTo>
                  <a:pt x="501" y="14"/>
                  <a:pt x="499" y="14"/>
                  <a:pt x="502" y="15"/>
                </a:cubicBezTo>
                <a:cubicBezTo>
                  <a:pt x="501" y="14"/>
                  <a:pt x="504" y="14"/>
                  <a:pt x="502" y="14"/>
                </a:cubicBezTo>
                <a:cubicBezTo>
                  <a:pt x="502" y="14"/>
                  <a:pt x="499" y="13"/>
                  <a:pt x="499" y="13"/>
                </a:cubicBezTo>
                <a:close/>
                <a:moveTo>
                  <a:pt x="497" y="13"/>
                </a:moveTo>
                <a:cubicBezTo>
                  <a:pt x="502" y="15"/>
                  <a:pt x="497" y="14"/>
                  <a:pt x="497" y="15"/>
                </a:cubicBezTo>
                <a:cubicBezTo>
                  <a:pt x="499" y="15"/>
                  <a:pt x="500" y="16"/>
                  <a:pt x="501" y="16"/>
                </a:cubicBezTo>
                <a:cubicBezTo>
                  <a:pt x="500" y="15"/>
                  <a:pt x="499" y="13"/>
                  <a:pt x="497" y="13"/>
                </a:cubicBezTo>
                <a:close/>
                <a:moveTo>
                  <a:pt x="494" y="15"/>
                </a:moveTo>
                <a:cubicBezTo>
                  <a:pt x="494" y="14"/>
                  <a:pt x="496" y="15"/>
                  <a:pt x="496" y="14"/>
                </a:cubicBezTo>
                <a:cubicBezTo>
                  <a:pt x="492" y="13"/>
                  <a:pt x="493" y="14"/>
                  <a:pt x="494" y="15"/>
                </a:cubicBezTo>
                <a:close/>
                <a:moveTo>
                  <a:pt x="441" y="7"/>
                </a:moveTo>
                <a:cubicBezTo>
                  <a:pt x="441" y="7"/>
                  <a:pt x="443" y="7"/>
                  <a:pt x="445" y="7"/>
                </a:cubicBezTo>
                <a:cubicBezTo>
                  <a:pt x="444" y="7"/>
                  <a:pt x="445" y="7"/>
                  <a:pt x="444" y="7"/>
                </a:cubicBezTo>
                <a:cubicBezTo>
                  <a:pt x="444" y="7"/>
                  <a:pt x="439" y="7"/>
                  <a:pt x="441" y="7"/>
                </a:cubicBezTo>
                <a:close/>
                <a:moveTo>
                  <a:pt x="436" y="6"/>
                </a:moveTo>
                <a:cubicBezTo>
                  <a:pt x="433" y="6"/>
                  <a:pt x="434" y="5"/>
                  <a:pt x="431" y="6"/>
                </a:cubicBezTo>
                <a:cubicBezTo>
                  <a:pt x="431" y="6"/>
                  <a:pt x="433" y="6"/>
                  <a:pt x="432" y="7"/>
                </a:cubicBezTo>
                <a:cubicBezTo>
                  <a:pt x="434" y="7"/>
                  <a:pt x="436" y="8"/>
                  <a:pt x="437" y="7"/>
                </a:cubicBezTo>
                <a:cubicBezTo>
                  <a:pt x="432" y="7"/>
                  <a:pt x="433" y="6"/>
                  <a:pt x="436" y="6"/>
                </a:cubicBezTo>
                <a:close/>
                <a:moveTo>
                  <a:pt x="424" y="8"/>
                </a:moveTo>
                <a:cubicBezTo>
                  <a:pt x="420" y="7"/>
                  <a:pt x="426" y="6"/>
                  <a:pt x="421" y="7"/>
                </a:cubicBezTo>
                <a:cubicBezTo>
                  <a:pt x="423" y="7"/>
                  <a:pt x="420" y="8"/>
                  <a:pt x="424" y="8"/>
                </a:cubicBezTo>
                <a:close/>
                <a:moveTo>
                  <a:pt x="415" y="4"/>
                </a:moveTo>
                <a:cubicBezTo>
                  <a:pt x="415" y="4"/>
                  <a:pt x="414" y="4"/>
                  <a:pt x="413" y="4"/>
                </a:cubicBezTo>
                <a:cubicBezTo>
                  <a:pt x="415" y="4"/>
                  <a:pt x="417" y="5"/>
                  <a:pt x="420" y="5"/>
                </a:cubicBezTo>
                <a:cubicBezTo>
                  <a:pt x="420" y="4"/>
                  <a:pt x="417" y="4"/>
                  <a:pt x="415" y="4"/>
                </a:cubicBezTo>
                <a:close/>
                <a:moveTo>
                  <a:pt x="417" y="5"/>
                </a:moveTo>
                <a:cubicBezTo>
                  <a:pt x="417" y="6"/>
                  <a:pt x="414" y="6"/>
                  <a:pt x="412" y="5"/>
                </a:cubicBezTo>
                <a:cubicBezTo>
                  <a:pt x="412" y="6"/>
                  <a:pt x="415" y="6"/>
                  <a:pt x="416" y="7"/>
                </a:cubicBezTo>
                <a:cubicBezTo>
                  <a:pt x="416" y="7"/>
                  <a:pt x="417" y="7"/>
                  <a:pt x="418" y="7"/>
                </a:cubicBezTo>
                <a:cubicBezTo>
                  <a:pt x="413" y="6"/>
                  <a:pt x="418" y="6"/>
                  <a:pt x="419" y="6"/>
                </a:cubicBezTo>
                <a:cubicBezTo>
                  <a:pt x="419" y="6"/>
                  <a:pt x="419" y="5"/>
                  <a:pt x="417" y="5"/>
                </a:cubicBezTo>
                <a:close/>
                <a:moveTo>
                  <a:pt x="412" y="4"/>
                </a:moveTo>
                <a:cubicBezTo>
                  <a:pt x="409" y="4"/>
                  <a:pt x="409" y="5"/>
                  <a:pt x="410" y="5"/>
                </a:cubicBezTo>
                <a:cubicBezTo>
                  <a:pt x="409" y="4"/>
                  <a:pt x="414" y="5"/>
                  <a:pt x="413" y="5"/>
                </a:cubicBezTo>
                <a:cubicBezTo>
                  <a:pt x="410" y="4"/>
                  <a:pt x="413" y="4"/>
                  <a:pt x="412" y="4"/>
                </a:cubicBezTo>
                <a:close/>
                <a:moveTo>
                  <a:pt x="409" y="5"/>
                </a:moveTo>
                <a:cubicBezTo>
                  <a:pt x="405" y="5"/>
                  <a:pt x="405" y="5"/>
                  <a:pt x="405" y="5"/>
                </a:cubicBezTo>
                <a:cubicBezTo>
                  <a:pt x="404" y="6"/>
                  <a:pt x="408" y="6"/>
                  <a:pt x="407" y="7"/>
                </a:cubicBezTo>
                <a:cubicBezTo>
                  <a:pt x="409" y="7"/>
                  <a:pt x="409" y="7"/>
                  <a:pt x="412" y="8"/>
                </a:cubicBezTo>
                <a:cubicBezTo>
                  <a:pt x="411" y="7"/>
                  <a:pt x="404" y="6"/>
                  <a:pt x="409" y="5"/>
                </a:cubicBezTo>
                <a:close/>
                <a:moveTo>
                  <a:pt x="391" y="7"/>
                </a:moveTo>
                <a:cubicBezTo>
                  <a:pt x="393" y="7"/>
                  <a:pt x="395" y="7"/>
                  <a:pt x="397" y="7"/>
                </a:cubicBezTo>
                <a:cubicBezTo>
                  <a:pt x="397" y="7"/>
                  <a:pt x="397" y="7"/>
                  <a:pt x="397" y="7"/>
                </a:cubicBezTo>
                <a:cubicBezTo>
                  <a:pt x="395" y="7"/>
                  <a:pt x="393" y="7"/>
                  <a:pt x="391" y="7"/>
                </a:cubicBezTo>
                <a:close/>
                <a:moveTo>
                  <a:pt x="376" y="46"/>
                </a:moveTo>
                <a:cubicBezTo>
                  <a:pt x="376" y="47"/>
                  <a:pt x="379" y="47"/>
                  <a:pt x="380" y="47"/>
                </a:cubicBezTo>
                <a:cubicBezTo>
                  <a:pt x="378" y="47"/>
                  <a:pt x="378" y="46"/>
                  <a:pt x="376" y="46"/>
                </a:cubicBezTo>
                <a:close/>
                <a:moveTo>
                  <a:pt x="354" y="47"/>
                </a:moveTo>
                <a:cubicBezTo>
                  <a:pt x="353" y="48"/>
                  <a:pt x="359" y="47"/>
                  <a:pt x="359" y="47"/>
                </a:cubicBezTo>
                <a:cubicBezTo>
                  <a:pt x="357" y="47"/>
                  <a:pt x="357" y="46"/>
                  <a:pt x="354" y="47"/>
                </a:cubicBezTo>
                <a:close/>
                <a:moveTo>
                  <a:pt x="323" y="15"/>
                </a:moveTo>
                <a:cubicBezTo>
                  <a:pt x="323" y="16"/>
                  <a:pt x="322" y="16"/>
                  <a:pt x="324" y="16"/>
                </a:cubicBezTo>
                <a:cubicBezTo>
                  <a:pt x="326" y="16"/>
                  <a:pt x="326" y="15"/>
                  <a:pt x="323" y="15"/>
                </a:cubicBezTo>
                <a:close/>
                <a:moveTo>
                  <a:pt x="325" y="47"/>
                </a:moveTo>
                <a:cubicBezTo>
                  <a:pt x="324" y="48"/>
                  <a:pt x="328" y="47"/>
                  <a:pt x="329" y="46"/>
                </a:cubicBezTo>
                <a:cubicBezTo>
                  <a:pt x="327" y="47"/>
                  <a:pt x="327" y="46"/>
                  <a:pt x="325" y="47"/>
                </a:cubicBezTo>
                <a:close/>
                <a:moveTo>
                  <a:pt x="321" y="51"/>
                </a:moveTo>
                <a:cubicBezTo>
                  <a:pt x="324" y="50"/>
                  <a:pt x="323" y="50"/>
                  <a:pt x="321" y="51"/>
                </a:cubicBezTo>
                <a:cubicBezTo>
                  <a:pt x="323" y="51"/>
                  <a:pt x="325" y="50"/>
                  <a:pt x="327" y="50"/>
                </a:cubicBezTo>
                <a:cubicBezTo>
                  <a:pt x="328" y="50"/>
                  <a:pt x="328" y="49"/>
                  <a:pt x="328" y="49"/>
                </a:cubicBezTo>
                <a:cubicBezTo>
                  <a:pt x="325" y="50"/>
                  <a:pt x="321" y="49"/>
                  <a:pt x="321" y="51"/>
                </a:cubicBezTo>
                <a:close/>
                <a:moveTo>
                  <a:pt x="316" y="18"/>
                </a:moveTo>
                <a:cubicBezTo>
                  <a:pt x="319" y="17"/>
                  <a:pt x="317" y="18"/>
                  <a:pt x="320" y="18"/>
                </a:cubicBezTo>
                <a:cubicBezTo>
                  <a:pt x="319" y="17"/>
                  <a:pt x="321" y="17"/>
                  <a:pt x="321" y="16"/>
                </a:cubicBezTo>
                <a:cubicBezTo>
                  <a:pt x="318" y="17"/>
                  <a:pt x="319" y="17"/>
                  <a:pt x="317" y="17"/>
                </a:cubicBezTo>
                <a:cubicBezTo>
                  <a:pt x="317" y="17"/>
                  <a:pt x="317" y="17"/>
                  <a:pt x="316" y="18"/>
                </a:cubicBezTo>
                <a:close/>
                <a:moveTo>
                  <a:pt x="311" y="35"/>
                </a:moveTo>
                <a:cubicBezTo>
                  <a:pt x="312" y="34"/>
                  <a:pt x="316" y="34"/>
                  <a:pt x="315" y="34"/>
                </a:cubicBezTo>
                <a:cubicBezTo>
                  <a:pt x="314" y="34"/>
                  <a:pt x="308" y="35"/>
                  <a:pt x="311" y="35"/>
                </a:cubicBezTo>
                <a:close/>
                <a:moveTo>
                  <a:pt x="314" y="49"/>
                </a:moveTo>
                <a:cubicBezTo>
                  <a:pt x="314" y="50"/>
                  <a:pt x="318" y="49"/>
                  <a:pt x="318" y="49"/>
                </a:cubicBezTo>
                <a:lnTo>
                  <a:pt x="314" y="49"/>
                </a:lnTo>
                <a:close/>
                <a:moveTo>
                  <a:pt x="308" y="47"/>
                </a:moveTo>
                <a:cubicBezTo>
                  <a:pt x="308" y="48"/>
                  <a:pt x="314" y="46"/>
                  <a:pt x="315" y="46"/>
                </a:cubicBezTo>
                <a:cubicBezTo>
                  <a:pt x="315" y="46"/>
                  <a:pt x="315" y="45"/>
                  <a:pt x="316" y="45"/>
                </a:cubicBezTo>
                <a:cubicBezTo>
                  <a:pt x="313" y="46"/>
                  <a:pt x="309" y="47"/>
                  <a:pt x="308" y="47"/>
                </a:cubicBezTo>
                <a:close/>
                <a:moveTo>
                  <a:pt x="302" y="21"/>
                </a:moveTo>
                <a:cubicBezTo>
                  <a:pt x="305" y="21"/>
                  <a:pt x="305" y="20"/>
                  <a:pt x="306" y="20"/>
                </a:cubicBezTo>
                <a:cubicBezTo>
                  <a:pt x="306" y="19"/>
                  <a:pt x="307" y="19"/>
                  <a:pt x="307" y="19"/>
                </a:cubicBezTo>
                <a:cubicBezTo>
                  <a:pt x="304" y="20"/>
                  <a:pt x="303" y="20"/>
                  <a:pt x="302" y="21"/>
                </a:cubicBezTo>
                <a:close/>
                <a:moveTo>
                  <a:pt x="314" y="52"/>
                </a:moveTo>
                <a:cubicBezTo>
                  <a:pt x="313" y="52"/>
                  <a:pt x="311" y="53"/>
                  <a:pt x="311" y="53"/>
                </a:cubicBezTo>
                <a:cubicBezTo>
                  <a:pt x="314" y="52"/>
                  <a:pt x="313" y="53"/>
                  <a:pt x="315" y="52"/>
                </a:cubicBezTo>
                <a:cubicBezTo>
                  <a:pt x="315" y="52"/>
                  <a:pt x="315" y="52"/>
                  <a:pt x="314" y="52"/>
                </a:cubicBezTo>
                <a:close/>
                <a:moveTo>
                  <a:pt x="309" y="42"/>
                </a:moveTo>
                <a:cubicBezTo>
                  <a:pt x="307" y="43"/>
                  <a:pt x="305" y="43"/>
                  <a:pt x="304" y="44"/>
                </a:cubicBezTo>
                <a:cubicBezTo>
                  <a:pt x="306" y="44"/>
                  <a:pt x="309" y="43"/>
                  <a:pt x="310" y="42"/>
                </a:cubicBezTo>
                <a:cubicBezTo>
                  <a:pt x="310" y="42"/>
                  <a:pt x="310" y="41"/>
                  <a:pt x="309" y="41"/>
                </a:cubicBezTo>
                <a:lnTo>
                  <a:pt x="309" y="42"/>
                </a:lnTo>
                <a:close/>
                <a:moveTo>
                  <a:pt x="306" y="49"/>
                </a:moveTo>
                <a:cubicBezTo>
                  <a:pt x="308" y="49"/>
                  <a:pt x="309" y="49"/>
                  <a:pt x="310" y="49"/>
                </a:cubicBezTo>
                <a:cubicBezTo>
                  <a:pt x="310" y="48"/>
                  <a:pt x="310" y="48"/>
                  <a:pt x="311" y="48"/>
                </a:cubicBezTo>
                <a:cubicBezTo>
                  <a:pt x="311" y="48"/>
                  <a:pt x="311" y="48"/>
                  <a:pt x="311" y="48"/>
                </a:cubicBezTo>
                <a:cubicBezTo>
                  <a:pt x="308" y="49"/>
                  <a:pt x="307" y="48"/>
                  <a:pt x="306" y="49"/>
                </a:cubicBezTo>
                <a:close/>
                <a:moveTo>
                  <a:pt x="306" y="51"/>
                </a:moveTo>
                <a:cubicBezTo>
                  <a:pt x="307" y="51"/>
                  <a:pt x="308" y="50"/>
                  <a:pt x="309" y="50"/>
                </a:cubicBezTo>
                <a:cubicBezTo>
                  <a:pt x="310" y="50"/>
                  <a:pt x="310" y="50"/>
                  <a:pt x="310" y="50"/>
                </a:cubicBezTo>
                <a:cubicBezTo>
                  <a:pt x="310" y="50"/>
                  <a:pt x="310" y="50"/>
                  <a:pt x="310" y="50"/>
                </a:cubicBezTo>
                <a:cubicBezTo>
                  <a:pt x="307" y="50"/>
                  <a:pt x="304" y="51"/>
                  <a:pt x="306" y="51"/>
                </a:cubicBezTo>
                <a:close/>
                <a:moveTo>
                  <a:pt x="307" y="53"/>
                </a:moveTo>
                <a:cubicBezTo>
                  <a:pt x="309" y="53"/>
                  <a:pt x="306" y="54"/>
                  <a:pt x="306" y="54"/>
                </a:cubicBezTo>
                <a:cubicBezTo>
                  <a:pt x="309" y="54"/>
                  <a:pt x="310" y="53"/>
                  <a:pt x="311" y="52"/>
                </a:cubicBezTo>
                <a:cubicBezTo>
                  <a:pt x="310" y="52"/>
                  <a:pt x="308" y="53"/>
                  <a:pt x="307" y="53"/>
                </a:cubicBezTo>
                <a:close/>
                <a:moveTo>
                  <a:pt x="308" y="54"/>
                </a:moveTo>
                <a:cubicBezTo>
                  <a:pt x="305" y="55"/>
                  <a:pt x="306" y="55"/>
                  <a:pt x="305" y="56"/>
                </a:cubicBezTo>
                <a:cubicBezTo>
                  <a:pt x="308" y="55"/>
                  <a:pt x="309" y="56"/>
                  <a:pt x="310" y="55"/>
                </a:cubicBezTo>
                <a:cubicBezTo>
                  <a:pt x="308" y="55"/>
                  <a:pt x="308" y="55"/>
                  <a:pt x="308" y="54"/>
                </a:cubicBezTo>
                <a:close/>
                <a:moveTo>
                  <a:pt x="302" y="38"/>
                </a:moveTo>
                <a:cubicBezTo>
                  <a:pt x="300" y="39"/>
                  <a:pt x="300" y="39"/>
                  <a:pt x="300" y="40"/>
                </a:cubicBezTo>
                <a:cubicBezTo>
                  <a:pt x="303" y="39"/>
                  <a:pt x="303" y="39"/>
                  <a:pt x="302" y="38"/>
                </a:cubicBezTo>
                <a:close/>
                <a:moveTo>
                  <a:pt x="301" y="46"/>
                </a:moveTo>
                <a:cubicBezTo>
                  <a:pt x="300" y="47"/>
                  <a:pt x="300" y="47"/>
                  <a:pt x="299" y="47"/>
                </a:cubicBezTo>
                <a:cubicBezTo>
                  <a:pt x="299" y="47"/>
                  <a:pt x="297" y="48"/>
                  <a:pt x="299" y="48"/>
                </a:cubicBezTo>
                <a:cubicBezTo>
                  <a:pt x="300" y="47"/>
                  <a:pt x="305" y="45"/>
                  <a:pt x="302" y="46"/>
                </a:cubicBezTo>
                <a:cubicBezTo>
                  <a:pt x="302" y="46"/>
                  <a:pt x="301" y="46"/>
                  <a:pt x="301" y="46"/>
                </a:cubicBezTo>
                <a:close/>
                <a:moveTo>
                  <a:pt x="300" y="51"/>
                </a:moveTo>
                <a:cubicBezTo>
                  <a:pt x="300" y="51"/>
                  <a:pt x="303" y="50"/>
                  <a:pt x="303" y="50"/>
                </a:cubicBezTo>
                <a:cubicBezTo>
                  <a:pt x="301" y="50"/>
                  <a:pt x="297" y="52"/>
                  <a:pt x="300" y="51"/>
                </a:cubicBezTo>
                <a:close/>
                <a:moveTo>
                  <a:pt x="296" y="41"/>
                </a:moveTo>
                <a:cubicBezTo>
                  <a:pt x="296" y="40"/>
                  <a:pt x="297" y="40"/>
                  <a:pt x="297" y="40"/>
                </a:cubicBezTo>
                <a:cubicBezTo>
                  <a:pt x="294" y="40"/>
                  <a:pt x="293" y="42"/>
                  <a:pt x="296" y="41"/>
                </a:cubicBezTo>
                <a:close/>
                <a:moveTo>
                  <a:pt x="295" y="49"/>
                </a:moveTo>
                <a:cubicBezTo>
                  <a:pt x="293" y="50"/>
                  <a:pt x="294" y="51"/>
                  <a:pt x="297" y="51"/>
                </a:cubicBezTo>
                <a:cubicBezTo>
                  <a:pt x="298" y="50"/>
                  <a:pt x="294" y="50"/>
                  <a:pt x="297" y="49"/>
                </a:cubicBezTo>
                <a:cubicBezTo>
                  <a:pt x="296" y="49"/>
                  <a:pt x="296" y="49"/>
                  <a:pt x="295" y="49"/>
                </a:cubicBezTo>
                <a:close/>
                <a:moveTo>
                  <a:pt x="296" y="54"/>
                </a:moveTo>
                <a:cubicBezTo>
                  <a:pt x="296" y="55"/>
                  <a:pt x="294" y="55"/>
                  <a:pt x="294" y="55"/>
                </a:cubicBezTo>
                <a:cubicBezTo>
                  <a:pt x="294" y="56"/>
                  <a:pt x="294" y="56"/>
                  <a:pt x="295" y="57"/>
                </a:cubicBezTo>
                <a:cubicBezTo>
                  <a:pt x="293" y="57"/>
                  <a:pt x="293" y="57"/>
                  <a:pt x="293" y="57"/>
                </a:cubicBezTo>
                <a:cubicBezTo>
                  <a:pt x="293" y="58"/>
                  <a:pt x="293" y="58"/>
                  <a:pt x="292" y="58"/>
                </a:cubicBezTo>
                <a:cubicBezTo>
                  <a:pt x="294" y="58"/>
                  <a:pt x="294" y="58"/>
                  <a:pt x="295" y="58"/>
                </a:cubicBezTo>
                <a:cubicBezTo>
                  <a:pt x="293" y="58"/>
                  <a:pt x="293" y="57"/>
                  <a:pt x="297" y="57"/>
                </a:cubicBezTo>
                <a:cubicBezTo>
                  <a:pt x="297" y="56"/>
                  <a:pt x="295" y="56"/>
                  <a:pt x="295" y="56"/>
                </a:cubicBezTo>
                <a:cubicBezTo>
                  <a:pt x="295" y="55"/>
                  <a:pt x="299" y="54"/>
                  <a:pt x="298" y="54"/>
                </a:cubicBezTo>
                <a:cubicBezTo>
                  <a:pt x="297" y="55"/>
                  <a:pt x="297" y="54"/>
                  <a:pt x="296" y="54"/>
                </a:cubicBezTo>
                <a:close/>
                <a:moveTo>
                  <a:pt x="286" y="51"/>
                </a:moveTo>
                <a:cubicBezTo>
                  <a:pt x="286" y="52"/>
                  <a:pt x="282" y="52"/>
                  <a:pt x="282" y="53"/>
                </a:cubicBezTo>
                <a:cubicBezTo>
                  <a:pt x="285" y="52"/>
                  <a:pt x="292" y="51"/>
                  <a:pt x="293" y="49"/>
                </a:cubicBezTo>
                <a:cubicBezTo>
                  <a:pt x="289" y="50"/>
                  <a:pt x="289" y="51"/>
                  <a:pt x="286" y="51"/>
                </a:cubicBezTo>
                <a:close/>
                <a:moveTo>
                  <a:pt x="287" y="58"/>
                </a:moveTo>
                <a:cubicBezTo>
                  <a:pt x="291" y="56"/>
                  <a:pt x="292" y="55"/>
                  <a:pt x="293" y="54"/>
                </a:cubicBezTo>
                <a:cubicBezTo>
                  <a:pt x="288" y="56"/>
                  <a:pt x="290" y="56"/>
                  <a:pt x="287" y="58"/>
                </a:cubicBezTo>
                <a:close/>
                <a:moveTo>
                  <a:pt x="286" y="51"/>
                </a:moveTo>
                <a:cubicBezTo>
                  <a:pt x="288" y="50"/>
                  <a:pt x="291" y="49"/>
                  <a:pt x="291" y="48"/>
                </a:cubicBezTo>
                <a:cubicBezTo>
                  <a:pt x="289" y="49"/>
                  <a:pt x="285" y="51"/>
                  <a:pt x="286" y="51"/>
                </a:cubicBezTo>
                <a:close/>
                <a:moveTo>
                  <a:pt x="288" y="60"/>
                </a:moveTo>
                <a:cubicBezTo>
                  <a:pt x="289" y="60"/>
                  <a:pt x="294" y="59"/>
                  <a:pt x="294" y="59"/>
                </a:cubicBezTo>
                <a:cubicBezTo>
                  <a:pt x="293" y="59"/>
                  <a:pt x="289" y="59"/>
                  <a:pt x="288" y="60"/>
                </a:cubicBezTo>
                <a:close/>
                <a:moveTo>
                  <a:pt x="283" y="27"/>
                </a:moveTo>
                <a:cubicBezTo>
                  <a:pt x="276" y="29"/>
                  <a:pt x="276" y="29"/>
                  <a:pt x="276" y="29"/>
                </a:cubicBezTo>
                <a:cubicBezTo>
                  <a:pt x="277" y="30"/>
                  <a:pt x="274" y="30"/>
                  <a:pt x="274" y="31"/>
                </a:cubicBezTo>
                <a:cubicBezTo>
                  <a:pt x="278" y="29"/>
                  <a:pt x="276" y="29"/>
                  <a:pt x="281" y="28"/>
                </a:cubicBezTo>
                <a:cubicBezTo>
                  <a:pt x="281" y="28"/>
                  <a:pt x="279" y="29"/>
                  <a:pt x="280" y="29"/>
                </a:cubicBezTo>
                <a:cubicBezTo>
                  <a:pt x="282" y="28"/>
                  <a:pt x="282" y="29"/>
                  <a:pt x="284" y="28"/>
                </a:cubicBezTo>
                <a:cubicBezTo>
                  <a:pt x="285" y="27"/>
                  <a:pt x="281" y="28"/>
                  <a:pt x="283" y="27"/>
                </a:cubicBezTo>
                <a:close/>
                <a:moveTo>
                  <a:pt x="291" y="52"/>
                </a:moveTo>
                <a:cubicBezTo>
                  <a:pt x="291" y="51"/>
                  <a:pt x="289" y="52"/>
                  <a:pt x="291" y="51"/>
                </a:cubicBezTo>
                <a:cubicBezTo>
                  <a:pt x="285" y="53"/>
                  <a:pt x="289" y="53"/>
                  <a:pt x="291" y="52"/>
                </a:cubicBezTo>
                <a:close/>
                <a:moveTo>
                  <a:pt x="282" y="46"/>
                </a:moveTo>
                <a:cubicBezTo>
                  <a:pt x="282" y="46"/>
                  <a:pt x="281" y="46"/>
                  <a:pt x="281" y="47"/>
                </a:cubicBezTo>
                <a:cubicBezTo>
                  <a:pt x="283" y="46"/>
                  <a:pt x="285" y="46"/>
                  <a:pt x="286" y="45"/>
                </a:cubicBezTo>
                <a:cubicBezTo>
                  <a:pt x="284" y="45"/>
                  <a:pt x="284" y="45"/>
                  <a:pt x="282" y="46"/>
                </a:cubicBezTo>
                <a:close/>
                <a:moveTo>
                  <a:pt x="275" y="46"/>
                </a:moveTo>
                <a:cubicBezTo>
                  <a:pt x="277" y="46"/>
                  <a:pt x="280" y="44"/>
                  <a:pt x="281" y="44"/>
                </a:cubicBezTo>
                <a:cubicBezTo>
                  <a:pt x="282" y="44"/>
                  <a:pt x="286" y="42"/>
                  <a:pt x="284" y="42"/>
                </a:cubicBezTo>
                <a:cubicBezTo>
                  <a:pt x="283" y="43"/>
                  <a:pt x="276" y="45"/>
                  <a:pt x="275" y="46"/>
                </a:cubicBezTo>
                <a:close/>
                <a:moveTo>
                  <a:pt x="284" y="57"/>
                </a:moveTo>
                <a:cubicBezTo>
                  <a:pt x="285" y="56"/>
                  <a:pt x="283" y="55"/>
                  <a:pt x="287" y="54"/>
                </a:cubicBezTo>
                <a:cubicBezTo>
                  <a:pt x="288" y="53"/>
                  <a:pt x="286" y="54"/>
                  <a:pt x="285" y="54"/>
                </a:cubicBezTo>
                <a:cubicBezTo>
                  <a:pt x="284" y="55"/>
                  <a:pt x="285" y="55"/>
                  <a:pt x="283" y="56"/>
                </a:cubicBezTo>
                <a:cubicBezTo>
                  <a:pt x="282" y="56"/>
                  <a:pt x="285" y="56"/>
                  <a:pt x="281" y="57"/>
                </a:cubicBezTo>
                <a:cubicBezTo>
                  <a:pt x="281" y="58"/>
                  <a:pt x="283" y="57"/>
                  <a:pt x="284" y="57"/>
                </a:cubicBezTo>
                <a:cubicBezTo>
                  <a:pt x="283" y="57"/>
                  <a:pt x="283" y="57"/>
                  <a:pt x="284" y="57"/>
                </a:cubicBezTo>
                <a:close/>
                <a:moveTo>
                  <a:pt x="279" y="43"/>
                </a:moveTo>
                <a:cubicBezTo>
                  <a:pt x="279" y="43"/>
                  <a:pt x="279" y="43"/>
                  <a:pt x="280" y="43"/>
                </a:cubicBezTo>
                <a:cubicBezTo>
                  <a:pt x="280" y="43"/>
                  <a:pt x="283" y="42"/>
                  <a:pt x="283" y="42"/>
                </a:cubicBezTo>
                <a:cubicBezTo>
                  <a:pt x="281" y="42"/>
                  <a:pt x="281" y="42"/>
                  <a:pt x="279" y="43"/>
                </a:cubicBezTo>
                <a:close/>
                <a:moveTo>
                  <a:pt x="273" y="49"/>
                </a:moveTo>
                <a:cubicBezTo>
                  <a:pt x="277" y="47"/>
                  <a:pt x="276" y="49"/>
                  <a:pt x="277" y="48"/>
                </a:cubicBezTo>
                <a:cubicBezTo>
                  <a:pt x="278" y="48"/>
                  <a:pt x="278" y="48"/>
                  <a:pt x="278" y="47"/>
                </a:cubicBezTo>
                <a:cubicBezTo>
                  <a:pt x="276" y="48"/>
                  <a:pt x="274" y="48"/>
                  <a:pt x="273" y="49"/>
                </a:cubicBezTo>
                <a:close/>
                <a:moveTo>
                  <a:pt x="274" y="62"/>
                </a:moveTo>
                <a:cubicBezTo>
                  <a:pt x="273" y="62"/>
                  <a:pt x="272" y="63"/>
                  <a:pt x="272" y="63"/>
                </a:cubicBezTo>
                <a:cubicBezTo>
                  <a:pt x="273" y="62"/>
                  <a:pt x="274" y="63"/>
                  <a:pt x="275" y="62"/>
                </a:cubicBezTo>
                <a:cubicBezTo>
                  <a:pt x="274" y="62"/>
                  <a:pt x="281" y="60"/>
                  <a:pt x="282" y="59"/>
                </a:cubicBezTo>
                <a:cubicBezTo>
                  <a:pt x="281" y="60"/>
                  <a:pt x="280" y="60"/>
                  <a:pt x="280" y="60"/>
                </a:cubicBezTo>
                <a:cubicBezTo>
                  <a:pt x="279" y="60"/>
                  <a:pt x="280" y="59"/>
                  <a:pt x="278" y="59"/>
                </a:cubicBezTo>
                <a:cubicBezTo>
                  <a:pt x="279" y="60"/>
                  <a:pt x="277" y="60"/>
                  <a:pt x="275" y="61"/>
                </a:cubicBezTo>
                <a:cubicBezTo>
                  <a:pt x="276" y="61"/>
                  <a:pt x="275" y="61"/>
                  <a:pt x="274" y="62"/>
                </a:cubicBezTo>
                <a:close/>
                <a:moveTo>
                  <a:pt x="270" y="48"/>
                </a:moveTo>
                <a:cubicBezTo>
                  <a:pt x="270" y="49"/>
                  <a:pt x="273" y="48"/>
                  <a:pt x="276" y="47"/>
                </a:cubicBezTo>
                <a:cubicBezTo>
                  <a:pt x="273" y="47"/>
                  <a:pt x="273" y="46"/>
                  <a:pt x="271" y="47"/>
                </a:cubicBezTo>
                <a:cubicBezTo>
                  <a:pt x="272" y="47"/>
                  <a:pt x="274" y="47"/>
                  <a:pt x="270" y="48"/>
                </a:cubicBezTo>
                <a:close/>
                <a:moveTo>
                  <a:pt x="276" y="60"/>
                </a:moveTo>
                <a:cubicBezTo>
                  <a:pt x="276" y="60"/>
                  <a:pt x="277" y="59"/>
                  <a:pt x="276" y="59"/>
                </a:cubicBezTo>
                <a:cubicBezTo>
                  <a:pt x="270" y="61"/>
                  <a:pt x="269" y="62"/>
                  <a:pt x="276" y="60"/>
                </a:cubicBezTo>
                <a:close/>
                <a:moveTo>
                  <a:pt x="264" y="34"/>
                </a:moveTo>
                <a:cubicBezTo>
                  <a:pt x="262" y="34"/>
                  <a:pt x="261" y="35"/>
                  <a:pt x="261" y="35"/>
                </a:cubicBezTo>
                <a:cubicBezTo>
                  <a:pt x="263" y="35"/>
                  <a:pt x="265" y="34"/>
                  <a:pt x="265" y="34"/>
                </a:cubicBezTo>
                <a:cubicBezTo>
                  <a:pt x="264" y="34"/>
                  <a:pt x="264" y="34"/>
                  <a:pt x="264" y="34"/>
                </a:cubicBezTo>
                <a:close/>
                <a:moveTo>
                  <a:pt x="248" y="40"/>
                </a:moveTo>
                <a:cubicBezTo>
                  <a:pt x="250" y="40"/>
                  <a:pt x="247" y="41"/>
                  <a:pt x="248" y="41"/>
                </a:cubicBezTo>
                <a:cubicBezTo>
                  <a:pt x="251" y="40"/>
                  <a:pt x="250" y="40"/>
                  <a:pt x="252" y="39"/>
                </a:cubicBezTo>
                <a:cubicBezTo>
                  <a:pt x="252" y="39"/>
                  <a:pt x="252" y="40"/>
                  <a:pt x="253" y="39"/>
                </a:cubicBezTo>
                <a:cubicBezTo>
                  <a:pt x="254" y="39"/>
                  <a:pt x="253" y="39"/>
                  <a:pt x="254" y="38"/>
                </a:cubicBezTo>
                <a:cubicBezTo>
                  <a:pt x="257" y="37"/>
                  <a:pt x="256" y="38"/>
                  <a:pt x="259" y="36"/>
                </a:cubicBezTo>
                <a:cubicBezTo>
                  <a:pt x="260" y="36"/>
                  <a:pt x="260" y="36"/>
                  <a:pt x="260" y="35"/>
                </a:cubicBezTo>
                <a:cubicBezTo>
                  <a:pt x="258" y="36"/>
                  <a:pt x="258" y="36"/>
                  <a:pt x="256" y="36"/>
                </a:cubicBezTo>
                <a:cubicBezTo>
                  <a:pt x="258" y="36"/>
                  <a:pt x="253" y="38"/>
                  <a:pt x="254" y="37"/>
                </a:cubicBezTo>
                <a:cubicBezTo>
                  <a:pt x="251" y="38"/>
                  <a:pt x="252" y="39"/>
                  <a:pt x="250" y="40"/>
                </a:cubicBezTo>
                <a:cubicBezTo>
                  <a:pt x="250" y="39"/>
                  <a:pt x="251" y="39"/>
                  <a:pt x="250" y="39"/>
                </a:cubicBezTo>
                <a:cubicBezTo>
                  <a:pt x="245" y="41"/>
                  <a:pt x="242" y="42"/>
                  <a:pt x="238" y="44"/>
                </a:cubicBezTo>
                <a:cubicBezTo>
                  <a:pt x="237" y="45"/>
                  <a:pt x="241" y="44"/>
                  <a:pt x="239" y="45"/>
                </a:cubicBezTo>
                <a:cubicBezTo>
                  <a:pt x="235" y="46"/>
                  <a:pt x="238" y="43"/>
                  <a:pt x="235" y="45"/>
                </a:cubicBezTo>
                <a:cubicBezTo>
                  <a:pt x="236" y="45"/>
                  <a:pt x="236" y="46"/>
                  <a:pt x="238" y="45"/>
                </a:cubicBezTo>
                <a:cubicBezTo>
                  <a:pt x="239" y="44"/>
                  <a:pt x="241" y="44"/>
                  <a:pt x="242" y="44"/>
                </a:cubicBezTo>
                <a:cubicBezTo>
                  <a:pt x="243" y="43"/>
                  <a:pt x="241" y="44"/>
                  <a:pt x="242" y="43"/>
                </a:cubicBezTo>
                <a:cubicBezTo>
                  <a:pt x="245" y="42"/>
                  <a:pt x="246" y="41"/>
                  <a:pt x="248" y="40"/>
                </a:cubicBezTo>
                <a:close/>
                <a:moveTo>
                  <a:pt x="253" y="56"/>
                </a:moveTo>
                <a:cubicBezTo>
                  <a:pt x="253" y="57"/>
                  <a:pt x="253" y="57"/>
                  <a:pt x="254" y="57"/>
                </a:cubicBezTo>
                <a:cubicBezTo>
                  <a:pt x="257" y="55"/>
                  <a:pt x="256" y="56"/>
                  <a:pt x="258" y="55"/>
                </a:cubicBezTo>
                <a:cubicBezTo>
                  <a:pt x="258" y="55"/>
                  <a:pt x="263" y="53"/>
                  <a:pt x="264" y="52"/>
                </a:cubicBezTo>
                <a:cubicBezTo>
                  <a:pt x="260" y="53"/>
                  <a:pt x="255" y="56"/>
                  <a:pt x="253" y="56"/>
                </a:cubicBezTo>
                <a:close/>
                <a:moveTo>
                  <a:pt x="264" y="64"/>
                </a:moveTo>
                <a:cubicBezTo>
                  <a:pt x="267" y="64"/>
                  <a:pt x="264" y="65"/>
                  <a:pt x="263" y="65"/>
                </a:cubicBezTo>
                <a:cubicBezTo>
                  <a:pt x="263" y="66"/>
                  <a:pt x="263" y="66"/>
                  <a:pt x="264" y="66"/>
                </a:cubicBezTo>
                <a:cubicBezTo>
                  <a:pt x="264" y="65"/>
                  <a:pt x="265" y="66"/>
                  <a:pt x="267" y="65"/>
                </a:cubicBezTo>
                <a:cubicBezTo>
                  <a:pt x="268" y="64"/>
                  <a:pt x="268" y="64"/>
                  <a:pt x="268" y="63"/>
                </a:cubicBezTo>
                <a:cubicBezTo>
                  <a:pt x="267" y="64"/>
                  <a:pt x="265" y="63"/>
                  <a:pt x="264" y="64"/>
                </a:cubicBezTo>
                <a:close/>
                <a:moveTo>
                  <a:pt x="261" y="65"/>
                </a:moveTo>
                <a:cubicBezTo>
                  <a:pt x="261" y="65"/>
                  <a:pt x="261" y="65"/>
                  <a:pt x="261" y="65"/>
                </a:cubicBezTo>
                <a:cubicBezTo>
                  <a:pt x="263" y="65"/>
                  <a:pt x="266" y="63"/>
                  <a:pt x="264" y="63"/>
                </a:cubicBezTo>
                <a:cubicBezTo>
                  <a:pt x="264" y="64"/>
                  <a:pt x="263" y="64"/>
                  <a:pt x="261" y="65"/>
                </a:cubicBezTo>
                <a:close/>
                <a:moveTo>
                  <a:pt x="253" y="68"/>
                </a:moveTo>
                <a:cubicBezTo>
                  <a:pt x="255" y="68"/>
                  <a:pt x="258" y="67"/>
                  <a:pt x="259" y="67"/>
                </a:cubicBezTo>
                <a:cubicBezTo>
                  <a:pt x="258" y="67"/>
                  <a:pt x="261" y="66"/>
                  <a:pt x="260" y="66"/>
                </a:cubicBezTo>
                <a:cubicBezTo>
                  <a:pt x="257" y="67"/>
                  <a:pt x="256" y="67"/>
                  <a:pt x="253" y="68"/>
                </a:cubicBezTo>
                <a:close/>
                <a:moveTo>
                  <a:pt x="256" y="64"/>
                </a:moveTo>
                <a:cubicBezTo>
                  <a:pt x="258" y="64"/>
                  <a:pt x="255" y="65"/>
                  <a:pt x="257" y="65"/>
                </a:cubicBezTo>
                <a:cubicBezTo>
                  <a:pt x="258" y="64"/>
                  <a:pt x="257" y="64"/>
                  <a:pt x="258" y="63"/>
                </a:cubicBezTo>
                <a:lnTo>
                  <a:pt x="256" y="64"/>
                </a:lnTo>
                <a:close/>
                <a:moveTo>
                  <a:pt x="249" y="75"/>
                </a:moveTo>
                <a:cubicBezTo>
                  <a:pt x="249" y="75"/>
                  <a:pt x="249" y="75"/>
                  <a:pt x="248" y="75"/>
                </a:cubicBezTo>
                <a:cubicBezTo>
                  <a:pt x="247" y="75"/>
                  <a:pt x="250" y="73"/>
                  <a:pt x="247" y="74"/>
                </a:cubicBezTo>
                <a:cubicBezTo>
                  <a:pt x="250" y="74"/>
                  <a:pt x="243" y="77"/>
                  <a:pt x="246" y="77"/>
                </a:cubicBezTo>
                <a:cubicBezTo>
                  <a:pt x="246" y="77"/>
                  <a:pt x="247" y="76"/>
                  <a:pt x="247" y="76"/>
                </a:cubicBezTo>
                <a:cubicBezTo>
                  <a:pt x="246" y="77"/>
                  <a:pt x="246" y="77"/>
                  <a:pt x="247" y="77"/>
                </a:cubicBezTo>
                <a:cubicBezTo>
                  <a:pt x="249" y="75"/>
                  <a:pt x="255" y="74"/>
                  <a:pt x="257" y="72"/>
                </a:cubicBezTo>
                <a:cubicBezTo>
                  <a:pt x="255" y="72"/>
                  <a:pt x="252" y="74"/>
                  <a:pt x="249" y="75"/>
                </a:cubicBezTo>
                <a:close/>
                <a:moveTo>
                  <a:pt x="248" y="62"/>
                </a:moveTo>
                <a:cubicBezTo>
                  <a:pt x="250" y="61"/>
                  <a:pt x="251" y="61"/>
                  <a:pt x="251" y="60"/>
                </a:cubicBezTo>
                <a:cubicBezTo>
                  <a:pt x="249" y="61"/>
                  <a:pt x="248" y="62"/>
                  <a:pt x="248" y="62"/>
                </a:cubicBezTo>
                <a:close/>
                <a:moveTo>
                  <a:pt x="246" y="67"/>
                </a:moveTo>
                <a:cubicBezTo>
                  <a:pt x="243" y="68"/>
                  <a:pt x="245" y="69"/>
                  <a:pt x="248" y="68"/>
                </a:cubicBezTo>
                <a:cubicBezTo>
                  <a:pt x="248" y="67"/>
                  <a:pt x="246" y="68"/>
                  <a:pt x="246" y="67"/>
                </a:cubicBezTo>
                <a:close/>
                <a:moveTo>
                  <a:pt x="244" y="65"/>
                </a:moveTo>
                <a:cubicBezTo>
                  <a:pt x="243" y="65"/>
                  <a:pt x="245" y="64"/>
                  <a:pt x="245" y="63"/>
                </a:cubicBezTo>
                <a:cubicBezTo>
                  <a:pt x="242" y="64"/>
                  <a:pt x="242" y="66"/>
                  <a:pt x="244" y="65"/>
                </a:cubicBezTo>
                <a:close/>
                <a:moveTo>
                  <a:pt x="241" y="72"/>
                </a:moveTo>
                <a:cubicBezTo>
                  <a:pt x="241" y="72"/>
                  <a:pt x="241" y="71"/>
                  <a:pt x="240" y="71"/>
                </a:cubicBezTo>
                <a:cubicBezTo>
                  <a:pt x="240" y="72"/>
                  <a:pt x="239" y="72"/>
                  <a:pt x="239" y="72"/>
                </a:cubicBezTo>
                <a:cubicBezTo>
                  <a:pt x="239" y="72"/>
                  <a:pt x="238" y="73"/>
                  <a:pt x="238" y="73"/>
                </a:cubicBezTo>
                <a:cubicBezTo>
                  <a:pt x="242" y="71"/>
                  <a:pt x="237" y="74"/>
                  <a:pt x="239" y="74"/>
                </a:cubicBezTo>
                <a:cubicBezTo>
                  <a:pt x="243" y="71"/>
                  <a:pt x="246" y="72"/>
                  <a:pt x="248" y="70"/>
                </a:cubicBezTo>
                <a:cubicBezTo>
                  <a:pt x="245" y="70"/>
                  <a:pt x="241" y="73"/>
                  <a:pt x="239" y="73"/>
                </a:cubicBezTo>
                <a:cubicBezTo>
                  <a:pt x="239" y="73"/>
                  <a:pt x="240" y="72"/>
                  <a:pt x="241" y="72"/>
                </a:cubicBezTo>
                <a:close/>
                <a:moveTo>
                  <a:pt x="239" y="71"/>
                </a:moveTo>
                <a:cubicBezTo>
                  <a:pt x="236" y="72"/>
                  <a:pt x="237" y="73"/>
                  <a:pt x="236" y="74"/>
                </a:cubicBezTo>
                <a:cubicBezTo>
                  <a:pt x="238" y="73"/>
                  <a:pt x="239" y="72"/>
                  <a:pt x="239" y="71"/>
                </a:cubicBezTo>
                <a:close/>
                <a:moveTo>
                  <a:pt x="226" y="49"/>
                </a:moveTo>
                <a:cubicBezTo>
                  <a:pt x="226" y="48"/>
                  <a:pt x="225" y="49"/>
                  <a:pt x="227" y="47"/>
                </a:cubicBezTo>
                <a:cubicBezTo>
                  <a:pt x="225" y="49"/>
                  <a:pt x="222" y="49"/>
                  <a:pt x="221" y="51"/>
                </a:cubicBezTo>
                <a:cubicBezTo>
                  <a:pt x="225" y="49"/>
                  <a:pt x="224" y="50"/>
                  <a:pt x="226" y="50"/>
                </a:cubicBezTo>
                <a:cubicBezTo>
                  <a:pt x="224" y="51"/>
                  <a:pt x="224" y="51"/>
                  <a:pt x="222" y="51"/>
                </a:cubicBezTo>
                <a:cubicBezTo>
                  <a:pt x="223" y="52"/>
                  <a:pt x="227" y="50"/>
                  <a:pt x="230" y="49"/>
                </a:cubicBezTo>
                <a:cubicBezTo>
                  <a:pt x="230" y="48"/>
                  <a:pt x="230" y="48"/>
                  <a:pt x="231" y="47"/>
                </a:cubicBezTo>
                <a:cubicBezTo>
                  <a:pt x="231" y="47"/>
                  <a:pt x="231" y="48"/>
                  <a:pt x="233" y="47"/>
                </a:cubicBezTo>
                <a:cubicBezTo>
                  <a:pt x="233" y="46"/>
                  <a:pt x="233" y="46"/>
                  <a:pt x="233" y="46"/>
                </a:cubicBezTo>
                <a:cubicBezTo>
                  <a:pt x="229" y="48"/>
                  <a:pt x="228" y="48"/>
                  <a:pt x="226" y="49"/>
                </a:cubicBezTo>
                <a:close/>
                <a:moveTo>
                  <a:pt x="235" y="57"/>
                </a:moveTo>
                <a:cubicBezTo>
                  <a:pt x="233" y="58"/>
                  <a:pt x="231" y="59"/>
                  <a:pt x="230" y="59"/>
                </a:cubicBezTo>
                <a:cubicBezTo>
                  <a:pt x="228" y="60"/>
                  <a:pt x="231" y="59"/>
                  <a:pt x="232" y="59"/>
                </a:cubicBezTo>
                <a:cubicBezTo>
                  <a:pt x="232" y="59"/>
                  <a:pt x="231" y="59"/>
                  <a:pt x="233" y="58"/>
                </a:cubicBezTo>
                <a:cubicBezTo>
                  <a:pt x="233" y="58"/>
                  <a:pt x="233" y="59"/>
                  <a:pt x="232" y="59"/>
                </a:cubicBezTo>
                <a:cubicBezTo>
                  <a:pt x="234" y="58"/>
                  <a:pt x="236" y="58"/>
                  <a:pt x="236" y="57"/>
                </a:cubicBezTo>
                <a:cubicBezTo>
                  <a:pt x="235" y="57"/>
                  <a:pt x="235" y="57"/>
                  <a:pt x="235" y="57"/>
                </a:cubicBezTo>
                <a:close/>
                <a:moveTo>
                  <a:pt x="235" y="64"/>
                </a:moveTo>
                <a:cubicBezTo>
                  <a:pt x="237" y="63"/>
                  <a:pt x="235" y="65"/>
                  <a:pt x="235" y="65"/>
                </a:cubicBezTo>
                <a:cubicBezTo>
                  <a:pt x="238" y="64"/>
                  <a:pt x="238" y="64"/>
                  <a:pt x="238" y="63"/>
                </a:cubicBezTo>
                <a:cubicBezTo>
                  <a:pt x="237" y="64"/>
                  <a:pt x="235" y="64"/>
                  <a:pt x="235" y="64"/>
                </a:cubicBezTo>
                <a:close/>
                <a:moveTo>
                  <a:pt x="230" y="61"/>
                </a:moveTo>
                <a:cubicBezTo>
                  <a:pt x="230" y="61"/>
                  <a:pt x="228" y="63"/>
                  <a:pt x="231" y="62"/>
                </a:cubicBezTo>
                <a:cubicBezTo>
                  <a:pt x="230" y="62"/>
                  <a:pt x="232" y="60"/>
                  <a:pt x="232" y="60"/>
                </a:cubicBezTo>
                <a:cubicBezTo>
                  <a:pt x="231" y="60"/>
                  <a:pt x="230" y="61"/>
                  <a:pt x="230" y="61"/>
                </a:cubicBezTo>
                <a:close/>
                <a:moveTo>
                  <a:pt x="227" y="61"/>
                </a:moveTo>
                <a:cubicBezTo>
                  <a:pt x="227" y="62"/>
                  <a:pt x="227" y="62"/>
                  <a:pt x="227" y="62"/>
                </a:cubicBezTo>
                <a:cubicBezTo>
                  <a:pt x="228" y="61"/>
                  <a:pt x="229" y="60"/>
                  <a:pt x="230" y="60"/>
                </a:cubicBezTo>
                <a:cubicBezTo>
                  <a:pt x="230" y="60"/>
                  <a:pt x="229" y="60"/>
                  <a:pt x="227" y="61"/>
                </a:cubicBezTo>
                <a:close/>
                <a:moveTo>
                  <a:pt x="225" y="71"/>
                </a:moveTo>
                <a:cubicBezTo>
                  <a:pt x="228" y="69"/>
                  <a:pt x="229" y="68"/>
                  <a:pt x="232" y="66"/>
                </a:cubicBezTo>
                <a:cubicBezTo>
                  <a:pt x="230" y="67"/>
                  <a:pt x="232" y="66"/>
                  <a:pt x="232" y="65"/>
                </a:cubicBezTo>
                <a:cubicBezTo>
                  <a:pt x="230" y="67"/>
                  <a:pt x="226" y="67"/>
                  <a:pt x="226" y="68"/>
                </a:cubicBezTo>
                <a:cubicBezTo>
                  <a:pt x="227" y="69"/>
                  <a:pt x="228" y="67"/>
                  <a:pt x="230" y="67"/>
                </a:cubicBezTo>
                <a:cubicBezTo>
                  <a:pt x="230" y="67"/>
                  <a:pt x="231" y="67"/>
                  <a:pt x="231" y="67"/>
                </a:cubicBezTo>
                <a:cubicBezTo>
                  <a:pt x="228" y="69"/>
                  <a:pt x="225" y="70"/>
                  <a:pt x="225" y="71"/>
                </a:cubicBezTo>
                <a:close/>
                <a:moveTo>
                  <a:pt x="228" y="73"/>
                </a:moveTo>
                <a:cubicBezTo>
                  <a:pt x="228" y="73"/>
                  <a:pt x="228" y="72"/>
                  <a:pt x="226" y="73"/>
                </a:cubicBezTo>
                <a:cubicBezTo>
                  <a:pt x="227" y="74"/>
                  <a:pt x="227" y="74"/>
                  <a:pt x="227" y="74"/>
                </a:cubicBezTo>
                <a:cubicBezTo>
                  <a:pt x="228" y="73"/>
                  <a:pt x="231" y="72"/>
                  <a:pt x="230" y="72"/>
                </a:cubicBezTo>
                <a:lnTo>
                  <a:pt x="228" y="73"/>
                </a:lnTo>
                <a:close/>
                <a:moveTo>
                  <a:pt x="221" y="77"/>
                </a:moveTo>
                <a:cubicBezTo>
                  <a:pt x="221" y="77"/>
                  <a:pt x="224" y="76"/>
                  <a:pt x="225" y="76"/>
                </a:cubicBezTo>
                <a:cubicBezTo>
                  <a:pt x="224" y="77"/>
                  <a:pt x="222" y="78"/>
                  <a:pt x="221" y="79"/>
                </a:cubicBezTo>
                <a:cubicBezTo>
                  <a:pt x="223" y="78"/>
                  <a:pt x="225" y="77"/>
                  <a:pt x="227" y="76"/>
                </a:cubicBezTo>
                <a:cubicBezTo>
                  <a:pt x="228" y="75"/>
                  <a:pt x="227" y="75"/>
                  <a:pt x="226" y="74"/>
                </a:cubicBezTo>
                <a:cubicBezTo>
                  <a:pt x="224" y="75"/>
                  <a:pt x="223" y="76"/>
                  <a:pt x="222" y="77"/>
                </a:cubicBezTo>
                <a:cubicBezTo>
                  <a:pt x="222" y="76"/>
                  <a:pt x="221" y="76"/>
                  <a:pt x="221" y="77"/>
                </a:cubicBezTo>
                <a:close/>
                <a:moveTo>
                  <a:pt x="224" y="73"/>
                </a:moveTo>
                <a:cubicBezTo>
                  <a:pt x="220" y="76"/>
                  <a:pt x="220" y="76"/>
                  <a:pt x="220" y="76"/>
                </a:cubicBezTo>
                <a:cubicBezTo>
                  <a:pt x="222" y="76"/>
                  <a:pt x="221" y="76"/>
                  <a:pt x="224" y="75"/>
                </a:cubicBezTo>
                <a:cubicBezTo>
                  <a:pt x="223" y="74"/>
                  <a:pt x="226" y="73"/>
                  <a:pt x="224" y="73"/>
                </a:cubicBezTo>
                <a:close/>
                <a:moveTo>
                  <a:pt x="206" y="64"/>
                </a:moveTo>
                <a:cubicBezTo>
                  <a:pt x="207" y="65"/>
                  <a:pt x="208" y="64"/>
                  <a:pt x="207" y="65"/>
                </a:cubicBezTo>
                <a:cubicBezTo>
                  <a:pt x="212" y="62"/>
                  <a:pt x="208" y="64"/>
                  <a:pt x="209" y="63"/>
                </a:cubicBezTo>
                <a:cubicBezTo>
                  <a:pt x="210" y="62"/>
                  <a:pt x="210" y="63"/>
                  <a:pt x="212" y="62"/>
                </a:cubicBezTo>
                <a:cubicBezTo>
                  <a:pt x="212" y="61"/>
                  <a:pt x="209" y="62"/>
                  <a:pt x="206" y="64"/>
                </a:cubicBezTo>
                <a:close/>
                <a:moveTo>
                  <a:pt x="197" y="73"/>
                </a:moveTo>
                <a:cubicBezTo>
                  <a:pt x="198" y="73"/>
                  <a:pt x="198" y="72"/>
                  <a:pt x="198" y="73"/>
                </a:cubicBezTo>
                <a:cubicBezTo>
                  <a:pt x="199" y="72"/>
                  <a:pt x="200" y="71"/>
                  <a:pt x="200" y="71"/>
                </a:cubicBezTo>
                <a:cubicBezTo>
                  <a:pt x="198" y="72"/>
                  <a:pt x="201" y="70"/>
                  <a:pt x="200" y="70"/>
                </a:cubicBezTo>
                <a:cubicBezTo>
                  <a:pt x="197" y="72"/>
                  <a:pt x="200" y="72"/>
                  <a:pt x="197" y="73"/>
                </a:cubicBezTo>
                <a:close/>
                <a:moveTo>
                  <a:pt x="196" y="70"/>
                </a:moveTo>
                <a:cubicBezTo>
                  <a:pt x="196" y="71"/>
                  <a:pt x="198" y="69"/>
                  <a:pt x="197" y="71"/>
                </a:cubicBezTo>
                <a:cubicBezTo>
                  <a:pt x="200" y="69"/>
                  <a:pt x="198" y="68"/>
                  <a:pt x="196" y="70"/>
                </a:cubicBezTo>
                <a:close/>
                <a:moveTo>
                  <a:pt x="191" y="75"/>
                </a:moveTo>
                <a:cubicBezTo>
                  <a:pt x="192" y="74"/>
                  <a:pt x="194" y="72"/>
                  <a:pt x="192" y="73"/>
                </a:cubicBezTo>
                <a:cubicBezTo>
                  <a:pt x="192" y="74"/>
                  <a:pt x="189" y="75"/>
                  <a:pt x="191" y="75"/>
                </a:cubicBezTo>
                <a:close/>
                <a:moveTo>
                  <a:pt x="187" y="76"/>
                </a:moveTo>
                <a:cubicBezTo>
                  <a:pt x="186" y="77"/>
                  <a:pt x="184" y="78"/>
                  <a:pt x="185" y="79"/>
                </a:cubicBezTo>
                <a:cubicBezTo>
                  <a:pt x="185" y="78"/>
                  <a:pt x="187" y="77"/>
                  <a:pt x="187" y="78"/>
                </a:cubicBezTo>
                <a:cubicBezTo>
                  <a:pt x="186" y="78"/>
                  <a:pt x="187" y="78"/>
                  <a:pt x="188" y="77"/>
                </a:cubicBezTo>
                <a:cubicBezTo>
                  <a:pt x="189" y="76"/>
                  <a:pt x="189" y="76"/>
                  <a:pt x="187" y="76"/>
                </a:cubicBezTo>
                <a:close/>
                <a:moveTo>
                  <a:pt x="186" y="75"/>
                </a:moveTo>
                <a:cubicBezTo>
                  <a:pt x="185" y="76"/>
                  <a:pt x="184" y="77"/>
                  <a:pt x="184" y="77"/>
                </a:cubicBezTo>
                <a:cubicBezTo>
                  <a:pt x="183" y="78"/>
                  <a:pt x="188" y="76"/>
                  <a:pt x="188" y="75"/>
                </a:cubicBezTo>
                <a:cubicBezTo>
                  <a:pt x="186" y="76"/>
                  <a:pt x="187" y="75"/>
                  <a:pt x="186" y="75"/>
                </a:cubicBezTo>
                <a:close/>
                <a:moveTo>
                  <a:pt x="186" y="95"/>
                </a:moveTo>
                <a:cubicBezTo>
                  <a:pt x="187" y="94"/>
                  <a:pt x="186" y="95"/>
                  <a:pt x="186" y="95"/>
                </a:cubicBezTo>
                <a:cubicBezTo>
                  <a:pt x="191" y="92"/>
                  <a:pt x="191" y="92"/>
                  <a:pt x="191" y="92"/>
                </a:cubicBezTo>
                <a:cubicBezTo>
                  <a:pt x="192" y="92"/>
                  <a:pt x="191" y="93"/>
                  <a:pt x="193" y="92"/>
                </a:cubicBezTo>
                <a:cubicBezTo>
                  <a:pt x="192" y="92"/>
                  <a:pt x="195" y="91"/>
                  <a:pt x="195" y="90"/>
                </a:cubicBezTo>
                <a:cubicBezTo>
                  <a:pt x="194" y="91"/>
                  <a:pt x="193" y="90"/>
                  <a:pt x="192" y="91"/>
                </a:cubicBezTo>
                <a:cubicBezTo>
                  <a:pt x="190" y="93"/>
                  <a:pt x="187" y="94"/>
                  <a:pt x="186" y="95"/>
                </a:cubicBezTo>
                <a:close/>
                <a:moveTo>
                  <a:pt x="178" y="81"/>
                </a:moveTo>
                <a:cubicBezTo>
                  <a:pt x="176" y="83"/>
                  <a:pt x="179" y="82"/>
                  <a:pt x="180" y="81"/>
                </a:cubicBezTo>
                <a:cubicBezTo>
                  <a:pt x="181" y="80"/>
                  <a:pt x="183" y="79"/>
                  <a:pt x="183" y="79"/>
                </a:cubicBezTo>
                <a:cubicBezTo>
                  <a:pt x="180" y="81"/>
                  <a:pt x="183" y="78"/>
                  <a:pt x="178" y="81"/>
                </a:cubicBezTo>
                <a:close/>
                <a:moveTo>
                  <a:pt x="182" y="80"/>
                </a:moveTo>
                <a:cubicBezTo>
                  <a:pt x="182" y="81"/>
                  <a:pt x="178" y="83"/>
                  <a:pt x="179" y="83"/>
                </a:cubicBezTo>
                <a:cubicBezTo>
                  <a:pt x="181" y="82"/>
                  <a:pt x="182" y="82"/>
                  <a:pt x="183" y="81"/>
                </a:cubicBezTo>
                <a:cubicBezTo>
                  <a:pt x="180" y="82"/>
                  <a:pt x="186" y="79"/>
                  <a:pt x="182" y="80"/>
                </a:cubicBezTo>
                <a:close/>
                <a:moveTo>
                  <a:pt x="182" y="82"/>
                </a:moveTo>
                <a:cubicBezTo>
                  <a:pt x="180" y="84"/>
                  <a:pt x="178" y="86"/>
                  <a:pt x="180" y="86"/>
                </a:cubicBezTo>
                <a:cubicBezTo>
                  <a:pt x="180" y="85"/>
                  <a:pt x="183" y="83"/>
                  <a:pt x="181" y="85"/>
                </a:cubicBezTo>
                <a:cubicBezTo>
                  <a:pt x="186" y="82"/>
                  <a:pt x="180" y="85"/>
                  <a:pt x="183" y="82"/>
                </a:cubicBezTo>
                <a:cubicBezTo>
                  <a:pt x="182" y="82"/>
                  <a:pt x="182" y="83"/>
                  <a:pt x="182" y="82"/>
                </a:cubicBezTo>
                <a:close/>
                <a:moveTo>
                  <a:pt x="165" y="91"/>
                </a:moveTo>
                <a:cubicBezTo>
                  <a:pt x="163" y="92"/>
                  <a:pt x="163" y="92"/>
                  <a:pt x="163" y="93"/>
                </a:cubicBezTo>
                <a:cubicBezTo>
                  <a:pt x="163" y="92"/>
                  <a:pt x="159" y="95"/>
                  <a:pt x="158" y="95"/>
                </a:cubicBezTo>
                <a:cubicBezTo>
                  <a:pt x="159" y="96"/>
                  <a:pt x="163" y="93"/>
                  <a:pt x="166" y="91"/>
                </a:cubicBezTo>
                <a:cubicBezTo>
                  <a:pt x="165" y="91"/>
                  <a:pt x="167" y="90"/>
                  <a:pt x="165" y="91"/>
                </a:cubicBezTo>
                <a:close/>
                <a:moveTo>
                  <a:pt x="167" y="91"/>
                </a:moveTo>
                <a:cubicBezTo>
                  <a:pt x="169" y="90"/>
                  <a:pt x="169" y="90"/>
                  <a:pt x="171" y="90"/>
                </a:cubicBezTo>
                <a:cubicBezTo>
                  <a:pt x="171" y="88"/>
                  <a:pt x="176" y="85"/>
                  <a:pt x="178" y="83"/>
                </a:cubicBezTo>
                <a:cubicBezTo>
                  <a:pt x="176" y="84"/>
                  <a:pt x="176" y="82"/>
                  <a:pt x="174" y="84"/>
                </a:cubicBezTo>
                <a:cubicBezTo>
                  <a:pt x="175" y="85"/>
                  <a:pt x="170" y="87"/>
                  <a:pt x="170" y="88"/>
                </a:cubicBezTo>
                <a:cubicBezTo>
                  <a:pt x="169" y="88"/>
                  <a:pt x="169" y="88"/>
                  <a:pt x="169" y="87"/>
                </a:cubicBezTo>
                <a:cubicBezTo>
                  <a:pt x="166" y="90"/>
                  <a:pt x="167" y="90"/>
                  <a:pt x="167" y="91"/>
                </a:cubicBezTo>
                <a:close/>
                <a:moveTo>
                  <a:pt x="173" y="93"/>
                </a:moveTo>
                <a:cubicBezTo>
                  <a:pt x="174" y="92"/>
                  <a:pt x="173" y="94"/>
                  <a:pt x="176" y="92"/>
                </a:cubicBezTo>
                <a:cubicBezTo>
                  <a:pt x="176" y="91"/>
                  <a:pt x="175" y="92"/>
                  <a:pt x="176" y="91"/>
                </a:cubicBezTo>
                <a:cubicBezTo>
                  <a:pt x="174" y="92"/>
                  <a:pt x="173" y="92"/>
                  <a:pt x="173" y="93"/>
                </a:cubicBezTo>
                <a:close/>
                <a:moveTo>
                  <a:pt x="174" y="104"/>
                </a:moveTo>
                <a:cubicBezTo>
                  <a:pt x="174" y="105"/>
                  <a:pt x="181" y="100"/>
                  <a:pt x="180" y="100"/>
                </a:cubicBezTo>
                <a:cubicBezTo>
                  <a:pt x="177" y="102"/>
                  <a:pt x="177" y="103"/>
                  <a:pt x="174" y="104"/>
                </a:cubicBezTo>
                <a:close/>
                <a:moveTo>
                  <a:pt x="164" y="99"/>
                </a:moveTo>
                <a:cubicBezTo>
                  <a:pt x="166" y="98"/>
                  <a:pt x="169" y="96"/>
                  <a:pt x="170" y="95"/>
                </a:cubicBezTo>
                <a:cubicBezTo>
                  <a:pt x="167" y="97"/>
                  <a:pt x="165" y="97"/>
                  <a:pt x="164" y="99"/>
                </a:cubicBezTo>
                <a:close/>
                <a:moveTo>
                  <a:pt x="159" y="99"/>
                </a:moveTo>
                <a:cubicBezTo>
                  <a:pt x="159" y="100"/>
                  <a:pt x="158" y="100"/>
                  <a:pt x="158" y="100"/>
                </a:cubicBezTo>
                <a:cubicBezTo>
                  <a:pt x="160" y="99"/>
                  <a:pt x="160" y="98"/>
                  <a:pt x="161" y="97"/>
                </a:cubicBezTo>
                <a:cubicBezTo>
                  <a:pt x="161" y="97"/>
                  <a:pt x="161" y="98"/>
                  <a:pt x="162" y="97"/>
                </a:cubicBezTo>
                <a:cubicBezTo>
                  <a:pt x="163" y="96"/>
                  <a:pt x="162" y="97"/>
                  <a:pt x="162" y="97"/>
                </a:cubicBezTo>
                <a:cubicBezTo>
                  <a:pt x="158" y="99"/>
                  <a:pt x="158" y="99"/>
                  <a:pt x="158" y="99"/>
                </a:cubicBezTo>
                <a:cubicBezTo>
                  <a:pt x="158" y="100"/>
                  <a:pt x="157" y="102"/>
                  <a:pt x="159" y="99"/>
                </a:cubicBezTo>
                <a:close/>
                <a:moveTo>
                  <a:pt x="153" y="99"/>
                </a:moveTo>
                <a:cubicBezTo>
                  <a:pt x="153" y="99"/>
                  <a:pt x="152" y="100"/>
                  <a:pt x="153" y="101"/>
                </a:cubicBezTo>
                <a:cubicBezTo>
                  <a:pt x="151" y="101"/>
                  <a:pt x="149" y="103"/>
                  <a:pt x="150" y="103"/>
                </a:cubicBezTo>
                <a:cubicBezTo>
                  <a:pt x="154" y="100"/>
                  <a:pt x="153" y="100"/>
                  <a:pt x="156" y="98"/>
                </a:cubicBezTo>
                <a:cubicBezTo>
                  <a:pt x="155" y="98"/>
                  <a:pt x="155" y="98"/>
                  <a:pt x="154" y="98"/>
                </a:cubicBezTo>
                <a:cubicBezTo>
                  <a:pt x="154" y="100"/>
                  <a:pt x="154" y="98"/>
                  <a:pt x="153" y="99"/>
                </a:cubicBezTo>
                <a:close/>
                <a:moveTo>
                  <a:pt x="160" y="120"/>
                </a:moveTo>
                <a:cubicBezTo>
                  <a:pt x="160" y="120"/>
                  <a:pt x="160" y="121"/>
                  <a:pt x="161" y="120"/>
                </a:cubicBezTo>
                <a:cubicBezTo>
                  <a:pt x="162" y="119"/>
                  <a:pt x="165" y="116"/>
                  <a:pt x="163" y="117"/>
                </a:cubicBezTo>
                <a:cubicBezTo>
                  <a:pt x="163" y="117"/>
                  <a:pt x="162" y="119"/>
                  <a:pt x="160" y="120"/>
                </a:cubicBezTo>
                <a:close/>
                <a:moveTo>
                  <a:pt x="150" y="106"/>
                </a:moveTo>
                <a:cubicBezTo>
                  <a:pt x="148" y="108"/>
                  <a:pt x="154" y="103"/>
                  <a:pt x="151" y="106"/>
                </a:cubicBezTo>
                <a:cubicBezTo>
                  <a:pt x="154" y="104"/>
                  <a:pt x="154" y="104"/>
                  <a:pt x="154" y="104"/>
                </a:cubicBezTo>
                <a:cubicBezTo>
                  <a:pt x="154" y="103"/>
                  <a:pt x="153" y="104"/>
                  <a:pt x="154" y="103"/>
                </a:cubicBezTo>
                <a:cubicBezTo>
                  <a:pt x="151" y="105"/>
                  <a:pt x="151" y="105"/>
                  <a:pt x="150" y="106"/>
                </a:cubicBezTo>
                <a:close/>
                <a:moveTo>
                  <a:pt x="146" y="105"/>
                </a:moveTo>
                <a:cubicBezTo>
                  <a:pt x="142" y="108"/>
                  <a:pt x="147" y="106"/>
                  <a:pt x="145" y="108"/>
                </a:cubicBezTo>
                <a:cubicBezTo>
                  <a:pt x="147" y="106"/>
                  <a:pt x="146" y="106"/>
                  <a:pt x="149" y="104"/>
                </a:cubicBezTo>
                <a:cubicBezTo>
                  <a:pt x="148" y="104"/>
                  <a:pt x="149" y="103"/>
                  <a:pt x="149" y="103"/>
                </a:cubicBezTo>
                <a:cubicBezTo>
                  <a:pt x="145" y="105"/>
                  <a:pt x="149" y="103"/>
                  <a:pt x="146" y="106"/>
                </a:cubicBezTo>
                <a:cubicBezTo>
                  <a:pt x="146" y="105"/>
                  <a:pt x="147" y="104"/>
                  <a:pt x="146" y="105"/>
                </a:cubicBezTo>
                <a:close/>
                <a:moveTo>
                  <a:pt x="153" y="120"/>
                </a:moveTo>
                <a:cubicBezTo>
                  <a:pt x="156" y="118"/>
                  <a:pt x="154" y="119"/>
                  <a:pt x="157" y="116"/>
                </a:cubicBezTo>
                <a:cubicBezTo>
                  <a:pt x="156" y="117"/>
                  <a:pt x="154" y="118"/>
                  <a:pt x="152" y="119"/>
                </a:cubicBezTo>
                <a:cubicBezTo>
                  <a:pt x="154" y="119"/>
                  <a:pt x="151" y="121"/>
                  <a:pt x="149" y="122"/>
                </a:cubicBezTo>
                <a:cubicBezTo>
                  <a:pt x="148" y="124"/>
                  <a:pt x="152" y="120"/>
                  <a:pt x="151" y="122"/>
                </a:cubicBezTo>
                <a:cubicBezTo>
                  <a:pt x="153" y="120"/>
                  <a:pt x="153" y="119"/>
                  <a:pt x="154" y="119"/>
                </a:cubicBezTo>
                <a:cubicBezTo>
                  <a:pt x="154" y="119"/>
                  <a:pt x="153" y="120"/>
                  <a:pt x="153" y="120"/>
                </a:cubicBezTo>
                <a:close/>
                <a:moveTo>
                  <a:pt x="136" y="117"/>
                </a:moveTo>
                <a:cubicBezTo>
                  <a:pt x="139" y="115"/>
                  <a:pt x="135" y="118"/>
                  <a:pt x="135" y="118"/>
                </a:cubicBezTo>
                <a:cubicBezTo>
                  <a:pt x="138" y="116"/>
                  <a:pt x="140" y="115"/>
                  <a:pt x="142" y="113"/>
                </a:cubicBezTo>
                <a:cubicBezTo>
                  <a:pt x="142" y="112"/>
                  <a:pt x="147" y="109"/>
                  <a:pt x="148" y="107"/>
                </a:cubicBezTo>
                <a:cubicBezTo>
                  <a:pt x="147" y="108"/>
                  <a:pt x="146" y="108"/>
                  <a:pt x="146" y="108"/>
                </a:cubicBezTo>
                <a:cubicBezTo>
                  <a:pt x="144" y="109"/>
                  <a:pt x="144" y="110"/>
                  <a:pt x="142" y="111"/>
                </a:cubicBezTo>
                <a:cubicBezTo>
                  <a:pt x="141" y="113"/>
                  <a:pt x="142" y="113"/>
                  <a:pt x="141" y="113"/>
                </a:cubicBezTo>
                <a:cubicBezTo>
                  <a:pt x="140" y="113"/>
                  <a:pt x="136" y="116"/>
                  <a:pt x="136" y="117"/>
                </a:cubicBezTo>
                <a:close/>
                <a:moveTo>
                  <a:pt x="153" y="123"/>
                </a:moveTo>
                <a:cubicBezTo>
                  <a:pt x="154" y="123"/>
                  <a:pt x="157" y="120"/>
                  <a:pt x="156" y="120"/>
                </a:cubicBezTo>
                <a:cubicBezTo>
                  <a:pt x="155" y="121"/>
                  <a:pt x="152" y="123"/>
                  <a:pt x="153" y="123"/>
                </a:cubicBezTo>
                <a:close/>
                <a:moveTo>
                  <a:pt x="137" y="109"/>
                </a:moveTo>
                <a:cubicBezTo>
                  <a:pt x="139" y="108"/>
                  <a:pt x="141" y="106"/>
                  <a:pt x="141" y="106"/>
                </a:cubicBezTo>
                <a:cubicBezTo>
                  <a:pt x="139" y="107"/>
                  <a:pt x="137" y="109"/>
                  <a:pt x="137" y="109"/>
                </a:cubicBezTo>
                <a:close/>
                <a:moveTo>
                  <a:pt x="136" y="114"/>
                </a:moveTo>
                <a:cubicBezTo>
                  <a:pt x="138" y="114"/>
                  <a:pt x="137" y="113"/>
                  <a:pt x="137" y="115"/>
                </a:cubicBezTo>
                <a:cubicBezTo>
                  <a:pt x="138" y="114"/>
                  <a:pt x="138" y="113"/>
                  <a:pt x="141" y="111"/>
                </a:cubicBezTo>
                <a:cubicBezTo>
                  <a:pt x="142" y="110"/>
                  <a:pt x="141" y="111"/>
                  <a:pt x="140" y="111"/>
                </a:cubicBezTo>
                <a:cubicBezTo>
                  <a:pt x="141" y="110"/>
                  <a:pt x="142" y="110"/>
                  <a:pt x="143" y="109"/>
                </a:cubicBezTo>
                <a:cubicBezTo>
                  <a:pt x="143" y="109"/>
                  <a:pt x="144" y="108"/>
                  <a:pt x="143" y="108"/>
                </a:cubicBezTo>
                <a:cubicBezTo>
                  <a:pt x="141" y="111"/>
                  <a:pt x="139" y="111"/>
                  <a:pt x="136" y="114"/>
                </a:cubicBezTo>
                <a:close/>
                <a:moveTo>
                  <a:pt x="142" y="117"/>
                </a:moveTo>
                <a:cubicBezTo>
                  <a:pt x="140" y="118"/>
                  <a:pt x="142" y="116"/>
                  <a:pt x="144" y="115"/>
                </a:cubicBezTo>
                <a:cubicBezTo>
                  <a:pt x="144" y="114"/>
                  <a:pt x="142" y="115"/>
                  <a:pt x="141" y="116"/>
                </a:cubicBezTo>
                <a:cubicBezTo>
                  <a:pt x="141" y="116"/>
                  <a:pt x="141" y="117"/>
                  <a:pt x="140" y="117"/>
                </a:cubicBezTo>
                <a:cubicBezTo>
                  <a:pt x="137" y="118"/>
                  <a:pt x="139" y="119"/>
                  <a:pt x="136" y="120"/>
                </a:cubicBezTo>
                <a:cubicBezTo>
                  <a:pt x="136" y="121"/>
                  <a:pt x="133" y="123"/>
                  <a:pt x="132" y="124"/>
                </a:cubicBezTo>
                <a:cubicBezTo>
                  <a:pt x="133" y="124"/>
                  <a:pt x="131" y="125"/>
                  <a:pt x="131" y="126"/>
                </a:cubicBezTo>
                <a:cubicBezTo>
                  <a:pt x="133" y="124"/>
                  <a:pt x="135" y="122"/>
                  <a:pt x="134" y="124"/>
                </a:cubicBezTo>
                <a:cubicBezTo>
                  <a:pt x="135" y="124"/>
                  <a:pt x="139" y="121"/>
                  <a:pt x="138" y="121"/>
                </a:cubicBezTo>
                <a:cubicBezTo>
                  <a:pt x="137" y="121"/>
                  <a:pt x="135" y="124"/>
                  <a:pt x="135" y="123"/>
                </a:cubicBezTo>
                <a:cubicBezTo>
                  <a:pt x="136" y="122"/>
                  <a:pt x="135" y="122"/>
                  <a:pt x="137" y="121"/>
                </a:cubicBezTo>
                <a:cubicBezTo>
                  <a:pt x="139" y="119"/>
                  <a:pt x="142" y="117"/>
                  <a:pt x="142" y="117"/>
                </a:cubicBezTo>
                <a:close/>
                <a:moveTo>
                  <a:pt x="143" y="118"/>
                </a:moveTo>
                <a:cubicBezTo>
                  <a:pt x="141" y="119"/>
                  <a:pt x="141" y="119"/>
                  <a:pt x="141" y="119"/>
                </a:cubicBezTo>
                <a:cubicBezTo>
                  <a:pt x="140" y="120"/>
                  <a:pt x="140" y="120"/>
                  <a:pt x="141" y="121"/>
                </a:cubicBezTo>
                <a:cubicBezTo>
                  <a:pt x="143" y="119"/>
                  <a:pt x="142" y="119"/>
                  <a:pt x="143" y="118"/>
                </a:cubicBezTo>
                <a:cubicBezTo>
                  <a:pt x="143" y="119"/>
                  <a:pt x="144" y="118"/>
                  <a:pt x="145" y="117"/>
                </a:cubicBezTo>
                <a:cubicBezTo>
                  <a:pt x="143" y="118"/>
                  <a:pt x="144" y="117"/>
                  <a:pt x="143" y="118"/>
                </a:cubicBezTo>
                <a:close/>
                <a:moveTo>
                  <a:pt x="146" y="128"/>
                </a:moveTo>
                <a:cubicBezTo>
                  <a:pt x="147" y="128"/>
                  <a:pt x="145" y="129"/>
                  <a:pt x="145" y="130"/>
                </a:cubicBezTo>
                <a:cubicBezTo>
                  <a:pt x="146" y="129"/>
                  <a:pt x="146" y="129"/>
                  <a:pt x="148" y="128"/>
                </a:cubicBezTo>
                <a:cubicBezTo>
                  <a:pt x="147" y="128"/>
                  <a:pt x="147" y="127"/>
                  <a:pt x="148" y="127"/>
                </a:cubicBezTo>
                <a:cubicBezTo>
                  <a:pt x="147" y="127"/>
                  <a:pt x="146" y="128"/>
                  <a:pt x="146" y="128"/>
                </a:cubicBezTo>
                <a:close/>
                <a:moveTo>
                  <a:pt x="133" y="117"/>
                </a:moveTo>
                <a:cubicBezTo>
                  <a:pt x="133" y="118"/>
                  <a:pt x="134" y="117"/>
                  <a:pt x="135" y="117"/>
                </a:cubicBezTo>
                <a:cubicBezTo>
                  <a:pt x="136" y="116"/>
                  <a:pt x="137" y="115"/>
                  <a:pt x="137" y="115"/>
                </a:cubicBezTo>
                <a:cubicBezTo>
                  <a:pt x="136" y="116"/>
                  <a:pt x="135" y="115"/>
                  <a:pt x="133" y="117"/>
                </a:cubicBezTo>
                <a:close/>
                <a:moveTo>
                  <a:pt x="144" y="129"/>
                </a:moveTo>
                <a:cubicBezTo>
                  <a:pt x="143" y="129"/>
                  <a:pt x="141" y="129"/>
                  <a:pt x="139" y="132"/>
                </a:cubicBezTo>
                <a:cubicBezTo>
                  <a:pt x="139" y="133"/>
                  <a:pt x="145" y="129"/>
                  <a:pt x="146" y="127"/>
                </a:cubicBezTo>
                <a:cubicBezTo>
                  <a:pt x="145" y="128"/>
                  <a:pt x="144" y="128"/>
                  <a:pt x="144" y="129"/>
                </a:cubicBezTo>
                <a:close/>
                <a:moveTo>
                  <a:pt x="133" y="117"/>
                </a:moveTo>
                <a:cubicBezTo>
                  <a:pt x="132" y="118"/>
                  <a:pt x="132" y="117"/>
                  <a:pt x="131" y="118"/>
                </a:cubicBezTo>
                <a:cubicBezTo>
                  <a:pt x="131" y="119"/>
                  <a:pt x="133" y="117"/>
                  <a:pt x="135" y="116"/>
                </a:cubicBezTo>
                <a:cubicBezTo>
                  <a:pt x="134" y="116"/>
                  <a:pt x="136" y="114"/>
                  <a:pt x="134" y="115"/>
                </a:cubicBezTo>
                <a:cubicBezTo>
                  <a:pt x="134" y="116"/>
                  <a:pt x="134" y="116"/>
                  <a:pt x="133" y="117"/>
                </a:cubicBezTo>
                <a:close/>
                <a:moveTo>
                  <a:pt x="138" y="122"/>
                </a:moveTo>
                <a:cubicBezTo>
                  <a:pt x="137" y="123"/>
                  <a:pt x="137" y="123"/>
                  <a:pt x="139" y="122"/>
                </a:cubicBezTo>
                <a:cubicBezTo>
                  <a:pt x="140" y="121"/>
                  <a:pt x="140" y="120"/>
                  <a:pt x="138" y="122"/>
                </a:cubicBezTo>
                <a:close/>
                <a:moveTo>
                  <a:pt x="139" y="137"/>
                </a:moveTo>
                <a:cubicBezTo>
                  <a:pt x="141" y="135"/>
                  <a:pt x="141" y="137"/>
                  <a:pt x="139" y="138"/>
                </a:cubicBezTo>
                <a:cubicBezTo>
                  <a:pt x="140" y="137"/>
                  <a:pt x="141" y="137"/>
                  <a:pt x="142" y="136"/>
                </a:cubicBezTo>
                <a:cubicBezTo>
                  <a:pt x="142" y="135"/>
                  <a:pt x="142" y="135"/>
                  <a:pt x="142" y="135"/>
                </a:cubicBezTo>
                <a:cubicBezTo>
                  <a:pt x="142" y="135"/>
                  <a:pt x="143" y="134"/>
                  <a:pt x="144" y="134"/>
                </a:cubicBezTo>
                <a:cubicBezTo>
                  <a:pt x="142" y="136"/>
                  <a:pt x="138" y="139"/>
                  <a:pt x="138" y="140"/>
                </a:cubicBezTo>
                <a:cubicBezTo>
                  <a:pt x="138" y="140"/>
                  <a:pt x="137" y="141"/>
                  <a:pt x="136" y="141"/>
                </a:cubicBezTo>
                <a:cubicBezTo>
                  <a:pt x="138" y="140"/>
                  <a:pt x="138" y="139"/>
                  <a:pt x="139" y="138"/>
                </a:cubicBezTo>
                <a:cubicBezTo>
                  <a:pt x="139" y="137"/>
                  <a:pt x="136" y="138"/>
                  <a:pt x="133" y="141"/>
                </a:cubicBezTo>
                <a:cubicBezTo>
                  <a:pt x="134" y="141"/>
                  <a:pt x="136" y="139"/>
                  <a:pt x="137" y="139"/>
                </a:cubicBezTo>
                <a:cubicBezTo>
                  <a:pt x="137" y="139"/>
                  <a:pt x="138" y="139"/>
                  <a:pt x="138" y="139"/>
                </a:cubicBezTo>
                <a:cubicBezTo>
                  <a:pt x="135" y="142"/>
                  <a:pt x="132" y="145"/>
                  <a:pt x="132" y="146"/>
                </a:cubicBezTo>
                <a:cubicBezTo>
                  <a:pt x="133" y="145"/>
                  <a:pt x="135" y="144"/>
                  <a:pt x="135" y="143"/>
                </a:cubicBezTo>
                <a:cubicBezTo>
                  <a:pt x="134" y="144"/>
                  <a:pt x="134" y="144"/>
                  <a:pt x="134" y="144"/>
                </a:cubicBezTo>
                <a:cubicBezTo>
                  <a:pt x="135" y="144"/>
                  <a:pt x="136" y="142"/>
                  <a:pt x="136" y="142"/>
                </a:cubicBezTo>
                <a:cubicBezTo>
                  <a:pt x="137" y="142"/>
                  <a:pt x="134" y="145"/>
                  <a:pt x="137" y="143"/>
                </a:cubicBezTo>
                <a:cubicBezTo>
                  <a:pt x="136" y="142"/>
                  <a:pt x="139" y="141"/>
                  <a:pt x="140" y="141"/>
                </a:cubicBezTo>
                <a:cubicBezTo>
                  <a:pt x="139" y="140"/>
                  <a:pt x="141" y="139"/>
                  <a:pt x="141" y="139"/>
                </a:cubicBezTo>
                <a:cubicBezTo>
                  <a:pt x="140" y="139"/>
                  <a:pt x="140" y="139"/>
                  <a:pt x="141" y="138"/>
                </a:cubicBezTo>
                <a:cubicBezTo>
                  <a:pt x="144" y="136"/>
                  <a:pt x="146" y="134"/>
                  <a:pt x="148" y="133"/>
                </a:cubicBezTo>
                <a:cubicBezTo>
                  <a:pt x="147" y="133"/>
                  <a:pt x="143" y="135"/>
                  <a:pt x="146" y="132"/>
                </a:cubicBezTo>
                <a:cubicBezTo>
                  <a:pt x="143" y="133"/>
                  <a:pt x="141" y="134"/>
                  <a:pt x="139" y="137"/>
                </a:cubicBezTo>
                <a:close/>
                <a:moveTo>
                  <a:pt x="142" y="131"/>
                </a:moveTo>
                <a:cubicBezTo>
                  <a:pt x="142" y="131"/>
                  <a:pt x="143" y="132"/>
                  <a:pt x="144" y="130"/>
                </a:cubicBezTo>
                <a:cubicBezTo>
                  <a:pt x="144" y="130"/>
                  <a:pt x="144" y="130"/>
                  <a:pt x="144" y="129"/>
                </a:cubicBezTo>
                <a:cubicBezTo>
                  <a:pt x="144" y="130"/>
                  <a:pt x="143" y="130"/>
                  <a:pt x="142" y="131"/>
                </a:cubicBezTo>
                <a:close/>
                <a:moveTo>
                  <a:pt x="142" y="143"/>
                </a:moveTo>
                <a:cubicBezTo>
                  <a:pt x="142" y="143"/>
                  <a:pt x="145" y="140"/>
                  <a:pt x="145" y="142"/>
                </a:cubicBezTo>
                <a:cubicBezTo>
                  <a:pt x="147" y="140"/>
                  <a:pt x="149" y="139"/>
                  <a:pt x="150" y="138"/>
                </a:cubicBezTo>
                <a:cubicBezTo>
                  <a:pt x="148" y="139"/>
                  <a:pt x="147" y="140"/>
                  <a:pt x="146" y="140"/>
                </a:cubicBezTo>
                <a:cubicBezTo>
                  <a:pt x="147" y="139"/>
                  <a:pt x="147" y="139"/>
                  <a:pt x="148" y="138"/>
                </a:cubicBezTo>
                <a:cubicBezTo>
                  <a:pt x="147" y="139"/>
                  <a:pt x="150" y="137"/>
                  <a:pt x="150" y="137"/>
                </a:cubicBezTo>
                <a:cubicBezTo>
                  <a:pt x="148" y="138"/>
                  <a:pt x="142" y="142"/>
                  <a:pt x="142" y="143"/>
                </a:cubicBezTo>
                <a:close/>
                <a:moveTo>
                  <a:pt x="125" y="125"/>
                </a:moveTo>
                <a:cubicBezTo>
                  <a:pt x="126" y="125"/>
                  <a:pt x="128" y="123"/>
                  <a:pt x="128" y="124"/>
                </a:cubicBezTo>
                <a:cubicBezTo>
                  <a:pt x="126" y="126"/>
                  <a:pt x="124" y="127"/>
                  <a:pt x="124" y="128"/>
                </a:cubicBezTo>
                <a:cubicBezTo>
                  <a:pt x="129" y="124"/>
                  <a:pt x="129" y="124"/>
                  <a:pt x="129" y="124"/>
                </a:cubicBezTo>
                <a:cubicBezTo>
                  <a:pt x="128" y="123"/>
                  <a:pt x="132" y="121"/>
                  <a:pt x="131" y="120"/>
                </a:cubicBezTo>
                <a:cubicBezTo>
                  <a:pt x="129" y="122"/>
                  <a:pt x="127" y="123"/>
                  <a:pt x="125" y="125"/>
                </a:cubicBezTo>
                <a:close/>
                <a:moveTo>
                  <a:pt x="131" y="122"/>
                </a:moveTo>
                <a:cubicBezTo>
                  <a:pt x="132" y="122"/>
                  <a:pt x="131" y="122"/>
                  <a:pt x="131" y="123"/>
                </a:cubicBezTo>
                <a:cubicBezTo>
                  <a:pt x="132" y="122"/>
                  <a:pt x="132" y="121"/>
                  <a:pt x="133" y="120"/>
                </a:cubicBezTo>
                <a:cubicBezTo>
                  <a:pt x="134" y="120"/>
                  <a:pt x="134" y="120"/>
                  <a:pt x="134" y="120"/>
                </a:cubicBezTo>
                <a:cubicBezTo>
                  <a:pt x="133" y="120"/>
                  <a:pt x="135" y="117"/>
                  <a:pt x="131" y="119"/>
                </a:cubicBezTo>
                <a:cubicBezTo>
                  <a:pt x="131" y="120"/>
                  <a:pt x="134" y="119"/>
                  <a:pt x="131" y="122"/>
                </a:cubicBezTo>
                <a:close/>
                <a:moveTo>
                  <a:pt x="139" y="130"/>
                </a:moveTo>
                <a:cubicBezTo>
                  <a:pt x="138" y="132"/>
                  <a:pt x="142" y="129"/>
                  <a:pt x="142" y="129"/>
                </a:cubicBezTo>
                <a:lnTo>
                  <a:pt x="139" y="130"/>
                </a:lnTo>
                <a:close/>
                <a:moveTo>
                  <a:pt x="133" y="129"/>
                </a:moveTo>
                <a:cubicBezTo>
                  <a:pt x="135" y="127"/>
                  <a:pt x="136" y="126"/>
                  <a:pt x="135" y="126"/>
                </a:cubicBezTo>
                <a:cubicBezTo>
                  <a:pt x="133" y="128"/>
                  <a:pt x="132" y="129"/>
                  <a:pt x="133" y="129"/>
                </a:cubicBezTo>
                <a:close/>
                <a:moveTo>
                  <a:pt x="129" y="121"/>
                </a:moveTo>
                <a:cubicBezTo>
                  <a:pt x="128" y="120"/>
                  <a:pt x="126" y="121"/>
                  <a:pt x="124" y="124"/>
                </a:cubicBezTo>
                <a:cubicBezTo>
                  <a:pt x="125" y="123"/>
                  <a:pt x="125" y="123"/>
                  <a:pt x="124" y="124"/>
                </a:cubicBezTo>
                <a:cubicBezTo>
                  <a:pt x="123" y="124"/>
                  <a:pt x="121" y="127"/>
                  <a:pt x="120" y="128"/>
                </a:cubicBezTo>
                <a:cubicBezTo>
                  <a:pt x="121" y="128"/>
                  <a:pt x="121" y="128"/>
                  <a:pt x="120" y="130"/>
                </a:cubicBezTo>
                <a:cubicBezTo>
                  <a:pt x="121" y="129"/>
                  <a:pt x="121" y="129"/>
                  <a:pt x="121" y="129"/>
                </a:cubicBezTo>
                <a:cubicBezTo>
                  <a:pt x="125" y="126"/>
                  <a:pt x="124" y="125"/>
                  <a:pt x="128" y="123"/>
                </a:cubicBezTo>
                <a:cubicBezTo>
                  <a:pt x="127" y="122"/>
                  <a:pt x="126" y="123"/>
                  <a:pt x="129" y="121"/>
                </a:cubicBezTo>
                <a:close/>
                <a:moveTo>
                  <a:pt x="129" y="131"/>
                </a:moveTo>
                <a:cubicBezTo>
                  <a:pt x="130" y="130"/>
                  <a:pt x="133" y="127"/>
                  <a:pt x="134" y="126"/>
                </a:cubicBezTo>
                <a:cubicBezTo>
                  <a:pt x="131" y="128"/>
                  <a:pt x="130" y="130"/>
                  <a:pt x="129" y="131"/>
                </a:cubicBezTo>
                <a:close/>
                <a:moveTo>
                  <a:pt x="133" y="136"/>
                </a:moveTo>
                <a:cubicBezTo>
                  <a:pt x="135" y="136"/>
                  <a:pt x="137" y="136"/>
                  <a:pt x="139" y="133"/>
                </a:cubicBezTo>
                <a:cubicBezTo>
                  <a:pt x="136" y="135"/>
                  <a:pt x="136" y="134"/>
                  <a:pt x="133" y="136"/>
                </a:cubicBezTo>
                <a:close/>
                <a:moveTo>
                  <a:pt x="124" y="131"/>
                </a:moveTo>
                <a:cubicBezTo>
                  <a:pt x="125" y="131"/>
                  <a:pt x="125" y="131"/>
                  <a:pt x="124" y="132"/>
                </a:cubicBezTo>
                <a:cubicBezTo>
                  <a:pt x="126" y="131"/>
                  <a:pt x="131" y="127"/>
                  <a:pt x="128" y="128"/>
                </a:cubicBezTo>
                <a:cubicBezTo>
                  <a:pt x="128" y="129"/>
                  <a:pt x="126" y="130"/>
                  <a:pt x="124" y="131"/>
                </a:cubicBezTo>
                <a:close/>
                <a:moveTo>
                  <a:pt x="121" y="127"/>
                </a:moveTo>
                <a:cubicBezTo>
                  <a:pt x="121" y="126"/>
                  <a:pt x="121" y="125"/>
                  <a:pt x="123" y="124"/>
                </a:cubicBezTo>
                <a:cubicBezTo>
                  <a:pt x="120" y="126"/>
                  <a:pt x="117" y="127"/>
                  <a:pt x="117" y="128"/>
                </a:cubicBezTo>
                <a:cubicBezTo>
                  <a:pt x="118" y="128"/>
                  <a:pt x="120" y="126"/>
                  <a:pt x="121" y="126"/>
                </a:cubicBezTo>
                <a:cubicBezTo>
                  <a:pt x="120" y="126"/>
                  <a:pt x="119" y="128"/>
                  <a:pt x="121" y="127"/>
                </a:cubicBezTo>
                <a:close/>
                <a:moveTo>
                  <a:pt x="120" y="131"/>
                </a:moveTo>
                <a:cubicBezTo>
                  <a:pt x="121" y="131"/>
                  <a:pt x="122" y="131"/>
                  <a:pt x="124" y="129"/>
                </a:cubicBezTo>
                <a:cubicBezTo>
                  <a:pt x="124" y="128"/>
                  <a:pt x="121" y="130"/>
                  <a:pt x="120" y="131"/>
                </a:cubicBezTo>
                <a:close/>
                <a:moveTo>
                  <a:pt x="119" y="140"/>
                </a:moveTo>
                <a:cubicBezTo>
                  <a:pt x="121" y="139"/>
                  <a:pt x="122" y="137"/>
                  <a:pt x="124" y="135"/>
                </a:cubicBezTo>
                <a:cubicBezTo>
                  <a:pt x="124" y="134"/>
                  <a:pt x="124" y="134"/>
                  <a:pt x="124" y="134"/>
                </a:cubicBezTo>
                <a:cubicBezTo>
                  <a:pt x="121" y="137"/>
                  <a:pt x="119" y="139"/>
                  <a:pt x="119" y="140"/>
                </a:cubicBezTo>
                <a:close/>
                <a:moveTo>
                  <a:pt x="117" y="131"/>
                </a:moveTo>
                <a:cubicBezTo>
                  <a:pt x="119" y="130"/>
                  <a:pt x="117" y="130"/>
                  <a:pt x="118" y="129"/>
                </a:cubicBezTo>
                <a:cubicBezTo>
                  <a:pt x="116" y="131"/>
                  <a:pt x="116" y="131"/>
                  <a:pt x="117" y="131"/>
                </a:cubicBezTo>
                <a:close/>
                <a:moveTo>
                  <a:pt x="112" y="133"/>
                </a:moveTo>
                <a:cubicBezTo>
                  <a:pt x="112" y="134"/>
                  <a:pt x="114" y="132"/>
                  <a:pt x="113" y="133"/>
                </a:cubicBezTo>
                <a:cubicBezTo>
                  <a:pt x="117" y="130"/>
                  <a:pt x="114" y="131"/>
                  <a:pt x="112" y="133"/>
                </a:cubicBezTo>
                <a:close/>
                <a:moveTo>
                  <a:pt x="117" y="138"/>
                </a:moveTo>
                <a:cubicBezTo>
                  <a:pt x="116" y="140"/>
                  <a:pt x="113" y="143"/>
                  <a:pt x="114" y="143"/>
                </a:cubicBezTo>
                <a:cubicBezTo>
                  <a:pt x="117" y="140"/>
                  <a:pt x="116" y="140"/>
                  <a:pt x="119" y="137"/>
                </a:cubicBezTo>
                <a:cubicBezTo>
                  <a:pt x="118" y="138"/>
                  <a:pt x="118" y="137"/>
                  <a:pt x="117" y="138"/>
                </a:cubicBezTo>
                <a:close/>
                <a:moveTo>
                  <a:pt x="114" y="157"/>
                </a:moveTo>
                <a:cubicBezTo>
                  <a:pt x="112" y="158"/>
                  <a:pt x="113" y="158"/>
                  <a:pt x="111" y="158"/>
                </a:cubicBezTo>
                <a:cubicBezTo>
                  <a:pt x="113" y="158"/>
                  <a:pt x="109" y="161"/>
                  <a:pt x="109" y="161"/>
                </a:cubicBezTo>
                <a:cubicBezTo>
                  <a:pt x="111" y="159"/>
                  <a:pt x="109" y="160"/>
                  <a:pt x="108" y="161"/>
                </a:cubicBezTo>
                <a:cubicBezTo>
                  <a:pt x="108" y="162"/>
                  <a:pt x="107" y="163"/>
                  <a:pt x="107" y="164"/>
                </a:cubicBezTo>
                <a:cubicBezTo>
                  <a:pt x="105" y="166"/>
                  <a:pt x="105" y="164"/>
                  <a:pt x="102" y="167"/>
                </a:cubicBezTo>
                <a:cubicBezTo>
                  <a:pt x="102" y="169"/>
                  <a:pt x="103" y="167"/>
                  <a:pt x="104" y="167"/>
                </a:cubicBezTo>
                <a:cubicBezTo>
                  <a:pt x="103" y="168"/>
                  <a:pt x="102" y="168"/>
                  <a:pt x="101" y="169"/>
                </a:cubicBezTo>
                <a:cubicBezTo>
                  <a:pt x="103" y="169"/>
                  <a:pt x="106" y="166"/>
                  <a:pt x="107" y="164"/>
                </a:cubicBezTo>
                <a:cubicBezTo>
                  <a:pt x="106" y="167"/>
                  <a:pt x="101" y="172"/>
                  <a:pt x="99" y="173"/>
                </a:cubicBezTo>
                <a:cubicBezTo>
                  <a:pt x="99" y="173"/>
                  <a:pt x="99" y="175"/>
                  <a:pt x="98" y="175"/>
                </a:cubicBezTo>
                <a:cubicBezTo>
                  <a:pt x="98" y="175"/>
                  <a:pt x="99" y="175"/>
                  <a:pt x="98" y="175"/>
                </a:cubicBezTo>
                <a:cubicBezTo>
                  <a:pt x="99" y="175"/>
                  <a:pt x="98" y="175"/>
                  <a:pt x="99" y="175"/>
                </a:cubicBezTo>
                <a:cubicBezTo>
                  <a:pt x="99" y="175"/>
                  <a:pt x="100" y="174"/>
                  <a:pt x="100" y="174"/>
                </a:cubicBezTo>
                <a:cubicBezTo>
                  <a:pt x="100" y="174"/>
                  <a:pt x="100" y="174"/>
                  <a:pt x="100" y="174"/>
                </a:cubicBezTo>
                <a:cubicBezTo>
                  <a:pt x="101" y="172"/>
                  <a:pt x="101" y="172"/>
                  <a:pt x="101" y="172"/>
                </a:cubicBezTo>
                <a:cubicBezTo>
                  <a:pt x="102" y="172"/>
                  <a:pt x="103" y="171"/>
                  <a:pt x="104" y="170"/>
                </a:cubicBezTo>
                <a:cubicBezTo>
                  <a:pt x="103" y="170"/>
                  <a:pt x="106" y="168"/>
                  <a:pt x="106" y="167"/>
                </a:cubicBezTo>
                <a:cubicBezTo>
                  <a:pt x="108" y="166"/>
                  <a:pt x="114" y="158"/>
                  <a:pt x="117" y="157"/>
                </a:cubicBezTo>
                <a:cubicBezTo>
                  <a:pt x="117" y="157"/>
                  <a:pt x="116" y="157"/>
                  <a:pt x="117" y="156"/>
                </a:cubicBezTo>
                <a:cubicBezTo>
                  <a:pt x="119" y="155"/>
                  <a:pt x="120" y="153"/>
                  <a:pt x="123" y="151"/>
                </a:cubicBezTo>
                <a:cubicBezTo>
                  <a:pt x="122" y="150"/>
                  <a:pt x="125" y="150"/>
                  <a:pt x="126" y="148"/>
                </a:cubicBezTo>
                <a:cubicBezTo>
                  <a:pt x="126" y="148"/>
                  <a:pt x="127" y="147"/>
                  <a:pt x="126" y="147"/>
                </a:cubicBezTo>
                <a:cubicBezTo>
                  <a:pt x="123" y="150"/>
                  <a:pt x="122" y="148"/>
                  <a:pt x="120" y="151"/>
                </a:cubicBezTo>
                <a:cubicBezTo>
                  <a:pt x="121" y="150"/>
                  <a:pt x="120" y="153"/>
                  <a:pt x="119" y="153"/>
                </a:cubicBezTo>
                <a:cubicBezTo>
                  <a:pt x="119" y="152"/>
                  <a:pt x="117" y="155"/>
                  <a:pt x="116" y="155"/>
                </a:cubicBezTo>
                <a:cubicBezTo>
                  <a:pt x="117" y="154"/>
                  <a:pt x="118" y="153"/>
                  <a:pt x="118" y="152"/>
                </a:cubicBezTo>
                <a:cubicBezTo>
                  <a:pt x="117" y="154"/>
                  <a:pt x="116" y="154"/>
                  <a:pt x="116" y="154"/>
                </a:cubicBezTo>
                <a:cubicBezTo>
                  <a:pt x="116" y="154"/>
                  <a:pt x="117" y="153"/>
                  <a:pt x="117" y="153"/>
                </a:cubicBezTo>
                <a:cubicBezTo>
                  <a:pt x="115" y="155"/>
                  <a:pt x="115" y="155"/>
                  <a:pt x="114" y="157"/>
                </a:cubicBezTo>
                <a:close/>
                <a:moveTo>
                  <a:pt x="119" y="151"/>
                </a:moveTo>
                <a:cubicBezTo>
                  <a:pt x="120" y="150"/>
                  <a:pt x="121" y="149"/>
                  <a:pt x="121" y="148"/>
                </a:cubicBezTo>
                <a:cubicBezTo>
                  <a:pt x="120" y="149"/>
                  <a:pt x="119" y="149"/>
                  <a:pt x="118" y="151"/>
                </a:cubicBezTo>
                <a:cubicBezTo>
                  <a:pt x="118" y="152"/>
                  <a:pt x="119" y="150"/>
                  <a:pt x="120" y="150"/>
                </a:cubicBezTo>
                <a:cubicBezTo>
                  <a:pt x="119" y="151"/>
                  <a:pt x="118" y="152"/>
                  <a:pt x="119" y="151"/>
                </a:cubicBezTo>
                <a:close/>
                <a:moveTo>
                  <a:pt x="124" y="159"/>
                </a:moveTo>
                <a:cubicBezTo>
                  <a:pt x="125" y="159"/>
                  <a:pt x="128" y="159"/>
                  <a:pt x="128" y="157"/>
                </a:cubicBezTo>
                <a:cubicBezTo>
                  <a:pt x="125" y="160"/>
                  <a:pt x="127" y="156"/>
                  <a:pt x="124" y="159"/>
                </a:cubicBezTo>
                <a:close/>
                <a:moveTo>
                  <a:pt x="112" y="142"/>
                </a:moveTo>
                <a:cubicBezTo>
                  <a:pt x="110" y="143"/>
                  <a:pt x="109" y="144"/>
                  <a:pt x="109" y="145"/>
                </a:cubicBezTo>
                <a:cubicBezTo>
                  <a:pt x="110" y="145"/>
                  <a:pt x="111" y="143"/>
                  <a:pt x="112" y="142"/>
                </a:cubicBezTo>
                <a:cubicBezTo>
                  <a:pt x="112" y="143"/>
                  <a:pt x="112" y="143"/>
                  <a:pt x="113" y="142"/>
                </a:cubicBezTo>
                <a:cubicBezTo>
                  <a:pt x="113" y="142"/>
                  <a:pt x="112" y="142"/>
                  <a:pt x="112" y="142"/>
                </a:cubicBezTo>
                <a:close/>
                <a:moveTo>
                  <a:pt x="114" y="170"/>
                </a:moveTo>
                <a:cubicBezTo>
                  <a:pt x="115" y="170"/>
                  <a:pt x="118" y="166"/>
                  <a:pt x="117" y="166"/>
                </a:cubicBezTo>
                <a:cubicBezTo>
                  <a:pt x="115" y="168"/>
                  <a:pt x="116" y="167"/>
                  <a:pt x="114" y="170"/>
                </a:cubicBezTo>
                <a:close/>
                <a:moveTo>
                  <a:pt x="88" y="182"/>
                </a:moveTo>
                <a:cubicBezTo>
                  <a:pt x="88" y="182"/>
                  <a:pt x="89" y="182"/>
                  <a:pt x="89" y="181"/>
                </a:cubicBezTo>
                <a:cubicBezTo>
                  <a:pt x="88" y="181"/>
                  <a:pt x="88" y="182"/>
                  <a:pt x="88" y="182"/>
                </a:cubicBezTo>
                <a:close/>
                <a:moveTo>
                  <a:pt x="108" y="144"/>
                </a:moveTo>
                <a:cubicBezTo>
                  <a:pt x="106" y="144"/>
                  <a:pt x="109" y="142"/>
                  <a:pt x="108" y="142"/>
                </a:cubicBezTo>
                <a:cubicBezTo>
                  <a:pt x="107" y="142"/>
                  <a:pt x="103" y="145"/>
                  <a:pt x="103" y="145"/>
                </a:cubicBezTo>
                <a:cubicBezTo>
                  <a:pt x="105" y="144"/>
                  <a:pt x="106" y="145"/>
                  <a:pt x="107" y="144"/>
                </a:cubicBezTo>
                <a:cubicBezTo>
                  <a:pt x="109" y="143"/>
                  <a:pt x="109" y="143"/>
                  <a:pt x="110" y="141"/>
                </a:cubicBezTo>
                <a:cubicBezTo>
                  <a:pt x="110" y="141"/>
                  <a:pt x="110" y="141"/>
                  <a:pt x="110" y="141"/>
                </a:cubicBezTo>
                <a:cubicBezTo>
                  <a:pt x="107" y="143"/>
                  <a:pt x="110" y="142"/>
                  <a:pt x="108" y="144"/>
                </a:cubicBezTo>
                <a:close/>
                <a:moveTo>
                  <a:pt x="802" y="247"/>
                </a:moveTo>
                <a:cubicBezTo>
                  <a:pt x="799" y="242"/>
                  <a:pt x="799" y="242"/>
                  <a:pt x="799" y="242"/>
                </a:cubicBezTo>
                <a:cubicBezTo>
                  <a:pt x="798" y="242"/>
                  <a:pt x="801" y="247"/>
                  <a:pt x="801" y="246"/>
                </a:cubicBezTo>
                <a:cubicBezTo>
                  <a:pt x="801" y="247"/>
                  <a:pt x="801" y="247"/>
                  <a:pt x="801" y="247"/>
                </a:cubicBezTo>
                <a:cubicBezTo>
                  <a:pt x="800" y="244"/>
                  <a:pt x="802" y="246"/>
                  <a:pt x="802" y="247"/>
                </a:cubicBezTo>
                <a:close/>
                <a:moveTo>
                  <a:pt x="596" y="44"/>
                </a:moveTo>
                <a:cubicBezTo>
                  <a:pt x="592" y="42"/>
                  <a:pt x="592" y="42"/>
                  <a:pt x="592" y="42"/>
                </a:cubicBezTo>
                <a:cubicBezTo>
                  <a:pt x="592" y="43"/>
                  <a:pt x="593" y="43"/>
                  <a:pt x="594" y="44"/>
                </a:cubicBezTo>
                <a:cubicBezTo>
                  <a:pt x="591" y="43"/>
                  <a:pt x="597" y="45"/>
                  <a:pt x="596" y="44"/>
                </a:cubicBezTo>
                <a:close/>
                <a:moveTo>
                  <a:pt x="493" y="9"/>
                </a:moveTo>
                <a:cubicBezTo>
                  <a:pt x="495" y="10"/>
                  <a:pt x="500" y="11"/>
                  <a:pt x="502" y="11"/>
                </a:cubicBezTo>
                <a:cubicBezTo>
                  <a:pt x="500" y="10"/>
                  <a:pt x="492" y="9"/>
                  <a:pt x="493" y="9"/>
                </a:cubicBezTo>
                <a:close/>
                <a:moveTo>
                  <a:pt x="467" y="5"/>
                </a:moveTo>
                <a:cubicBezTo>
                  <a:pt x="469" y="5"/>
                  <a:pt x="477" y="7"/>
                  <a:pt x="475" y="6"/>
                </a:cubicBezTo>
                <a:cubicBezTo>
                  <a:pt x="473" y="6"/>
                  <a:pt x="466" y="4"/>
                  <a:pt x="466" y="5"/>
                </a:cubicBezTo>
                <a:cubicBezTo>
                  <a:pt x="467" y="6"/>
                  <a:pt x="469" y="7"/>
                  <a:pt x="470" y="6"/>
                </a:cubicBezTo>
                <a:cubicBezTo>
                  <a:pt x="469" y="6"/>
                  <a:pt x="468" y="6"/>
                  <a:pt x="467" y="5"/>
                </a:cubicBezTo>
                <a:close/>
                <a:moveTo>
                  <a:pt x="411" y="0"/>
                </a:moveTo>
                <a:cubicBezTo>
                  <a:pt x="410" y="0"/>
                  <a:pt x="406" y="0"/>
                  <a:pt x="404" y="1"/>
                </a:cubicBezTo>
                <a:cubicBezTo>
                  <a:pt x="407" y="1"/>
                  <a:pt x="411" y="1"/>
                  <a:pt x="414" y="1"/>
                </a:cubicBezTo>
                <a:cubicBezTo>
                  <a:pt x="413" y="1"/>
                  <a:pt x="411" y="1"/>
                  <a:pt x="412" y="1"/>
                </a:cubicBezTo>
                <a:cubicBezTo>
                  <a:pt x="413" y="1"/>
                  <a:pt x="417" y="0"/>
                  <a:pt x="415" y="0"/>
                </a:cubicBezTo>
                <a:cubicBezTo>
                  <a:pt x="415" y="1"/>
                  <a:pt x="413" y="0"/>
                  <a:pt x="411" y="0"/>
                </a:cubicBezTo>
                <a:close/>
                <a:moveTo>
                  <a:pt x="394" y="50"/>
                </a:moveTo>
                <a:cubicBezTo>
                  <a:pt x="394" y="49"/>
                  <a:pt x="401" y="50"/>
                  <a:pt x="399" y="50"/>
                </a:cubicBezTo>
                <a:cubicBezTo>
                  <a:pt x="399" y="49"/>
                  <a:pt x="391" y="49"/>
                  <a:pt x="394" y="50"/>
                </a:cubicBezTo>
                <a:close/>
                <a:moveTo>
                  <a:pt x="388" y="50"/>
                </a:moveTo>
                <a:cubicBezTo>
                  <a:pt x="389" y="50"/>
                  <a:pt x="391" y="51"/>
                  <a:pt x="393" y="50"/>
                </a:cubicBezTo>
                <a:cubicBezTo>
                  <a:pt x="384" y="50"/>
                  <a:pt x="379" y="50"/>
                  <a:pt x="376" y="50"/>
                </a:cubicBezTo>
                <a:cubicBezTo>
                  <a:pt x="379" y="50"/>
                  <a:pt x="373" y="51"/>
                  <a:pt x="376" y="51"/>
                </a:cubicBezTo>
                <a:cubicBezTo>
                  <a:pt x="378" y="50"/>
                  <a:pt x="383" y="51"/>
                  <a:pt x="382" y="50"/>
                </a:cubicBezTo>
                <a:cubicBezTo>
                  <a:pt x="383" y="50"/>
                  <a:pt x="386" y="50"/>
                  <a:pt x="388" y="50"/>
                </a:cubicBezTo>
                <a:close/>
                <a:moveTo>
                  <a:pt x="350" y="7"/>
                </a:moveTo>
                <a:cubicBezTo>
                  <a:pt x="351" y="6"/>
                  <a:pt x="358" y="6"/>
                  <a:pt x="359" y="6"/>
                </a:cubicBezTo>
                <a:cubicBezTo>
                  <a:pt x="355" y="6"/>
                  <a:pt x="351" y="7"/>
                  <a:pt x="349" y="7"/>
                </a:cubicBezTo>
                <a:cubicBezTo>
                  <a:pt x="350" y="7"/>
                  <a:pt x="350" y="7"/>
                  <a:pt x="350" y="7"/>
                </a:cubicBezTo>
                <a:cubicBezTo>
                  <a:pt x="350" y="7"/>
                  <a:pt x="349" y="7"/>
                  <a:pt x="350" y="7"/>
                </a:cubicBezTo>
                <a:close/>
                <a:moveTo>
                  <a:pt x="350" y="8"/>
                </a:moveTo>
                <a:cubicBezTo>
                  <a:pt x="350" y="8"/>
                  <a:pt x="350" y="8"/>
                  <a:pt x="351" y="7"/>
                </a:cubicBezTo>
                <a:cubicBezTo>
                  <a:pt x="348" y="8"/>
                  <a:pt x="348" y="7"/>
                  <a:pt x="347" y="7"/>
                </a:cubicBezTo>
                <a:cubicBezTo>
                  <a:pt x="346" y="8"/>
                  <a:pt x="345" y="8"/>
                  <a:pt x="343" y="8"/>
                </a:cubicBezTo>
                <a:cubicBezTo>
                  <a:pt x="342" y="8"/>
                  <a:pt x="336" y="8"/>
                  <a:pt x="335" y="9"/>
                </a:cubicBezTo>
                <a:cubicBezTo>
                  <a:pt x="336" y="9"/>
                  <a:pt x="337" y="9"/>
                  <a:pt x="337" y="9"/>
                </a:cubicBezTo>
                <a:cubicBezTo>
                  <a:pt x="334" y="10"/>
                  <a:pt x="330" y="9"/>
                  <a:pt x="327" y="11"/>
                </a:cubicBezTo>
                <a:cubicBezTo>
                  <a:pt x="331" y="11"/>
                  <a:pt x="333" y="10"/>
                  <a:pt x="336" y="10"/>
                </a:cubicBezTo>
                <a:cubicBezTo>
                  <a:pt x="336" y="9"/>
                  <a:pt x="337" y="9"/>
                  <a:pt x="339" y="9"/>
                </a:cubicBezTo>
                <a:cubicBezTo>
                  <a:pt x="339" y="9"/>
                  <a:pt x="336" y="9"/>
                  <a:pt x="337" y="10"/>
                </a:cubicBezTo>
                <a:cubicBezTo>
                  <a:pt x="342" y="9"/>
                  <a:pt x="350" y="9"/>
                  <a:pt x="351" y="8"/>
                </a:cubicBezTo>
                <a:cubicBezTo>
                  <a:pt x="350" y="8"/>
                  <a:pt x="350" y="8"/>
                  <a:pt x="350" y="8"/>
                </a:cubicBezTo>
                <a:close/>
                <a:moveTo>
                  <a:pt x="314" y="14"/>
                </a:moveTo>
                <a:cubicBezTo>
                  <a:pt x="315" y="14"/>
                  <a:pt x="322" y="13"/>
                  <a:pt x="320" y="13"/>
                </a:cubicBezTo>
                <a:cubicBezTo>
                  <a:pt x="317" y="14"/>
                  <a:pt x="316" y="13"/>
                  <a:pt x="314" y="14"/>
                </a:cubicBezTo>
                <a:close/>
                <a:moveTo>
                  <a:pt x="241" y="77"/>
                </a:moveTo>
                <a:cubicBezTo>
                  <a:pt x="240" y="77"/>
                  <a:pt x="241" y="75"/>
                  <a:pt x="240" y="76"/>
                </a:cubicBezTo>
                <a:cubicBezTo>
                  <a:pt x="240" y="76"/>
                  <a:pt x="238" y="77"/>
                  <a:pt x="238" y="77"/>
                </a:cubicBezTo>
                <a:cubicBezTo>
                  <a:pt x="238" y="77"/>
                  <a:pt x="238" y="77"/>
                  <a:pt x="237" y="77"/>
                </a:cubicBezTo>
                <a:cubicBezTo>
                  <a:pt x="237" y="78"/>
                  <a:pt x="238" y="77"/>
                  <a:pt x="238" y="77"/>
                </a:cubicBezTo>
                <a:cubicBezTo>
                  <a:pt x="236" y="79"/>
                  <a:pt x="236" y="78"/>
                  <a:pt x="235" y="79"/>
                </a:cubicBezTo>
                <a:cubicBezTo>
                  <a:pt x="236" y="79"/>
                  <a:pt x="240" y="77"/>
                  <a:pt x="241" y="77"/>
                </a:cubicBezTo>
                <a:close/>
                <a:moveTo>
                  <a:pt x="232" y="80"/>
                </a:moveTo>
                <a:cubicBezTo>
                  <a:pt x="232" y="81"/>
                  <a:pt x="233" y="81"/>
                  <a:pt x="228" y="83"/>
                </a:cubicBezTo>
                <a:cubicBezTo>
                  <a:pt x="231" y="83"/>
                  <a:pt x="236" y="79"/>
                  <a:pt x="241" y="77"/>
                </a:cubicBezTo>
                <a:cubicBezTo>
                  <a:pt x="238" y="78"/>
                  <a:pt x="235" y="79"/>
                  <a:pt x="232" y="80"/>
                </a:cubicBezTo>
                <a:close/>
                <a:moveTo>
                  <a:pt x="222" y="84"/>
                </a:moveTo>
                <a:cubicBezTo>
                  <a:pt x="220" y="86"/>
                  <a:pt x="220" y="87"/>
                  <a:pt x="223" y="86"/>
                </a:cubicBezTo>
                <a:cubicBezTo>
                  <a:pt x="221" y="87"/>
                  <a:pt x="219" y="89"/>
                  <a:pt x="217" y="89"/>
                </a:cubicBezTo>
                <a:cubicBezTo>
                  <a:pt x="217" y="88"/>
                  <a:pt x="219" y="88"/>
                  <a:pt x="219" y="87"/>
                </a:cubicBezTo>
                <a:cubicBezTo>
                  <a:pt x="217" y="88"/>
                  <a:pt x="213" y="90"/>
                  <a:pt x="213" y="91"/>
                </a:cubicBezTo>
                <a:cubicBezTo>
                  <a:pt x="218" y="88"/>
                  <a:pt x="214" y="91"/>
                  <a:pt x="215" y="91"/>
                </a:cubicBezTo>
                <a:cubicBezTo>
                  <a:pt x="219" y="89"/>
                  <a:pt x="219" y="89"/>
                  <a:pt x="219" y="89"/>
                </a:cubicBezTo>
                <a:cubicBezTo>
                  <a:pt x="219" y="88"/>
                  <a:pt x="224" y="86"/>
                  <a:pt x="226" y="84"/>
                </a:cubicBezTo>
                <a:cubicBezTo>
                  <a:pt x="222" y="86"/>
                  <a:pt x="223" y="85"/>
                  <a:pt x="222" y="84"/>
                </a:cubicBezTo>
                <a:close/>
                <a:moveTo>
                  <a:pt x="214" y="101"/>
                </a:moveTo>
                <a:cubicBezTo>
                  <a:pt x="214" y="103"/>
                  <a:pt x="210" y="104"/>
                  <a:pt x="207" y="106"/>
                </a:cubicBezTo>
                <a:cubicBezTo>
                  <a:pt x="211" y="104"/>
                  <a:pt x="216" y="101"/>
                  <a:pt x="220" y="99"/>
                </a:cubicBezTo>
                <a:cubicBezTo>
                  <a:pt x="219" y="99"/>
                  <a:pt x="215" y="102"/>
                  <a:pt x="215" y="101"/>
                </a:cubicBezTo>
                <a:cubicBezTo>
                  <a:pt x="219" y="99"/>
                  <a:pt x="223" y="98"/>
                  <a:pt x="226" y="95"/>
                </a:cubicBezTo>
                <a:cubicBezTo>
                  <a:pt x="223" y="97"/>
                  <a:pt x="219" y="98"/>
                  <a:pt x="214" y="101"/>
                </a:cubicBezTo>
                <a:close/>
                <a:moveTo>
                  <a:pt x="211" y="86"/>
                </a:moveTo>
                <a:cubicBezTo>
                  <a:pt x="213" y="83"/>
                  <a:pt x="216" y="83"/>
                  <a:pt x="217" y="81"/>
                </a:cubicBezTo>
                <a:cubicBezTo>
                  <a:pt x="214" y="83"/>
                  <a:pt x="214" y="82"/>
                  <a:pt x="210" y="84"/>
                </a:cubicBezTo>
                <a:cubicBezTo>
                  <a:pt x="210" y="85"/>
                  <a:pt x="208" y="86"/>
                  <a:pt x="211" y="86"/>
                </a:cubicBezTo>
                <a:close/>
                <a:moveTo>
                  <a:pt x="210" y="82"/>
                </a:moveTo>
                <a:cubicBezTo>
                  <a:pt x="211" y="82"/>
                  <a:pt x="207" y="83"/>
                  <a:pt x="208" y="84"/>
                </a:cubicBezTo>
                <a:cubicBezTo>
                  <a:pt x="211" y="83"/>
                  <a:pt x="211" y="82"/>
                  <a:pt x="213" y="80"/>
                </a:cubicBezTo>
                <a:cubicBezTo>
                  <a:pt x="214" y="80"/>
                  <a:pt x="214" y="81"/>
                  <a:pt x="215" y="80"/>
                </a:cubicBezTo>
                <a:cubicBezTo>
                  <a:pt x="216" y="79"/>
                  <a:pt x="212" y="81"/>
                  <a:pt x="210" y="82"/>
                </a:cubicBezTo>
                <a:close/>
                <a:moveTo>
                  <a:pt x="203" y="100"/>
                </a:moveTo>
                <a:cubicBezTo>
                  <a:pt x="201" y="100"/>
                  <a:pt x="199" y="102"/>
                  <a:pt x="199" y="102"/>
                </a:cubicBezTo>
                <a:cubicBezTo>
                  <a:pt x="201" y="100"/>
                  <a:pt x="205" y="97"/>
                  <a:pt x="207" y="96"/>
                </a:cubicBezTo>
                <a:cubicBezTo>
                  <a:pt x="207" y="96"/>
                  <a:pt x="213" y="92"/>
                  <a:pt x="212" y="92"/>
                </a:cubicBezTo>
                <a:cubicBezTo>
                  <a:pt x="211" y="93"/>
                  <a:pt x="207" y="95"/>
                  <a:pt x="207" y="96"/>
                </a:cubicBezTo>
                <a:cubicBezTo>
                  <a:pt x="204" y="97"/>
                  <a:pt x="201" y="100"/>
                  <a:pt x="197" y="101"/>
                </a:cubicBezTo>
                <a:cubicBezTo>
                  <a:pt x="197" y="102"/>
                  <a:pt x="198" y="101"/>
                  <a:pt x="196" y="103"/>
                </a:cubicBezTo>
                <a:cubicBezTo>
                  <a:pt x="192" y="104"/>
                  <a:pt x="183" y="110"/>
                  <a:pt x="180" y="114"/>
                </a:cubicBezTo>
                <a:cubicBezTo>
                  <a:pt x="175" y="115"/>
                  <a:pt x="167" y="123"/>
                  <a:pt x="160" y="128"/>
                </a:cubicBezTo>
                <a:cubicBezTo>
                  <a:pt x="161" y="128"/>
                  <a:pt x="163" y="127"/>
                  <a:pt x="161" y="129"/>
                </a:cubicBezTo>
                <a:cubicBezTo>
                  <a:pt x="164" y="127"/>
                  <a:pt x="163" y="126"/>
                  <a:pt x="165" y="125"/>
                </a:cubicBezTo>
                <a:cubicBezTo>
                  <a:pt x="166" y="125"/>
                  <a:pt x="167" y="124"/>
                  <a:pt x="165" y="127"/>
                </a:cubicBezTo>
                <a:cubicBezTo>
                  <a:pt x="167" y="125"/>
                  <a:pt x="166" y="126"/>
                  <a:pt x="168" y="125"/>
                </a:cubicBezTo>
                <a:cubicBezTo>
                  <a:pt x="168" y="124"/>
                  <a:pt x="169" y="122"/>
                  <a:pt x="167" y="123"/>
                </a:cubicBezTo>
                <a:cubicBezTo>
                  <a:pt x="172" y="119"/>
                  <a:pt x="174" y="119"/>
                  <a:pt x="177" y="116"/>
                </a:cubicBezTo>
                <a:cubicBezTo>
                  <a:pt x="176" y="117"/>
                  <a:pt x="178" y="116"/>
                  <a:pt x="179" y="115"/>
                </a:cubicBezTo>
                <a:cubicBezTo>
                  <a:pt x="179" y="115"/>
                  <a:pt x="178" y="115"/>
                  <a:pt x="179" y="114"/>
                </a:cubicBezTo>
                <a:cubicBezTo>
                  <a:pt x="183" y="113"/>
                  <a:pt x="189" y="107"/>
                  <a:pt x="193" y="105"/>
                </a:cubicBezTo>
                <a:cubicBezTo>
                  <a:pt x="193" y="105"/>
                  <a:pt x="192" y="105"/>
                  <a:pt x="194" y="104"/>
                </a:cubicBezTo>
                <a:cubicBezTo>
                  <a:pt x="193" y="106"/>
                  <a:pt x="196" y="103"/>
                  <a:pt x="198" y="102"/>
                </a:cubicBezTo>
                <a:cubicBezTo>
                  <a:pt x="198" y="103"/>
                  <a:pt x="189" y="108"/>
                  <a:pt x="194" y="106"/>
                </a:cubicBezTo>
                <a:cubicBezTo>
                  <a:pt x="192" y="107"/>
                  <a:pt x="190" y="108"/>
                  <a:pt x="190" y="108"/>
                </a:cubicBezTo>
                <a:cubicBezTo>
                  <a:pt x="194" y="106"/>
                  <a:pt x="190" y="109"/>
                  <a:pt x="189" y="110"/>
                </a:cubicBezTo>
                <a:cubicBezTo>
                  <a:pt x="194" y="107"/>
                  <a:pt x="196" y="106"/>
                  <a:pt x="200" y="103"/>
                </a:cubicBezTo>
                <a:cubicBezTo>
                  <a:pt x="201" y="103"/>
                  <a:pt x="200" y="103"/>
                  <a:pt x="201" y="102"/>
                </a:cubicBezTo>
                <a:cubicBezTo>
                  <a:pt x="202" y="102"/>
                  <a:pt x="205" y="100"/>
                  <a:pt x="205" y="99"/>
                </a:cubicBezTo>
                <a:cubicBezTo>
                  <a:pt x="207" y="98"/>
                  <a:pt x="210" y="96"/>
                  <a:pt x="210" y="97"/>
                </a:cubicBezTo>
                <a:cubicBezTo>
                  <a:pt x="212" y="96"/>
                  <a:pt x="213" y="96"/>
                  <a:pt x="213" y="95"/>
                </a:cubicBezTo>
                <a:cubicBezTo>
                  <a:pt x="211" y="96"/>
                  <a:pt x="215" y="94"/>
                  <a:pt x="214" y="94"/>
                </a:cubicBezTo>
                <a:cubicBezTo>
                  <a:pt x="213" y="95"/>
                  <a:pt x="213" y="94"/>
                  <a:pt x="211" y="95"/>
                </a:cubicBezTo>
                <a:cubicBezTo>
                  <a:pt x="211" y="96"/>
                  <a:pt x="207" y="98"/>
                  <a:pt x="205" y="99"/>
                </a:cubicBezTo>
                <a:cubicBezTo>
                  <a:pt x="205" y="99"/>
                  <a:pt x="202" y="101"/>
                  <a:pt x="202" y="101"/>
                </a:cubicBezTo>
                <a:cubicBezTo>
                  <a:pt x="200" y="101"/>
                  <a:pt x="205" y="99"/>
                  <a:pt x="203" y="100"/>
                </a:cubicBezTo>
                <a:close/>
                <a:moveTo>
                  <a:pt x="201" y="82"/>
                </a:moveTo>
                <a:cubicBezTo>
                  <a:pt x="203" y="81"/>
                  <a:pt x="203" y="82"/>
                  <a:pt x="205" y="81"/>
                </a:cubicBezTo>
                <a:cubicBezTo>
                  <a:pt x="205" y="80"/>
                  <a:pt x="206" y="80"/>
                  <a:pt x="205" y="79"/>
                </a:cubicBezTo>
                <a:cubicBezTo>
                  <a:pt x="203" y="80"/>
                  <a:pt x="202" y="81"/>
                  <a:pt x="201" y="82"/>
                </a:cubicBezTo>
                <a:close/>
                <a:moveTo>
                  <a:pt x="192" y="82"/>
                </a:moveTo>
                <a:cubicBezTo>
                  <a:pt x="192" y="81"/>
                  <a:pt x="194" y="80"/>
                  <a:pt x="194" y="80"/>
                </a:cubicBezTo>
                <a:cubicBezTo>
                  <a:pt x="192" y="80"/>
                  <a:pt x="187" y="84"/>
                  <a:pt x="190" y="83"/>
                </a:cubicBezTo>
                <a:cubicBezTo>
                  <a:pt x="192" y="81"/>
                  <a:pt x="191" y="83"/>
                  <a:pt x="191" y="83"/>
                </a:cubicBezTo>
                <a:cubicBezTo>
                  <a:pt x="192" y="83"/>
                  <a:pt x="194" y="82"/>
                  <a:pt x="195" y="81"/>
                </a:cubicBezTo>
                <a:cubicBezTo>
                  <a:pt x="195" y="81"/>
                  <a:pt x="195" y="82"/>
                  <a:pt x="195" y="82"/>
                </a:cubicBezTo>
                <a:cubicBezTo>
                  <a:pt x="197" y="81"/>
                  <a:pt x="197" y="81"/>
                  <a:pt x="197" y="81"/>
                </a:cubicBezTo>
                <a:cubicBezTo>
                  <a:pt x="197" y="80"/>
                  <a:pt x="197" y="80"/>
                  <a:pt x="197" y="80"/>
                </a:cubicBezTo>
                <a:cubicBezTo>
                  <a:pt x="194" y="82"/>
                  <a:pt x="193" y="81"/>
                  <a:pt x="192" y="82"/>
                </a:cubicBezTo>
                <a:close/>
                <a:moveTo>
                  <a:pt x="196" y="84"/>
                </a:moveTo>
                <a:cubicBezTo>
                  <a:pt x="193" y="86"/>
                  <a:pt x="192" y="85"/>
                  <a:pt x="192" y="85"/>
                </a:cubicBezTo>
                <a:cubicBezTo>
                  <a:pt x="192" y="86"/>
                  <a:pt x="191" y="86"/>
                  <a:pt x="191" y="87"/>
                </a:cubicBezTo>
                <a:cubicBezTo>
                  <a:pt x="193" y="86"/>
                  <a:pt x="192" y="87"/>
                  <a:pt x="194" y="87"/>
                </a:cubicBezTo>
                <a:cubicBezTo>
                  <a:pt x="196" y="86"/>
                  <a:pt x="195" y="86"/>
                  <a:pt x="197" y="85"/>
                </a:cubicBezTo>
                <a:cubicBezTo>
                  <a:pt x="198" y="84"/>
                  <a:pt x="195" y="86"/>
                  <a:pt x="195" y="85"/>
                </a:cubicBezTo>
                <a:cubicBezTo>
                  <a:pt x="195" y="85"/>
                  <a:pt x="198" y="82"/>
                  <a:pt x="196" y="83"/>
                </a:cubicBezTo>
                <a:cubicBezTo>
                  <a:pt x="196" y="83"/>
                  <a:pt x="196" y="83"/>
                  <a:pt x="196" y="84"/>
                </a:cubicBezTo>
                <a:close/>
                <a:moveTo>
                  <a:pt x="187" y="104"/>
                </a:moveTo>
                <a:cubicBezTo>
                  <a:pt x="188" y="103"/>
                  <a:pt x="188" y="105"/>
                  <a:pt x="192" y="103"/>
                </a:cubicBezTo>
                <a:cubicBezTo>
                  <a:pt x="192" y="102"/>
                  <a:pt x="190" y="103"/>
                  <a:pt x="190" y="103"/>
                </a:cubicBezTo>
                <a:cubicBezTo>
                  <a:pt x="192" y="102"/>
                  <a:pt x="193" y="101"/>
                  <a:pt x="194" y="99"/>
                </a:cubicBezTo>
                <a:cubicBezTo>
                  <a:pt x="195" y="100"/>
                  <a:pt x="195" y="100"/>
                  <a:pt x="195" y="100"/>
                </a:cubicBezTo>
                <a:cubicBezTo>
                  <a:pt x="197" y="98"/>
                  <a:pt x="198" y="98"/>
                  <a:pt x="201" y="96"/>
                </a:cubicBezTo>
                <a:cubicBezTo>
                  <a:pt x="200" y="96"/>
                  <a:pt x="201" y="94"/>
                  <a:pt x="200" y="95"/>
                </a:cubicBezTo>
                <a:cubicBezTo>
                  <a:pt x="196" y="97"/>
                  <a:pt x="191" y="101"/>
                  <a:pt x="189" y="102"/>
                </a:cubicBezTo>
                <a:cubicBezTo>
                  <a:pt x="188" y="103"/>
                  <a:pt x="191" y="102"/>
                  <a:pt x="188" y="103"/>
                </a:cubicBezTo>
                <a:cubicBezTo>
                  <a:pt x="188" y="103"/>
                  <a:pt x="187" y="104"/>
                  <a:pt x="187" y="104"/>
                </a:cubicBezTo>
                <a:close/>
                <a:moveTo>
                  <a:pt x="198" y="107"/>
                </a:moveTo>
                <a:cubicBezTo>
                  <a:pt x="200" y="106"/>
                  <a:pt x="201" y="105"/>
                  <a:pt x="202" y="105"/>
                </a:cubicBezTo>
                <a:cubicBezTo>
                  <a:pt x="201" y="105"/>
                  <a:pt x="199" y="106"/>
                  <a:pt x="198" y="106"/>
                </a:cubicBezTo>
                <a:cubicBezTo>
                  <a:pt x="200" y="105"/>
                  <a:pt x="200" y="104"/>
                  <a:pt x="202" y="103"/>
                </a:cubicBezTo>
                <a:cubicBezTo>
                  <a:pt x="201" y="104"/>
                  <a:pt x="203" y="102"/>
                  <a:pt x="205" y="102"/>
                </a:cubicBezTo>
                <a:cubicBezTo>
                  <a:pt x="204" y="101"/>
                  <a:pt x="200" y="104"/>
                  <a:pt x="197" y="105"/>
                </a:cubicBezTo>
                <a:cubicBezTo>
                  <a:pt x="199" y="105"/>
                  <a:pt x="196" y="108"/>
                  <a:pt x="198" y="107"/>
                </a:cubicBezTo>
                <a:close/>
                <a:moveTo>
                  <a:pt x="186" y="99"/>
                </a:moveTo>
                <a:cubicBezTo>
                  <a:pt x="183" y="101"/>
                  <a:pt x="173" y="108"/>
                  <a:pt x="182" y="103"/>
                </a:cubicBezTo>
                <a:cubicBezTo>
                  <a:pt x="183" y="101"/>
                  <a:pt x="187" y="99"/>
                  <a:pt x="183" y="102"/>
                </a:cubicBezTo>
                <a:cubicBezTo>
                  <a:pt x="186" y="100"/>
                  <a:pt x="187" y="99"/>
                  <a:pt x="188" y="98"/>
                </a:cubicBezTo>
                <a:cubicBezTo>
                  <a:pt x="187" y="99"/>
                  <a:pt x="187" y="98"/>
                  <a:pt x="186" y="99"/>
                </a:cubicBezTo>
                <a:close/>
                <a:moveTo>
                  <a:pt x="169" y="89"/>
                </a:moveTo>
                <a:cubicBezTo>
                  <a:pt x="171" y="89"/>
                  <a:pt x="178" y="83"/>
                  <a:pt x="174" y="85"/>
                </a:cubicBezTo>
                <a:cubicBezTo>
                  <a:pt x="174" y="86"/>
                  <a:pt x="171" y="88"/>
                  <a:pt x="169" y="89"/>
                </a:cubicBezTo>
                <a:close/>
                <a:moveTo>
                  <a:pt x="182" y="123"/>
                </a:moveTo>
                <a:cubicBezTo>
                  <a:pt x="187" y="120"/>
                  <a:pt x="189" y="118"/>
                  <a:pt x="195" y="114"/>
                </a:cubicBezTo>
                <a:cubicBezTo>
                  <a:pt x="194" y="115"/>
                  <a:pt x="195" y="113"/>
                  <a:pt x="194" y="114"/>
                </a:cubicBezTo>
                <a:cubicBezTo>
                  <a:pt x="194" y="114"/>
                  <a:pt x="191" y="117"/>
                  <a:pt x="189" y="118"/>
                </a:cubicBezTo>
                <a:cubicBezTo>
                  <a:pt x="190" y="117"/>
                  <a:pt x="190" y="117"/>
                  <a:pt x="190" y="116"/>
                </a:cubicBezTo>
                <a:cubicBezTo>
                  <a:pt x="188" y="118"/>
                  <a:pt x="186" y="120"/>
                  <a:pt x="183" y="121"/>
                </a:cubicBezTo>
                <a:cubicBezTo>
                  <a:pt x="184" y="121"/>
                  <a:pt x="184" y="120"/>
                  <a:pt x="183" y="121"/>
                </a:cubicBezTo>
                <a:cubicBezTo>
                  <a:pt x="183" y="121"/>
                  <a:pt x="182" y="123"/>
                  <a:pt x="182" y="123"/>
                </a:cubicBezTo>
                <a:close/>
                <a:moveTo>
                  <a:pt x="178" y="110"/>
                </a:moveTo>
                <a:cubicBezTo>
                  <a:pt x="180" y="109"/>
                  <a:pt x="180" y="109"/>
                  <a:pt x="180" y="109"/>
                </a:cubicBezTo>
                <a:cubicBezTo>
                  <a:pt x="178" y="111"/>
                  <a:pt x="182" y="109"/>
                  <a:pt x="182" y="108"/>
                </a:cubicBezTo>
                <a:cubicBezTo>
                  <a:pt x="181" y="108"/>
                  <a:pt x="179" y="109"/>
                  <a:pt x="178" y="110"/>
                </a:cubicBezTo>
                <a:close/>
                <a:moveTo>
                  <a:pt x="178" y="117"/>
                </a:moveTo>
                <a:cubicBezTo>
                  <a:pt x="177" y="118"/>
                  <a:pt x="176" y="118"/>
                  <a:pt x="175" y="120"/>
                </a:cubicBezTo>
                <a:cubicBezTo>
                  <a:pt x="176" y="119"/>
                  <a:pt x="176" y="119"/>
                  <a:pt x="177" y="119"/>
                </a:cubicBezTo>
                <a:cubicBezTo>
                  <a:pt x="178" y="118"/>
                  <a:pt x="182" y="116"/>
                  <a:pt x="181" y="116"/>
                </a:cubicBezTo>
                <a:cubicBezTo>
                  <a:pt x="177" y="119"/>
                  <a:pt x="181" y="114"/>
                  <a:pt x="178" y="117"/>
                </a:cubicBezTo>
                <a:close/>
                <a:moveTo>
                  <a:pt x="164" y="122"/>
                </a:moveTo>
                <a:cubicBezTo>
                  <a:pt x="169" y="117"/>
                  <a:pt x="172" y="117"/>
                  <a:pt x="177" y="112"/>
                </a:cubicBezTo>
                <a:cubicBezTo>
                  <a:pt x="174" y="114"/>
                  <a:pt x="176" y="112"/>
                  <a:pt x="174" y="113"/>
                </a:cubicBezTo>
                <a:cubicBezTo>
                  <a:pt x="171" y="116"/>
                  <a:pt x="165" y="119"/>
                  <a:pt x="164" y="122"/>
                </a:cubicBezTo>
                <a:close/>
                <a:moveTo>
                  <a:pt x="159" y="111"/>
                </a:moveTo>
                <a:cubicBezTo>
                  <a:pt x="160" y="110"/>
                  <a:pt x="164" y="108"/>
                  <a:pt x="164" y="107"/>
                </a:cubicBezTo>
                <a:cubicBezTo>
                  <a:pt x="162" y="109"/>
                  <a:pt x="158" y="112"/>
                  <a:pt x="159" y="111"/>
                </a:cubicBezTo>
                <a:close/>
                <a:moveTo>
                  <a:pt x="170" y="123"/>
                </a:moveTo>
                <a:cubicBezTo>
                  <a:pt x="172" y="122"/>
                  <a:pt x="175" y="118"/>
                  <a:pt x="172" y="121"/>
                </a:cubicBezTo>
                <a:cubicBezTo>
                  <a:pt x="172" y="121"/>
                  <a:pt x="173" y="120"/>
                  <a:pt x="173" y="121"/>
                </a:cubicBezTo>
                <a:cubicBezTo>
                  <a:pt x="172" y="121"/>
                  <a:pt x="168" y="124"/>
                  <a:pt x="170" y="123"/>
                </a:cubicBezTo>
                <a:close/>
                <a:moveTo>
                  <a:pt x="125" y="113"/>
                </a:moveTo>
                <a:cubicBezTo>
                  <a:pt x="123" y="114"/>
                  <a:pt x="123" y="114"/>
                  <a:pt x="123" y="114"/>
                </a:cubicBezTo>
                <a:cubicBezTo>
                  <a:pt x="123" y="115"/>
                  <a:pt x="122" y="116"/>
                  <a:pt x="123" y="115"/>
                </a:cubicBezTo>
                <a:cubicBezTo>
                  <a:pt x="125" y="114"/>
                  <a:pt x="125" y="114"/>
                  <a:pt x="125" y="113"/>
                </a:cubicBezTo>
                <a:cubicBezTo>
                  <a:pt x="125" y="113"/>
                  <a:pt x="126" y="113"/>
                  <a:pt x="126" y="112"/>
                </a:cubicBezTo>
                <a:cubicBezTo>
                  <a:pt x="125" y="113"/>
                  <a:pt x="125" y="113"/>
                  <a:pt x="125" y="113"/>
                </a:cubicBezTo>
                <a:close/>
                <a:moveTo>
                  <a:pt x="107" y="138"/>
                </a:moveTo>
                <a:cubicBezTo>
                  <a:pt x="106" y="138"/>
                  <a:pt x="106" y="138"/>
                  <a:pt x="105" y="139"/>
                </a:cubicBezTo>
                <a:cubicBezTo>
                  <a:pt x="105" y="138"/>
                  <a:pt x="107" y="136"/>
                  <a:pt x="107" y="136"/>
                </a:cubicBezTo>
                <a:cubicBezTo>
                  <a:pt x="105" y="138"/>
                  <a:pt x="104" y="139"/>
                  <a:pt x="102" y="141"/>
                </a:cubicBezTo>
                <a:cubicBezTo>
                  <a:pt x="104" y="141"/>
                  <a:pt x="106" y="140"/>
                  <a:pt x="108" y="139"/>
                </a:cubicBezTo>
                <a:cubicBezTo>
                  <a:pt x="104" y="141"/>
                  <a:pt x="110" y="134"/>
                  <a:pt x="107" y="137"/>
                </a:cubicBezTo>
                <a:cubicBezTo>
                  <a:pt x="107" y="137"/>
                  <a:pt x="107" y="137"/>
                  <a:pt x="107" y="138"/>
                </a:cubicBezTo>
                <a:close/>
                <a:moveTo>
                  <a:pt x="128" y="160"/>
                </a:moveTo>
                <a:cubicBezTo>
                  <a:pt x="127" y="161"/>
                  <a:pt x="126" y="161"/>
                  <a:pt x="126" y="161"/>
                </a:cubicBezTo>
                <a:cubicBezTo>
                  <a:pt x="125" y="163"/>
                  <a:pt x="128" y="160"/>
                  <a:pt x="128" y="162"/>
                </a:cubicBezTo>
                <a:cubicBezTo>
                  <a:pt x="127" y="163"/>
                  <a:pt x="126" y="164"/>
                  <a:pt x="125" y="164"/>
                </a:cubicBezTo>
                <a:cubicBezTo>
                  <a:pt x="125" y="165"/>
                  <a:pt x="128" y="162"/>
                  <a:pt x="129" y="162"/>
                </a:cubicBezTo>
                <a:cubicBezTo>
                  <a:pt x="128" y="162"/>
                  <a:pt x="127" y="163"/>
                  <a:pt x="127" y="163"/>
                </a:cubicBezTo>
                <a:cubicBezTo>
                  <a:pt x="131" y="161"/>
                  <a:pt x="128" y="162"/>
                  <a:pt x="131" y="159"/>
                </a:cubicBezTo>
                <a:cubicBezTo>
                  <a:pt x="130" y="159"/>
                  <a:pt x="127" y="162"/>
                  <a:pt x="128" y="160"/>
                </a:cubicBezTo>
                <a:close/>
                <a:moveTo>
                  <a:pt x="95" y="148"/>
                </a:moveTo>
                <a:cubicBezTo>
                  <a:pt x="95" y="148"/>
                  <a:pt x="96" y="148"/>
                  <a:pt x="96" y="148"/>
                </a:cubicBezTo>
                <a:cubicBezTo>
                  <a:pt x="94" y="149"/>
                  <a:pt x="94" y="150"/>
                  <a:pt x="94" y="150"/>
                </a:cubicBezTo>
                <a:cubicBezTo>
                  <a:pt x="98" y="147"/>
                  <a:pt x="99" y="145"/>
                  <a:pt x="101" y="143"/>
                </a:cubicBezTo>
                <a:cubicBezTo>
                  <a:pt x="102" y="143"/>
                  <a:pt x="102" y="142"/>
                  <a:pt x="102" y="141"/>
                </a:cubicBezTo>
                <a:cubicBezTo>
                  <a:pt x="100" y="143"/>
                  <a:pt x="97" y="147"/>
                  <a:pt x="95" y="148"/>
                </a:cubicBezTo>
                <a:close/>
                <a:moveTo>
                  <a:pt x="110" y="169"/>
                </a:moveTo>
                <a:cubicBezTo>
                  <a:pt x="110" y="169"/>
                  <a:pt x="111" y="169"/>
                  <a:pt x="111" y="169"/>
                </a:cubicBezTo>
                <a:cubicBezTo>
                  <a:pt x="110" y="170"/>
                  <a:pt x="109" y="171"/>
                  <a:pt x="109" y="171"/>
                </a:cubicBezTo>
                <a:cubicBezTo>
                  <a:pt x="112" y="168"/>
                  <a:pt x="113" y="166"/>
                  <a:pt x="114" y="165"/>
                </a:cubicBezTo>
                <a:cubicBezTo>
                  <a:pt x="114" y="165"/>
                  <a:pt x="114" y="165"/>
                  <a:pt x="114" y="165"/>
                </a:cubicBezTo>
                <a:cubicBezTo>
                  <a:pt x="112" y="167"/>
                  <a:pt x="111" y="169"/>
                  <a:pt x="110" y="169"/>
                </a:cubicBezTo>
                <a:close/>
                <a:moveTo>
                  <a:pt x="91" y="154"/>
                </a:moveTo>
                <a:cubicBezTo>
                  <a:pt x="92" y="155"/>
                  <a:pt x="92" y="155"/>
                  <a:pt x="92" y="155"/>
                </a:cubicBezTo>
                <a:cubicBezTo>
                  <a:pt x="94" y="153"/>
                  <a:pt x="93" y="153"/>
                  <a:pt x="94" y="152"/>
                </a:cubicBezTo>
                <a:cubicBezTo>
                  <a:pt x="94" y="152"/>
                  <a:pt x="94" y="152"/>
                  <a:pt x="95" y="152"/>
                </a:cubicBezTo>
                <a:cubicBezTo>
                  <a:pt x="95" y="152"/>
                  <a:pt x="95" y="151"/>
                  <a:pt x="95" y="151"/>
                </a:cubicBezTo>
                <a:cubicBezTo>
                  <a:pt x="94" y="151"/>
                  <a:pt x="94" y="151"/>
                  <a:pt x="94" y="152"/>
                </a:cubicBezTo>
                <a:cubicBezTo>
                  <a:pt x="93" y="153"/>
                  <a:pt x="93" y="153"/>
                  <a:pt x="91" y="154"/>
                </a:cubicBezTo>
                <a:close/>
                <a:moveTo>
                  <a:pt x="92" y="162"/>
                </a:moveTo>
                <a:cubicBezTo>
                  <a:pt x="94" y="162"/>
                  <a:pt x="97" y="157"/>
                  <a:pt x="99" y="155"/>
                </a:cubicBezTo>
                <a:cubicBezTo>
                  <a:pt x="96" y="158"/>
                  <a:pt x="95" y="159"/>
                  <a:pt x="92" y="162"/>
                </a:cubicBezTo>
                <a:close/>
                <a:moveTo>
                  <a:pt x="88" y="161"/>
                </a:moveTo>
                <a:cubicBezTo>
                  <a:pt x="87" y="161"/>
                  <a:pt x="87" y="161"/>
                  <a:pt x="87" y="161"/>
                </a:cubicBezTo>
                <a:cubicBezTo>
                  <a:pt x="87" y="161"/>
                  <a:pt x="87" y="161"/>
                  <a:pt x="87" y="161"/>
                </a:cubicBezTo>
                <a:cubicBezTo>
                  <a:pt x="87" y="162"/>
                  <a:pt x="87" y="162"/>
                  <a:pt x="87" y="162"/>
                </a:cubicBezTo>
                <a:cubicBezTo>
                  <a:pt x="87" y="162"/>
                  <a:pt x="87" y="162"/>
                  <a:pt x="87" y="162"/>
                </a:cubicBezTo>
                <a:cubicBezTo>
                  <a:pt x="87" y="162"/>
                  <a:pt x="87" y="163"/>
                  <a:pt x="87" y="163"/>
                </a:cubicBezTo>
                <a:cubicBezTo>
                  <a:pt x="87" y="163"/>
                  <a:pt x="87" y="162"/>
                  <a:pt x="87" y="162"/>
                </a:cubicBezTo>
                <a:cubicBezTo>
                  <a:pt x="87" y="162"/>
                  <a:pt x="87" y="162"/>
                  <a:pt x="88" y="161"/>
                </a:cubicBezTo>
                <a:cubicBezTo>
                  <a:pt x="89" y="160"/>
                  <a:pt x="89" y="160"/>
                  <a:pt x="89" y="160"/>
                </a:cubicBezTo>
                <a:cubicBezTo>
                  <a:pt x="88" y="162"/>
                  <a:pt x="90" y="159"/>
                  <a:pt x="91" y="158"/>
                </a:cubicBezTo>
                <a:cubicBezTo>
                  <a:pt x="91" y="157"/>
                  <a:pt x="93" y="157"/>
                  <a:pt x="94" y="156"/>
                </a:cubicBezTo>
                <a:cubicBezTo>
                  <a:pt x="92" y="156"/>
                  <a:pt x="90" y="158"/>
                  <a:pt x="88" y="161"/>
                </a:cubicBezTo>
                <a:close/>
                <a:moveTo>
                  <a:pt x="106" y="176"/>
                </a:moveTo>
                <a:cubicBezTo>
                  <a:pt x="106" y="177"/>
                  <a:pt x="105" y="177"/>
                  <a:pt x="105" y="178"/>
                </a:cubicBezTo>
                <a:cubicBezTo>
                  <a:pt x="104" y="178"/>
                  <a:pt x="104" y="178"/>
                  <a:pt x="104" y="178"/>
                </a:cubicBezTo>
                <a:cubicBezTo>
                  <a:pt x="104" y="179"/>
                  <a:pt x="103" y="179"/>
                  <a:pt x="103" y="180"/>
                </a:cubicBezTo>
                <a:cubicBezTo>
                  <a:pt x="104" y="179"/>
                  <a:pt x="104" y="180"/>
                  <a:pt x="104" y="179"/>
                </a:cubicBezTo>
                <a:cubicBezTo>
                  <a:pt x="105" y="179"/>
                  <a:pt x="105" y="180"/>
                  <a:pt x="106" y="179"/>
                </a:cubicBezTo>
                <a:cubicBezTo>
                  <a:pt x="105" y="179"/>
                  <a:pt x="105" y="179"/>
                  <a:pt x="105" y="179"/>
                </a:cubicBezTo>
                <a:cubicBezTo>
                  <a:pt x="105" y="178"/>
                  <a:pt x="105" y="179"/>
                  <a:pt x="106" y="178"/>
                </a:cubicBezTo>
                <a:cubicBezTo>
                  <a:pt x="105" y="179"/>
                  <a:pt x="108" y="175"/>
                  <a:pt x="108" y="175"/>
                </a:cubicBezTo>
                <a:cubicBezTo>
                  <a:pt x="108" y="175"/>
                  <a:pt x="108" y="175"/>
                  <a:pt x="109" y="175"/>
                </a:cubicBezTo>
                <a:cubicBezTo>
                  <a:pt x="108" y="175"/>
                  <a:pt x="107" y="175"/>
                  <a:pt x="106" y="176"/>
                </a:cubicBezTo>
                <a:close/>
                <a:moveTo>
                  <a:pt x="109" y="180"/>
                </a:moveTo>
                <a:cubicBezTo>
                  <a:pt x="108" y="180"/>
                  <a:pt x="108" y="180"/>
                  <a:pt x="108" y="180"/>
                </a:cubicBezTo>
                <a:cubicBezTo>
                  <a:pt x="108" y="181"/>
                  <a:pt x="108" y="181"/>
                  <a:pt x="108" y="181"/>
                </a:cubicBezTo>
                <a:cubicBezTo>
                  <a:pt x="107" y="181"/>
                  <a:pt x="107" y="181"/>
                  <a:pt x="107" y="181"/>
                </a:cubicBezTo>
                <a:cubicBezTo>
                  <a:pt x="107" y="181"/>
                  <a:pt x="107" y="181"/>
                  <a:pt x="107" y="181"/>
                </a:cubicBezTo>
                <a:cubicBezTo>
                  <a:pt x="106" y="182"/>
                  <a:pt x="106" y="183"/>
                  <a:pt x="105" y="184"/>
                </a:cubicBezTo>
                <a:cubicBezTo>
                  <a:pt x="106" y="184"/>
                  <a:pt x="107" y="183"/>
                  <a:pt x="107" y="182"/>
                </a:cubicBezTo>
                <a:cubicBezTo>
                  <a:pt x="108" y="182"/>
                  <a:pt x="108" y="182"/>
                  <a:pt x="108" y="182"/>
                </a:cubicBezTo>
                <a:cubicBezTo>
                  <a:pt x="108" y="182"/>
                  <a:pt x="108" y="182"/>
                  <a:pt x="110" y="180"/>
                </a:cubicBezTo>
                <a:cubicBezTo>
                  <a:pt x="110" y="180"/>
                  <a:pt x="109" y="180"/>
                  <a:pt x="109" y="180"/>
                </a:cubicBezTo>
                <a:close/>
                <a:moveTo>
                  <a:pt x="88" y="171"/>
                </a:moveTo>
                <a:cubicBezTo>
                  <a:pt x="89" y="170"/>
                  <a:pt x="88" y="170"/>
                  <a:pt x="88" y="170"/>
                </a:cubicBezTo>
                <a:cubicBezTo>
                  <a:pt x="89" y="171"/>
                  <a:pt x="90" y="169"/>
                  <a:pt x="90" y="169"/>
                </a:cubicBezTo>
                <a:cubicBezTo>
                  <a:pt x="90" y="169"/>
                  <a:pt x="90" y="168"/>
                  <a:pt x="89" y="169"/>
                </a:cubicBezTo>
                <a:cubicBezTo>
                  <a:pt x="89" y="169"/>
                  <a:pt x="88" y="170"/>
                  <a:pt x="88" y="171"/>
                </a:cubicBezTo>
                <a:close/>
                <a:moveTo>
                  <a:pt x="98" y="180"/>
                </a:moveTo>
                <a:cubicBezTo>
                  <a:pt x="99" y="179"/>
                  <a:pt x="99" y="180"/>
                  <a:pt x="100" y="180"/>
                </a:cubicBezTo>
                <a:cubicBezTo>
                  <a:pt x="99" y="179"/>
                  <a:pt x="98" y="179"/>
                  <a:pt x="98" y="180"/>
                </a:cubicBezTo>
                <a:close/>
                <a:moveTo>
                  <a:pt x="102" y="183"/>
                </a:moveTo>
                <a:cubicBezTo>
                  <a:pt x="102" y="182"/>
                  <a:pt x="101" y="182"/>
                  <a:pt x="102" y="182"/>
                </a:cubicBezTo>
                <a:cubicBezTo>
                  <a:pt x="102" y="182"/>
                  <a:pt x="102" y="183"/>
                  <a:pt x="102" y="182"/>
                </a:cubicBezTo>
                <a:cubicBezTo>
                  <a:pt x="102" y="182"/>
                  <a:pt x="101" y="182"/>
                  <a:pt x="101" y="182"/>
                </a:cubicBezTo>
                <a:cubicBezTo>
                  <a:pt x="102" y="182"/>
                  <a:pt x="101" y="183"/>
                  <a:pt x="102" y="183"/>
                </a:cubicBezTo>
                <a:close/>
                <a:moveTo>
                  <a:pt x="102" y="191"/>
                </a:moveTo>
                <a:cubicBezTo>
                  <a:pt x="102" y="191"/>
                  <a:pt x="104" y="189"/>
                  <a:pt x="104" y="188"/>
                </a:cubicBezTo>
                <a:cubicBezTo>
                  <a:pt x="103" y="187"/>
                  <a:pt x="103" y="186"/>
                  <a:pt x="102" y="187"/>
                </a:cubicBezTo>
                <a:cubicBezTo>
                  <a:pt x="104" y="188"/>
                  <a:pt x="101" y="190"/>
                  <a:pt x="102" y="191"/>
                </a:cubicBezTo>
                <a:close/>
                <a:moveTo>
                  <a:pt x="100" y="187"/>
                </a:moveTo>
                <a:cubicBezTo>
                  <a:pt x="100" y="187"/>
                  <a:pt x="99" y="187"/>
                  <a:pt x="100" y="187"/>
                </a:cubicBezTo>
                <a:cubicBezTo>
                  <a:pt x="100" y="187"/>
                  <a:pt x="101" y="187"/>
                  <a:pt x="101" y="187"/>
                </a:cubicBezTo>
                <a:cubicBezTo>
                  <a:pt x="100" y="187"/>
                  <a:pt x="100" y="187"/>
                  <a:pt x="100" y="187"/>
                </a:cubicBezTo>
                <a:close/>
                <a:moveTo>
                  <a:pt x="99" y="192"/>
                </a:moveTo>
                <a:cubicBezTo>
                  <a:pt x="97" y="193"/>
                  <a:pt x="94" y="197"/>
                  <a:pt x="94" y="198"/>
                </a:cubicBezTo>
                <a:cubicBezTo>
                  <a:pt x="95" y="197"/>
                  <a:pt x="96" y="196"/>
                  <a:pt x="97" y="194"/>
                </a:cubicBezTo>
                <a:cubicBezTo>
                  <a:pt x="97" y="195"/>
                  <a:pt x="97" y="195"/>
                  <a:pt x="97" y="194"/>
                </a:cubicBezTo>
                <a:cubicBezTo>
                  <a:pt x="98" y="192"/>
                  <a:pt x="101" y="192"/>
                  <a:pt x="102" y="189"/>
                </a:cubicBezTo>
                <a:cubicBezTo>
                  <a:pt x="101" y="189"/>
                  <a:pt x="101" y="190"/>
                  <a:pt x="101" y="190"/>
                </a:cubicBezTo>
                <a:cubicBezTo>
                  <a:pt x="100" y="189"/>
                  <a:pt x="102" y="189"/>
                  <a:pt x="102" y="188"/>
                </a:cubicBezTo>
                <a:cubicBezTo>
                  <a:pt x="100" y="189"/>
                  <a:pt x="100" y="191"/>
                  <a:pt x="98" y="191"/>
                </a:cubicBezTo>
                <a:cubicBezTo>
                  <a:pt x="99" y="191"/>
                  <a:pt x="99" y="192"/>
                  <a:pt x="99" y="192"/>
                </a:cubicBezTo>
                <a:close/>
                <a:moveTo>
                  <a:pt x="95" y="191"/>
                </a:moveTo>
                <a:cubicBezTo>
                  <a:pt x="96" y="191"/>
                  <a:pt x="95" y="192"/>
                  <a:pt x="96" y="192"/>
                </a:cubicBezTo>
                <a:cubicBezTo>
                  <a:pt x="96" y="191"/>
                  <a:pt x="98" y="191"/>
                  <a:pt x="97" y="190"/>
                </a:cubicBezTo>
                <a:cubicBezTo>
                  <a:pt x="98" y="190"/>
                  <a:pt x="98" y="189"/>
                  <a:pt x="98" y="189"/>
                </a:cubicBezTo>
                <a:cubicBezTo>
                  <a:pt x="98" y="189"/>
                  <a:pt x="97" y="189"/>
                  <a:pt x="98" y="189"/>
                </a:cubicBezTo>
                <a:cubicBezTo>
                  <a:pt x="98" y="189"/>
                  <a:pt x="99" y="189"/>
                  <a:pt x="100" y="188"/>
                </a:cubicBezTo>
                <a:cubicBezTo>
                  <a:pt x="99" y="187"/>
                  <a:pt x="99" y="187"/>
                  <a:pt x="99" y="187"/>
                </a:cubicBezTo>
                <a:cubicBezTo>
                  <a:pt x="98" y="187"/>
                  <a:pt x="99" y="188"/>
                  <a:pt x="98" y="188"/>
                </a:cubicBezTo>
                <a:cubicBezTo>
                  <a:pt x="98" y="187"/>
                  <a:pt x="96" y="189"/>
                  <a:pt x="97" y="190"/>
                </a:cubicBezTo>
                <a:cubicBezTo>
                  <a:pt x="96" y="190"/>
                  <a:pt x="96" y="190"/>
                  <a:pt x="96" y="190"/>
                </a:cubicBezTo>
                <a:cubicBezTo>
                  <a:pt x="96" y="190"/>
                  <a:pt x="97" y="190"/>
                  <a:pt x="96" y="191"/>
                </a:cubicBezTo>
                <a:cubicBezTo>
                  <a:pt x="96" y="190"/>
                  <a:pt x="96" y="190"/>
                  <a:pt x="96" y="190"/>
                </a:cubicBezTo>
                <a:cubicBezTo>
                  <a:pt x="96" y="191"/>
                  <a:pt x="96" y="191"/>
                  <a:pt x="95" y="191"/>
                </a:cubicBezTo>
                <a:close/>
                <a:moveTo>
                  <a:pt x="85" y="191"/>
                </a:moveTo>
                <a:cubicBezTo>
                  <a:pt x="85" y="194"/>
                  <a:pt x="82" y="195"/>
                  <a:pt x="81" y="197"/>
                </a:cubicBezTo>
                <a:cubicBezTo>
                  <a:pt x="82" y="198"/>
                  <a:pt x="82" y="197"/>
                  <a:pt x="82" y="197"/>
                </a:cubicBezTo>
                <a:cubicBezTo>
                  <a:pt x="84" y="195"/>
                  <a:pt x="85" y="193"/>
                  <a:pt x="87" y="192"/>
                </a:cubicBezTo>
                <a:cubicBezTo>
                  <a:pt x="87" y="192"/>
                  <a:pt x="87" y="193"/>
                  <a:pt x="88" y="193"/>
                </a:cubicBezTo>
                <a:cubicBezTo>
                  <a:pt x="88" y="193"/>
                  <a:pt x="89" y="191"/>
                  <a:pt x="90" y="191"/>
                </a:cubicBezTo>
                <a:cubicBezTo>
                  <a:pt x="89" y="190"/>
                  <a:pt x="89" y="190"/>
                  <a:pt x="89" y="190"/>
                </a:cubicBezTo>
                <a:cubicBezTo>
                  <a:pt x="89" y="191"/>
                  <a:pt x="88" y="193"/>
                  <a:pt x="87" y="192"/>
                </a:cubicBezTo>
                <a:cubicBezTo>
                  <a:pt x="87" y="191"/>
                  <a:pt x="88" y="190"/>
                  <a:pt x="89" y="189"/>
                </a:cubicBezTo>
                <a:cubicBezTo>
                  <a:pt x="88" y="189"/>
                  <a:pt x="88" y="188"/>
                  <a:pt x="87" y="189"/>
                </a:cubicBezTo>
                <a:cubicBezTo>
                  <a:pt x="88" y="189"/>
                  <a:pt x="87" y="190"/>
                  <a:pt x="88" y="190"/>
                </a:cubicBezTo>
                <a:cubicBezTo>
                  <a:pt x="87" y="190"/>
                  <a:pt x="88" y="190"/>
                  <a:pt x="87" y="190"/>
                </a:cubicBezTo>
                <a:cubicBezTo>
                  <a:pt x="86" y="190"/>
                  <a:pt x="86" y="192"/>
                  <a:pt x="85" y="191"/>
                </a:cubicBezTo>
                <a:cubicBezTo>
                  <a:pt x="86" y="191"/>
                  <a:pt x="86" y="191"/>
                  <a:pt x="86" y="191"/>
                </a:cubicBezTo>
                <a:cubicBezTo>
                  <a:pt x="85" y="191"/>
                  <a:pt x="86" y="191"/>
                  <a:pt x="85" y="191"/>
                </a:cubicBezTo>
                <a:close/>
                <a:moveTo>
                  <a:pt x="94" y="201"/>
                </a:moveTo>
                <a:cubicBezTo>
                  <a:pt x="95" y="200"/>
                  <a:pt x="94" y="199"/>
                  <a:pt x="95" y="200"/>
                </a:cubicBezTo>
                <a:cubicBezTo>
                  <a:pt x="95" y="199"/>
                  <a:pt x="95" y="199"/>
                  <a:pt x="96" y="199"/>
                </a:cubicBezTo>
                <a:cubicBezTo>
                  <a:pt x="94" y="198"/>
                  <a:pt x="94" y="200"/>
                  <a:pt x="94" y="201"/>
                </a:cubicBezTo>
                <a:close/>
                <a:moveTo>
                  <a:pt x="93" y="198"/>
                </a:moveTo>
                <a:cubicBezTo>
                  <a:pt x="93" y="199"/>
                  <a:pt x="93" y="199"/>
                  <a:pt x="92" y="199"/>
                </a:cubicBezTo>
                <a:cubicBezTo>
                  <a:pt x="93" y="200"/>
                  <a:pt x="91" y="200"/>
                  <a:pt x="92" y="200"/>
                </a:cubicBezTo>
                <a:cubicBezTo>
                  <a:pt x="92" y="199"/>
                  <a:pt x="94" y="199"/>
                  <a:pt x="93" y="198"/>
                </a:cubicBezTo>
                <a:close/>
                <a:moveTo>
                  <a:pt x="91" y="201"/>
                </a:moveTo>
                <a:cubicBezTo>
                  <a:pt x="91" y="202"/>
                  <a:pt x="91" y="201"/>
                  <a:pt x="90" y="201"/>
                </a:cubicBezTo>
                <a:cubicBezTo>
                  <a:pt x="90" y="202"/>
                  <a:pt x="91" y="202"/>
                  <a:pt x="91" y="202"/>
                </a:cubicBezTo>
                <a:cubicBezTo>
                  <a:pt x="91" y="202"/>
                  <a:pt x="91" y="202"/>
                  <a:pt x="91" y="203"/>
                </a:cubicBezTo>
                <a:cubicBezTo>
                  <a:pt x="91" y="202"/>
                  <a:pt x="92" y="202"/>
                  <a:pt x="91" y="202"/>
                </a:cubicBezTo>
                <a:cubicBezTo>
                  <a:pt x="92" y="201"/>
                  <a:pt x="92" y="202"/>
                  <a:pt x="92" y="201"/>
                </a:cubicBezTo>
                <a:cubicBezTo>
                  <a:pt x="92" y="201"/>
                  <a:pt x="92" y="201"/>
                  <a:pt x="92" y="201"/>
                </a:cubicBezTo>
                <a:cubicBezTo>
                  <a:pt x="92" y="200"/>
                  <a:pt x="92" y="201"/>
                  <a:pt x="93" y="201"/>
                </a:cubicBezTo>
                <a:cubicBezTo>
                  <a:pt x="93" y="200"/>
                  <a:pt x="93" y="200"/>
                  <a:pt x="93" y="200"/>
                </a:cubicBezTo>
                <a:cubicBezTo>
                  <a:pt x="92" y="199"/>
                  <a:pt x="92" y="201"/>
                  <a:pt x="91" y="201"/>
                </a:cubicBezTo>
                <a:close/>
                <a:moveTo>
                  <a:pt x="87" y="202"/>
                </a:moveTo>
                <a:cubicBezTo>
                  <a:pt x="87" y="203"/>
                  <a:pt x="86" y="204"/>
                  <a:pt x="86" y="205"/>
                </a:cubicBezTo>
                <a:cubicBezTo>
                  <a:pt x="88" y="203"/>
                  <a:pt x="89" y="204"/>
                  <a:pt x="90" y="205"/>
                </a:cubicBezTo>
                <a:cubicBezTo>
                  <a:pt x="89" y="204"/>
                  <a:pt x="90" y="204"/>
                  <a:pt x="90" y="204"/>
                </a:cubicBezTo>
                <a:cubicBezTo>
                  <a:pt x="90" y="204"/>
                  <a:pt x="89" y="204"/>
                  <a:pt x="89" y="203"/>
                </a:cubicBezTo>
                <a:cubicBezTo>
                  <a:pt x="89" y="204"/>
                  <a:pt x="89" y="203"/>
                  <a:pt x="88" y="203"/>
                </a:cubicBezTo>
                <a:cubicBezTo>
                  <a:pt x="88" y="203"/>
                  <a:pt x="88" y="203"/>
                  <a:pt x="88" y="203"/>
                </a:cubicBezTo>
                <a:cubicBezTo>
                  <a:pt x="88" y="203"/>
                  <a:pt x="88" y="203"/>
                  <a:pt x="88" y="203"/>
                </a:cubicBezTo>
                <a:cubicBezTo>
                  <a:pt x="88" y="203"/>
                  <a:pt x="88" y="202"/>
                  <a:pt x="89" y="202"/>
                </a:cubicBezTo>
                <a:cubicBezTo>
                  <a:pt x="87" y="202"/>
                  <a:pt x="88" y="201"/>
                  <a:pt x="87" y="202"/>
                </a:cubicBezTo>
                <a:close/>
                <a:moveTo>
                  <a:pt x="64" y="186"/>
                </a:moveTo>
                <a:cubicBezTo>
                  <a:pt x="65" y="186"/>
                  <a:pt x="65" y="186"/>
                  <a:pt x="65" y="186"/>
                </a:cubicBezTo>
                <a:cubicBezTo>
                  <a:pt x="65" y="186"/>
                  <a:pt x="65" y="186"/>
                  <a:pt x="65" y="186"/>
                </a:cubicBezTo>
                <a:cubicBezTo>
                  <a:pt x="65" y="186"/>
                  <a:pt x="65" y="186"/>
                  <a:pt x="65" y="186"/>
                </a:cubicBezTo>
                <a:cubicBezTo>
                  <a:pt x="65" y="186"/>
                  <a:pt x="65" y="186"/>
                  <a:pt x="65" y="186"/>
                </a:cubicBezTo>
                <a:cubicBezTo>
                  <a:pt x="65" y="186"/>
                  <a:pt x="64" y="186"/>
                  <a:pt x="64" y="186"/>
                </a:cubicBezTo>
                <a:close/>
                <a:moveTo>
                  <a:pt x="86" y="208"/>
                </a:moveTo>
                <a:cubicBezTo>
                  <a:pt x="86" y="208"/>
                  <a:pt x="86" y="207"/>
                  <a:pt x="86" y="207"/>
                </a:cubicBezTo>
                <a:cubicBezTo>
                  <a:pt x="85" y="207"/>
                  <a:pt x="87" y="207"/>
                  <a:pt x="87" y="206"/>
                </a:cubicBezTo>
                <a:cubicBezTo>
                  <a:pt x="86" y="206"/>
                  <a:pt x="85" y="208"/>
                  <a:pt x="86" y="208"/>
                </a:cubicBezTo>
                <a:close/>
                <a:moveTo>
                  <a:pt x="84" y="206"/>
                </a:moveTo>
                <a:cubicBezTo>
                  <a:pt x="84" y="206"/>
                  <a:pt x="84" y="207"/>
                  <a:pt x="85" y="206"/>
                </a:cubicBezTo>
                <a:cubicBezTo>
                  <a:pt x="84" y="206"/>
                  <a:pt x="84" y="205"/>
                  <a:pt x="84" y="206"/>
                </a:cubicBezTo>
                <a:cubicBezTo>
                  <a:pt x="84" y="206"/>
                  <a:pt x="83" y="205"/>
                  <a:pt x="84" y="206"/>
                </a:cubicBezTo>
                <a:close/>
                <a:moveTo>
                  <a:pt x="79" y="215"/>
                </a:moveTo>
                <a:cubicBezTo>
                  <a:pt x="79" y="215"/>
                  <a:pt x="79" y="215"/>
                  <a:pt x="80" y="215"/>
                </a:cubicBezTo>
                <a:cubicBezTo>
                  <a:pt x="80" y="214"/>
                  <a:pt x="82" y="213"/>
                  <a:pt x="81" y="212"/>
                </a:cubicBezTo>
                <a:cubicBezTo>
                  <a:pt x="81" y="212"/>
                  <a:pt x="81" y="212"/>
                  <a:pt x="81" y="212"/>
                </a:cubicBezTo>
                <a:cubicBezTo>
                  <a:pt x="81" y="212"/>
                  <a:pt x="80" y="212"/>
                  <a:pt x="80" y="212"/>
                </a:cubicBezTo>
                <a:cubicBezTo>
                  <a:pt x="81" y="212"/>
                  <a:pt x="81" y="212"/>
                  <a:pt x="81" y="213"/>
                </a:cubicBezTo>
                <a:cubicBezTo>
                  <a:pt x="80" y="212"/>
                  <a:pt x="80" y="213"/>
                  <a:pt x="80" y="212"/>
                </a:cubicBezTo>
                <a:cubicBezTo>
                  <a:pt x="79" y="212"/>
                  <a:pt x="79" y="212"/>
                  <a:pt x="79" y="213"/>
                </a:cubicBezTo>
                <a:cubicBezTo>
                  <a:pt x="79" y="214"/>
                  <a:pt x="77" y="216"/>
                  <a:pt x="76" y="217"/>
                </a:cubicBezTo>
                <a:cubicBezTo>
                  <a:pt x="77" y="217"/>
                  <a:pt x="77" y="216"/>
                  <a:pt x="77" y="217"/>
                </a:cubicBezTo>
                <a:cubicBezTo>
                  <a:pt x="77" y="217"/>
                  <a:pt x="77" y="217"/>
                  <a:pt x="77" y="217"/>
                </a:cubicBezTo>
                <a:cubicBezTo>
                  <a:pt x="77" y="217"/>
                  <a:pt x="78" y="216"/>
                  <a:pt x="79" y="216"/>
                </a:cubicBezTo>
                <a:cubicBezTo>
                  <a:pt x="78" y="216"/>
                  <a:pt x="78" y="215"/>
                  <a:pt x="78" y="215"/>
                </a:cubicBezTo>
                <a:cubicBezTo>
                  <a:pt x="79" y="215"/>
                  <a:pt x="78" y="215"/>
                  <a:pt x="79" y="215"/>
                </a:cubicBezTo>
                <a:cubicBezTo>
                  <a:pt x="79" y="215"/>
                  <a:pt x="79" y="215"/>
                  <a:pt x="79" y="215"/>
                </a:cubicBezTo>
                <a:close/>
                <a:moveTo>
                  <a:pt x="74" y="207"/>
                </a:moveTo>
                <a:cubicBezTo>
                  <a:pt x="73" y="207"/>
                  <a:pt x="73" y="208"/>
                  <a:pt x="72" y="207"/>
                </a:cubicBezTo>
                <a:cubicBezTo>
                  <a:pt x="71" y="209"/>
                  <a:pt x="70" y="210"/>
                  <a:pt x="69" y="210"/>
                </a:cubicBezTo>
                <a:cubicBezTo>
                  <a:pt x="68" y="211"/>
                  <a:pt x="69" y="210"/>
                  <a:pt x="69" y="211"/>
                </a:cubicBezTo>
                <a:cubicBezTo>
                  <a:pt x="68" y="211"/>
                  <a:pt x="69" y="212"/>
                  <a:pt x="68" y="212"/>
                </a:cubicBezTo>
                <a:cubicBezTo>
                  <a:pt x="69" y="212"/>
                  <a:pt x="69" y="211"/>
                  <a:pt x="68" y="211"/>
                </a:cubicBezTo>
                <a:cubicBezTo>
                  <a:pt x="68" y="212"/>
                  <a:pt x="67" y="212"/>
                  <a:pt x="68" y="213"/>
                </a:cubicBezTo>
                <a:cubicBezTo>
                  <a:pt x="68" y="213"/>
                  <a:pt x="68" y="213"/>
                  <a:pt x="68" y="213"/>
                </a:cubicBezTo>
                <a:cubicBezTo>
                  <a:pt x="69" y="212"/>
                  <a:pt x="69" y="213"/>
                  <a:pt x="69" y="214"/>
                </a:cubicBezTo>
                <a:cubicBezTo>
                  <a:pt x="70" y="213"/>
                  <a:pt x="70" y="211"/>
                  <a:pt x="71" y="211"/>
                </a:cubicBezTo>
                <a:cubicBezTo>
                  <a:pt x="70" y="211"/>
                  <a:pt x="70" y="212"/>
                  <a:pt x="70" y="212"/>
                </a:cubicBezTo>
                <a:cubicBezTo>
                  <a:pt x="71" y="212"/>
                  <a:pt x="71" y="212"/>
                  <a:pt x="71" y="212"/>
                </a:cubicBezTo>
                <a:cubicBezTo>
                  <a:pt x="71" y="213"/>
                  <a:pt x="70" y="213"/>
                  <a:pt x="71" y="214"/>
                </a:cubicBezTo>
                <a:cubicBezTo>
                  <a:pt x="69" y="213"/>
                  <a:pt x="70" y="215"/>
                  <a:pt x="69" y="216"/>
                </a:cubicBezTo>
                <a:cubicBezTo>
                  <a:pt x="68" y="217"/>
                  <a:pt x="66" y="218"/>
                  <a:pt x="67" y="219"/>
                </a:cubicBezTo>
                <a:cubicBezTo>
                  <a:pt x="65" y="219"/>
                  <a:pt x="64" y="222"/>
                  <a:pt x="62" y="223"/>
                </a:cubicBezTo>
                <a:cubicBezTo>
                  <a:pt x="63" y="223"/>
                  <a:pt x="62" y="223"/>
                  <a:pt x="63" y="223"/>
                </a:cubicBezTo>
                <a:cubicBezTo>
                  <a:pt x="63" y="223"/>
                  <a:pt x="62" y="225"/>
                  <a:pt x="63" y="225"/>
                </a:cubicBezTo>
                <a:cubicBezTo>
                  <a:pt x="63" y="224"/>
                  <a:pt x="63" y="223"/>
                  <a:pt x="64" y="223"/>
                </a:cubicBezTo>
                <a:cubicBezTo>
                  <a:pt x="64" y="221"/>
                  <a:pt x="67" y="221"/>
                  <a:pt x="67" y="219"/>
                </a:cubicBezTo>
                <a:cubicBezTo>
                  <a:pt x="68" y="218"/>
                  <a:pt x="68" y="218"/>
                  <a:pt x="69" y="217"/>
                </a:cubicBezTo>
                <a:cubicBezTo>
                  <a:pt x="69" y="217"/>
                  <a:pt x="68" y="217"/>
                  <a:pt x="69" y="216"/>
                </a:cubicBezTo>
                <a:cubicBezTo>
                  <a:pt x="70" y="217"/>
                  <a:pt x="69" y="216"/>
                  <a:pt x="69" y="216"/>
                </a:cubicBezTo>
                <a:cubicBezTo>
                  <a:pt x="70" y="216"/>
                  <a:pt x="73" y="213"/>
                  <a:pt x="72" y="212"/>
                </a:cubicBezTo>
                <a:cubicBezTo>
                  <a:pt x="73" y="212"/>
                  <a:pt x="73" y="212"/>
                  <a:pt x="73" y="212"/>
                </a:cubicBezTo>
                <a:cubicBezTo>
                  <a:pt x="73" y="211"/>
                  <a:pt x="73" y="210"/>
                  <a:pt x="72" y="210"/>
                </a:cubicBezTo>
                <a:cubicBezTo>
                  <a:pt x="73" y="210"/>
                  <a:pt x="73" y="210"/>
                  <a:pt x="73" y="211"/>
                </a:cubicBezTo>
                <a:cubicBezTo>
                  <a:pt x="72" y="210"/>
                  <a:pt x="72" y="211"/>
                  <a:pt x="72" y="211"/>
                </a:cubicBezTo>
                <a:cubicBezTo>
                  <a:pt x="72" y="210"/>
                  <a:pt x="72" y="209"/>
                  <a:pt x="72" y="209"/>
                </a:cubicBezTo>
                <a:cubicBezTo>
                  <a:pt x="72" y="210"/>
                  <a:pt x="71" y="210"/>
                  <a:pt x="71" y="210"/>
                </a:cubicBezTo>
                <a:cubicBezTo>
                  <a:pt x="72" y="210"/>
                  <a:pt x="71" y="209"/>
                  <a:pt x="72" y="209"/>
                </a:cubicBezTo>
                <a:cubicBezTo>
                  <a:pt x="73" y="209"/>
                  <a:pt x="72" y="207"/>
                  <a:pt x="74" y="208"/>
                </a:cubicBezTo>
                <a:cubicBezTo>
                  <a:pt x="74" y="208"/>
                  <a:pt x="74" y="207"/>
                  <a:pt x="74" y="207"/>
                </a:cubicBezTo>
                <a:close/>
                <a:moveTo>
                  <a:pt x="64" y="211"/>
                </a:moveTo>
                <a:cubicBezTo>
                  <a:pt x="66" y="211"/>
                  <a:pt x="67" y="206"/>
                  <a:pt x="68" y="207"/>
                </a:cubicBezTo>
                <a:cubicBezTo>
                  <a:pt x="68" y="206"/>
                  <a:pt x="70" y="205"/>
                  <a:pt x="69" y="204"/>
                </a:cubicBezTo>
                <a:cubicBezTo>
                  <a:pt x="68" y="206"/>
                  <a:pt x="66" y="208"/>
                  <a:pt x="64" y="211"/>
                </a:cubicBezTo>
                <a:close/>
                <a:moveTo>
                  <a:pt x="73" y="215"/>
                </a:moveTo>
                <a:cubicBezTo>
                  <a:pt x="73" y="215"/>
                  <a:pt x="74" y="214"/>
                  <a:pt x="73" y="214"/>
                </a:cubicBezTo>
                <a:cubicBezTo>
                  <a:pt x="73" y="215"/>
                  <a:pt x="72" y="214"/>
                  <a:pt x="72" y="215"/>
                </a:cubicBezTo>
                <a:cubicBezTo>
                  <a:pt x="72" y="215"/>
                  <a:pt x="71" y="215"/>
                  <a:pt x="71" y="217"/>
                </a:cubicBezTo>
                <a:cubicBezTo>
                  <a:pt x="71" y="217"/>
                  <a:pt x="71" y="217"/>
                  <a:pt x="71" y="217"/>
                </a:cubicBezTo>
                <a:cubicBezTo>
                  <a:pt x="72" y="217"/>
                  <a:pt x="73" y="215"/>
                  <a:pt x="74" y="216"/>
                </a:cubicBezTo>
                <a:cubicBezTo>
                  <a:pt x="74" y="216"/>
                  <a:pt x="74" y="215"/>
                  <a:pt x="75" y="215"/>
                </a:cubicBezTo>
                <a:cubicBezTo>
                  <a:pt x="74" y="214"/>
                  <a:pt x="74" y="214"/>
                  <a:pt x="74" y="213"/>
                </a:cubicBezTo>
                <a:cubicBezTo>
                  <a:pt x="75" y="213"/>
                  <a:pt x="75" y="212"/>
                  <a:pt x="76" y="212"/>
                </a:cubicBezTo>
                <a:cubicBezTo>
                  <a:pt x="75" y="212"/>
                  <a:pt x="76" y="211"/>
                  <a:pt x="76" y="211"/>
                </a:cubicBezTo>
                <a:cubicBezTo>
                  <a:pt x="75" y="211"/>
                  <a:pt x="74" y="213"/>
                  <a:pt x="73" y="214"/>
                </a:cubicBezTo>
                <a:cubicBezTo>
                  <a:pt x="74" y="214"/>
                  <a:pt x="74" y="215"/>
                  <a:pt x="73" y="215"/>
                </a:cubicBezTo>
                <a:close/>
                <a:moveTo>
                  <a:pt x="74" y="210"/>
                </a:moveTo>
                <a:cubicBezTo>
                  <a:pt x="74" y="210"/>
                  <a:pt x="74" y="210"/>
                  <a:pt x="74" y="210"/>
                </a:cubicBezTo>
                <a:cubicBezTo>
                  <a:pt x="75" y="211"/>
                  <a:pt x="75" y="211"/>
                  <a:pt x="75" y="211"/>
                </a:cubicBezTo>
                <a:cubicBezTo>
                  <a:pt x="75" y="210"/>
                  <a:pt x="75" y="210"/>
                  <a:pt x="75" y="210"/>
                </a:cubicBezTo>
                <a:cubicBezTo>
                  <a:pt x="75" y="210"/>
                  <a:pt x="75" y="210"/>
                  <a:pt x="75" y="210"/>
                </a:cubicBezTo>
                <a:cubicBezTo>
                  <a:pt x="75" y="210"/>
                  <a:pt x="74" y="210"/>
                  <a:pt x="74" y="210"/>
                </a:cubicBezTo>
                <a:close/>
                <a:moveTo>
                  <a:pt x="48" y="194"/>
                </a:moveTo>
                <a:cubicBezTo>
                  <a:pt x="47" y="194"/>
                  <a:pt x="49" y="193"/>
                  <a:pt x="48" y="193"/>
                </a:cubicBezTo>
                <a:cubicBezTo>
                  <a:pt x="47" y="193"/>
                  <a:pt x="47" y="195"/>
                  <a:pt x="48" y="194"/>
                </a:cubicBezTo>
                <a:close/>
                <a:moveTo>
                  <a:pt x="75" y="220"/>
                </a:moveTo>
                <a:cubicBezTo>
                  <a:pt x="76" y="219"/>
                  <a:pt x="77" y="219"/>
                  <a:pt x="77" y="217"/>
                </a:cubicBezTo>
                <a:cubicBezTo>
                  <a:pt x="76" y="218"/>
                  <a:pt x="75" y="219"/>
                  <a:pt x="75" y="220"/>
                </a:cubicBezTo>
                <a:close/>
                <a:moveTo>
                  <a:pt x="39" y="198"/>
                </a:moveTo>
                <a:cubicBezTo>
                  <a:pt x="39" y="199"/>
                  <a:pt x="39" y="198"/>
                  <a:pt x="39" y="199"/>
                </a:cubicBezTo>
                <a:cubicBezTo>
                  <a:pt x="40" y="199"/>
                  <a:pt x="40" y="198"/>
                  <a:pt x="40" y="198"/>
                </a:cubicBezTo>
                <a:cubicBezTo>
                  <a:pt x="40" y="198"/>
                  <a:pt x="39" y="198"/>
                  <a:pt x="39" y="198"/>
                </a:cubicBezTo>
                <a:close/>
                <a:moveTo>
                  <a:pt x="67" y="230"/>
                </a:moveTo>
                <a:cubicBezTo>
                  <a:pt x="68" y="230"/>
                  <a:pt x="68" y="229"/>
                  <a:pt x="67" y="229"/>
                </a:cubicBezTo>
                <a:cubicBezTo>
                  <a:pt x="67" y="229"/>
                  <a:pt x="66" y="229"/>
                  <a:pt x="67" y="230"/>
                </a:cubicBezTo>
                <a:cubicBezTo>
                  <a:pt x="67" y="230"/>
                  <a:pt x="67" y="230"/>
                  <a:pt x="67" y="230"/>
                </a:cubicBezTo>
                <a:cubicBezTo>
                  <a:pt x="68" y="230"/>
                  <a:pt x="71" y="228"/>
                  <a:pt x="70" y="227"/>
                </a:cubicBezTo>
                <a:cubicBezTo>
                  <a:pt x="70" y="228"/>
                  <a:pt x="69" y="228"/>
                  <a:pt x="68" y="228"/>
                </a:cubicBezTo>
                <a:cubicBezTo>
                  <a:pt x="68" y="228"/>
                  <a:pt x="67" y="228"/>
                  <a:pt x="68" y="227"/>
                </a:cubicBezTo>
                <a:cubicBezTo>
                  <a:pt x="67" y="228"/>
                  <a:pt x="67" y="229"/>
                  <a:pt x="68" y="229"/>
                </a:cubicBezTo>
                <a:cubicBezTo>
                  <a:pt x="68" y="229"/>
                  <a:pt x="68" y="229"/>
                  <a:pt x="68" y="230"/>
                </a:cubicBezTo>
                <a:cubicBezTo>
                  <a:pt x="68" y="229"/>
                  <a:pt x="67" y="230"/>
                  <a:pt x="67" y="230"/>
                </a:cubicBezTo>
                <a:close/>
                <a:moveTo>
                  <a:pt x="57" y="232"/>
                </a:moveTo>
                <a:cubicBezTo>
                  <a:pt x="56" y="231"/>
                  <a:pt x="57" y="233"/>
                  <a:pt x="56" y="233"/>
                </a:cubicBezTo>
                <a:cubicBezTo>
                  <a:pt x="56" y="233"/>
                  <a:pt x="57" y="233"/>
                  <a:pt x="57" y="232"/>
                </a:cubicBezTo>
                <a:cubicBezTo>
                  <a:pt x="57" y="231"/>
                  <a:pt x="60" y="229"/>
                  <a:pt x="61" y="228"/>
                </a:cubicBezTo>
                <a:cubicBezTo>
                  <a:pt x="60" y="228"/>
                  <a:pt x="60" y="227"/>
                  <a:pt x="60" y="227"/>
                </a:cubicBezTo>
                <a:cubicBezTo>
                  <a:pt x="61" y="227"/>
                  <a:pt x="62" y="226"/>
                  <a:pt x="62" y="226"/>
                </a:cubicBezTo>
                <a:cubicBezTo>
                  <a:pt x="61" y="226"/>
                  <a:pt x="61" y="226"/>
                  <a:pt x="60" y="226"/>
                </a:cubicBezTo>
                <a:cubicBezTo>
                  <a:pt x="61" y="226"/>
                  <a:pt x="61" y="227"/>
                  <a:pt x="61" y="227"/>
                </a:cubicBezTo>
                <a:cubicBezTo>
                  <a:pt x="59" y="228"/>
                  <a:pt x="58" y="230"/>
                  <a:pt x="57" y="232"/>
                </a:cubicBezTo>
                <a:close/>
                <a:moveTo>
                  <a:pt x="66" y="232"/>
                </a:moveTo>
                <a:cubicBezTo>
                  <a:pt x="67" y="232"/>
                  <a:pt x="65" y="232"/>
                  <a:pt x="65" y="231"/>
                </a:cubicBezTo>
                <a:cubicBezTo>
                  <a:pt x="66" y="232"/>
                  <a:pt x="64" y="232"/>
                  <a:pt x="64" y="233"/>
                </a:cubicBezTo>
                <a:cubicBezTo>
                  <a:pt x="65" y="233"/>
                  <a:pt x="65" y="233"/>
                  <a:pt x="66" y="233"/>
                </a:cubicBezTo>
                <a:cubicBezTo>
                  <a:pt x="65" y="232"/>
                  <a:pt x="65" y="233"/>
                  <a:pt x="65" y="233"/>
                </a:cubicBezTo>
                <a:cubicBezTo>
                  <a:pt x="65" y="232"/>
                  <a:pt x="65" y="232"/>
                  <a:pt x="66" y="232"/>
                </a:cubicBezTo>
                <a:cubicBezTo>
                  <a:pt x="66" y="232"/>
                  <a:pt x="66" y="232"/>
                  <a:pt x="66" y="233"/>
                </a:cubicBezTo>
                <a:cubicBezTo>
                  <a:pt x="67" y="232"/>
                  <a:pt x="68" y="232"/>
                  <a:pt x="67" y="231"/>
                </a:cubicBezTo>
                <a:cubicBezTo>
                  <a:pt x="67" y="231"/>
                  <a:pt x="67" y="232"/>
                  <a:pt x="66" y="232"/>
                </a:cubicBezTo>
                <a:close/>
                <a:moveTo>
                  <a:pt x="50" y="233"/>
                </a:moveTo>
                <a:cubicBezTo>
                  <a:pt x="50" y="232"/>
                  <a:pt x="50" y="232"/>
                  <a:pt x="50" y="232"/>
                </a:cubicBezTo>
                <a:cubicBezTo>
                  <a:pt x="49" y="233"/>
                  <a:pt x="49" y="233"/>
                  <a:pt x="49" y="233"/>
                </a:cubicBezTo>
                <a:cubicBezTo>
                  <a:pt x="49" y="233"/>
                  <a:pt x="49" y="233"/>
                  <a:pt x="49" y="233"/>
                </a:cubicBezTo>
                <a:cubicBezTo>
                  <a:pt x="48" y="233"/>
                  <a:pt x="48" y="234"/>
                  <a:pt x="47" y="235"/>
                </a:cubicBezTo>
                <a:cubicBezTo>
                  <a:pt x="48" y="233"/>
                  <a:pt x="49" y="231"/>
                  <a:pt x="50" y="229"/>
                </a:cubicBezTo>
                <a:cubicBezTo>
                  <a:pt x="52" y="228"/>
                  <a:pt x="53" y="226"/>
                  <a:pt x="55" y="224"/>
                </a:cubicBezTo>
                <a:cubicBezTo>
                  <a:pt x="55" y="225"/>
                  <a:pt x="54" y="226"/>
                  <a:pt x="53" y="227"/>
                </a:cubicBezTo>
                <a:cubicBezTo>
                  <a:pt x="52" y="228"/>
                  <a:pt x="53" y="228"/>
                  <a:pt x="52" y="229"/>
                </a:cubicBezTo>
                <a:cubicBezTo>
                  <a:pt x="52" y="229"/>
                  <a:pt x="52" y="230"/>
                  <a:pt x="52" y="229"/>
                </a:cubicBezTo>
                <a:cubicBezTo>
                  <a:pt x="52" y="231"/>
                  <a:pt x="50" y="232"/>
                  <a:pt x="50" y="233"/>
                </a:cubicBezTo>
                <a:close/>
                <a:moveTo>
                  <a:pt x="51" y="231"/>
                </a:moveTo>
                <a:cubicBezTo>
                  <a:pt x="51" y="231"/>
                  <a:pt x="50" y="231"/>
                  <a:pt x="50" y="231"/>
                </a:cubicBezTo>
                <a:cubicBezTo>
                  <a:pt x="50" y="232"/>
                  <a:pt x="50" y="232"/>
                  <a:pt x="51" y="231"/>
                </a:cubicBezTo>
                <a:close/>
                <a:moveTo>
                  <a:pt x="47" y="227"/>
                </a:moveTo>
                <a:cubicBezTo>
                  <a:pt x="47" y="226"/>
                  <a:pt x="48" y="225"/>
                  <a:pt x="48" y="225"/>
                </a:cubicBezTo>
                <a:cubicBezTo>
                  <a:pt x="47" y="225"/>
                  <a:pt x="47" y="225"/>
                  <a:pt x="47" y="225"/>
                </a:cubicBezTo>
                <a:cubicBezTo>
                  <a:pt x="48" y="226"/>
                  <a:pt x="46" y="226"/>
                  <a:pt x="47" y="227"/>
                </a:cubicBezTo>
                <a:close/>
                <a:moveTo>
                  <a:pt x="64" y="239"/>
                </a:moveTo>
                <a:cubicBezTo>
                  <a:pt x="64" y="238"/>
                  <a:pt x="65" y="238"/>
                  <a:pt x="64" y="238"/>
                </a:cubicBezTo>
                <a:cubicBezTo>
                  <a:pt x="64" y="238"/>
                  <a:pt x="64" y="238"/>
                  <a:pt x="64" y="238"/>
                </a:cubicBezTo>
                <a:cubicBezTo>
                  <a:pt x="65" y="238"/>
                  <a:pt x="63" y="239"/>
                  <a:pt x="64" y="239"/>
                </a:cubicBezTo>
                <a:close/>
                <a:moveTo>
                  <a:pt x="54" y="231"/>
                </a:moveTo>
                <a:cubicBezTo>
                  <a:pt x="53" y="232"/>
                  <a:pt x="53" y="232"/>
                  <a:pt x="53" y="232"/>
                </a:cubicBezTo>
                <a:cubicBezTo>
                  <a:pt x="53" y="231"/>
                  <a:pt x="53" y="231"/>
                  <a:pt x="53" y="231"/>
                </a:cubicBezTo>
                <a:cubicBezTo>
                  <a:pt x="53" y="231"/>
                  <a:pt x="52" y="231"/>
                  <a:pt x="52" y="231"/>
                </a:cubicBezTo>
                <a:cubicBezTo>
                  <a:pt x="52" y="232"/>
                  <a:pt x="53" y="232"/>
                  <a:pt x="52" y="232"/>
                </a:cubicBezTo>
                <a:cubicBezTo>
                  <a:pt x="51" y="232"/>
                  <a:pt x="51" y="234"/>
                  <a:pt x="50" y="235"/>
                </a:cubicBezTo>
                <a:cubicBezTo>
                  <a:pt x="50" y="235"/>
                  <a:pt x="51" y="236"/>
                  <a:pt x="51" y="235"/>
                </a:cubicBezTo>
                <a:cubicBezTo>
                  <a:pt x="52" y="235"/>
                  <a:pt x="50" y="235"/>
                  <a:pt x="51" y="235"/>
                </a:cubicBezTo>
                <a:cubicBezTo>
                  <a:pt x="51" y="235"/>
                  <a:pt x="52" y="235"/>
                  <a:pt x="52" y="234"/>
                </a:cubicBezTo>
                <a:cubicBezTo>
                  <a:pt x="51" y="234"/>
                  <a:pt x="51" y="234"/>
                  <a:pt x="51" y="233"/>
                </a:cubicBezTo>
                <a:cubicBezTo>
                  <a:pt x="52" y="233"/>
                  <a:pt x="52" y="232"/>
                  <a:pt x="53" y="232"/>
                </a:cubicBezTo>
                <a:cubicBezTo>
                  <a:pt x="53" y="232"/>
                  <a:pt x="53" y="233"/>
                  <a:pt x="53" y="233"/>
                </a:cubicBezTo>
                <a:cubicBezTo>
                  <a:pt x="54" y="232"/>
                  <a:pt x="54" y="231"/>
                  <a:pt x="53" y="231"/>
                </a:cubicBezTo>
                <a:cubicBezTo>
                  <a:pt x="53" y="231"/>
                  <a:pt x="54" y="231"/>
                  <a:pt x="54" y="231"/>
                </a:cubicBezTo>
                <a:close/>
                <a:moveTo>
                  <a:pt x="53" y="236"/>
                </a:moveTo>
                <a:cubicBezTo>
                  <a:pt x="54" y="237"/>
                  <a:pt x="51" y="238"/>
                  <a:pt x="52" y="239"/>
                </a:cubicBezTo>
                <a:cubicBezTo>
                  <a:pt x="53" y="237"/>
                  <a:pt x="55" y="235"/>
                  <a:pt x="56" y="233"/>
                </a:cubicBezTo>
                <a:cubicBezTo>
                  <a:pt x="55" y="234"/>
                  <a:pt x="55" y="235"/>
                  <a:pt x="54" y="235"/>
                </a:cubicBezTo>
                <a:cubicBezTo>
                  <a:pt x="54" y="236"/>
                  <a:pt x="54" y="236"/>
                  <a:pt x="54" y="235"/>
                </a:cubicBezTo>
                <a:cubicBezTo>
                  <a:pt x="54" y="236"/>
                  <a:pt x="53" y="237"/>
                  <a:pt x="53" y="236"/>
                </a:cubicBezTo>
                <a:close/>
                <a:moveTo>
                  <a:pt x="59" y="240"/>
                </a:moveTo>
                <a:cubicBezTo>
                  <a:pt x="59" y="240"/>
                  <a:pt x="60" y="240"/>
                  <a:pt x="60" y="240"/>
                </a:cubicBezTo>
                <a:cubicBezTo>
                  <a:pt x="60" y="239"/>
                  <a:pt x="60" y="240"/>
                  <a:pt x="59" y="239"/>
                </a:cubicBezTo>
                <a:cubicBezTo>
                  <a:pt x="60" y="239"/>
                  <a:pt x="59" y="239"/>
                  <a:pt x="59" y="239"/>
                </a:cubicBezTo>
                <a:cubicBezTo>
                  <a:pt x="60" y="240"/>
                  <a:pt x="59" y="240"/>
                  <a:pt x="59" y="240"/>
                </a:cubicBezTo>
                <a:close/>
                <a:moveTo>
                  <a:pt x="46" y="234"/>
                </a:moveTo>
                <a:cubicBezTo>
                  <a:pt x="47" y="234"/>
                  <a:pt x="47" y="233"/>
                  <a:pt x="47" y="233"/>
                </a:cubicBezTo>
                <a:cubicBezTo>
                  <a:pt x="46" y="234"/>
                  <a:pt x="46" y="232"/>
                  <a:pt x="46" y="233"/>
                </a:cubicBezTo>
                <a:cubicBezTo>
                  <a:pt x="46" y="233"/>
                  <a:pt x="46" y="233"/>
                  <a:pt x="46" y="233"/>
                </a:cubicBezTo>
                <a:cubicBezTo>
                  <a:pt x="46" y="233"/>
                  <a:pt x="46" y="234"/>
                  <a:pt x="46" y="234"/>
                </a:cubicBezTo>
                <a:close/>
                <a:moveTo>
                  <a:pt x="48" y="236"/>
                </a:moveTo>
                <a:cubicBezTo>
                  <a:pt x="48" y="237"/>
                  <a:pt x="49" y="237"/>
                  <a:pt x="49" y="238"/>
                </a:cubicBezTo>
                <a:cubicBezTo>
                  <a:pt x="49" y="237"/>
                  <a:pt x="51" y="237"/>
                  <a:pt x="51" y="236"/>
                </a:cubicBezTo>
                <a:cubicBezTo>
                  <a:pt x="50" y="236"/>
                  <a:pt x="50" y="236"/>
                  <a:pt x="49" y="237"/>
                </a:cubicBezTo>
                <a:cubicBezTo>
                  <a:pt x="49" y="236"/>
                  <a:pt x="50" y="236"/>
                  <a:pt x="49" y="235"/>
                </a:cubicBezTo>
                <a:cubicBezTo>
                  <a:pt x="49" y="236"/>
                  <a:pt x="49" y="236"/>
                  <a:pt x="48" y="236"/>
                </a:cubicBezTo>
                <a:close/>
                <a:moveTo>
                  <a:pt x="24" y="224"/>
                </a:moveTo>
                <a:cubicBezTo>
                  <a:pt x="24" y="223"/>
                  <a:pt x="24" y="224"/>
                  <a:pt x="25" y="223"/>
                </a:cubicBezTo>
                <a:cubicBezTo>
                  <a:pt x="24" y="223"/>
                  <a:pt x="24" y="223"/>
                  <a:pt x="23" y="223"/>
                </a:cubicBezTo>
                <a:cubicBezTo>
                  <a:pt x="24" y="224"/>
                  <a:pt x="24" y="223"/>
                  <a:pt x="24" y="224"/>
                </a:cubicBezTo>
                <a:cubicBezTo>
                  <a:pt x="24" y="224"/>
                  <a:pt x="24" y="224"/>
                  <a:pt x="24" y="224"/>
                </a:cubicBezTo>
                <a:close/>
                <a:moveTo>
                  <a:pt x="17" y="230"/>
                </a:moveTo>
                <a:cubicBezTo>
                  <a:pt x="18" y="228"/>
                  <a:pt x="19" y="228"/>
                  <a:pt x="19" y="227"/>
                </a:cubicBezTo>
                <a:cubicBezTo>
                  <a:pt x="19" y="227"/>
                  <a:pt x="16" y="229"/>
                  <a:pt x="17" y="230"/>
                </a:cubicBezTo>
                <a:close/>
                <a:moveTo>
                  <a:pt x="45" y="246"/>
                </a:moveTo>
                <a:cubicBezTo>
                  <a:pt x="45" y="246"/>
                  <a:pt x="46" y="247"/>
                  <a:pt x="46" y="247"/>
                </a:cubicBezTo>
                <a:cubicBezTo>
                  <a:pt x="45" y="247"/>
                  <a:pt x="45" y="248"/>
                  <a:pt x="45" y="248"/>
                </a:cubicBezTo>
                <a:cubicBezTo>
                  <a:pt x="46" y="248"/>
                  <a:pt x="46" y="247"/>
                  <a:pt x="47" y="247"/>
                </a:cubicBezTo>
                <a:cubicBezTo>
                  <a:pt x="47" y="247"/>
                  <a:pt x="47" y="247"/>
                  <a:pt x="47" y="247"/>
                </a:cubicBezTo>
                <a:cubicBezTo>
                  <a:pt x="46" y="247"/>
                  <a:pt x="46" y="245"/>
                  <a:pt x="45" y="246"/>
                </a:cubicBezTo>
                <a:close/>
                <a:moveTo>
                  <a:pt x="19" y="231"/>
                </a:moveTo>
                <a:cubicBezTo>
                  <a:pt x="19" y="231"/>
                  <a:pt x="18" y="231"/>
                  <a:pt x="18" y="231"/>
                </a:cubicBezTo>
                <a:cubicBezTo>
                  <a:pt x="19" y="232"/>
                  <a:pt x="19" y="230"/>
                  <a:pt x="18" y="230"/>
                </a:cubicBezTo>
                <a:cubicBezTo>
                  <a:pt x="18" y="231"/>
                  <a:pt x="19" y="230"/>
                  <a:pt x="19" y="231"/>
                </a:cubicBezTo>
                <a:close/>
                <a:moveTo>
                  <a:pt x="18" y="232"/>
                </a:moveTo>
                <a:cubicBezTo>
                  <a:pt x="18" y="234"/>
                  <a:pt x="17" y="234"/>
                  <a:pt x="17" y="235"/>
                </a:cubicBezTo>
                <a:cubicBezTo>
                  <a:pt x="17" y="235"/>
                  <a:pt x="17" y="234"/>
                  <a:pt x="18" y="234"/>
                </a:cubicBezTo>
                <a:cubicBezTo>
                  <a:pt x="18" y="233"/>
                  <a:pt x="19" y="232"/>
                  <a:pt x="18" y="232"/>
                </a:cubicBezTo>
                <a:cubicBezTo>
                  <a:pt x="17" y="232"/>
                  <a:pt x="18" y="233"/>
                  <a:pt x="18" y="232"/>
                </a:cubicBezTo>
                <a:close/>
                <a:moveTo>
                  <a:pt x="4" y="256"/>
                </a:moveTo>
                <a:cubicBezTo>
                  <a:pt x="5" y="255"/>
                  <a:pt x="5" y="254"/>
                  <a:pt x="6" y="253"/>
                </a:cubicBezTo>
                <a:cubicBezTo>
                  <a:pt x="5" y="254"/>
                  <a:pt x="4" y="255"/>
                  <a:pt x="4" y="256"/>
                </a:cubicBezTo>
                <a:close/>
                <a:moveTo>
                  <a:pt x="5" y="258"/>
                </a:moveTo>
                <a:cubicBezTo>
                  <a:pt x="6" y="257"/>
                  <a:pt x="6" y="258"/>
                  <a:pt x="6" y="257"/>
                </a:cubicBezTo>
                <a:cubicBezTo>
                  <a:pt x="6" y="257"/>
                  <a:pt x="6" y="256"/>
                  <a:pt x="6" y="257"/>
                </a:cubicBezTo>
                <a:cubicBezTo>
                  <a:pt x="6" y="257"/>
                  <a:pt x="6" y="257"/>
                  <a:pt x="6" y="257"/>
                </a:cubicBezTo>
                <a:cubicBezTo>
                  <a:pt x="5" y="257"/>
                  <a:pt x="5" y="257"/>
                  <a:pt x="5" y="258"/>
                </a:cubicBezTo>
                <a:close/>
                <a:moveTo>
                  <a:pt x="810" y="264"/>
                </a:moveTo>
                <a:cubicBezTo>
                  <a:pt x="810" y="263"/>
                  <a:pt x="808" y="261"/>
                  <a:pt x="809" y="261"/>
                </a:cubicBezTo>
                <a:cubicBezTo>
                  <a:pt x="810" y="263"/>
                  <a:pt x="809" y="259"/>
                  <a:pt x="809" y="258"/>
                </a:cubicBezTo>
                <a:cubicBezTo>
                  <a:pt x="810" y="258"/>
                  <a:pt x="811" y="261"/>
                  <a:pt x="811" y="261"/>
                </a:cubicBezTo>
                <a:cubicBezTo>
                  <a:pt x="809" y="256"/>
                  <a:pt x="809" y="255"/>
                  <a:pt x="807" y="251"/>
                </a:cubicBezTo>
                <a:cubicBezTo>
                  <a:pt x="808" y="254"/>
                  <a:pt x="807" y="252"/>
                  <a:pt x="806" y="253"/>
                </a:cubicBezTo>
                <a:cubicBezTo>
                  <a:pt x="806" y="253"/>
                  <a:pt x="807" y="260"/>
                  <a:pt x="805" y="261"/>
                </a:cubicBezTo>
                <a:cubicBezTo>
                  <a:pt x="805" y="261"/>
                  <a:pt x="804" y="259"/>
                  <a:pt x="804" y="259"/>
                </a:cubicBezTo>
                <a:cubicBezTo>
                  <a:pt x="803" y="261"/>
                  <a:pt x="804" y="266"/>
                  <a:pt x="801" y="262"/>
                </a:cubicBezTo>
                <a:cubicBezTo>
                  <a:pt x="805" y="271"/>
                  <a:pt x="805" y="267"/>
                  <a:pt x="806" y="266"/>
                </a:cubicBezTo>
                <a:cubicBezTo>
                  <a:pt x="806" y="266"/>
                  <a:pt x="810" y="269"/>
                  <a:pt x="808" y="265"/>
                </a:cubicBezTo>
                <a:cubicBezTo>
                  <a:pt x="809" y="266"/>
                  <a:pt x="810" y="269"/>
                  <a:pt x="810" y="268"/>
                </a:cubicBezTo>
                <a:cubicBezTo>
                  <a:pt x="811" y="267"/>
                  <a:pt x="808" y="263"/>
                  <a:pt x="810" y="264"/>
                </a:cubicBezTo>
                <a:close/>
                <a:moveTo>
                  <a:pt x="440" y="4"/>
                </a:moveTo>
                <a:cubicBezTo>
                  <a:pt x="437" y="3"/>
                  <a:pt x="437" y="4"/>
                  <a:pt x="434" y="4"/>
                </a:cubicBezTo>
                <a:cubicBezTo>
                  <a:pt x="434" y="3"/>
                  <a:pt x="433" y="3"/>
                  <a:pt x="433" y="3"/>
                </a:cubicBezTo>
                <a:cubicBezTo>
                  <a:pt x="435" y="3"/>
                  <a:pt x="437" y="3"/>
                  <a:pt x="438" y="2"/>
                </a:cubicBezTo>
                <a:cubicBezTo>
                  <a:pt x="434" y="2"/>
                  <a:pt x="429" y="3"/>
                  <a:pt x="425" y="3"/>
                </a:cubicBezTo>
                <a:cubicBezTo>
                  <a:pt x="428" y="3"/>
                  <a:pt x="433" y="4"/>
                  <a:pt x="437" y="4"/>
                </a:cubicBezTo>
                <a:cubicBezTo>
                  <a:pt x="436" y="4"/>
                  <a:pt x="434" y="4"/>
                  <a:pt x="434" y="4"/>
                </a:cubicBezTo>
                <a:cubicBezTo>
                  <a:pt x="439" y="4"/>
                  <a:pt x="441" y="4"/>
                  <a:pt x="443" y="5"/>
                </a:cubicBezTo>
                <a:cubicBezTo>
                  <a:pt x="442" y="4"/>
                  <a:pt x="446" y="5"/>
                  <a:pt x="446" y="5"/>
                </a:cubicBezTo>
                <a:cubicBezTo>
                  <a:pt x="444" y="4"/>
                  <a:pt x="444" y="5"/>
                  <a:pt x="440" y="4"/>
                </a:cubicBezTo>
                <a:close/>
                <a:moveTo>
                  <a:pt x="399" y="5"/>
                </a:moveTo>
                <a:cubicBezTo>
                  <a:pt x="398" y="4"/>
                  <a:pt x="401" y="4"/>
                  <a:pt x="398" y="4"/>
                </a:cubicBezTo>
                <a:cubicBezTo>
                  <a:pt x="393" y="5"/>
                  <a:pt x="386" y="4"/>
                  <a:pt x="382" y="5"/>
                </a:cubicBezTo>
                <a:cubicBezTo>
                  <a:pt x="385" y="5"/>
                  <a:pt x="389" y="5"/>
                  <a:pt x="390" y="6"/>
                </a:cubicBezTo>
                <a:cubicBezTo>
                  <a:pt x="395" y="5"/>
                  <a:pt x="398" y="6"/>
                  <a:pt x="400" y="5"/>
                </a:cubicBezTo>
                <a:lnTo>
                  <a:pt x="399" y="5"/>
                </a:lnTo>
                <a:close/>
                <a:moveTo>
                  <a:pt x="142" y="101"/>
                </a:moveTo>
                <a:cubicBezTo>
                  <a:pt x="142" y="102"/>
                  <a:pt x="141" y="103"/>
                  <a:pt x="143" y="102"/>
                </a:cubicBezTo>
                <a:cubicBezTo>
                  <a:pt x="147" y="98"/>
                  <a:pt x="152" y="95"/>
                  <a:pt x="156" y="91"/>
                </a:cubicBezTo>
                <a:cubicBezTo>
                  <a:pt x="154" y="92"/>
                  <a:pt x="153" y="93"/>
                  <a:pt x="152" y="94"/>
                </a:cubicBezTo>
                <a:cubicBezTo>
                  <a:pt x="153" y="93"/>
                  <a:pt x="154" y="92"/>
                  <a:pt x="154" y="91"/>
                </a:cubicBezTo>
                <a:cubicBezTo>
                  <a:pt x="149" y="95"/>
                  <a:pt x="141" y="101"/>
                  <a:pt x="134" y="107"/>
                </a:cubicBezTo>
                <a:cubicBezTo>
                  <a:pt x="135" y="107"/>
                  <a:pt x="140" y="103"/>
                  <a:pt x="142" y="101"/>
                </a:cubicBezTo>
                <a:close/>
                <a:moveTo>
                  <a:pt x="84" y="158"/>
                </a:moveTo>
                <a:cubicBezTo>
                  <a:pt x="84" y="159"/>
                  <a:pt x="84" y="160"/>
                  <a:pt x="83" y="160"/>
                </a:cubicBezTo>
                <a:cubicBezTo>
                  <a:pt x="83" y="161"/>
                  <a:pt x="83" y="162"/>
                  <a:pt x="84" y="161"/>
                </a:cubicBezTo>
                <a:cubicBezTo>
                  <a:pt x="84" y="161"/>
                  <a:pt x="84" y="161"/>
                  <a:pt x="84" y="161"/>
                </a:cubicBezTo>
                <a:cubicBezTo>
                  <a:pt x="84" y="160"/>
                  <a:pt x="84" y="160"/>
                  <a:pt x="84" y="160"/>
                </a:cubicBezTo>
                <a:cubicBezTo>
                  <a:pt x="85" y="160"/>
                  <a:pt x="84" y="161"/>
                  <a:pt x="85" y="161"/>
                </a:cubicBezTo>
                <a:cubicBezTo>
                  <a:pt x="85" y="160"/>
                  <a:pt x="86" y="160"/>
                  <a:pt x="85" y="160"/>
                </a:cubicBezTo>
                <a:cubicBezTo>
                  <a:pt x="85" y="160"/>
                  <a:pt x="85" y="160"/>
                  <a:pt x="85" y="160"/>
                </a:cubicBezTo>
                <a:cubicBezTo>
                  <a:pt x="85" y="160"/>
                  <a:pt x="85" y="159"/>
                  <a:pt x="85" y="159"/>
                </a:cubicBezTo>
                <a:cubicBezTo>
                  <a:pt x="85" y="159"/>
                  <a:pt x="86" y="159"/>
                  <a:pt x="87" y="158"/>
                </a:cubicBezTo>
                <a:cubicBezTo>
                  <a:pt x="85" y="159"/>
                  <a:pt x="86" y="157"/>
                  <a:pt x="84" y="158"/>
                </a:cubicBezTo>
                <a:close/>
                <a:moveTo>
                  <a:pt x="103" y="180"/>
                </a:moveTo>
                <a:cubicBezTo>
                  <a:pt x="102" y="180"/>
                  <a:pt x="102" y="181"/>
                  <a:pt x="102" y="181"/>
                </a:cubicBezTo>
                <a:cubicBezTo>
                  <a:pt x="102" y="181"/>
                  <a:pt x="103" y="181"/>
                  <a:pt x="103" y="181"/>
                </a:cubicBezTo>
                <a:cubicBezTo>
                  <a:pt x="103" y="181"/>
                  <a:pt x="102" y="181"/>
                  <a:pt x="103" y="182"/>
                </a:cubicBezTo>
                <a:cubicBezTo>
                  <a:pt x="103" y="182"/>
                  <a:pt x="103" y="181"/>
                  <a:pt x="104" y="181"/>
                </a:cubicBezTo>
                <a:cubicBezTo>
                  <a:pt x="103" y="182"/>
                  <a:pt x="103" y="182"/>
                  <a:pt x="103" y="183"/>
                </a:cubicBezTo>
                <a:cubicBezTo>
                  <a:pt x="103" y="182"/>
                  <a:pt x="104" y="182"/>
                  <a:pt x="104" y="181"/>
                </a:cubicBezTo>
                <a:cubicBezTo>
                  <a:pt x="103" y="182"/>
                  <a:pt x="104" y="180"/>
                  <a:pt x="103" y="180"/>
                </a:cubicBezTo>
                <a:close/>
                <a:moveTo>
                  <a:pt x="77" y="160"/>
                </a:moveTo>
                <a:cubicBezTo>
                  <a:pt x="79" y="161"/>
                  <a:pt x="79" y="158"/>
                  <a:pt x="80" y="158"/>
                </a:cubicBezTo>
                <a:cubicBezTo>
                  <a:pt x="80" y="157"/>
                  <a:pt x="80" y="157"/>
                  <a:pt x="80" y="157"/>
                </a:cubicBezTo>
                <a:cubicBezTo>
                  <a:pt x="79" y="157"/>
                  <a:pt x="78" y="159"/>
                  <a:pt x="77" y="160"/>
                </a:cubicBezTo>
                <a:close/>
                <a:moveTo>
                  <a:pt x="81" y="163"/>
                </a:moveTo>
                <a:cubicBezTo>
                  <a:pt x="81" y="163"/>
                  <a:pt x="81" y="164"/>
                  <a:pt x="81" y="164"/>
                </a:cubicBezTo>
                <a:cubicBezTo>
                  <a:pt x="81" y="164"/>
                  <a:pt x="80" y="165"/>
                  <a:pt x="80" y="165"/>
                </a:cubicBezTo>
                <a:cubicBezTo>
                  <a:pt x="82" y="164"/>
                  <a:pt x="83" y="163"/>
                  <a:pt x="83" y="162"/>
                </a:cubicBezTo>
                <a:cubicBezTo>
                  <a:pt x="83" y="161"/>
                  <a:pt x="83" y="161"/>
                  <a:pt x="82" y="161"/>
                </a:cubicBezTo>
                <a:cubicBezTo>
                  <a:pt x="81" y="161"/>
                  <a:pt x="82" y="163"/>
                  <a:pt x="81" y="163"/>
                </a:cubicBezTo>
                <a:close/>
                <a:moveTo>
                  <a:pt x="95" y="192"/>
                </a:moveTo>
                <a:cubicBezTo>
                  <a:pt x="95" y="192"/>
                  <a:pt x="95" y="192"/>
                  <a:pt x="94" y="192"/>
                </a:cubicBezTo>
                <a:cubicBezTo>
                  <a:pt x="94" y="192"/>
                  <a:pt x="94" y="193"/>
                  <a:pt x="94" y="193"/>
                </a:cubicBezTo>
                <a:cubicBezTo>
                  <a:pt x="93" y="193"/>
                  <a:pt x="93" y="194"/>
                  <a:pt x="94" y="194"/>
                </a:cubicBezTo>
                <a:cubicBezTo>
                  <a:pt x="93" y="194"/>
                  <a:pt x="91" y="196"/>
                  <a:pt x="91" y="197"/>
                </a:cubicBezTo>
                <a:cubicBezTo>
                  <a:pt x="91" y="197"/>
                  <a:pt x="91" y="197"/>
                  <a:pt x="91" y="197"/>
                </a:cubicBezTo>
                <a:cubicBezTo>
                  <a:pt x="91" y="198"/>
                  <a:pt x="90" y="198"/>
                  <a:pt x="90" y="199"/>
                </a:cubicBezTo>
                <a:cubicBezTo>
                  <a:pt x="91" y="197"/>
                  <a:pt x="92" y="197"/>
                  <a:pt x="93" y="197"/>
                </a:cubicBezTo>
                <a:cubicBezTo>
                  <a:pt x="93" y="197"/>
                  <a:pt x="93" y="197"/>
                  <a:pt x="93" y="196"/>
                </a:cubicBezTo>
                <a:cubicBezTo>
                  <a:pt x="93" y="196"/>
                  <a:pt x="94" y="195"/>
                  <a:pt x="94" y="195"/>
                </a:cubicBezTo>
                <a:cubicBezTo>
                  <a:pt x="94" y="195"/>
                  <a:pt x="94" y="195"/>
                  <a:pt x="94" y="196"/>
                </a:cubicBezTo>
                <a:cubicBezTo>
                  <a:pt x="95" y="194"/>
                  <a:pt x="95" y="192"/>
                  <a:pt x="96" y="193"/>
                </a:cubicBezTo>
                <a:cubicBezTo>
                  <a:pt x="96" y="193"/>
                  <a:pt x="96" y="193"/>
                  <a:pt x="96" y="193"/>
                </a:cubicBezTo>
                <a:cubicBezTo>
                  <a:pt x="97" y="193"/>
                  <a:pt x="97" y="193"/>
                  <a:pt x="97" y="192"/>
                </a:cubicBezTo>
                <a:cubicBezTo>
                  <a:pt x="96" y="193"/>
                  <a:pt x="97" y="192"/>
                  <a:pt x="96" y="192"/>
                </a:cubicBezTo>
                <a:cubicBezTo>
                  <a:pt x="96" y="193"/>
                  <a:pt x="96" y="192"/>
                  <a:pt x="95" y="192"/>
                </a:cubicBezTo>
                <a:close/>
                <a:moveTo>
                  <a:pt x="65" y="175"/>
                </a:moveTo>
                <a:cubicBezTo>
                  <a:pt x="64" y="175"/>
                  <a:pt x="64" y="175"/>
                  <a:pt x="63" y="175"/>
                </a:cubicBezTo>
                <a:cubicBezTo>
                  <a:pt x="63" y="175"/>
                  <a:pt x="63" y="175"/>
                  <a:pt x="63" y="176"/>
                </a:cubicBezTo>
                <a:cubicBezTo>
                  <a:pt x="64" y="176"/>
                  <a:pt x="64" y="176"/>
                  <a:pt x="64" y="177"/>
                </a:cubicBezTo>
                <a:cubicBezTo>
                  <a:pt x="65" y="175"/>
                  <a:pt x="66" y="175"/>
                  <a:pt x="67" y="173"/>
                </a:cubicBezTo>
                <a:cubicBezTo>
                  <a:pt x="65" y="173"/>
                  <a:pt x="66" y="174"/>
                  <a:pt x="65" y="175"/>
                </a:cubicBezTo>
                <a:close/>
                <a:moveTo>
                  <a:pt x="45" y="240"/>
                </a:moveTo>
                <a:cubicBezTo>
                  <a:pt x="46" y="241"/>
                  <a:pt x="46" y="241"/>
                  <a:pt x="46" y="241"/>
                </a:cubicBezTo>
                <a:cubicBezTo>
                  <a:pt x="45" y="241"/>
                  <a:pt x="45" y="242"/>
                  <a:pt x="44" y="243"/>
                </a:cubicBezTo>
                <a:cubicBezTo>
                  <a:pt x="44" y="243"/>
                  <a:pt x="43" y="243"/>
                  <a:pt x="43" y="243"/>
                </a:cubicBezTo>
                <a:cubicBezTo>
                  <a:pt x="43" y="244"/>
                  <a:pt x="43" y="244"/>
                  <a:pt x="42" y="245"/>
                </a:cubicBezTo>
                <a:cubicBezTo>
                  <a:pt x="43" y="245"/>
                  <a:pt x="43" y="245"/>
                  <a:pt x="44" y="244"/>
                </a:cubicBezTo>
                <a:cubicBezTo>
                  <a:pt x="44" y="244"/>
                  <a:pt x="44" y="244"/>
                  <a:pt x="44" y="244"/>
                </a:cubicBezTo>
                <a:cubicBezTo>
                  <a:pt x="44" y="244"/>
                  <a:pt x="45" y="243"/>
                  <a:pt x="45" y="244"/>
                </a:cubicBezTo>
                <a:cubicBezTo>
                  <a:pt x="45" y="241"/>
                  <a:pt x="47" y="241"/>
                  <a:pt x="48" y="239"/>
                </a:cubicBezTo>
                <a:cubicBezTo>
                  <a:pt x="47" y="238"/>
                  <a:pt x="48" y="238"/>
                  <a:pt x="48" y="237"/>
                </a:cubicBezTo>
                <a:cubicBezTo>
                  <a:pt x="47" y="238"/>
                  <a:pt x="47" y="240"/>
                  <a:pt x="45" y="240"/>
                </a:cubicBezTo>
                <a:close/>
                <a:moveTo>
                  <a:pt x="820" y="180"/>
                </a:moveTo>
                <a:cubicBezTo>
                  <a:pt x="820" y="181"/>
                  <a:pt x="820" y="181"/>
                  <a:pt x="820" y="181"/>
                </a:cubicBezTo>
                <a:cubicBezTo>
                  <a:pt x="821" y="181"/>
                  <a:pt x="820" y="180"/>
                  <a:pt x="820" y="180"/>
                </a:cubicBezTo>
                <a:close/>
                <a:moveTo>
                  <a:pt x="866" y="171"/>
                </a:moveTo>
                <a:cubicBezTo>
                  <a:pt x="865" y="171"/>
                  <a:pt x="865" y="172"/>
                  <a:pt x="865" y="172"/>
                </a:cubicBezTo>
                <a:cubicBezTo>
                  <a:pt x="865" y="172"/>
                  <a:pt x="866" y="172"/>
                  <a:pt x="866" y="171"/>
                </a:cubicBezTo>
                <a:close/>
                <a:moveTo>
                  <a:pt x="867" y="170"/>
                </a:moveTo>
                <a:cubicBezTo>
                  <a:pt x="867" y="170"/>
                  <a:pt x="866" y="171"/>
                  <a:pt x="866" y="171"/>
                </a:cubicBezTo>
                <a:cubicBezTo>
                  <a:pt x="867" y="171"/>
                  <a:pt x="867" y="170"/>
                  <a:pt x="867" y="170"/>
                </a:cubicBezTo>
                <a:close/>
                <a:moveTo>
                  <a:pt x="861" y="164"/>
                </a:moveTo>
                <a:cubicBezTo>
                  <a:pt x="861" y="164"/>
                  <a:pt x="861" y="165"/>
                  <a:pt x="861" y="165"/>
                </a:cubicBezTo>
                <a:cubicBezTo>
                  <a:pt x="861" y="164"/>
                  <a:pt x="861" y="164"/>
                  <a:pt x="861" y="164"/>
                </a:cubicBezTo>
                <a:close/>
                <a:moveTo>
                  <a:pt x="868" y="162"/>
                </a:moveTo>
                <a:cubicBezTo>
                  <a:pt x="868" y="163"/>
                  <a:pt x="868" y="163"/>
                  <a:pt x="868" y="164"/>
                </a:cubicBezTo>
                <a:cubicBezTo>
                  <a:pt x="868" y="163"/>
                  <a:pt x="868" y="162"/>
                  <a:pt x="868" y="162"/>
                </a:cubicBezTo>
                <a:close/>
                <a:moveTo>
                  <a:pt x="837" y="147"/>
                </a:moveTo>
                <a:cubicBezTo>
                  <a:pt x="837" y="148"/>
                  <a:pt x="837" y="150"/>
                  <a:pt x="836" y="151"/>
                </a:cubicBezTo>
                <a:cubicBezTo>
                  <a:pt x="837" y="150"/>
                  <a:pt x="837" y="148"/>
                  <a:pt x="837" y="147"/>
                </a:cubicBezTo>
                <a:close/>
                <a:moveTo>
                  <a:pt x="852" y="150"/>
                </a:moveTo>
                <a:cubicBezTo>
                  <a:pt x="852" y="149"/>
                  <a:pt x="852" y="149"/>
                  <a:pt x="852" y="149"/>
                </a:cubicBezTo>
                <a:cubicBezTo>
                  <a:pt x="852" y="148"/>
                  <a:pt x="853" y="145"/>
                  <a:pt x="852" y="146"/>
                </a:cubicBezTo>
                <a:cubicBezTo>
                  <a:pt x="852" y="147"/>
                  <a:pt x="851" y="150"/>
                  <a:pt x="851" y="151"/>
                </a:cubicBezTo>
                <a:cubicBezTo>
                  <a:pt x="852" y="151"/>
                  <a:pt x="852" y="150"/>
                  <a:pt x="852" y="150"/>
                </a:cubicBezTo>
                <a:close/>
                <a:moveTo>
                  <a:pt x="857" y="134"/>
                </a:moveTo>
                <a:cubicBezTo>
                  <a:pt x="857" y="134"/>
                  <a:pt x="857" y="134"/>
                  <a:pt x="857" y="134"/>
                </a:cubicBezTo>
                <a:cubicBezTo>
                  <a:pt x="857" y="135"/>
                  <a:pt x="857" y="135"/>
                  <a:pt x="857" y="135"/>
                </a:cubicBezTo>
                <a:lnTo>
                  <a:pt x="857" y="134"/>
                </a:lnTo>
                <a:close/>
                <a:moveTo>
                  <a:pt x="855" y="121"/>
                </a:moveTo>
                <a:cubicBezTo>
                  <a:pt x="855" y="119"/>
                  <a:pt x="855" y="121"/>
                  <a:pt x="855" y="122"/>
                </a:cubicBezTo>
                <a:cubicBezTo>
                  <a:pt x="854" y="122"/>
                  <a:pt x="855" y="122"/>
                  <a:pt x="855" y="122"/>
                </a:cubicBezTo>
                <a:cubicBezTo>
                  <a:pt x="854" y="123"/>
                  <a:pt x="853" y="126"/>
                  <a:pt x="854" y="127"/>
                </a:cubicBezTo>
                <a:cubicBezTo>
                  <a:pt x="854" y="125"/>
                  <a:pt x="855" y="123"/>
                  <a:pt x="855" y="121"/>
                </a:cubicBezTo>
                <a:close/>
                <a:moveTo>
                  <a:pt x="861" y="127"/>
                </a:moveTo>
                <a:cubicBezTo>
                  <a:pt x="861" y="127"/>
                  <a:pt x="861" y="128"/>
                  <a:pt x="861" y="128"/>
                </a:cubicBezTo>
                <a:cubicBezTo>
                  <a:pt x="862" y="128"/>
                  <a:pt x="862" y="127"/>
                  <a:pt x="861" y="127"/>
                </a:cubicBezTo>
                <a:close/>
                <a:moveTo>
                  <a:pt x="843" y="120"/>
                </a:moveTo>
                <a:cubicBezTo>
                  <a:pt x="843" y="121"/>
                  <a:pt x="842" y="121"/>
                  <a:pt x="842" y="122"/>
                </a:cubicBezTo>
                <a:cubicBezTo>
                  <a:pt x="843" y="121"/>
                  <a:pt x="843" y="120"/>
                  <a:pt x="843" y="120"/>
                </a:cubicBezTo>
                <a:close/>
                <a:moveTo>
                  <a:pt x="859" y="124"/>
                </a:moveTo>
                <a:cubicBezTo>
                  <a:pt x="859" y="125"/>
                  <a:pt x="859" y="126"/>
                  <a:pt x="859" y="126"/>
                </a:cubicBezTo>
                <a:cubicBezTo>
                  <a:pt x="859" y="125"/>
                  <a:pt x="860" y="124"/>
                  <a:pt x="859" y="124"/>
                </a:cubicBezTo>
                <a:close/>
                <a:moveTo>
                  <a:pt x="862" y="124"/>
                </a:moveTo>
                <a:cubicBezTo>
                  <a:pt x="862" y="124"/>
                  <a:pt x="861" y="125"/>
                  <a:pt x="862" y="126"/>
                </a:cubicBezTo>
                <a:cubicBezTo>
                  <a:pt x="862" y="125"/>
                  <a:pt x="862" y="124"/>
                  <a:pt x="862" y="124"/>
                </a:cubicBezTo>
                <a:close/>
                <a:moveTo>
                  <a:pt x="839" y="118"/>
                </a:moveTo>
                <a:cubicBezTo>
                  <a:pt x="839" y="118"/>
                  <a:pt x="839" y="119"/>
                  <a:pt x="839" y="119"/>
                </a:cubicBezTo>
                <a:cubicBezTo>
                  <a:pt x="839" y="119"/>
                  <a:pt x="839" y="118"/>
                  <a:pt x="839" y="118"/>
                </a:cubicBezTo>
                <a:close/>
                <a:moveTo>
                  <a:pt x="844" y="116"/>
                </a:moveTo>
                <a:cubicBezTo>
                  <a:pt x="843" y="117"/>
                  <a:pt x="843" y="119"/>
                  <a:pt x="843" y="119"/>
                </a:cubicBezTo>
                <a:cubicBezTo>
                  <a:pt x="843" y="118"/>
                  <a:pt x="844" y="117"/>
                  <a:pt x="844" y="116"/>
                </a:cubicBezTo>
                <a:close/>
                <a:moveTo>
                  <a:pt x="862" y="120"/>
                </a:moveTo>
                <a:cubicBezTo>
                  <a:pt x="862" y="121"/>
                  <a:pt x="861" y="122"/>
                  <a:pt x="862" y="123"/>
                </a:cubicBezTo>
                <a:cubicBezTo>
                  <a:pt x="862" y="122"/>
                  <a:pt x="863" y="121"/>
                  <a:pt x="862" y="120"/>
                </a:cubicBezTo>
                <a:close/>
                <a:moveTo>
                  <a:pt x="855" y="118"/>
                </a:moveTo>
                <a:cubicBezTo>
                  <a:pt x="855" y="118"/>
                  <a:pt x="855" y="119"/>
                  <a:pt x="855" y="119"/>
                </a:cubicBezTo>
                <a:cubicBezTo>
                  <a:pt x="855" y="119"/>
                  <a:pt x="856" y="118"/>
                  <a:pt x="855" y="118"/>
                </a:cubicBezTo>
                <a:close/>
                <a:moveTo>
                  <a:pt x="858" y="117"/>
                </a:moveTo>
                <a:cubicBezTo>
                  <a:pt x="857" y="117"/>
                  <a:pt x="857" y="118"/>
                  <a:pt x="857" y="118"/>
                </a:cubicBezTo>
                <a:cubicBezTo>
                  <a:pt x="857" y="118"/>
                  <a:pt x="858" y="117"/>
                  <a:pt x="858" y="117"/>
                </a:cubicBezTo>
                <a:close/>
                <a:moveTo>
                  <a:pt x="860" y="116"/>
                </a:moveTo>
                <a:cubicBezTo>
                  <a:pt x="860" y="116"/>
                  <a:pt x="860" y="116"/>
                  <a:pt x="860" y="116"/>
                </a:cubicBezTo>
                <a:cubicBezTo>
                  <a:pt x="859" y="115"/>
                  <a:pt x="859" y="117"/>
                  <a:pt x="859" y="117"/>
                </a:cubicBezTo>
                <a:cubicBezTo>
                  <a:pt x="860" y="117"/>
                  <a:pt x="859" y="117"/>
                  <a:pt x="860" y="116"/>
                </a:cubicBezTo>
                <a:close/>
                <a:moveTo>
                  <a:pt x="849" y="110"/>
                </a:moveTo>
                <a:cubicBezTo>
                  <a:pt x="848" y="113"/>
                  <a:pt x="849" y="111"/>
                  <a:pt x="849" y="110"/>
                </a:cubicBezTo>
                <a:close/>
                <a:moveTo>
                  <a:pt x="845" y="105"/>
                </a:moveTo>
                <a:cubicBezTo>
                  <a:pt x="844" y="106"/>
                  <a:pt x="844" y="106"/>
                  <a:pt x="844" y="107"/>
                </a:cubicBezTo>
                <a:cubicBezTo>
                  <a:pt x="844" y="107"/>
                  <a:pt x="845" y="105"/>
                  <a:pt x="845" y="105"/>
                </a:cubicBezTo>
                <a:close/>
                <a:moveTo>
                  <a:pt x="844" y="105"/>
                </a:moveTo>
                <a:cubicBezTo>
                  <a:pt x="843" y="105"/>
                  <a:pt x="843" y="106"/>
                  <a:pt x="843" y="106"/>
                </a:cubicBezTo>
                <a:lnTo>
                  <a:pt x="844" y="105"/>
                </a:lnTo>
                <a:close/>
                <a:moveTo>
                  <a:pt x="836" y="101"/>
                </a:moveTo>
                <a:cubicBezTo>
                  <a:pt x="836" y="102"/>
                  <a:pt x="836" y="102"/>
                  <a:pt x="836" y="102"/>
                </a:cubicBezTo>
                <a:cubicBezTo>
                  <a:pt x="836" y="102"/>
                  <a:pt x="836" y="101"/>
                  <a:pt x="836" y="101"/>
                </a:cubicBezTo>
                <a:close/>
                <a:moveTo>
                  <a:pt x="838" y="98"/>
                </a:moveTo>
                <a:cubicBezTo>
                  <a:pt x="839" y="95"/>
                  <a:pt x="838" y="96"/>
                  <a:pt x="838" y="98"/>
                </a:cubicBezTo>
                <a:close/>
                <a:moveTo>
                  <a:pt x="828" y="135"/>
                </a:moveTo>
                <a:cubicBezTo>
                  <a:pt x="828" y="136"/>
                  <a:pt x="828" y="137"/>
                  <a:pt x="827" y="137"/>
                </a:cubicBezTo>
                <a:cubicBezTo>
                  <a:pt x="828" y="138"/>
                  <a:pt x="828" y="138"/>
                  <a:pt x="828" y="138"/>
                </a:cubicBezTo>
                <a:cubicBezTo>
                  <a:pt x="828" y="137"/>
                  <a:pt x="829" y="136"/>
                  <a:pt x="828" y="135"/>
                </a:cubicBezTo>
                <a:close/>
                <a:moveTo>
                  <a:pt x="846" y="121"/>
                </a:moveTo>
                <a:cubicBezTo>
                  <a:pt x="847" y="121"/>
                  <a:pt x="846" y="122"/>
                  <a:pt x="846" y="123"/>
                </a:cubicBezTo>
                <a:cubicBezTo>
                  <a:pt x="847" y="121"/>
                  <a:pt x="848" y="117"/>
                  <a:pt x="848" y="115"/>
                </a:cubicBezTo>
                <a:cubicBezTo>
                  <a:pt x="848" y="117"/>
                  <a:pt x="846" y="118"/>
                  <a:pt x="847" y="119"/>
                </a:cubicBezTo>
                <a:cubicBezTo>
                  <a:pt x="847" y="119"/>
                  <a:pt x="847" y="119"/>
                  <a:pt x="847" y="118"/>
                </a:cubicBezTo>
                <a:cubicBezTo>
                  <a:pt x="846" y="119"/>
                  <a:pt x="846" y="120"/>
                  <a:pt x="846" y="121"/>
                </a:cubicBezTo>
                <a:cubicBezTo>
                  <a:pt x="846" y="121"/>
                  <a:pt x="846" y="120"/>
                  <a:pt x="846" y="120"/>
                </a:cubicBezTo>
                <a:cubicBezTo>
                  <a:pt x="846" y="121"/>
                  <a:pt x="845" y="121"/>
                  <a:pt x="845" y="121"/>
                </a:cubicBezTo>
                <a:cubicBezTo>
                  <a:pt x="846" y="122"/>
                  <a:pt x="846" y="121"/>
                  <a:pt x="846" y="121"/>
                </a:cubicBezTo>
                <a:close/>
                <a:moveTo>
                  <a:pt x="860" y="122"/>
                </a:moveTo>
                <a:cubicBezTo>
                  <a:pt x="860" y="122"/>
                  <a:pt x="859" y="123"/>
                  <a:pt x="860" y="123"/>
                </a:cubicBezTo>
                <a:cubicBezTo>
                  <a:pt x="860" y="123"/>
                  <a:pt x="860" y="123"/>
                  <a:pt x="860" y="123"/>
                </a:cubicBezTo>
                <a:cubicBezTo>
                  <a:pt x="859" y="124"/>
                  <a:pt x="860" y="122"/>
                  <a:pt x="860" y="122"/>
                </a:cubicBezTo>
                <a:close/>
                <a:moveTo>
                  <a:pt x="861" y="115"/>
                </a:moveTo>
                <a:cubicBezTo>
                  <a:pt x="861" y="115"/>
                  <a:pt x="861" y="115"/>
                  <a:pt x="861" y="115"/>
                </a:cubicBezTo>
                <a:cubicBezTo>
                  <a:pt x="862" y="117"/>
                  <a:pt x="859" y="120"/>
                  <a:pt x="860" y="122"/>
                </a:cubicBezTo>
                <a:cubicBezTo>
                  <a:pt x="860" y="118"/>
                  <a:pt x="862" y="115"/>
                  <a:pt x="862" y="112"/>
                </a:cubicBezTo>
                <a:cubicBezTo>
                  <a:pt x="862" y="112"/>
                  <a:pt x="862" y="111"/>
                  <a:pt x="862" y="111"/>
                </a:cubicBezTo>
                <a:cubicBezTo>
                  <a:pt x="862" y="110"/>
                  <a:pt x="864" y="107"/>
                  <a:pt x="863" y="106"/>
                </a:cubicBezTo>
                <a:cubicBezTo>
                  <a:pt x="863" y="107"/>
                  <a:pt x="862" y="108"/>
                  <a:pt x="862" y="110"/>
                </a:cubicBezTo>
                <a:cubicBezTo>
                  <a:pt x="861" y="109"/>
                  <a:pt x="861" y="109"/>
                  <a:pt x="861" y="109"/>
                </a:cubicBezTo>
                <a:cubicBezTo>
                  <a:pt x="862" y="111"/>
                  <a:pt x="861" y="114"/>
                  <a:pt x="861" y="115"/>
                </a:cubicBezTo>
                <a:close/>
                <a:moveTo>
                  <a:pt x="842" y="104"/>
                </a:moveTo>
                <a:cubicBezTo>
                  <a:pt x="842" y="105"/>
                  <a:pt x="842" y="105"/>
                  <a:pt x="842" y="106"/>
                </a:cubicBezTo>
                <a:cubicBezTo>
                  <a:pt x="843" y="105"/>
                  <a:pt x="842" y="104"/>
                  <a:pt x="842" y="104"/>
                </a:cubicBezTo>
                <a:close/>
                <a:moveTo>
                  <a:pt x="707" y="252"/>
                </a:moveTo>
                <a:cubicBezTo>
                  <a:pt x="708" y="252"/>
                  <a:pt x="709" y="252"/>
                  <a:pt x="710" y="253"/>
                </a:cubicBezTo>
                <a:cubicBezTo>
                  <a:pt x="710" y="254"/>
                  <a:pt x="709" y="255"/>
                  <a:pt x="710" y="256"/>
                </a:cubicBezTo>
                <a:cubicBezTo>
                  <a:pt x="712" y="257"/>
                  <a:pt x="715" y="253"/>
                  <a:pt x="715" y="256"/>
                </a:cubicBezTo>
                <a:cubicBezTo>
                  <a:pt x="717" y="258"/>
                  <a:pt x="720" y="259"/>
                  <a:pt x="723" y="259"/>
                </a:cubicBezTo>
                <a:cubicBezTo>
                  <a:pt x="725" y="260"/>
                  <a:pt x="726" y="261"/>
                  <a:pt x="728" y="262"/>
                </a:cubicBezTo>
                <a:cubicBezTo>
                  <a:pt x="730" y="262"/>
                  <a:pt x="733" y="262"/>
                  <a:pt x="734" y="263"/>
                </a:cubicBezTo>
                <a:cubicBezTo>
                  <a:pt x="736" y="263"/>
                  <a:pt x="737" y="264"/>
                  <a:pt x="739" y="265"/>
                </a:cubicBezTo>
                <a:cubicBezTo>
                  <a:pt x="744" y="267"/>
                  <a:pt x="749" y="267"/>
                  <a:pt x="753" y="269"/>
                </a:cubicBezTo>
                <a:cubicBezTo>
                  <a:pt x="756" y="269"/>
                  <a:pt x="760" y="271"/>
                  <a:pt x="762" y="272"/>
                </a:cubicBezTo>
                <a:cubicBezTo>
                  <a:pt x="765" y="272"/>
                  <a:pt x="768" y="274"/>
                  <a:pt x="771" y="275"/>
                </a:cubicBezTo>
                <a:cubicBezTo>
                  <a:pt x="772" y="275"/>
                  <a:pt x="774" y="275"/>
                  <a:pt x="776" y="276"/>
                </a:cubicBezTo>
                <a:cubicBezTo>
                  <a:pt x="776" y="276"/>
                  <a:pt x="777" y="276"/>
                  <a:pt x="777" y="276"/>
                </a:cubicBezTo>
                <a:cubicBezTo>
                  <a:pt x="779" y="277"/>
                  <a:pt x="781" y="277"/>
                  <a:pt x="782" y="277"/>
                </a:cubicBezTo>
                <a:cubicBezTo>
                  <a:pt x="784" y="278"/>
                  <a:pt x="785" y="279"/>
                  <a:pt x="787" y="279"/>
                </a:cubicBezTo>
                <a:cubicBezTo>
                  <a:pt x="789" y="280"/>
                  <a:pt x="792" y="281"/>
                  <a:pt x="795" y="281"/>
                </a:cubicBezTo>
                <a:cubicBezTo>
                  <a:pt x="796" y="282"/>
                  <a:pt x="798" y="282"/>
                  <a:pt x="799" y="282"/>
                </a:cubicBezTo>
                <a:cubicBezTo>
                  <a:pt x="800" y="283"/>
                  <a:pt x="800" y="283"/>
                  <a:pt x="801" y="283"/>
                </a:cubicBezTo>
                <a:cubicBezTo>
                  <a:pt x="802" y="283"/>
                  <a:pt x="802" y="283"/>
                  <a:pt x="802" y="283"/>
                </a:cubicBezTo>
                <a:cubicBezTo>
                  <a:pt x="803" y="284"/>
                  <a:pt x="803" y="284"/>
                  <a:pt x="803" y="284"/>
                </a:cubicBezTo>
                <a:cubicBezTo>
                  <a:pt x="803" y="284"/>
                  <a:pt x="803" y="284"/>
                  <a:pt x="803" y="284"/>
                </a:cubicBezTo>
                <a:cubicBezTo>
                  <a:pt x="803" y="284"/>
                  <a:pt x="803" y="284"/>
                  <a:pt x="803" y="284"/>
                </a:cubicBezTo>
                <a:cubicBezTo>
                  <a:pt x="804" y="285"/>
                  <a:pt x="805" y="284"/>
                  <a:pt x="806" y="285"/>
                </a:cubicBezTo>
                <a:cubicBezTo>
                  <a:pt x="807" y="285"/>
                  <a:pt x="808" y="286"/>
                  <a:pt x="809" y="287"/>
                </a:cubicBezTo>
                <a:cubicBezTo>
                  <a:pt x="810" y="286"/>
                  <a:pt x="811" y="287"/>
                  <a:pt x="812" y="288"/>
                </a:cubicBezTo>
                <a:cubicBezTo>
                  <a:pt x="813" y="288"/>
                  <a:pt x="813" y="288"/>
                  <a:pt x="813" y="288"/>
                </a:cubicBezTo>
                <a:cubicBezTo>
                  <a:pt x="813" y="288"/>
                  <a:pt x="813" y="287"/>
                  <a:pt x="813" y="287"/>
                </a:cubicBezTo>
                <a:cubicBezTo>
                  <a:pt x="813" y="287"/>
                  <a:pt x="813" y="287"/>
                  <a:pt x="813" y="286"/>
                </a:cubicBezTo>
                <a:cubicBezTo>
                  <a:pt x="813" y="286"/>
                  <a:pt x="813" y="286"/>
                  <a:pt x="813" y="286"/>
                </a:cubicBezTo>
                <a:cubicBezTo>
                  <a:pt x="813" y="285"/>
                  <a:pt x="813" y="285"/>
                  <a:pt x="813" y="284"/>
                </a:cubicBezTo>
                <a:cubicBezTo>
                  <a:pt x="813" y="282"/>
                  <a:pt x="813" y="282"/>
                  <a:pt x="813" y="282"/>
                </a:cubicBezTo>
                <a:cubicBezTo>
                  <a:pt x="813" y="282"/>
                  <a:pt x="812" y="281"/>
                  <a:pt x="812" y="280"/>
                </a:cubicBezTo>
                <a:cubicBezTo>
                  <a:pt x="812" y="280"/>
                  <a:pt x="813" y="280"/>
                  <a:pt x="813" y="279"/>
                </a:cubicBezTo>
                <a:cubicBezTo>
                  <a:pt x="813" y="279"/>
                  <a:pt x="812" y="279"/>
                  <a:pt x="812" y="279"/>
                </a:cubicBezTo>
                <a:cubicBezTo>
                  <a:pt x="812" y="278"/>
                  <a:pt x="812" y="278"/>
                  <a:pt x="812" y="278"/>
                </a:cubicBezTo>
                <a:cubicBezTo>
                  <a:pt x="812" y="277"/>
                  <a:pt x="812" y="277"/>
                  <a:pt x="812" y="277"/>
                </a:cubicBezTo>
                <a:cubicBezTo>
                  <a:pt x="812" y="276"/>
                  <a:pt x="812" y="276"/>
                  <a:pt x="812" y="275"/>
                </a:cubicBezTo>
                <a:cubicBezTo>
                  <a:pt x="813" y="270"/>
                  <a:pt x="813" y="265"/>
                  <a:pt x="813" y="259"/>
                </a:cubicBezTo>
                <a:cubicBezTo>
                  <a:pt x="813" y="254"/>
                  <a:pt x="813" y="250"/>
                  <a:pt x="813" y="245"/>
                </a:cubicBezTo>
                <a:cubicBezTo>
                  <a:pt x="815" y="226"/>
                  <a:pt x="815" y="226"/>
                  <a:pt x="815" y="226"/>
                </a:cubicBezTo>
                <a:cubicBezTo>
                  <a:pt x="815" y="219"/>
                  <a:pt x="816" y="212"/>
                  <a:pt x="817" y="206"/>
                </a:cubicBezTo>
                <a:cubicBezTo>
                  <a:pt x="817" y="206"/>
                  <a:pt x="818" y="205"/>
                  <a:pt x="818" y="205"/>
                </a:cubicBezTo>
                <a:cubicBezTo>
                  <a:pt x="818" y="204"/>
                  <a:pt x="817" y="204"/>
                  <a:pt x="818" y="204"/>
                </a:cubicBezTo>
                <a:cubicBezTo>
                  <a:pt x="818" y="203"/>
                  <a:pt x="818" y="203"/>
                  <a:pt x="818" y="203"/>
                </a:cubicBezTo>
                <a:cubicBezTo>
                  <a:pt x="819" y="197"/>
                  <a:pt x="820" y="192"/>
                  <a:pt x="822" y="186"/>
                </a:cubicBezTo>
                <a:cubicBezTo>
                  <a:pt x="822" y="185"/>
                  <a:pt x="822" y="186"/>
                  <a:pt x="822" y="186"/>
                </a:cubicBezTo>
                <a:cubicBezTo>
                  <a:pt x="823" y="183"/>
                  <a:pt x="824" y="178"/>
                  <a:pt x="825" y="175"/>
                </a:cubicBezTo>
                <a:cubicBezTo>
                  <a:pt x="825" y="173"/>
                  <a:pt x="825" y="171"/>
                  <a:pt x="826" y="170"/>
                </a:cubicBezTo>
                <a:cubicBezTo>
                  <a:pt x="826" y="169"/>
                  <a:pt x="825" y="169"/>
                  <a:pt x="825" y="169"/>
                </a:cubicBezTo>
                <a:cubicBezTo>
                  <a:pt x="826" y="169"/>
                  <a:pt x="826" y="169"/>
                  <a:pt x="826" y="169"/>
                </a:cubicBezTo>
                <a:cubicBezTo>
                  <a:pt x="826" y="167"/>
                  <a:pt x="826" y="167"/>
                  <a:pt x="826" y="167"/>
                </a:cubicBezTo>
                <a:cubicBezTo>
                  <a:pt x="827" y="164"/>
                  <a:pt x="828" y="160"/>
                  <a:pt x="829" y="156"/>
                </a:cubicBezTo>
                <a:cubicBezTo>
                  <a:pt x="829" y="155"/>
                  <a:pt x="829" y="155"/>
                  <a:pt x="829" y="154"/>
                </a:cubicBezTo>
                <a:cubicBezTo>
                  <a:pt x="830" y="154"/>
                  <a:pt x="830" y="154"/>
                  <a:pt x="829" y="153"/>
                </a:cubicBezTo>
                <a:cubicBezTo>
                  <a:pt x="829" y="153"/>
                  <a:pt x="830" y="151"/>
                  <a:pt x="830" y="152"/>
                </a:cubicBezTo>
                <a:cubicBezTo>
                  <a:pt x="830" y="151"/>
                  <a:pt x="830" y="152"/>
                  <a:pt x="830" y="152"/>
                </a:cubicBezTo>
                <a:cubicBezTo>
                  <a:pt x="831" y="151"/>
                  <a:pt x="831" y="149"/>
                  <a:pt x="831" y="147"/>
                </a:cubicBezTo>
                <a:cubicBezTo>
                  <a:pt x="831" y="146"/>
                  <a:pt x="832" y="144"/>
                  <a:pt x="833" y="142"/>
                </a:cubicBezTo>
                <a:cubicBezTo>
                  <a:pt x="833" y="144"/>
                  <a:pt x="833" y="146"/>
                  <a:pt x="835" y="147"/>
                </a:cubicBezTo>
                <a:cubicBezTo>
                  <a:pt x="836" y="145"/>
                  <a:pt x="836" y="141"/>
                  <a:pt x="837" y="140"/>
                </a:cubicBezTo>
                <a:cubicBezTo>
                  <a:pt x="838" y="135"/>
                  <a:pt x="839" y="130"/>
                  <a:pt x="840" y="125"/>
                </a:cubicBezTo>
                <a:cubicBezTo>
                  <a:pt x="840" y="124"/>
                  <a:pt x="840" y="124"/>
                  <a:pt x="840" y="124"/>
                </a:cubicBezTo>
                <a:cubicBezTo>
                  <a:pt x="842" y="119"/>
                  <a:pt x="842" y="114"/>
                  <a:pt x="844" y="108"/>
                </a:cubicBezTo>
                <a:cubicBezTo>
                  <a:pt x="842" y="119"/>
                  <a:pt x="839" y="128"/>
                  <a:pt x="838" y="138"/>
                </a:cubicBezTo>
                <a:cubicBezTo>
                  <a:pt x="837" y="140"/>
                  <a:pt x="836" y="146"/>
                  <a:pt x="835" y="150"/>
                </a:cubicBezTo>
                <a:cubicBezTo>
                  <a:pt x="835" y="152"/>
                  <a:pt x="836" y="153"/>
                  <a:pt x="838" y="152"/>
                </a:cubicBezTo>
                <a:cubicBezTo>
                  <a:pt x="840" y="150"/>
                  <a:pt x="839" y="147"/>
                  <a:pt x="840" y="145"/>
                </a:cubicBezTo>
                <a:cubicBezTo>
                  <a:pt x="841" y="145"/>
                  <a:pt x="841" y="144"/>
                  <a:pt x="842" y="145"/>
                </a:cubicBezTo>
                <a:cubicBezTo>
                  <a:pt x="842" y="150"/>
                  <a:pt x="840" y="156"/>
                  <a:pt x="840" y="160"/>
                </a:cubicBezTo>
                <a:cubicBezTo>
                  <a:pt x="840" y="161"/>
                  <a:pt x="840" y="162"/>
                  <a:pt x="840" y="163"/>
                </a:cubicBezTo>
                <a:cubicBezTo>
                  <a:pt x="840" y="163"/>
                  <a:pt x="840" y="164"/>
                  <a:pt x="841" y="164"/>
                </a:cubicBezTo>
                <a:cubicBezTo>
                  <a:pt x="841" y="164"/>
                  <a:pt x="841" y="164"/>
                  <a:pt x="842" y="164"/>
                </a:cubicBezTo>
                <a:cubicBezTo>
                  <a:pt x="842" y="159"/>
                  <a:pt x="846" y="156"/>
                  <a:pt x="846" y="151"/>
                </a:cubicBezTo>
                <a:cubicBezTo>
                  <a:pt x="847" y="150"/>
                  <a:pt x="848" y="149"/>
                  <a:pt x="849" y="149"/>
                </a:cubicBezTo>
                <a:cubicBezTo>
                  <a:pt x="849" y="147"/>
                  <a:pt x="850" y="145"/>
                  <a:pt x="850" y="143"/>
                </a:cubicBezTo>
                <a:cubicBezTo>
                  <a:pt x="850" y="142"/>
                  <a:pt x="850" y="142"/>
                  <a:pt x="850" y="142"/>
                </a:cubicBezTo>
                <a:cubicBezTo>
                  <a:pt x="851" y="137"/>
                  <a:pt x="851" y="133"/>
                  <a:pt x="853" y="129"/>
                </a:cubicBezTo>
                <a:cubicBezTo>
                  <a:pt x="853" y="133"/>
                  <a:pt x="852" y="136"/>
                  <a:pt x="851" y="140"/>
                </a:cubicBezTo>
                <a:cubicBezTo>
                  <a:pt x="851" y="140"/>
                  <a:pt x="852" y="141"/>
                  <a:pt x="852" y="141"/>
                </a:cubicBezTo>
                <a:cubicBezTo>
                  <a:pt x="851" y="144"/>
                  <a:pt x="850" y="149"/>
                  <a:pt x="849" y="152"/>
                </a:cubicBezTo>
                <a:cubicBezTo>
                  <a:pt x="850" y="153"/>
                  <a:pt x="851" y="153"/>
                  <a:pt x="851" y="152"/>
                </a:cubicBezTo>
                <a:cubicBezTo>
                  <a:pt x="851" y="152"/>
                  <a:pt x="851" y="153"/>
                  <a:pt x="851" y="153"/>
                </a:cubicBezTo>
                <a:cubicBezTo>
                  <a:pt x="851" y="153"/>
                  <a:pt x="851" y="153"/>
                  <a:pt x="852" y="153"/>
                </a:cubicBezTo>
                <a:cubicBezTo>
                  <a:pt x="851" y="155"/>
                  <a:pt x="851" y="155"/>
                  <a:pt x="851" y="157"/>
                </a:cubicBezTo>
                <a:cubicBezTo>
                  <a:pt x="851" y="158"/>
                  <a:pt x="851" y="158"/>
                  <a:pt x="852" y="158"/>
                </a:cubicBezTo>
                <a:cubicBezTo>
                  <a:pt x="852" y="156"/>
                  <a:pt x="853" y="155"/>
                  <a:pt x="853" y="153"/>
                </a:cubicBezTo>
                <a:cubicBezTo>
                  <a:pt x="853" y="152"/>
                  <a:pt x="853" y="151"/>
                  <a:pt x="853" y="151"/>
                </a:cubicBezTo>
                <a:cubicBezTo>
                  <a:pt x="853" y="150"/>
                  <a:pt x="853" y="150"/>
                  <a:pt x="854" y="150"/>
                </a:cubicBezTo>
                <a:cubicBezTo>
                  <a:pt x="854" y="149"/>
                  <a:pt x="853" y="149"/>
                  <a:pt x="853" y="148"/>
                </a:cubicBezTo>
                <a:cubicBezTo>
                  <a:pt x="853" y="148"/>
                  <a:pt x="854" y="148"/>
                  <a:pt x="854" y="147"/>
                </a:cubicBezTo>
                <a:cubicBezTo>
                  <a:pt x="855" y="145"/>
                  <a:pt x="854" y="143"/>
                  <a:pt x="855" y="141"/>
                </a:cubicBezTo>
                <a:cubicBezTo>
                  <a:pt x="855" y="140"/>
                  <a:pt x="856" y="139"/>
                  <a:pt x="857" y="137"/>
                </a:cubicBezTo>
                <a:cubicBezTo>
                  <a:pt x="857" y="138"/>
                  <a:pt x="856" y="139"/>
                  <a:pt x="856" y="140"/>
                </a:cubicBezTo>
                <a:cubicBezTo>
                  <a:pt x="855" y="144"/>
                  <a:pt x="856" y="148"/>
                  <a:pt x="855" y="151"/>
                </a:cubicBezTo>
                <a:cubicBezTo>
                  <a:pt x="856" y="152"/>
                  <a:pt x="856" y="151"/>
                  <a:pt x="857" y="151"/>
                </a:cubicBezTo>
                <a:cubicBezTo>
                  <a:pt x="857" y="150"/>
                  <a:pt x="857" y="149"/>
                  <a:pt x="857" y="148"/>
                </a:cubicBezTo>
                <a:cubicBezTo>
                  <a:pt x="857" y="148"/>
                  <a:pt x="857" y="149"/>
                  <a:pt x="857" y="148"/>
                </a:cubicBezTo>
                <a:cubicBezTo>
                  <a:pt x="857" y="146"/>
                  <a:pt x="857" y="144"/>
                  <a:pt x="858" y="141"/>
                </a:cubicBezTo>
                <a:cubicBezTo>
                  <a:pt x="858" y="141"/>
                  <a:pt x="858" y="140"/>
                  <a:pt x="859" y="141"/>
                </a:cubicBezTo>
                <a:cubicBezTo>
                  <a:pt x="859" y="140"/>
                  <a:pt x="859" y="140"/>
                  <a:pt x="860" y="140"/>
                </a:cubicBezTo>
                <a:cubicBezTo>
                  <a:pt x="860" y="139"/>
                  <a:pt x="859" y="140"/>
                  <a:pt x="859" y="140"/>
                </a:cubicBezTo>
                <a:cubicBezTo>
                  <a:pt x="860" y="139"/>
                  <a:pt x="859" y="138"/>
                  <a:pt x="860" y="138"/>
                </a:cubicBezTo>
                <a:cubicBezTo>
                  <a:pt x="860" y="134"/>
                  <a:pt x="861" y="132"/>
                  <a:pt x="861" y="128"/>
                </a:cubicBezTo>
                <a:cubicBezTo>
                  <a:pt x="861" y="131"/>
                  <a:pt x="861" y="134"/>
                  <a:pt x="860" y="137"/>
                </a:cubicBezTo>
                <a:cubicBezTo>
                  <a:pt x="860" y="138"/>
                  <a:pt x="861" y="137"/>
                  <a:pt x="861" y="138"/>
                </a:cubicBezTo>
                <a:cubicBezTo>
                  <a:pt x="861" y="139"/>
                  <a:pt x="860" y="139"/>
                  <a:pt x="860" y="140"/>
                </a:cubicBezTo>
                <a:cubicBezTo>
                  <a:pt x="860" y="141"/>
                  <a:pt x="860" y="142"/>
                  <a:pt x="860" y="143"/>
                </a:cubicBezTo>
                <a:cubicBezTo>
                  <a:pt x="860" y="144"/>
                  <a:pt x="859" y="145"/>
                  <a:pt x="859" y="146"/>
                </a:cubicBezTo>
                <a:cubicBezTo>
                  <a:pt x="860" y="147"/>
                  <a:pt x="860" y="148"/>
                  <a:pt x="860" y="149"/>
                </a:cubicBezTo>
                <a:cubicBezTo>
                  <a:pt x="860" y="150"/>
                  <a:pt x="860" y="149"/>
                  <a:pt x="860" y="150"/>
                </a:cubicBezTo>
                <a:cubicBezTo>
                  <a:pt x="861" y="151"/>
                  <a:pt x="861" y="150"/>
                  <a:pt x="862" y="150"/>
                </a:cubicBezTo>
                <a:cubicBezTo>
                  <a:pt x="862" y="151"/>
                  <a:pt x="861" y="150"/>
                  <a:pt x="861" y="151"/>
                </a:cubicBezTo>
                <a:cubicBezTo>
                  <a:pt x="861" y="151"/>
                  <a:pt x="861" y="152"/>
                  <a:pt x="862" y="152"/>
                </a:cubicBezTo>
                <a:cubicBezTo>
                  <a:pt x="861" y="154"/>
                  <a:pt x="861" y="155"/>
                  <a:pt x="861" y="157"/>
                </a:cubicBezTo>
                <a:cubicBezTo>
                  <a:pt x="861" y="157"/>
                  <a:pt x="861" y="156"/>
                  <a:pt x="861" y="157"/>
                </a:cubicBezTo>
                <a:cubicBezTo>
                  <a:pt x="861" y="157"/>
                  <a:pt x="861" y="160"/>
                  <a:pt x="861" y="160"/>
                </a:cubicBezTo>
                <a:cubicBezTo>
                  <a:pt x="861" y="162"/>
                  <a:pt x="861" y="163"/>
                  <a:pt x="860" y="165"/>
                </a:cubicBezTo>
                <a:cubicBezTo>
                  <a:pt x="860" y="166"/>
                  <a:pt x="861" y="165"/>
                  <a:pt x="861" y="166"/>
                </a:cubicBezTo>
                <a:cubicBezTo>
                  <a:pt x="861" y="167"/>
                  <a:pt x="861" y="168"/>
                  <a:pt x="860" y="169"/>
                </a:cubicBezTo>
                <a:cubicBezTo>
                  <a:pt x="861" y="170"/>
                  <a:pt x="861" y="172"/>
                  <a:pt x="860" y="173"/>
                </a:cubicBezTo>
                <a:cubicBezTo>
                  <a:pt x="861" y="173"/>
                  <a:pt x="861" y="172"/>
                  <a:pt x="862" y="172"/>
                </a:cubicBezTo>
                <a:cubicBezTo>
                  <a:pt x="862" y="172"/>
                  <a:pt x="861" y="173"/>
                  <a:pt x="861" y="174"/>
                </a:cubicBezTo>
                <a:cubicBezTo>
                  <a:pt x="861" y="178"/>
                  <a:pt x="862" y="181"/>
                  <a:pt x="861" y="186"/>
                </a:cubicBezTo>
                <a:cubicBezTo>
                  <a:pt x="861" y="187"/>
                  <a:pt x="862" y="187"/>
                  <a:pt x="861" y="188"/>
                </a:cubicBezTo>
                <a:cubicBezTo>
                  <a:pt x="861" y="188"/>
                  <a:pt x="862" y="188"/>
                  <a:pt x="862" y="188"/>
                </a:cubicBezTo>
                <a:cubicBezTo>
                  <a:pt x="862" y="190"/>
                  <a:pt x="860" y="196"/>
                  <a:pt x="862" y="198"/>
                </a:cubicBezTo>
                <a:cubicBezTo>
                  <a:pt x="861" y="198"/>
                  <a:pt x="861" y="197"/>
                  <a:pt x="861" y="198"/>
                </a:cubicBezTo>
                <a:cubicBezTo>
                  <a:pt x="861" y="199"/>
                  <a:pt x="860" y="200"/>
                  <a:pt x="861" y="201"/>
                </a:cubicBezTo>
                <a:cubicBezTo>
                  <a:pt x="861" y="204"/>
                  <a:pt x="860" y="206"/>
                  <a:pt x="861" y="208"/>
                </a:cubicBezTo>
                <a:cubicBezTo>
                  <a:pt x="860" y="209"/>
                  <a:pt x="860" y="210"/>
                  <a:pt x="860" y="210"/>
                </a:cubicBezTo>
                <a:cubicBezTo>
                  <a:pt x="860" y="211"/>
                  <a:pt x="860" y="213"/>
                  <a:pt x="860" y="214"/>
                </a:cubicBezTo>
                <a:cubicBezTo>
                  <a:pt x="859" y="231"/>
                  <a:pt x="857" y="248"/>
                  <a:pt x="857" y="264"/>
                </a:cubicBezTo>
                <a:cubicBezTo>
                  <a:pt x="856" y="268"/>
                  <a:pt x="857" y="273"/>
                  <a:pt x="857" y="277"/>
                </a:cubicBezTo>
                <a:cubicBezTo>
                  <a:pt x="857" y="277"/>
                  <a:pt x="857" y="277"/>
                  <a:pt x="857" y="278"/>
                </a:cubicBezTo>
                <a:cubicBezTo>
                  <a:pt x="857" y="279"/>
                  <a:pt x="857" y="279"/>
                  <a:pt x="857" y="279"/>
                </a:cubicBezTo>
                <a:cubicBezTo>
                  <a:pt x="857" y="280"/>
                  <a:pt x="857" y="281"/>
                  <a:pt x="857" y="282"/>
                </a:cubicBezTo>
                <a:cubicBezTo>
                  <a:pt x="857" y="291"/>
                  <a:pt x="857" y="302"/>
                  <a:pt x="859" y="311"/>
                </a:cubicBezTo>
                <a:cubicBezTo>
                  <a:pt x="858" y="317"/>
                  <a:pt x="860" y="324"/>
                  <a:pt x="860" y="331"/>
                </a:cubicBezTo>
                <a:cubicBezTo>
                  <a:pt x="860" y="334"/>
                  <a:pt x="860" y="336"/>
                  <a:pt x="860" y="339"/>
                </a:cubicBezTo>
                <a:cubicBezTo>
                  <a:pt x="861" y="340"/>
                  <a:pt x="861" y="342"/>
                  <a:pt x="861" y="343"/>
                </a:cubicBezTo>
                <a:cubicBezTo>
                  <a:pt x="861" y="345"/>
                  <a:pt x="861" y="347"/>
                  <a:pt x="861" y="349"/>
                </a:cubicBezTo>
                <a:cubicBezTo>
                  <a:pt x="861" y="350"/>
                  <a:pt x="861" y="350"/>
                  <a:pt x="861" y="350"/>
                </a:cubicBezTo>
                <a:cubicBezTo>
                  <a:pt x="861" y="351"/>
                  <a:pt x="861" y="351"/>
                  <a:pt x="861" y="351"/>
                </a:cubicBezTo>
                <a:cubicBezTo>
                  <a:pt x="861" y="351"/>
                  <a:pt x="861" y="351"/>
                  <a:pt x="861" y="351"/>
                </a:cubicBezTo>
                <a:cubicBezTo>
                  <a:pt x="861" y="351"/>
                  <a:pt x="860" y="350"/>
                  <a:pt x="860" y="350"/>
                </a:cubicBezTo>
                <a:cubicBezTo>
                  <a:pt x="859" y="350"/>
                  <a:pt x="858" y="350"/>
                  <a:pt x="857" y="349"/>
                </a:cubicBezTo>
                <a:cubicBezTo>
                  <a:pt x="854" y="349"/>
                  <a:pt x="853" y="349"/>
                  <a:pt x="851" y="348"/>
                </a:cubicBezTo>
                <a:cubicBezTo>
                  <a:pt x="843" y="346"/>
                  <a:pt x="834" y="342"/>
                  <a:pt x="826" y="340"/>
                </a:cubicBezTo>
                <a:cubicBezTo>
                  <a:pt x="824" y="340"/>
                  <a:pt x="821" y="338"/>
                  <a:pt x="819" y="338"/>
                </a:cubicBezTo>
                <a:cubicBezTo>
                  <a:pt x="818" y="338"/>
                  <a:pt x="817" y="338"/>
                  <a:pt x="816" y="337"/>
                </a:cubicBezTo>
                <a:cubicBezTo>
                  <a:pt x="812" y="336"/>
                  <a:pt x="807" y="334"/>
                  <a:pt x="803" y="334"/>
                </a:cubicBezTo>
                <a:cubicBezTo>
                  <a:pt x="801" y="333"/>
                  <a:pt x="799" y="332"/>
                  <a:pt x="797" y="331"/>
                </a:cubicBezTo>
                <a:cubicBezTo>
                  <a:pt x="794" y="331"/>
                  <a:pt x="792" y="330"/>
                  <a:pt x="790" y="330"/>
                </a:cubicBezTo>
                <a:cubicBezTo>
                  <a:pt x="789" y="329"/>
                  <a:pt x="788" y="329"/>
                  <a:pt x="788" y="329"/>
                </a:cubicBezTo>
                <a:cubicBezTo>
                  <a:pt x="787" y="329"/>
                  <a:pt x="787" y="329"/>
                  <a:pt x="786" y="328"/>
                </a:cubicBezTo>
                <a:cubicBezTo>
                  <a:pt x="783" y="328"/>
                  <a:pt x="779" y="327"/>
                  <a:pt x="776" y="325"/>
                </a:cubicBezTo>
                <a:cubicBezTo>
                  <a:pt x="775" y="325"/>
                  <a:pt x="775" y="325"/>
                  <a:pt x="775" y="326"/>
                </a:cubicBezTo>
                <a:cubicBezTo>
                  <a:pt x="773" y="324"/>
                  <a:pt x="770" y="325"/>
                  <a:pt x="768" y="324"/>
                </a:cubicBezTo>
                <a:cubicBezTo>
                  <a:pt x="767" y="324"/>
                  <a:pt x="767" y="324"/>
                  <a:pt x="767" y="324"/>
                </a:cubicBezTo>
                <a:cubicBezTo>
                  <a:pt x="766" y="323"/>
                  <a:pt x="765" y="323"/>
                  <a:pt x="763" y="323"/>
                </a:cubicBezTo>
                <a:cubicBezTo>
                  <a:pt x="759" y="321"/>
                  <a:pt x="755" y="321"/>
                  <a:pt x="751" y="319"/>
                </a:cubicBezTo>
                <a:cubicBezTo>
                  <a:pt x="749" y="320"/>
                  <a:pt x="746" y="319"/>
                  <a:pt x="744" y="318"/>
                </a:cubicBezTo>
                <a:cubicBezTo>
                  <a:pt x="743" y="318"/>
                  <a:pt x="743" y="319"/>
                  <a:pt x="742" y="318"/>
                </a:cubicBezTo>
                <a:cubicBezTo>
                  <a:pt x="741" y="318"/>
                  <a:pt x="741" y="318"/>
                  <a:pt x="741" y="318"/>
                </a:cubicBezTo>
                <a:cubicBezTo>
                  <a:pt x="740" y="318"/>
                  <a:pt x="740" y="318"/>
                  <a:pt x="739" y="318"/>
                </a:cubicBezTo>
                <a:cubicBezTo>
                  <a:pt x="738" y="317"/>
                  <a:pt x="738" y="317"/>
                  <a:pt x="737" y="316"/>
                </a:cubicBezTo>
                <a:cubicBezTo>
                  <a:pt x="736" y="316"/>
                  <a:pt x="736" y="317"/>
                  <a:pt x="735" y="316"/>
                </a:cubicBezTo>
                <a:cubicBezTo>
                  <a:pt x="734" y="316"/>
                  <a:pt x="733" y="315"/>
                  <a:pt x="733" y="315"/>
                </a:cubicBezTo>
                <a:cubicBezTo>
                  <a:pt x="731" y="315"/>
                  <a:pt x="729" y="316"/>
                  <a:pt x="727" y="314"/>
                </a:cubicBezTo>
                <a:cubicBezTo>
                  <a:pt x="725" y="314"/>
                  <a:pt x="724" y="313"/>
                  <a:pt x="722" y="313"/>
                </a:cubicBezTo>
                <a:cubicBezTo>
                  <a:pt x="721" y="313"/>
                  <a:pt x="720" y="313"/>
                  <a:pt x="719" y="313"/>
                </a:cubicBezTo>
                <a:cubicBezTo>
                  <a:pt x="718" y="313"/>
                  <a:pt x="718" y="313"/>
                  <a:pt x="717" y="313"/>
                </a:cubicBezTo>
                <a:cubicBezTo>
                  <a:pt x="715" y="312"/>
                  <a:pt x="713" y="313"/>
                  <a:pt x="711" y="311"/>
                </a:cubicBezTo>
                <a:cubicBezTo>
                  <a:pt x="708" y="312"/>
                  <a:pt x="703" y="309"/>
                  <a:pt x="701" y="311"/>
                </a:cubicBezTo>
                <a:cubicBezTo>
                  <a:pt x="701" y="312"/>
                  <a:pt x="700" y="313"/>
                  <a:pt x="699" y="313"/>
                </a:cubicBezTo>
                <a:cubicBezTo>
                  <a:pt x="698" y="313"/>
                  <a:pt x="698" y="312"/>
                  <a:pt x="697" y="311"/>
                </a:cubicBezTo>
                <a:cubicBezTo>
                  <a:pt x="696" y="311"/>
                  <a:pt x="693" y="310"/>
                  <a:pt x="692" y="310"/>
                </a:cubicBezTo>
                <a:cubicBezTo>
                  <a:pt x="691" y="310"/>
                  <a:pt x="691" y="311"/>
                  <a:pt x="690" y="311"/>
                </a:cubicBezTo>
                <a:cubicBezTo>
                  <a:pt x="689" y="311"/>
                  <a:pt x="688" y="309"/>
                  <a:pt x="687" y="309"/>
                </a:cubicBezTo>
                <a:cubicBezTo>
                  <a:pt x="686" y="309"/>
                  <a:pt x="685" y="310"/>
                  <a:pt x="684" y="310"/>
                </a:cubicBezTo>
                <a:cubicBezTo>
                  <a:pt x="683" y="309"/>
                  <a:pt x="682" y="308"/>
                  <a:pt x="682" y="307"/>
                </a:cubicBezTo>
                <a:cubicBezTo>
                  <a:pt x="682" y="307"/>
                  <a:pt x="682" y="307"/>
                  <a:pt x="681" y="307"/>
                </a:cubicBezTo>
                <a:cubicBezTo>
                  <a:pt x="680" y="305"/>
                  <a:pt x="677" y="304"/>
                  <a:pt x="674" y="304"/>
                </a:cubicBezTo>
                <a:cubicBezTo>
                  <a:pt x="674" y="303"/>
                  <a:pt x="673" y="303"/>
                  <a:pt x="673" y="303"/>
                </a:cubicBezTo>
                <a:cubicBezTo>
                  <a:pt x="670" y="302"/>
                  <a:pt x="668" y="299"/>
                  <a:pt x="666" y="296"/>
                </a:cubicBezTo>
                <a:cubicBezTo>
                  <a:pt x="666" y="296"/>
                  <a:pt x="665" y="296"/>
                  <a:pt x="665" y="295"/>
                </a:cubicBezTo>
                <a:cubicBezTo>
                  <a:pt x="664" y="294"/>
                  <a:pt x="664" y="293"/>
                  <a:pt x="663" y="292"/>
                </a:cubicBezTo>
                <a:cubicBezTo>
                  <a:pt x="663" y="291"/>
                  <a:pt x="662" y="291"/>
                  <a:pt x="662" y="290"/>
                </a:cubicBezTo>
                <a:cubicBezTo>
                  <a:pt x="662" y="288"/>
                  <a:pt x="661" y="287"/>
                  <a:pt x="660" y="286"/>
                </a:cubicBezTo>
                <a:cubicBezTo>
                  <a:pt x="660" y="285"/>
                  <a:pt x="659" y="284"/>
                  <a:pt x="659" y="283"/>
                </a:cubicBezTo>
                <a:cubicBezTo>
                  <a:pt x="658" y="281"/>
                  <a:pt x="659" y="279"/>
                  <a:pt x="658" y="277"/>
                </a:cubicBezTo>
                <a:cubicBezTo>
                  <a:pt x="659" y="274"/>
                  <a:pt x="659" y="271"/>
                  <a:pt x="660" y="267"/>
                </a:cubicBezTo>
                <a:cubicBezTo>
                  <a:pt x="660" y="267"/>
                  <a:pt x="659" y="267"/>
                  <a:pt x="660" y="266"/>
                </a:cubicBezTo>
                <a:cubicBezTo>
                  <a:pt x="661" y="265"/>
                  <a:pt x="661" y="263"/>
                  <a:pt x="662" y="261"/>
                </a:cubicBezTo>
                <a:cubicBezTo>
                  <a:pt x="663" y="261"/>
                  <a:pt x="663" y="260"/>
                  <a:pt x="664" y="260"/>
                </a:cubicBezTo>
                <a:cubicBezTo>
                  <a:pt x="665" y="259"/>
                  <a:pt x="665" y="258"/>
                  <a:pt x="666" y="257"/>
                </a:cubicBezTo>
                <a:cubicBezTo>
                  <a:pt x="670" y="256"/>
                  <a:pt x="673" y="253"/>
                  <a:pt x="677" y="251"/>
                </a:cubicBezTo>
                <a:cubicBezTo>
                  <a:pt x="677" y="251"/>
                  <a:pt x="678" y="251"/>
                  <a:pt x="678" y="251"/>
                </a:cubicBezTo>
                <a:cubicBezTo>
                  <a:pt x="680" y="250"/>
                  <a:pt x="682" y="250"/>
                  <a:pt x="684" y="249"/>
                </a:cubicBezTo>
                <a:cubicBezTo>
                  <a:pt x="685" y="248"/>
                  <a:pt x="687" y="249"/>
                  <a:pt x="689" y="249"/>
                </a:cubicBezTo>
                <a:cubicBezTo>
                  <a:pt x="690" y="249"/>
                  <a:pt x="690" y="248"/>
                  <a:pt x="692" y="249"/>
                </a:cubicBezTo>
                <a:cubicBezTo>
                  <a:pt x="693" y="249"/>
                  <a:pt x="695" y="248"/>
                  <a:pt x="696" y="248"/>
                </a:cubicBezTo>
                <a:cubicBezTo>
                  <a:pt x="698" y="248"/>
                  <a:pt x="700" y="249"/>
                  <a:pt x="701" y="250"/>
                </a:cubicBezTo>
                <a:cubicBezTo>
                  <a:pt x="702" y="250"/>
                  <a:pt x="703" y="249"/>
                  <a:pt x="704" y="250"/>
                </a:cubicBezTo>
                <a:cubicBezTo>
                  <a:pt x="705" y="250"/>
                  <a:pt x="706" y="252"/>
                  <a:pt x="707" y="252"/>
                </a:cubicBezTo>
                <a:close/>
                <a:moveTo>
                  <a:pt x="858" y="156"/>
                </a:moveTo>
                <a:cubicBezTo>
                  <a:pt x="858" y="156"/>
                  <a:pt x="858" y="156"/>
                  <a:pt x="858" y="156"/>
                </a:cubicBezTo>
                <a:cubicBezTo>
                  <a:pt x="858" y="157"/>
                  <a:pt x="859" y="156"/>
                  <a:pt x="858" y="156"/>
                </a:cubicBezTo>
                <a:close/>
                <a:moveTo>
                  <a:pt x="859" y="156"/>
                </a:moveTo>
                <a:cubicBezTo>
                  <a:pt x="860" y="155"/>
                  <a:pt x="859" y="154"/>
                  <a:pt x="860" y="152"/>
                </a:cubicBezTo>
                <a:cubicBezTo>
                  <a:pt x="859" y="152"/>
                  <a:pt x="859" y="152"/>
                  <a:pt x="860" y="151"/>
                </a:cubicBezTo>
                <a:cubicBezTo>
                  <a:pt x="859" y="150"/>
                  <a:pt x="860" y="148"/>
                  <a:pt x="858" y="148"/>
                </a:cubicBezTo>
                <a:cubicBezTo>
                  <a:pt x="858" y="149"/>
                  <a:pt x="858" y="150"/>
                  <a:pt x="857" y="151"/>
                </a:cubicBezTo>
                <a:cubicBezTo>
                  <a:pt x="857" y="151"/>
                  <a:pt x="858" y="151"/>
                  <a:pt x="858" y="151"/>
                </a:cubicBezTo>
                <a:cubicBezTo>
                  <a:pt x="858" y="152"/>
                  <a:pt x="858" y="154"/>
                  <a:pt x="858" y="156"/>
                </a:cubicBezTo>
                <a:cubicBezTo>
                  <a:pt x="858" y="156"/>
                  <a:pt x="858" y="155"/>
                  <a:pt x="859" y="156"/>
                </a:cubicBezTo>
                <a:close/>
              </a:path>
            </a:pathLst>
          </a:custGeom>
          <a:solidFill>
            <a:srgbClr val="FF5050"/>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9"/>
          <p:cNvSpPr>
            <a:spLocks noChangeAspect="1" noEditPoints="1"/>
          </p:cNvSpPr>
          <p:nvPr/>
        </p:nvSpPr>
        <p:spPr bwMode="auto">
          <a:xfrm>
            <a:off x="2706891" y="2890507"/>
            <a:ext cx="1104599" cy="742950"/>
          </a:xfrm>
          <a:custGeom>
            <a:avLst/>
            <a:gdLst>
              <a:gd name="T0" fmla="*/ 715 w 868"/>
              <a:gd name="T1" fmla="*/ 128 h 351"/>
              <a:gd name="T2" fmla="*/ 363 w 868"/>
              <a:gd name="T3" fmla="*/ 50 h 351"/>
              <a:gd name="T4" fmla="*/ 226 w 868"/>
              <a:gd name="T5" fmla="*/ 94 h 351"/>
              <a:gd name="T6" fmla="*/ 155 w 868"/>
              <a:gd name="T7" fmla="*/ 112 h 351"/>
              <a:gd name="T8" fmla="*/ 111 w 868"/>
              <a:gd name="T9" fmla="*/ 138 h 351"/>
              <a:gd name="T10" fmla="*/ 85 w 868"/>
              <a:gd name="T11" fmla="*/ 163 h 351"/>
              <a:gd name="T12" fmla="*/ 104 w 868"/>
              <a:gd name="T13" fmla="*/ 185 h 351"/>
              <a:gd name="T14" fmla="*/ 69 w 868"/>
              <a:gd name="T15" fmla="*/ 174 h 351"/>
              <a:gd name="T16" fmla="*/ 92 w 868"/>
              <a:gd name="T17" fmla="*/ 203 h 351"/>
              <a:gd name="T18" fmla="*/ 66 w 868"/>
              <a:gd name="T19" fmla="*/ 192 h 351"/>
              <a:gd name="T20" fmla="*/ 75 w 868"/>
              <a:gd name="T21" fmla="*/ 207 h 351"/>
              <a:gd name="T22" fmla="*/ 72 w 868"/>
              <a:gd name="T23" fmla="*/ 224 h 351"/>
              <a:gd name="T24" fmla="*/ 64 w 868"/>
              <a:gd name="T25" fmla="*/ 228 h 351"/>
              <a:gd name="T26" fmla="*/ 29 w 868"/>
              <a:gd name="T27" fmla="*/ 217 h 351"/>
              <a:gd name="T28" fmla="*/ 31 w 868"/>
              <a:gd name="T29" fmla="*/ 228 h 351"/>
              <a:gd name="T30" fmla="*/ 53 w 868"/>
              <a:gd name="T31" fmla="*/ 253 h 351"/>
              <a:gd name="T32" fmla="*/ 36 w 868"/>
              <a:gd name="T33" fmla="*/ 257 h 351"/>
              <a:gd name="T34" fmla="*/ 774 w 868"/>
              <a:gd name="T35" fmla="*/ 258 h 351"/>
              <a:gd name="T36" fmla="*/ 640 w 868"/>
              <a:gd name="T37" fmla="*/ 136 h 351"/>
              <a:gd name="T38" fmla="*/ 376 w 868"/>
              <a:gd name="T39" fmla="*/ 47 h 351"/>
              <a:gd name="T40" fmla="*/ 235 w 868"/>
              <a:gd name="T41" fmla="*/ 76 h 351"/>
              <a:gd name="T42" fmla="*/ 221 w 868"/>
              <a:gd name="T43" fmla="*/ 70 h 351"/>
              <a:gd name="T44" fmla="*/ 180 w 868"/>
              <a:gd name="T45" fmla="*/ 89 h 351"/>
              <a:gd name="T46" fmla="*/ 168 w 868"/>
              <a:gd name="T47" fmla="*/ 110 h 351"/>
              <a:gd name="T48" fmla="*/ 140 w 868"/>
              <a:gd name="T49" fmla="*/ 145 h 351"/>
              <a:gd name="T50" fmla="*/ 81 w 868"/>
              <a:gd name="T51" fmla="*/ 192 h 351"/>
              <a:gd name="T52" fmla="*/ 126 w 868"/>
              <a:gd name="T53" fmla="*/ 134 h 351"/>
              <a:gd name="T54" fmla="*/ 253 w 868"/>
              <a:gd name="T55" fmla="*/ 36 h 351"/>
              <a:gd name="T56" fmla="*/ 399 w 868"/>
              <a:gd name="T57" fmla="*/ 2 h 351"/>
              <a:gd name="T58" fmla="*/ 510 w 868"/>
              <a:gd name="T59" fmla="*/ 14 h 351"/>
              <a:gd name="T60" fmla="*/ 732 w 868"/>
              <a:gd name="T61" fmla="*/ 145 h 351"/>
              <a:gd name="T62" fmla="*/ 794 w 868"/>
              <a:gd name="T63" fmla="*/ 260 h 351"/>
              <a:gd name="T64" fmla="*/ 787 w 868"/>
              <a:gd name="T65" fmla="*/ 222 h 351"/>
              <a:gd name="T66" fmla="*/ 721 w 868"/>
              <a:gd name="T67" fmla="*/ 150 h 351"/>
              <a:gd name="T68" fmla="*/ 533 w 868"/>
              <a:gd name="T69" fmla="*/ 22 h 351"/>
              <a:gd name="T70" fmla="*/ 380 w 868"/>
              <a:gd name="T71" fmla="*/ 47 h 351"/>
              <a:gd name="T72" fmla="*/ 307 w 868"/>
              <a:gd name="T73" fmla="*/ 53 h 351"/>
              <a:gd name="T74" fmla="*/ 281 w 868"/>
              <a:gd name="T75" fmla="*/ 47 h 351"/>
              <a:gd name="T76" fmla="*/ 242 w 868"/>
              <a:gd name="T77" fmla="*/ 43 h 351"/>
              <a:gd name="T78" fmla="*/ 222 w 868"/>
              <a:gd name="T79" fmla="*/ 51 h 351"/>
              <a:gd name="T80" fmla="*/ 197 w 868"/>
              <a:gd name="T81" fmla="*/ 73 h 351"/>
              <a:gd name="T82" fmla="*/ 164 w 868"/>
              <a:gd name="T83" fmla="*/ 99 h 351"/>
              <a:gd name="T84" fmla="*/ 142 w 868"/>
              <a:gd name="T85" fmla="*/ 117 h 351"/>
              <a:gd name="T86" fmla="*/ 141 w 868"/>
              <a:gd name="T87" fmla="*/ 138 h 351"/>
              <a:gd name="T88" fmla="*/ 124 w 868"/>
              <a:gd name="T89" fmla="*/ 129 h 351"/>
              <a:gd name="T90" fmla="*/ 113 w 868"/>
              <a:gd name="T91" fmla="*/ 142 h 351"/>
              <a:gd name="T92" fmla="*/ 337 w 868"/>
              <a:gd name="T93" fmla="*/ 9 h 351"/>
              <a:gd name="T94" fmla="*/ 168 w 868"/>
              <a:gd name="T95" fmla="*/ 125 h 351"/>
              <a:gd name="T96" fmla="*/ 197 w 868"/>
              <a:gd name="T97" fmla="*/ 105 h 351"/>
              <a:gd name="T98" fmla="*/ 131 w 868"/>
              <a:gd name="T99" fmla="*/ 159 h 351"/>
              <a:gd name="T100" fmla="*/ 88 w 868"/>
              <a:gd name="T101" fmla="*/ 171 h 351"/>
              <a:gd name="T102" fmla="*/ 85 w 868"/>
              <a:gd name="T103" fmla="*/ 191 h 351"/>
              <a:gd name="T104" fmla="*/ 79 w 868"/>
              <a:gd name="T105" fmla="*/ 215 h 351"/>
              <a:gd name="T106" fmla="*/ 48 w 868"/>
              <a:gd name="T107" fmla="*/ 193 h 351"/>
              <a:gd name="T108" fmla="*/ 64 w 868"/>
              <a:gd name="T109" fmla="*/ 238 h 351"/>
              <a:gd name="T110" fmla="*/ 17 w 868"/>
              <a:gd name="T111" fmla="*/ 235 h 351"/>
              <a:gd name="T112" fmla="*/ 87 w 868"/>
              <a:gd name="T113" fmla="*/ 158 h 351"/>
              <a:gd name="T114" fmla="*/ 865 w 868"/>
              <a:gd name="T115" fmla="*/ 172 h 351"/>
              <a:gd name="T116" fmla="*/ 859 w 868"/>
              <a:gd name="T117" fmla="*/ 117 h 351"/>
              <a:gd name="T118" fmla="*/ 782 w 868"/>
              <a:gd name="T119" fmla="*/ 277 h 351"/>
              <a:gd name="T120" fmla="*/ 841 w 868"/>
              <a:gd name="T121" fmla="*/ 164 h 351"/>
              <a:gd name="T122" fmla="*/ 861 w 868"/>
              <a:gd name="T123" fmla="*/ 201 h 351"/>
              <a:gd name="T124" fmla="*/ 666 w 868"/>
              <a:gd name="T125" fmla="*/ 29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8" h="351">
                <a:moveTo>
                  <a:pt x="813" y="278"/>
                </a:moveTo>
                <a:cubicBezTo>
                  <a:pt x="812" y="276"/>
                  <a:pt x="811" y="275"/>
                  <a:pt x="812" y="275"/>
                </a:cubicBezTo>
                <a:cubicBezTo>
                  <a:pt x="813" y="277"/>
                  <a:pt x="813" y="278"/>
                  <a:pt x="813" y="278"/>
                </a:cubicBezTo>
                <a:close/>
                <a:moveTo>
                  <a:pt x="812" y="266"/>
                </a:moveTo>
                <a:cubicBezTo>
                  <a:pt x="813" y="269"/>
                  <a:pt x="814" y="269"/>
                  <a:pt x="814" y="271"/>
                </a:cubicBezTo>
                <a:cubicBezTo>
                  <a:pt x="813" y="267"/>
                  <a:pt x="813" y="271"/>
                  <a:pt x="813" y="270"/>
                </a:cubicBezTo>
                <a:cubicBezTo>
                  <a:pt x="815" y="276"/>
                  <a:pt x="814" y="270"/>
                  <a:pt x="815" y="272"/>
                </a:cubicBezTo>
                <a:cubicBezTo>
                  <a:pt x="814" y="268"/>
                  <a:pt x="813" y="267"/>
                  <a:pt x="812" y="266"/>
                </a:cubicBezTo>
                <a:close/>
                <a:moveTo>
                  <a:pt x="781" y="282"/>
                </a:moveTo>
                <a:cubicBezTo>
                  <a:pt x="782" y="285"/>
                  <a:pt x="783" y="285"/>
                  <a:pt x="784" y="284"/>
                </a:cubicBezTo>
                <a:cubicBezTo>
                  <a:pt x="782" y="282"/>
                  <a:pt x="782" y="282"/>
                  <a:pt x="781" y="282"/>
                </a:cubicBezTo>
                <a:close/>
                <a:moveTo>
                  <a:pt x="798" y="267"/>
                </a:moveTo>
                <a:cubicBezTo>
                  <a:pt x="798" y="268"/>
                  <a:pt x="801" y="272"/>
                  <a:pt x="801" y="272"/>
                </a:cubicBezTo>
                <a:cubicBezTo>
                  <a:pt x="801" y="269"/>
                  <a:pt x="799" y="267"/>
                  <a:pt x="798" y="267"/>
                </a:cubicBezTo>
                <a:close/>
                <a:moveTo>
                  <a:pt x="791" y="270"/>
                </a:moveTo>
                <a:cubicBezTo>
                  <a:pt x="791" y="272"/>
                  <a:pt x="793" y="275"/>
                  <a:pt x="793" y="276"/>
                </a:cubicBezTo>
                <a:cubicBezTo>
                  <a:pt x="793" y="274"/>
                  <a:pt x="791" y="271"/>
                  <a:pt x="791" y="270"/>
                </a:cubicBezTo>
                <a:close/>
                <a:moveTo>
                  <a:pt x="789" y="269"/>
                </a:moveTo>
                <a:cubicBezTo>
                  <a:pt x="788" y="269"/>
                  <a:pt x="791" y="272"/>
                  <a:pt x="790" y="273"/>
                </a:cubicBezTo>
                <a:cubicBezTo>
                  <a:pt x="789" y="270"/>
                  <a:pt x="788" y="270"/>
                  <a:pt x="787" y="270"/>
                </a:cubicBezTo>
                <a:cubicBezTo>
                  <a:pt x="789" y="273"/>
                  <a:pt x="790" y="274"/>
                  <a:pt x="791" y="276"/>
                </a:cubicBezTo>
                <a:cubicBezTo>
                  <a:pt x="792" y="276"/>
                  <a:pt x="792" y="274"/>
                  <a:pt x="793" y="276"/>
                </a:cubicBezTo>
                <a:cubicBezTo>
                  <a:pt x="792" y="273"/>
                  <a:pt x="791" y="272"/>
                  <a:pt x="789" y="269"/>
                </a:cubicBezTo>
                <a:close/>
                <a:moveTo>
                  <a:pt x="801" y="266"/>
                </a:moveTo>
                <a:cubicBezTo>
                  <a:pt x="800" y="266"/>
                  <a:pt x="800" y="268"/>
                  <a:pt x="801" y="271"/>
                </a:cubicBezTo>
                <a:cubicBezTo>
                  <a:pt x="802" y="271"/>
                  <a:pt x="801" y="267"/>
                  <a:pt x="801" y="266"/>
                </a:cubicBezTo>
                <a:close/>
                <a:moveTo>
                  <a:pt x="799" y="270"/>
                </a:moveTo>
                <a:cubicBezTo>
                  <a:pt x="799" y="270"/>
                  <a:pt x="798" y="270"/>
                  <a:pt x="798" y="269"/>
                </a:cubicBezTo>
                <a:cubicBezTo>
                  <a:pt x="797" y="269"/>
                  <a:pt x="797" y="270"/>
                  <a:pt x="798" y="272"/>
                </a:cubicBezTo>
                <a:cubicBezTo>
                  <a:pt x="798" y="271"/>
                  <a:pt x="800" y="273"/>
                  <a:pt x="799" y="270"/>
                </a:cubicBezTo>
                <a:close/>
                <a:moveTo>
                  <a:pt x="770" y="269"/>
                </a:moveTo>
                <a:cubicBezTo>
                  <a:pt x="771" y="271"/>
                  <a:pt x="772" y="272"/>
                  <a:pt x="773" y="272"/>
                </a:cubicBezTo>
                <a:cubicBezTo>
                  <a:pt x="772" y="270"/>
                  <a:pt x="771" y="269"/>
                  <a:pt x="770" y="269"/>
                </a:cubicBezTo>
                <a:close/>
                <a:moveTo>
                  <a:pt x="807" y="248"/>
                </a:moveTo>
                <a:cubicBezTo>
                  <a:pt x="808" y="250"/>
                  <a:pt x="810" y="253"/>
                  <a:pt x="810" y="252"/>
                </a:cubicBezTo>
                <a:cubicBezTo>
                  <a:pt x="809" y="249"/>
                  <a:pt x="808" y="247"/>
                  <a:pt x="807" y="248"/>
                </a:cubicBezTo>
                <a:close/>
                <a:moveTo>
                  <a:pt x="802" y="246"/>
                </a:moveTo>
                <a:cubicBezTo>
                  <a:pt x="803" y="247"/>
                  <a:pt x="803" y="248"/>
                  <a:pt x="804" y="251"/>
                </a:cubicBezTo>
                <a:cubicBezTo>
                  <a:pt x="805" y="251"/>
                  <a:pt x="803" y="245"/>
                  <a:pt x="802" y="246"/>
                </a:cubicBezTo>
                <a:close/>
                <a:moveTo>
                  <a:pt x="805" y="245"/>
                </a:moveTo>
                <a:cubicBezTo>
                  <a:pt x="803" y="240"/>
                  <a:pt x="804" y="239"/>
                  <a:pt x="802" y="235"/>
                </a:cubicBezTo>
                <a:cubicBezTo>
                  <a:pt x="800" y="234"/>
                  <a:pt x="796" y="236"/>
                  <a:pt x="801" y="245"/>
                </a:cubicBezTo>
                <a:cubicBezTo>
                  <a:pt x="801" y="242"/>
                  <a:pt x="806" y="248"/>
                  <a:pt x="805" y="245"/>
                </a:cubicBezTo>
                <a:close/>
                <a:moveTo>
                  <a:pt x="759" y="246"/>
                </a:moveTo>
                <a:cubicBezTo>
                  <a:pt x="759" y="247"/>
                  <a:pt x="758" y="246"/>
                  <a:pt x="758" y="246"/>
                </a:cubicBezTo>
                <a:cubicBezTo>
                  <a:pt x="759" y="248"/>
                  <a:pt x="760" y="248"/>
                  <a:pt x="759" y="248"/>
                </a:cubicBezTo>
                <a:cubicBezTo>
                  <a:pt x="760" y="250"/>
                  <a:pt x="760" y="250"/>
                  <a:pt x="761" y="250"/>
                </a:cubicBezTo>
                <a:cubicBezTo>
                  <a:pt x="759" y="248"/>
                  <a:pt x="760" y="248"/>
                  <a:pt x="759" y="246"/>
                </a:cubicBezTo>
                <a:close/>
                <a:moveTo>
                  <a:pt x="766" y="178"/>
                </a:moveTo>
                <a:cubicBezTo>
                  <a:pt x="766" y="178"/>
                  <a:pt x="766" y="178"/>
                  <a:pt x="767" y="180"/>
                </a:cubicBezTo>
                <a:cubicBezTo>
                  <a:pt x="767" y="180"/>
                  <a:pt x="768" y="181"/>
                  <a:pt x="768" y="181"/>
                </a:cubicBezTo>
                <a:cubicBezTo>
                  <a:pt x="767" y="179"/>
                  <a:pt x="768" y="180"/>
                  <a:pt x="766" y="178"/>
                </a:cubicBezTo>
                <a:close/>
                <a:moveTo>
                  <a:pt x="756" y="167"/>
                </a:moveTo>
                <a:cubicBezTo>
                  <a:pt x="757" y="168"/>
                  <a:pt x="758" y="169"/>
                  <a:pt x="757" y="169"/>
                </a:cubicBezTo>
                <a:cubicBezTo>
                  <a:pt x="762" y="175"/>
                  <a:pt x="758" y="167"/>
                  <a:pt x="756" y="167"/>
                </a:cubicBezTo>
                <a:close/>
                <a:moveTo>
                  <a:pt x="713" y="128"/>
                </a:moveTo>
                <a:cubicBezTo>
                  <a:pt x="713" y="127"/>
                  <a:pt x="714" y="127"/>
                  <a:pt x="715" y="128"/>
                </a:cubicBezTo>
                <a:cubicBezTo>
                  <a:pt x="712" y="125"/>
                  <a:pt x="710" y="125"/>
                  <a:pt x="713" y="128"/>
                </a:cubicBezTo>
                <a:close/>
                <a:moveTo>
                  <a:pt x="640" y="70"/>
                </a:moveTo>
                <a:cubicBezTo>
                  <a:pt x="634" y="64"/>
                  <a:pt x="636" y="68"/>
                  <a:pt x="640" y="70"/>
                </a:cubicBezTo>
                <a:close/>
                <a:moveTo>
                  <a:pt x="545" y="23"/>
                </a:moveTo>
                <a:cubicBezTo>
                  <a:pt x="544" y="24"/>
                  <a:pt x="548" y="25"/>
                  <a:pt x="549" y="24"/>
                </a:cubicBezTo>
                <a:cubicBezTo>
                  <a:pt x="546" y="24"/>
                  <a:pt x="547" y="24"/>
                  <a:pt x="545" y="23"/>
                </a:cubicBezTo>
                <a:close/>
                <a:moveTo>
                  <a:pt x="539" y="20"/>
                </a:moveTo>
                <a:cubicBezTo>
                  <a:pt x="539" y="20"/>
                  <a:pt x="538" y="20"/>
                  <a:pt x="538" y="20"/>
                </a:cubicBezTo>
                <a:cubicBezTo>
                  <a:pt x="540" y="21"/>
                  <a:pt x="543" y="22"/>
                  <a:pt x="543" y="21"/>
                </a:cubicBezTo>
                <a:cubicBezTo>
                  <a:pt x="540" y="20"/>
                  <a:pt x="540" y="21"/>
                  <a:pt x="539" y="20"/>
                </a:cubicBezTo>
                <a:close/>
                <a:moveTo>
                  <a:pt x="530" y="17"/>
                </a:moveTo>
                <a:cubicBezTo>
                  <a:pt x="529" y="18"/>
                  <a:pt x="534" y="19"/>
                  <a:pt x="534" y="18"/>
                </a:cubicBezTo>
                <a:lnTo>
                  <a:pt x="530" y="17"/>
                </a:lnTo>
                <a:close/>
                <a:moveTo>
                  <a:pt x="524" y="16"/>
                </a:moveTo>
                <a:cubicBezTo>
                  <a:pt x="524" y="16"/>
                  <a:pt x="522" y="16"/>
                  <a:pt x="522" y="17"/>
                </a:cubicBezTo>
                <a:cubicBezTo>
                  <a:pt x="524" y="17"/>
                  <a:pt x="527" y="18"/>
                  <a:pt x="529" y="18"/>
                </a:cubicBezTo>
                <a:cubicBezTo>
                  <a:pt x="528" y="17"/>
                  <a:pt x="526" y="17"/>
                  <a:pt x="524" y="16"/>
                </a:cubicBezTo>
                <a:close/>
                <a:moveTo>
                  <a:pt x="498" y="10"/>
                </a:moveTo>
                <a:cubicBezTo>
                  <a:pt x="501" y="10"/>
                  <a:pt x="502" y="10"/>
                  <a:pt x="503" y="10"/>
                </a:cubicBezTo>
                <a:cubicBezTo>
                  <a:pt x="502" y="10"/>
                  <a:pt x="498" y="9"/>
                  <a:pt x="498" y="10"/>
                </a:cubicBezTo>
                <a:close/>
                <a:moveTo>
                  <a:pt x="467" y="7"/>
                </a:moveTo>
                <a:cubicBezTo>
                  <a:pt x="468" y="7"/>
                  <a:pt x="473" y="8"/>
                  <a:pt x="473" y="7"/>
                </a:cubicBezTo>
                <a:cubicBezTo>
                  <a:pt x="470" y="7"/>
                  <a:pt x="467" y="6"/>
                  <a:pt x="467" y="7"/>
                </a:cubicBezTo>
                <a:close/>
                <a:moveTo>
                  <a:pt x="443" y="52"/>
                </a:moveTo>
                <a:cubicBezTo>
                  <a:pt x="443" y="52"/>
                  <a:pt x="443" y="52"/>
                  <a:pt x="443" y="53"/>
                </a:cubicBezTo>
                <a:cubicBezTo>
                  <a:pt x="445" y="53"/>
                  <a:pt x="444" y="54"/>
                  <a:pt x="447" y="54"/>
                </a:cubicBezTo>
                <a:cubicBezTo>
                  <a:pt x="446" y="53"/>
                  <a:pt x="446" y="53"/>
                  <a:pt x="448" y="53"/>
                </a:cubicBezTo>
                <a:cubicBezTo>
                  <a:pt x="447" y="52"/>
                  <a:pt x="446" y="52"/>
                  <a:pt x="443" y="52"/>
                </a:cubicBezTo>
                <a:close/>
                <a:moveTo>
                  <a:pt x="435" y="51"/>
                </a:moveTo>
                <a:cubicBezTo>
                  <a:pt x="435" y="52"/>
                  <a:pt x="430" y="51"/>
                  <a:pt x="431" y="51"/>
                </a:cubicBezTo>
                <a:cubicBezTo>
                  <a:pt x="432" y="51"/>
                  <a:pt x="436" y="52"/>
                  <a:pt x="437" y="52"/>
                </a:cubicBezTo>
                <a:cubicBezTo>
                  <a:pt x="435" y="52"/>
                  <a:pt x="437" y="51"/>
                  <a:pt x="435" y="51"/>
                </a:cubicBezTo>
                <a:close/>
                <a:moveTo>
                  <a:pt x="402" y="50"/>
                </a:moveTo>
                <a:cubicBezTo>
                  <a:pt x="404" y="50"/>
                  <a:pt x="406" y="50"/>
                  <a:pt x="406" y="49"/>
                </a:cubicBezTo>
                <a:cubicBezTo>
                  <a:pt x="404" y="49"/>
                  <a:pt x="402" y="49"/>
                  <a:pt x="402" y="50"/>
                </a:cubicBezTo>
                <a:close/>
                <a:moveTo>
                  <a:pt x="391" y="1"/>
                </a:moveTo>
                <a:cubicBezTo>
                  <a:pt x="391" y="2"/>
                  <a:pt x="395" y="2"/>
                  <a:pt x="397" y="2"/>
                </a:cubicBezTo>
                <a:cubicBezTo>
                  <a:pt x="397" y="2"/>
                  <a:pt x="395" y="2"/>
                  <a:pt x="395" y="3"/>
                </a:cubicBezTo>
                <a:cubicBezTo>
                  <a:pt x="396" y="3"/>
                  <a:pt x="397" y="3"/>
                  <a:pt x="398" y="3"/>
                </a:cubicBezTo>
                <a:cubicBezTo>
                  <a:pt x="397" y="2"/>
                  <a:pt x="401" y="4"/>
                  <a:pt x="402" y="3"/>
                </a:cubicBezTo>
                <a:cubicBezTo>
                  <a:pt x="400" y="2"/>
                  <a:pt x="396" y="3"/>
                  <a:pt x="399" y="2"/>
                </a:cubicBezTo>
                <a:cubicBezTo>
                  <a:pt x="393" y="2"/>
                  <a:pt x="395" y="1"/>
                  <a:pt x="391" y="1"/>
                </a:cubicBezTo>
                <a:close/>
                <a:moveTo>
                  <a:pt x="394" y="3"/>
                </a:moveTo>
                <a:cubicBezTo>
                  <a:pt x="391" y="3"/>
                  <a:pt x="389" y="3"/>
                  <a:pt x="388" y="3"/>
                </a:cubicBezTo>
                <a:cubicBezTo>
                  <a:pt x="391" y="3"/>
                  <a:pt x="394" y="4"/>
                  <a:pt x="395" y="3"/>
                </a:cubicBezTo>
                <a:cubicBezTo>
                  <a:pt x="394" y="3"/>
                  <a:pt x="394" y="3"/>
                  <a:pt x="394" y="3"/>
                </a:cubicBezTo>
                <a:close/>
                <a:moveTo>
                  <a:pt x="384" y="2"/>
                </a:moveTo>
                <a:cubicBezTo>
                  <a:pt x="386" y="2"/>
                  <a:pt x="388" y="2"/>
                  <a:pt x="389" y="2"/>
                </a:cubicBezTo>
                <a:cubicBezTo>
                  <a:pt x="387" y="2"/>
                  <a:pt x="384" y="2"/>
                  <a:pt x="384" y="2"/>
                </a:cubicBezTo>
                <a:close/>
                <a:moveTo>
                  <a:pt x="371" y="5"/>
                </a:moveTo>
                <a:cubicBezTo>
                  <a:pt x="370" y="6"/>
                  <a:pt x="367" y="6"/>
                  <a:pt x="365" y="6"/>
                </a:cubicBezTo>
                <a:cubicBezTo>
                  <a:pt x="367" y="7"/>
                  <a:pt x="377" y="6"/>
                  <a:pt x="377" y="5"/>
                </a:cubicBezTo>
                <a:cubicBezTo>
                  <a:pt x="374" y="5"/>
                  <a:pt x="374" y="5"/>
                  <a:pt x="371" y="5"/>
                </a:cubicBezTo>
                <a:close/>
                <a:moveTo>
                  <a:pt x="364" y="51"/>
                </a:moveTo>
                <a:cubicBezTo>
                  <a:pt x="364" y="52"/>
                  <a:pt x="367" y="51"/>
                  <a:pt x="370" y="51"/>
                </a:cubicBezTo>
                <a:cubicBezTo>
                  <a:pt x="370" y="51"/>
                  <a:pt x="366" y="51"/>
                  <a:pt x="364" y="51"/>
                </a:cubicBezTo>
                <a:close/>
                <a:moveTo>
                  <a:pt x="363" y="50"/>
                </a:moveTo>
                <a:cubicBezTo>
                  <a:pt x="365" y="49"/>
                  <a:pt x="366" y="49"/>
                  <a:pt x="367" y="49"/>
                </a:cubicBezTo>
                <a:cubicBezTo>
                  <a:pt x="365" y="48"/>
                  <a:pt x="363" y="49"/>
                  <a:pt x="363" y="50"/>
                </a:cubicBezTo>
                <a:close/>
                <a:moveTo>
                  <a:pt x="326" y="13"/>
                </a:moveTo>
                <a:cubicBezTo>
                  <a:pt x="327" y="12"/>
                  <a:pt x="332" y="11"/>
                  <a:pt x="333" y="11"/>
                </a:cubicBezTo>
                <a:cubicBezTo>
                  <a:pt x="329" y="11"/>
                  <a:pt x="328" y="12"/>
                  <a:pt x="326" y="13"/>
                </a:cubicBezTo>
                <a:close/>
                <a:moveTo>
                  <a:pt x="321" y="10"/>
                </a:moveTo>
                <a:cubicBezTo>
                  <a:pt x="322" y="11"/>
                  <a:pt x="325" y="10"/>
                  <a:pt x="329" y="9"/>
                </a:cubicBezTo>
                <a:cubicBezTo>
                  <a:pt x="329" y="9"/>
                  <a:pt x="329" y="9"/>
                  <a:pt x="328" y="9"/>
                </a:cubicBezTo>
                <a:cubicBezTo>
                  <a:pt x="326" y="10"/>
                  <a:pt x="323" y="10"/>
                  <a:pt x="321" y="10"/>
                </a:cubicBezTo>
                <a:close/>
                <a:moveTo>
                  <a:pt x="322" y="58"/>
                </a:moveTo>
                <a:cubicBezTo>
                  <a:pt x="323" y="58"/>
                  <a:pt x="326" y="58"/>
                  <a:pt x="328" y="58"/>
                </a:cubicBezTo>
                <a:cubicBezTo>
                  <a:pt x="327" y="57"/>
                  <a:pt x="325" y="57"/>
                  <a:pt x="322" y="58"/>
                </a:cubicBezTo>
                <a:close/>
                <a:moveTo>
                  <a:pt x="313" y="59"/>
                </a:moveTo>
                <a:cubicBezTo>
                  <a:pt x="314" y="60"/>
                  <a:pt x="309" y="60"/>
                  <a:pt x="309" y="61"/>
                </a:cubicBezTo>
                <a:cubicBezTo>
                  <a:pt x="311" y="61"/>
                  <a:pt x="312" y="61"/>
                  <a:pt x="316" y="60"/>
                </a:cubicBezTo>
                <a:cubicBezTo>
                  <a:pt x="315" y="60"/>
                  <a:pt x="316" y="59"/>
                  <a:pt x="313" y="59"/>
                </a:cubicBezTo>
                <a:close/>
                <a:moveTo>
                  <a:pt x="286" y="24"/>
                </a:moveTo>
                <a:cubicBezTo>
                  <a:pt x="286" y="24"/>
                  <a:pt x="280" y="25"/>
                  <a:pt x="280" y="26"/>
                </a:cubicBezTo>
                <a:cubicBezTo>
                  <a:pt x="281" y="26"/>
                  <a:pt x="280" y="26"/>
                  <a:pt x="281" y="26"/>
                </a:cubicBezTo>
                <a:cubicBezTo>
                  <a:pt x="282" y="26"/>
                  <a:pt x="284" y="25"/>
                  <a:pt x="285" y="24"/>
                </a:cubicBezTo>
                <a:cubicBezTo>
                  <a:pt x="285" y="25"/>
                  <a:pt x="286" y="25"/>
                  <a:pt x="287" y="25"/>
                </a:cubicBezTo>
                <a:cubicBezTo>
                  <a:pt x="290" y="24"/>
                  <a:pt x="290" y="24"/>
                  <a:pt x="294" y="23"/>
                </a:cubicBezTo>
                <a:cubicBezTo>
                  <a:pt x="293" y="22"/>
                  <a:pt x="293" y="22"/>
                  <a:pt x="293" y="22"/>
                </a:cubicBezTo>
                <a:cubicBezTo>
                  <a:pt x="290" y="23"/>
                  <a:pt x="288" y="23"/>
                  <a:pt x="286" y="24"/>
                </a:cubicBezTo>
                <a:close/>
                <a:moveTo>
                  <a:pt x="287" y="68"/>
                </a:moveTo>
                <a:cubicBezTo>
                  <a:pt x="289" y="67"/>
                  <a:pt x="289" y="67"/>
                  <a:pt x="289" y="66"/>
                </a:cubicBezTo>
                <a:cubicBezTo>
                  <a:pt x="287" y="67"/>
                  <a:pt x="287" y="67"/>
                  <a:pt x="287" y="68"/>
                </a:cubicBezTo>
                <a:close/>
                <a:moveTo>
                  <a:pt x="237" y="80"/>
                </a:moveTo>
                <a:cubicBezTo>
                  <a:pt x="236" y="81"/>
                  <a:pt x="235" y="83"/>
                  <a:pt x="230" y="86"/>
                </a:cubicBezTo>
                <a:cubicBezTo>
                  <a:pt x="227" y="86"/>
                  <a:pt x="224" y="88"/>
                  <a:pt x="221" y="89"/>
                </a:cubicBezTo>
                <a:cubicBezTo>
                  <a:pt x="221" y="89"/>
                  <a:pt x="221" y="90"/>
                  <a:pt x="220" y="91"/>
                </a:cubicBezTo>
                <a:cubicBezTo>
                  <a:pt x="219" y="91"/>
                  <a:pt x="215" y="92"/>
                  <a:pt x="215" y="93"/>
                </a:cubicBezTo>
                <a:cubicBezTo>
                  <a:pt x="217" y="93"/>
                  <a:pt x="218" y="93"/>
                  <a:pt x="220" y="92"/>
                </a:cubicBezTo>
                <a:cubicBezTo>
                  <a:pt x="222" y="91"/>
                  <a:pt x="219" y="91"/>
                  <a:pt x="221" y="90"/>
                </a:cubicBezTo>
                <a:cubicBezTo>
                  <a:pt x="227" y="88"/>
                  <a:pt x="233" y="84"/>
                  <a:pt x="238" y="81"/>
                </a:cubicBezTo>
                <a:cubicBezTo>
                  <a:pt x="237" y="81"/>
                  <a:pt x="237" y="81"/>
                  <a:pt x="236" y="81"/>
                </a:cubicBezTo>
                <a:cubicBezTo>
                  <a:pt x="239" y="80"/>
                  <a:pt x="241" y="79"/>
                  <a:pt x="242" y="78"/>
                </a:cubicBezTo>
                <a:cubicBezTo>
                  <a:pt x="239" y="79"/>
                  <a:pt x="238" y="79"/>
                  <a:pt x="237" y="80"/>
                </a:cubicBezTo>
                <a:close/>
                <a:moveTo>
                  <a:pt x="228" y="79"/>
                </a:moveTo>
                <a:cubicBezTo>
                  <a:pt x="228" y="80"/>
                  <a:pt x="230" y="79"/>
                  <a:pt x="228" y="80"/>
                </a:cubicBezTo>
                <a:cubicBezTo>
                  <a:pt x="228" y="80"/>
                  <a:pt x="224" y="82"/>
                  <a:pt x="224" y="81"/>
                </a:cubicBezTo>
                <a:cubicBezTo>
                  <a:pt x="219" y="84"/>
                  <a:pt x="214" y="86"/>
                  <a:pt x="212" y="89"/>
                </a:cubicBezTo>
                <a:cubicBezTo>
                  <a:pt x="217" y="86"/>
                  <a:pt x="220" y="83"/>
                  <a:pt x="224" y="82"/>
                </a:cubicBezTo>
                <a:cubicBezTo>
                  <a:pt x="224" y="82"/>
                  <a:pt x="222" y="83"/>
                  <a:pt x="223" y="83"/>
                </a:cubicBezTo>
                <a:cubicBezTo>
                  <a:pt x="226" y="82"/>
                  <a:pt x="228" y="80"/>
                  <a:pt x="232" y="79"/>
                </a:cubicBezTo>
                <a:cubicBezTo>
                  <a:pt x="231" y="78"/>
                  <a:pt x="231" y="78"/>
                  <a:pt x="228" y="79"/>
                </a:cubicBezTo>
                <a:close/>
                <a:moveTo>
                  <a:pt x="209" y="55"/>
                </a:moveTo>
                <a:cubicBezTo>
                  <a:pt x="212" y="54"/>
                  <a:pt x="215" y="52"/>
                  <a:pt x="216" y="50"/>
                </a:cubicBezTo>
                <a:cubicBezTo>
                  <a:pt x="212" y="52"/>
                  <a:pt x="211" y="53"/>
                  <a:pt x="209" y="55"/>
                </a:cubicBezTo>
                <a:close/>
                <a:moveTo>
                  <a:pt x="220" y="66"/>
                </a:moveTo>
                <a:cubicBezTo>
                  <a:pt x="223" y="64"/>
                  <a:pt x="220" y="67"/>
                  <a:pt x="223" y="65"/>
                </a:cubicBezTo>
                <a:cubicBezTo>
                  <a:pt x="224" y="64"/>
                  <a:pt x="223" y="65"/>
                  <a:pt x="223" y="64"/>
                </a:cubicBezTo>
                <a:cubicBezTo>
                  <a:pt x="222" y="65"/>
                  <a:pt x="220" y="65"/>
                  <a:pt x="220" y="66"/>
                </a:cubicBezTo>
                <a:close/>
                <a:moveTo>
                  <a:pt x="217" y="67"/>
                </a:moveTo>
                <a:cubicBezTo>
                  <a:pt x="214" y="69"/>
                  <a:pt x="216" y="70"/>
                  <a:pt x="219" y="67"/>
                </a:cubicBezTo>
                <a:cubicBezTo>
                  <a:pt x="214" y="69"/>
                  <a:pt x="222" y="65"/>
                  <a:pt x="217" y="67"/>
                </a:cubicBezTo>
                <a:close/>
                <a:moveTo>
                  <a:pt x="226" y="94"/>
                </a:moveTo>
                <a:cubicBezTo>
                  <a:pt x="225" y="94"/>
                  <a:pt x="224" y="95"/>
                  <a:pt x="224" y="96"/>
                </a:cubicBezTo>
                <a:cubicBezTo>
                  <a:pt x="226" y="94"/>
                  <a:pt x="226" y="95"/>
                  <a:pt x="228" y="94"/>
                </a:cubicBezTo>
                <a:cubicBezTo>
                  <a:pt x="228" y="93"/>
                  <a:pt x="227" y="94"/>
                  <a:pt x="226" y="94"/>
                </a:cubicBezTo>
                <a:close/>
                <a:moveTo>
                  <a:pt x="216" y="80"/>
                </a:moveTo>
                <a:cubicBezTo>
                  <a:pt x="215" y="80"/>
                  <a:pt x="213" y="82"/>
                  <a:pt x="211" y="82"/>
                </a:cubicBezTo>
                <a:cubicBezTo>
                  <a:pt x="211" y="83"/>
                  <a:pt x="214" y="82"/>
                  <a:pt x="216" y="80"/>
                </a:cubicBezTo>
                <a:close/>
                <a:moveTo>
                  <a:pt x="206" y="79"/>
                </a:moveTo>
                <a:cubicBezTo>
                  <a:pt x="206" y="79"/>
                  <a:pt x="208" y="78"/>
                  <a:pt x="207" y="79"/>
                </a:cubicBezTo>
                <a:cubicBezTo>
                  <a:pt x="209" y="77"/>
                  <a:pt x="210" y="78"/>
                  <a:pt x="212" y="75"/>
                </a:cubicBezTo>
                <a:cubicBezTo>
                  <a:pt x="210" y="76"/>
                  <a:pt x="208" y="77"/>
                  <a:pt x="206" y="79"/>
                </a:cubicBezTo>
                <a:close/>
                <a:moveTo>
                  <a:pt x="192" y="65"/>
                </a:moveTo>
                <a:cubicBezTo>
                  <a:pt x="191" y="66"/>
                  <a:pt x="190" y="67"/>
                  <a:pt x="190" y="67"/>
                </a:cubicBezTo>
                <a:cubicBezTo>
                  <a:pt x="193" y="65"/>
                  <a:pt x="197" y="64"/>
                  <a:pt x="198" y="63"/>
                </a:cubicBezTo>
                <a:cubicBezTo>
                  <a:pt x="194" y="64"/>
                  <a:pt x="195" y="64"/>
                  <a:pt x="192" y="65"/>
                </a:cubicBezTo>
                <a:close/>
                <a:moveTo>
                  <a:pt x="208" y="90"/>
                </a:moveTo>
                <a:cubicBezTo>
                  <a:pt x="207" y="91"/>
                  <a:pt x="206" y="91"/>
                  <a:pt x="206" y="92"/>
                </a:cubicBezTo>
                <a:cubicBezTo>
                  <a:pt x="207" y="91"/>
                  <a:pt x="206" y="93"/>
                  <a:pt x="209" y="91"/>
                </a:cubicBezTo>
                <a:cubicBezTo>
                  <a:pt x="210" y="90"/>
                  <a:pt x="208" y="91"/>
                  <a:pt x="208" y="90"/>
                </a:cubicBezTo>
                <a:close/>
                <a:moveTo>
                  <a:pt x="207" y="101"/>
                </a:moveTo>
                <a:cubicBezTo>
                  <a:pt x="208" y="101"/>
                  <a:pt x="212" y="98"/>
                  <a:pt x="214" y="97"/>
                </a:cubicBezTo>
                <a:cubicBezTo>
                  <a:pt x="211" y="99"/>
                  <a:pt x="207" y="101"/>
                  <a:pt x="207" y="101"/>
                </a:cubicBezTo>
                <a:close/>
                <a:moveTo>
                  <a:pt x="190" y="86"/>
                </a:moveTo>
                <a:cubicBezTo>
                  <a:pt x="191" y="85"/>
                  <a:pt x="196" y="82"/>
                  <a:pt x="196" y="82"/>
                </a:cubicBezTo>
                <a:cubicBezTo>
                  <a:pt x="194" y="83"/>
                  <a:pt x="192" y="85"/>
                  <a:pt x="190" y="86"/>
                </a:cubicBezTo>
                <a:close/>
                <a:moveTo>
                  <a:pt x="198" y="111"/>
                </a:moveTo>
                <a:cubicBezTo>
                  <a:pt x="199" y="112"/>
                  <a:pt x="204" y="109"/>
                  <a:pt x="205" y="107"/>
                </a:cubicBezTo>
                <a:cubicBezTo>
                  <a:pt x="203" y="109"/>
                  <a:pt x="201" y="110"/>
                  <a:pt x="198" y="111"/>
                </a:cubicBezTo>
                <a:close/>
                <a:moveTo>
                  <a:pt x="185" y="86"/>
                </a:moveTo>
                <a:cubicBezTo>
                  <a:pt x="185" y="86"/>
                  <a:pt x="189" y="84"/>
                  <a:pt x="188" y="84"/>
                </a:cubicBezTo>
                <a:cubicBezTo>
                  <a:pt x="184" y="85"/>
                  <a:pt x="184" y="87"/>
                  <a:pt x="183" y="89"/>
                </a:cubicBezTo>
                <a:cubicBezTo>
                  <a:pt x="184" y="88"/>
                  <a:pt x="184" y="88"/>
                  <a:pt x="184" y="88"/>
                </a:cubicBezTo>
                <a:cubicBezTo>
                  <a:pt x="187" y="87"/>
                  <a:pt x="190" y="84"/>
                  <a:pt x="188" y="84"/>
                </a:cubicBezTo>
                <a:cubicBezTo>
                  <a:pt x="188" y="84"/>
                  <a:pt x="186" y="86"/>
                  <a:pt x="185" y="86"/>
                </a:cubicBezTo>
                <a:close/>
                <a:moveTo>
                  <a:pt x="175" y="77"/>
                </a:moveTo>
                <a:cubicBezTo>
                  <a:pt x="177" y="75"/>
                  <a:pt x="182" y="73"/>
                  <a:pt x="180" y="73"/>
                </a:cubicBezTo>
                <a:cubicBezTo>
                  <a:pt x="179" y="75"/>
                  <a:pt x="174" y="76"/>
                  <a:pt x="175" y="77"/>
                </a:cubicBezTo>
                <a:close/>
                <a:moveTo>
                  <a:pt x="186" y="115"/>
                </a:moveTo>
                <a:cubicBezTo>
                  <a:pt x="187" y="115"/>
                  <a:pt x="191" y="112"/>
                  <a:pt x="191" y="111"/>
                </a:cubicBezTo>
                <a:cubicBezTo>
                  <a:pt x="190" y="112"/>
                  <a:pt x="187" y="113"/>
                  <a:pt x="186" y="115"/>
                </a:cubicBezTo>
                <a:close/>
                <a:moveTo>
                  <a:pt x="177" y="93"/>
                </a:moveTo>
                <a:cubicBezTo>
                  <a:pt x="170" y="97"/>
                  <a:pt x="177" y="95"/>
                  <a:pt x="177" y="93"/>
                </a:cubicBezTo>
                <a:close/>
                <a:moveTo>
                  <a:pt x="183" y="114"/>
                </a:moveTo>
                <a:cubicBezTo>
                  <a:pt x="185" y="113"/>
                  <a:pt x="188" y="111"/>
                  <a:pt x="188" y="110"/>
                </a:cubicBezTo>
                <a:cubicBezTo>
                  <a:pt x="185" y="112"/>
                  <a:pt x="184" y="113"/>
                  <a:pt x="183" y="114"/>
                </a:cubicBezTo>
                <a:close/>
                <a:moveTo>
                  <a:pt x="158" y="89"/>
                </a:moveTo>
                <a:cubicBezTo>
                  <a:pt x="160" y="88"/>
                  <a:pt x="165" y="84"/>
                  <a:pt x="163" y="85"/>
                </a:cubicBezTo>
                <a:cubicBezTo>
                  <a:pt x="163" y="85"/>
                  <a:pt x="157" y="89"/>
                  <a:pt x="158" y="89"/>
                </a:cubicBezTo>
                <a:close/>
                <a:moveTo>
                  <a:pt x="166" y="104"/>
                </a:moveTo>
                <a:cubicBezTo>
                  <a:pt x="168" y="103"/>
                  <a:pt x="170" y="102"/>
                  <a:pt x="171" y="101"/>
                </a:cubicBezTo>
                <a:cubicBezTo>
                  <a:pt x="169" y="103"/>
                  <a:pt x="166" y="103"/>
                  <a:pt x="166" y="104"/>
                </a:cubicBezTo>
                <a:close/>
                <a:moveTo>
                  <a:pt x="172" y="122"/>
                </a:moveTo>
                <a:cubicBezTo>
                  <a:pt x="172" y="122"/>
                  <a:pt x="176" y="120"/>
                  <a:pt x="176" y="120"/>
                </a:cubicBezTo>
                <a:cubicBezTo>
                  <a:pt x="175" y="120"/>
                  <a:pt x="175" y="120"/>
                  <a:pt x="172" y="122"/>
                </a:cubicBezTo>
                <a:close/>
                <a:moveTo>
                  <a:pt x="142" y="97"/>
                </a:moveTo>
                <a:cubicBezTo>
                  <a:pt x="145" y="95"/>
                  <a:pt x="147" y="93"/>
                  <a:pt x="148" y="92"/>
                </a:cubicBezTo>
                <a:cubicBezTo>
                  <a:pt x="146" y="93"/>
                  <a:pt x="142" y="96"/>
                  <a:pt x="142" y="97"/>
                </a:cubicBezTo>
                <a:close/>
                <a:moveTo>
                  <a:pt x="155" y="112"/>
                </a:moveTo>
                <a:cubicBezTo>
                  <a:pt x="155" y="112"/>
                  <a:pt x="156" y="111"/>
                  <a:pt x="156" y="111"/>
                </a:cubicBezTo>
                <a:cubicBezTo>
                  <a:pt x="155" y="112"/>
                  <a:pt x="156" y="112"/>
                  <a:pt x="157" y="111"/>
                </a:cubicBezTo>
                <a:cubicBezTo>
                  <a:pt x="157" y="111"/>
                  <a:pt x="158" y="110"/>
                  <a:pt x="158" y="109"/>
                </a:cubicBezTo>
                <a:cubicBezTo>
                  <a:pt x="157" y="110"/>
                  <a:pt x="155" y="111"/>
                  <a:pt x="155" y="112"/>
                </a:cubicBezTo>
                <a:close/>
                <a:moveTo>
                  <a:pt x="164" y="129"/>
                </a:moveTo>
                <a:cubicBezTo>
                  <a:pt x="165" y="128"/>
                  <a:pt x="170" y="125"/>
                  <a:pt x="169" y="124"/>
                </a:cubicBezTo>
                <a:cubicBezTo>
                  <a:pt x="167" y="126"/>
                  <a:pt x="165" y="127"/>
                  <a:pt x="164" y="129"/>
                </a:cubicBezTo>
                <a:close/>
                <a:moveTo>
                  <a:pt x="153" y="112"/>
                </a:moveTo>
                <a:cubicBezTo>
                  <a:pt x="155" y="111"/>
                  <a:pt x="158" y="109"/>
                  <a:pt x="157" y="109"/>
                </a:cubicBezTo>
                <a:cubicBezTo>
                  <a:pt x="154" y="110"/>
                  <a:pt x="154" y="111"/>
                  <a:pt x="153" y="112"/>
                </a:cubicBezTo>
                <a:close/>
                <a:moveTo>
                  <a:pt x="164" y="125"/>
                </a:moveTo>
                <a:cubicBezTo>
                  <a:pt x="165" y="124"/>
                  <a:pt x="167" y="122"/>
                  <a:pt x="167" y="122"/>
                </a:cubicBezTo>
                <a:cubicBezTo>
                  <a:pt x="166" y="122"/>
                  <a:pt x="162" y="125"/>
                  <a:pt x="164" y="125"/>
                </a:cubicBezTo>
                <a:close/>
                <a:moveTo>
                  <a:pt x="162" y="131"/>
                </a:moveTo>
                <a:cubicBezTo>
                  <a:pt x="162" y="131"/>
                  <a:pt x="161" y="132"/>
                  <a:pt x="161" y="133"/>
                </a:cubicBezTo>
                <a:cubicBezTo>
                  <a:pt x="164" y="130"/>
                  <a:pt x="164" y="130"/>
                  <a:pt x="164" y="130"/>
                </a:cubicBezTo>
                <a:cubicBezTo>
                  <a:pt x="162" y="131"/>
                  <a:pt x="170" y="126"/>
                  <a:pt x="167" y="127"/>
                </a:cubicBezTo>
                <a:cubicBezTo>
                  <a:pt x="165" y="129"/>
                  <a:pt x="163" y="130"/>
                  <a:pt x="162" y="131"/>
                </a:cubicBezTo>
                <a:close/>
                <a:moveTo>
                  <a:pt x="153" y="115"/>
                </a:moveTo>
                <a:cubicBezTo>
                  <a:pt x="153" y="115"/>
                  <a:pt x="154" y="114"/>
                  <a:pt x="153" y="114"/>
                </a:cubicBezTo>
                <a:cubicBezTo>
                  <a:pt x="149" y="118"/>
                  <a:pt x="155" y="114"/>
                  <a:pt x="153" y="116"/>
                </a:cubicBezTo>
                <a:cubicBezTo>
                  <a:pt x="155" y="115"/>
                  <a:pt x="155" y="115"/>
                  <a:pt x="155" y="115"/>
                </a:cubicBezTo>
                <a:cubicBezTo>
                  <a:pt x="155" y="115"/>
                  <a:pt x="155" y="114"/>
                  <a:pt x="155" y="114"/>
                </a:cubicBezTo>
                <a:cubicBezTo>
                  <a:pt x="154" y="115"/>
                  <a:pt x="153" y="115"/>
                  <a:pt x="153" y="115"/>
                </a:cubicBezTo>
                <a:close/>
                <a:moveTo>
                  <a:pt x="132" y="105"/>
                </a:moveTo>
                <a:cubicBezTo>
                  <a:pt x="135" y="103"/>
                  <a:pt x="140" y="99"/>
                  <a:pt x="140" y="98"/>
                </a:cubicBezTo>
                <a:cubicBezTo>
                  <a:pt x="136" y="101"/>
                  <a:pt x="133" y="104"/>
                  <a:pt x="132" y="105"/>
                </a:cubicBezTo>
                <a:close/>
                <a:moveTo>
                  <a:pt x="158" y="134"/>
                </a:moveTo>
                <a:cubicBezTo>
                  <a:pt x="159" y="132"/>
                  <a:pt x="163" y="130"/>
                  <a:pt x="163" y="130"/>
                </a:cubicBezTo>
                <a:cubicBezTo>
                  <a:pt x="161" y="131"/>
                  <a:pt x="157" y="133"/>
                  <a:pt x="158" y="134"/>
                </a:cubicBezTo>
                <a:close/>
                <a:moveTo>
                  <a:pt x="149" y="141"/>
                </a:moveTo>
                <a:cubicBezTo>
                  <a:pt x="151" y="141"/>
                  <a:pt x="153" y="139"/>
                  <a:pt x="153" y="138"/>
                </a:cubicBezTo>
                <a:cubicBezTo>
                  <a:pt x="154" y="138"/>
                  <a:pt x="157" y="136"/>
                  <a:pt x="158" y="135"/>
                </a:cubicBezTo>
                <a:cubicBezTo>
                  <a:pt x="155" y="136"/>
                  <a:pt x="151" y="139"/>
                  <a:pt x="149" y="141"/>
                </a:cubicBezTo>
                <a:close/>
                <a:moveTo>
                  <a:pt x="132" y="110"/>
                </a:moveTo>
                <a:cubicBezTo>
                  <a:pt x="132" y="108"/>
                  <a:pt x="128" y="112"/>
                  <a:pt x="127" y="113"/>
                </a:cubicBezTo>
                <a:cubicBezTo>
                  <a:pt x="126" y="114"/>
                  <a:pt x="128" y="114"/>
                  <a:pt x="129" y="112"/>
                </a:cubicBezTo>
                <a:cubicBezTo>
                  <a:pt x="129" y="111"/>
                  <a:pt x="131" y="110"/>
                  <a:pt x="131" y="110"/>
                </a:cubicBezTo>
                <a:cubicBezTo>
                  <a:pt x="131" y="110"/>
                  <a:pt x="131" y="110"/>
                  <a:pt x="132" y="110"/>
                </a:cubicBezTo>
                <a:close/>
                <a:moveTo>
                  <a:pt x="137" y="153"/>
                </a:moveTo>
                <a:cubicBezTo>
                  <a:pt x="139" y="150"/>
                  <a:pt x="143" y="148"/>
                  <a:pt x="143" y="147"/>
                </a:cubicBezTo>
                <a:cubicBezTo>
                  <a:pt x="140" y="149"/>
                  <a:pt x="138" y="151"/>
                  <a:pt x="137" y="153"/>
                </a:cubicBezTo>
                <a:close/>
                <a:moveTo>
                  <a:pt x="105" y="131"/>
                </a:moveTo>
                <a:cubicBezTo>
                  <a:pt x="110" y="128"/>
                  <a:pt x="114" y="123"/>
                  <a:pt x="118" y="120"/>
                </a:cubicBezTo>
                <a:cubicBezTo>
                  <a:pt x="117" y="119"/>
                  <a:pt x="117" y="119"/>
                  <a:pt x="117" y="119"/>
                </a:cubicBezTo>
                <a:cubicBezTo>
                  <a:pt x="113" y="123"/>
                  <a:pt x="107" y="128"/>
                  <a:pt x="105" y="131"/>
                </a:cubicBezTo>
                <a:close/>
                <a:moveTo>
                  <a:pt x="144" y="153"/>
                </a:moveTo>
                <a:cubicBezTo>
                  <a:pt x="144" y="154"/>
                  <a:pt x="143" y="155"/>
                  <a:pt x="143" y="155"/>
                </a:cubicBezTo>
                <a:cubicBezTo>
                  <a:pt x="146" y="153"/>
                  <a:pt x="146" y="153"/>
                  <a:pt x="146" y="153"/>
                </a:cubicBezTo>
                <a:cubicBezTo>
                  <a:pt x="145" y="153"/>
                  <a:pt x="146" y="152"/>
                  <a:pt x="144" y="153"/>
                </a:cubicBezTo>
                <a:close/>
                <a:moveTo>
                  <a:pt x="124" y="137"/>
                </a:moveTo>
                <a:cubicBezTo>
                  <a:pt x="125" y="137"/>
                  <a:pt x="126" y="136"/>
                  <a:pt x="126" y="136"/>
                </a:cubicBezTo>
                <a:cubicBezTo>
                  <a:pt x="125" y="136"/>
                  <a:pt x="123" y="138"/>
                  <a:pt x="122" y="139"/>
                </a:cubicBezTo>
                <a:cubicBezTo>
                  <a:pt x="121" y="140"/>
                  <a:pt x="121" y="140"/>
                  <a:pt x="122" y="140"/>
                </a:cubicBezTo>
                <a:cubicBezTo>
                  <a:pt x="124" y="138"/>
                  <a:pt x="123" y="138"/>
                  <a:pt x="124" y="137"/>
                </a:cubicBezTo>
                <a:close/>
                <a:moveTo>
                  <a:pt x="112" y="136"/>
                </a:moveTo>
                <a:cubicBezTo>
                  <a:pt x="109" y="139"/>
                  <a:pt x="114" y="135"/>
                  <a:pt x="111" y="138"/>
                </a:cubicBezTo>
                <a:cubicBezTo>
                  <a:pt x="113" y="136"/>
                  <a:pt x="113" y="136"/>
                  <a:pt x="115" y="135"/>
                </a:cubicBezTo>
                <a:cubicBezTo>
                  <a:pt x="115" y="135"/>
                  <a:pt x="116" y="134"/>
                  <a:pt x="115" y="134"/>
                </a:cubicBezTo>
                <a:cubicBezTo>
                  <a:pt x="113" y="136"/>
                  <a:pt x="114" y="134"/>
                  <a:pt x="112" y="136"/>
                </a:cubicBezTo>
                <a:close/>
                <a:moveTo>
                  <a:pt x="125" y="156"/>
                </a:moveTo>
                <a:cubicBezTo>
                  <a:pt x="126" y="156"/>
                  <a:pt x="128" y="154"/>
                  <a:pt x="129" y="152"/>
                </a:cubicBezTo>
                <a:cubicBezTo>
                  <a:pt x="128" y="153"/>
                  <a:pt x="126" y="154"/>
                  <a:pt x="125" y="156"/>
                </a:cubicBezTo>
                <a:close/>
                <a:moveTo>
                  <a:pt x="113" y="150"/>
                </a:moveTo>
                <a:cubicBezTo>
                  <a:pt x="117" y="147"/>
                  <a:pt x="116" y="148"/>
                  <a:pt x="120" y="145"/>
                </a:cubicBezTo>
                <a:cubicBezTo>
                  <a:pt x="118" y="145"/>
                  <a:pt x="121" y="143"/>
                  <a:pt x="120" y="143"/>
                </a:cubicBezTo>
                <a:cubicBezTo>
                  <a:pt x="119" y="145"/>
                  <a:pt x="113" y="149"/>
                  <a:pt x="113" y="150"/>
                </a:cubicBezTo>
                <a:close/>
                <a:moveTo>
                  <a:pt x="112" y="138"/>
                </a:moveTo>
                <a:cubicBezTo>
                  <a:pt x="110" y="140"/>
                  <a:pt x="110" y="138"/>
                  <a:pt x="108" y="140"/>
                </a:cubicBezTo>
                <a:cubicBezTo>
                  <a:pt x="107" y="142"/>
                  <a:pt x="109" y="140"/>
                  <a:pt x="110" y="141"/>
                </a:cubicBezTo>
                <a:cubicBezTo>
                  <a:pt x="111" y="140"/>
                  <a:pt x="114" y="137"/>
                  <a:pt x="112" y="138"/>
                </a:cubicBezTo>
                <a:close/>
                <a:moveTo>
                  <a:pt x="96" y="141"/>
                </a:moveTo>
                <a:cubicBezTo>
                  <a:pt x="99" y="138"/>
                  <a:pt x="99" y="138"/>
                  <a:pt x="99" y="138"/>
                </a:cubicBezTo>
                <a:cubicBezTo>
                  <a:pt x="98" y="137"/>
                  <a:pt x="98" y="137"/>
                  <a:pt x="98" y="137"/>
                </a:cubicBezTo>
                <a:cubicBezTo>
                  <a:pt x="96" y="139"/>
                  <a:pt x="97" y="139"/>
                  <a:pt x="96" y="141"/>
                </a:cubicBezTo>
                <a:close/>
                <a:moveTo>
                  <a:pt x="119" y="170"/>
                </a:moveTo>
                <a:cubicBezTo>
                  <a:pt x="119" y="171"/>
                  <a:pt x="120" y="168"/>
                  <a:pt x="120" y="169"/>
                </a:cubicBezTo>
                <a:cubicBezTo>
                  <a:pt x="121" y="168"/>
                  <a:pt x="125" y="165"/>
                  <a:pt x="123" y="166"/>
                </a:cubicBezTo>
                <a:cubicBezTo>
                  <a:pt x="121" y="168"/>
                  <a:pt x="121" y="168"/>
                  <a:pt x="119" y="170"/>
                </a:cubicBezTo>
                <a:close/>
                <a:moveTo>
                  <a:pt x="111" y="161"/>
                </a:moveTo>
                <a:cubicBezTo>
                  <a:pt x="113" y="159"/>
                  <a:pt x="114" y="159"/>
                  <a:pt x="115" y="158"/>
                </a:cubicBezTo>
                <a:cubicBezTo>
                  <a:pt x="114" y="158"/>
                  <a:pt x="115" y="157"/>
                  <a:pt x="114" y="157"/>
                </a:cubicBezTo>
                <a:cubicBezTo>
                  <a:pt x="113" y="159"/>
                  <a:pt x="111" y="160"/>
                  <a:pt x="111" y="161"/>
                </a:cubicBezTo>
                <a:close/>
                <a:moveTo>
                  <a:pt x="85" y="151"/>
                </a:moveTo>
                <a:cubicBezTo>
                  <a:pt x="83" y="153"/>
                  <a:pt x="82" y="154"/>
                  <a:pt x="81" y="155"/>
                </a:cubicBezTo>
                <a:cubicBezTo>
                  <a:pt x="81" y="156"/>
                  <a:pt x="81" y="156"/>
                  <a:pt x="81" y="156"/>
                </a:cubicBezTo>
                <a:cubicBezTo>
                  <a:pt x="81" y="156"/>
                  <a:pt x="81" y="156"/>
                  <a:pt x="81" y="156"/>
                </a:cubicBezTo>
                <a:cubicBezTo>
                  <a:pt x="82" y="156"/>
                  <a:pt x="82" y="156"/>
                  <a:pt x="82" y="156"/>
                </a:cubicBezTo>
                <a:cubicBezTo>
                  <a:pt x="83" y="155"/>
                  <a:pt x="83" y="155"/>
                  <a:pt x="83" y="155"/>
                </a:cubicBezTo>
                <a:cubicBezTo>
                  <a:pt x="84" y="154"/>
                  <a:pt x="85" y="152"/>
                  <a:pt x="86" y="151"/>
                </a:cubicBezTo>
                <a:cubicBezTo>
                  <a:pt x="89" y="149"/>
                  <a:pt x="91" y="146"/>
                  <a:pt x="93" y="143"/>
                </a:cubicBezTo>
                <a:cubicBezTo>
                  <a:pt x="90" y="146"/>
                  <a:pt x="87" y="149"/>
                  <a:pt x="85" y="151"/>
                </a:cubicBezTo>
                <a:close/>
                <a:moveTo>
                  <a:pt x="88" y="156"/>
                </a:moveTo>
                <a:cubicBezTo>
                  <a:pt x="90" y="154"/>
                  <a:pt x="91" y="154"/>
                  <a:pt x="93" y="152"/>
                </a:cubicBezTo>
                <a:cubicBezTo>
                  <a:pt x="93" y="151"/>
                  <a:pt x="93" y="150"/>
                  <a:pt x="94" y="149"/>
                </a:cubicBezTo>
                <a:cubicBezTo>
                  <a:pt x="91" y="152"/>
                  <a:pt x="87" y="156"/>
                  <a:pt x="88" y="156"/>
                </a:cubicBezTo>
                <a:close/>
                <a:moveTo>
                  <a:pt x="86" y="154"/>
                </a:moveTo>
                <a:cubicBezTo>
                  <a:pt x="88" y="153"/>
                  <a:pt x="87" y="154"/>
                  <a:pt x="89" y="152"/>
                </a:cubicBezTo>
                <a:cubicBezTo>
                  <a:pt x="89" y="152"/>
                  <a:pt x="89" y="152"/>
                  <a:pt x="90" y="151"/>
                </a:cubicBezTo>
                <a:cubicBezTo>
                  <a:pt x="89" y="151"/>
                  <a:pt x="89" y="151"/>
                  <a:pt x="90" y="151"/>
                </a:cubicBezTo>
                <a:cubicBezTo>
                  <a:pt x="90" y="150"/>
                  <a:pt x="90" y="150"/>
                  <a:pt x="90" y="150"/>
                </a:cubicBezTo>
                <a:cubicBezTo>
                  <a:pt x="89" y="152"/>
                  <a:pt x="86" y="154"/>
                  <a:pt x="86" y="154"/>
                </a:cubicBezTo>
                <a:close/>
                <a:moveTo>
                  <a:pt x="96" y="160"/>
                </a:moveTo>
                <a:cubicBezTo>
                  <a:pt x="96" y="161"/>
                  <a:pt x="94" y="163"/>
                  <a:pt x="94" y="164"/>
                </a:cubicBezTo>
                <a:cubicBezTo>
                  <a:pt x="96" y="162"/>
                  <a:pt x="96" y="161"/>
                  <a:pt x="98" y="160"/>
                </a:cubicBezTo>
                <a:cubicBezTo>
                  <a:pt x="97" y="159"/>
                  <a:pt x="97" y="160"/>
                  <a:pt x="96" y="160"/>
                </a:cubicBezTo>
                <a:close/>
                <a:moveTo>
                  <a:pt x="95" y="158"/>
                </a:moveTo>
                <a:cubicBezTo>
                  <a:pt x="95" y="158"/>
                  <a:pt x="95" y="158"/>
                  <a:pt x="95" y="158"/>
                </a:cubicBezTo>
                <a:cubicBezTo>
                  <a:pt x="93" y="159"/>
                  <a:pt x="94" y="159"/>
                  <a:pt x="92" y="160"/>
                </a:cubicBezTo>
                <a:cubicBezTo>
                  <a:pt x="93" y="161"/>
                  <a:pt x="93" y="161"/>
                  <a:pt x="93" y="161"/>
                </a:cubicBezTo>
                <a:cubicBezTo>
                  <a:pt x="94" y="159"/>
                  <a:pt x="94" y="160"/>
                  <a:pt x="95" y="158"/>
                </a:cubicBezTo>
                <a:close/>
                <a:moveTo>
                  <a:pt x="85" y="163"/>
                </a:moveTo>
                <a:cubicBezTo>
                  <a:pt x="86" y="162"/>
                  <a:pt x="86" y="162"/>
                  <a:pt x="86" y="162"/>
                </a:cubicBezTo>
                <a:cubicBezTo>
                  <a:pt x="86" y="162"/>
                  <a:pt x="85" y="162"/>
                  <a:pt x="85" y="163"/>
                </a:cubicBezTo>
                <a:close/>
                <a:moveTo>
                  <a:pt x="91" y="167"/>
                </a:moveTo>
                <a:cubicBezTo>
                  <a:pt x="91" y="167"/>
                  <a:pt x="91" y="167"/>
                  <a:pt x="91" y="168"/>
                </a:cubicBezTo>
                <a:cubicBezTo>
                  <a:pt x="92" y="168"/>
                  <a:pt x="92" y="168"/>
                  <a:pt x="92" y="167"/>
                </a:cubicBezTo>
                <a:cubicBezTo>
                  <a:pt x="92" y="167"/>
                  <a:pt x="92" y="167"/>
                  <a:pt x="92" y="167"/>
                </a:cubicBezTo>
                <a:cubicBezTo>
                  <a:pt x="92" y="167"/>
                  <a:pt x="91" y="166"/>
                  <a:pt x="91" y="167"/>
                </a:cubicBezTo>
                <a:close/>
                <a:moveTo>
                  <a:pt x="101" y="179"/>
                </a:moveTo>
                <a:cubicBezTo>
                  <a:pt x="101" y="179"/>
                  <a:pt x="101" y="179"/>
                  <a:pt x="102" y="180"/>
                </a:cubicBezTo>
                <a:cubicBezTo>
                  <a:pt x="102" y="179"/>
                  <a:pt x="102" y="178"/>
                  <a:pt x="103" y="178"/>
                </a:cubicBezTo>
                <a:cubicBezTo>
                  <a:pt x="103" y="178"/>
                  <a:pt x="103" y="178"/>
                  <a:pt x="103" y="177"/>
                </a:cubicBezTo>
                <a:cubicBezTo>
                  <a:pt x="102" y="178"/>
                  <a:pt x="102" y="178"/>
                  <a:pt x="101" y="179"/>
                </a:cubicBezTo>
                <a:close/>
                <a:moveTo>
                  <a:pt x="111" y="187"/>
                </a:moveTo>
                <a:cubicBezTo>
                  <a:pt x="111" y="188"/>
                  <a:pt x="112" y="187"/>
                  <a:pt x="112" y="187"/>
                </a:cubicBezTo>
                <a:cubicBezTo>
                  <a:pt x="111" y="187"/>
                  <a:pt x="112" y="187"/>
                  <a:pt x="112" y="186"/>
                </a:cubicBezTo>
                <a:cubicBezTo>
                  <a:pt x="111" y="186"/>
                  <a:pt x="112" y="187"/>
                  <a:pt x="111" y="187"/>
                </a:cubicBezTo>
                <a:close/>
                <a:moveTo>
                  <a:pt x="100" y="178"/>
                </a:moveTo>
                <a:cubicBezTo>
                  <a:pt x="100" y="179"/>
                  <a:pt x="101" y="179"/>
                  <a:pt x="101" y="178"/>
                </a:cubicBezTo>
                <a:cubicBezTo>
                  <a:pt x="101" y="178"/>
                  <a:pt x="101" y="178"/>
                  <a:pt x="101" y="178"/>
                </a:cubicBezTo>
                <a:cubicBezTo>
                  <a:pt x="101" y="178"/>
                  <a:pt x="101" y="178"/>
                  <a:pt x="101" y="178"/>
                </a:cubicBezTo>
                <a:cubicBezTo>
                  <a:pt x="101" y="178"/>
                  <a:pt x="100" y="178"/>
                  <a:pt x="100" y="178"/>
                </a:cubicBezTo>
                <a:close/>
                <a:moveTo>
                  <a:pt x="101" y="180"/>
                </a:moveTo>
                <a:cubicBezTo>
                  <a:pt x="101" y="179"/>
                  <a:pt x="101" y="181"/>
                  <a:pt x="102" y="180"/>
                </a:cubicBezTo>
                <a:cubicBezTo>
                  <a:pt x="102" y="180"/>
                  <a:pt x="101" y="179"/>
                  <a:pt x="101" y="179"/>
                </a:cubicBezTo>
                <a:cubicBezTo>
                  <a:pt x="101" y="179"/>
                  <a:pt x="100" y="180"/>
                  <a:pt x="101" y="180"/>
                </a:cubicBezTo>
                <a:close/>
                <a:moveTo>
                  <a:pt x="76" y="157"/>
                </a:moveTo>
                <a:cubicBezTo>
                  <a:pt x="76" y="157"/>
                  <a:pt x="77" y="156"/>
                  <a:pt x="76" y="156"/>
                </a:cubicBezTo>
                <a:cubicBezTo>
                  <a:pt x="76" y="156"/>
                  <a:pt x="76" y="157"/>
                  <a:pt x="76" y="157"/>
                </a:cubicBezTo>
                <a:close/>
                <a:moveTo>
                  <a:pt x="99" y="179"/>
                </a:moveTo>
                <a:cubicBezTo>
                  <a:pt x="99" y="178"/>
                  <a:pt x="100" y="180"/>
                  <a:pt x="100" y="179"/>
                </a:cubicBezTo>
                <a:cubicBezTo>
                  <a:pt x="99" y="179"/>
                  <a:pt x="100" y="179"/>
                  <a:pt x="100" y="178"/>
                </a:cubicBezTo>
                <a:cubicBezTo>
                  <a:pt x="100" y="178"/>
                  <a:pt x="99" y="179"/>
                  <a:pt x="99" y="179"/>
                </a:cubicBezTo>
                <a:close/>
                <a:moveTo>
                  <a:pt x="104" y="186"/>
                </a:moveTo>
                <a:cubicBezTo>
                  <a:pt x="105" y="185"/>
                  <a:pt x="105" y="185"/>
                  <a:pt x="105" y="185"/>
                </a:cubicBezTo>
                <a:cubicBezTo>
                  <a:pt x="105" y="184"/>
                  <a:pt x="104" y="185"/>
                  <a:pt x="104" y="186"/>
                </a:cubicBezTo>
                <a:close/>
                <a:moveTo>
                  <a:pt x="100" y="181"/>
                </a:moveTo>
                <a:cubicBezTo>
                  <a:pt x="100" y="181"/>
                  <a:pt x="100" y="181"/>
                  <a:pt x="100" y="181"/>
                </a:cubicBezTo>
                <a:cubicBezTo>
                  <a:pt x="100" y="181"/>
                  <a:pt x="100" y="181"/>
                  <a:pt x="100" y="181"/>
                </a:cubicBezTo>
                <a:cubicBezTo>
                  <a:pt x="100" y="181"/>
                  <a:pt x="101" y="181"/>
                  <a:pt x="101" y="181"/>
                </a:cubicBezTo>
                <a:cubicBezTo>
                  <a:pt x="100" y="181"/>
                  <a:pt x="100" y="180"/>
                  <a:pt x="100" y="181"/>
                </a:cubicBezTo>
                <a:close/>
                <a:moveTo>
                  <a:pt x="108" y="192"/>
                </a:moveTo>
                <a:cubicBezTo>
                  <a:pt x="108" y="191"/>
                  <a:pt x="109" y="190"/>
                  <a:pt x="109" y="190"/>
                </a:cubicBezTo>
                <a:cubicBezTo>
                  <a:pt x="108" y="191"/>
                  <a:pt x="107" y="191"/>
                  <a:pt x="108" y="192"/>
                </a:cubicBezTo>
                <a:close/>
                <a:moveTo>
                  <a:pt x="76" y="161"/>
                </a:moveTo>
                <a:cubicBezTo>
                  <a:pt x="76" y="161"/>
                  <a:pt x="77" y="162"/>
                  <a:pt x="77" y="161"/>
                </a:cubicBezTo>
                <a:cubicBezTo>
                  <a:pt x="77" y="161"/>
                  <a:pt x="77" y="161"/>
                  <a:pt x="77" y="161"/>
                </a:cubicBezTo>
                <a:cubicBezTo>
                  <a:pt x="77" y="161"/>
                  <a:pt x="78" y="161"/>
                  <a:pt x="77" y="161"/>
                </a:cubicBezTo>
                <a:cubicBezTo>
                  <a:pt x="77" y="161"/>
                  <a:pt x="77" y="161"/>
                  <a:pt x="76" y="161"/>
                </a:cubicBezTo>
                <a:close/>
                <a:moveTo>
                  <a:pt x="99" y="182"/>
                </a:moveTo>
                <a:cubicBezTo>
                  <a:pt x="99" y="182"/>
                  <a:pt x="99" y="182"/>
                  <a:pt x="99" y="182"/>
                </a:cubicBezTo>
                <a:cubicBezTo>
                  <a:pt x="100" y="182"/>
                  <a:pt x="100" y="182"/>
                  <a:pt x="100" y="181"/>
                </a:cubicBezTo>
                <a:cubicBezTo>
                  <a:pt x="99" y="181"/>
                  <a:pt x="99" y="182"/>
                  <a:pt x="99" y="182"/>
                </a:cubicBezTo>
                <a:close/>
                <a:moveTo>
                  <a:pt x="102" y="184"/>
                </a:moveTo>
                <a:cubicBezTo>
                  <a:pt x="102" y="184"/>
                  <a:pt x="102" y="185"/>
                  <a:pt x="102" y="185"/>
                </a:cubicBezTo>
                <a:cubicBezTo>
                  <a:pt x="102" y="185"/>
                  <a:pt x="102" y="185"/>
                  <a:pt x="102" y="185"/>
                </a:cubicBezTo>
                <a:cubicBezTo>
                  <a:pt x="102" y="185"/>
                  <a:pt x="103" y="185"/>
                  <a:pt x="103" y="184"/>
                </a:cubicBezTo>
                <a:cubicBezTo>
                  <a:pt x="103" y="185"/>
                  <a:pt x="102" y="184"/>
                  <a:pt x="102" y="184"/>
                </a:cubicBezTo>
                <a:close/>
                <a:moveTo>
                  <a:pt x="103" y="187"/>
                </a:moveTo>
                <a:cubicBezTo>
                  <a:pt x="104" y="186"/>
                  <a:pt x="104" y="186"/>
                  <a:pt x="104" y="185"/>
                </a:cubicBezTo>
                <a:cubicBezTo>
                  <a:pt x="104" y="186"/>
                  <a:pt x="103" y="186"/>
                  <a:pt x="103" y="187"/>
                </a:cubicBezTo>
                <a:close/>
                <a:moveTo>
                  <a:pt x="99" y="185"/>
                </a:moveTo>
                <a:cubicBezTo>
                  <a:pt x="99" y="185"/>
                  <a:pt x="100" y="185"/>
                  <a:pt x="100" y="185"/>
                </a:cubicBezTo>
                <a:cubicBezTo>
                  <a:pt x="100" y="185"/>
                  <a:pt x="101" y="185"/>
                  <a:pt x="101" y="186"/>
                </a:cubicBezTo>
                <a:cubicBezTo>
                  <a:pt x="102" y="186"/>
                  <a:pt x="100" y="184"/>
                  <a:pt x="102" y="184"/>
                </a:cubicBezTo>
                <a:cubicBezTo>
                  <a:pt x="101" y="184"/>
                  <a:pt x="101" y="184"/>
                  <a:pt x="101" y="183"/>
                </a:cubicBezTo>
                <a:cubicBezTo>
                  <a:pt x="100" y="184"/>
                  <a:pt x="99" y="184"/>
                  <a:pt x="99" y="185"/>
                </a:cubicBezTo>
                <a:close/>
                <a:moveTo>
                  <a:pt x="84" y="169"/>
                </a:moveTo>
                <a:cubicBezTo>
                  <a:pt x="84" y="169"/>
                  <a:pt x="85" y="169"/>
                  <a:pt x="85" y="168"/>
                </a:cubicBezTo>
                <a:cubicBezTo>
                  <a:pt x="85" y="169"/>
                  <a:pt x="84" y="169"/>
                  <a:pt x="84" y="169"/>
                </a:cubicBezTo>
                <a:close/>
                <a:moveTo>
                  <a:pt x="97" y="181"/>
                </a:moveTo>
                <a:cubicBezTo>
                  <a:pt x="98" y="181"/>
                  <a:pt x="97" y="182"/>
                  <a:pt x="98" y="182"/>
                </a:cubicBezTo>
                <a:cubicBezTo>
                  <a:pt x="98" y="181"/>
                  <a:pt x="98" y="181"/>
                  <a:pt x="98" y="181"/>
                </a:cubicBezTo>
                <a:cubicBezTo>
                  <a:pt x="98" y="181"/>
                  <a:pt x="98" y="181"/>
                  <a:pt x="97" y="181"/>
                </a:cubicBezTo>
                <a:close/>
                <a:moveTo>
                  <a:pt x="105" y="194"/>
                </a:moveTo>
                <a:cubicBezTo>
                  <a:pt x="106" y="194"/>
                  <a:pt x="106" y="192"/>
                  <a:pt x="107" y="192"/>
                </a:cubicBezTo>
                <a:cubicBezTo>
                  <a:pt x="107" y="192"/>
                  <a:pt x="107" y="192"/>
                  <a:pt x="107" y="192"/>
                </a:cubicBezTo>
                <a:cubicBezTo>
                  <a:pt x="106" y="192"/>
                  <a:pt x="105" y="193"/>
                  <a:pt x="105" y="194"/>
                </a:cubicBezTo>
                <a:close/>
                <a:moveTo>
                  <a:pt x="91" y="184"/>
                </a:moveTo>
                <a:cubicBezTo>
                  <a:pt x="92" y="184"/>
                  <a:pt x="91" y="185"/>
                  <a:pt x="91" y="185"/>
                </a:cubicBezTo>
                <a:cubicBezTo>
                  <a:pt x="92" y="185"/>
                  <a:pt x="92" y="184"/>
                  <a:pt x="93" y="184"/>
                </a:cubicBezTo>
                <a:cubicBezTo>
                  <a:pt x="92" y="184"/>
                  <a:pt x="92" y="184"/>
                  <a:pt x="92" y="183"/>
                </a:cubicBezTo>
                <a:cubicBezTo>
                  <a:pt x="92" y="184"/>
                  <a:pt x="92" y="184"/>
                  <a:pt x="91" y="184"/>
                </a:cubicBezTo>
                <a:close/>
                <a:moveTo>
                  <a:pt x="72" y="169"/>
                </a:moveTo>
                <a:cubicBezTo>
                  <a:pt x="73" y="170"/>
                  <a:pt x="73" y="170"/>
                  <a:pt x="73" y="170"/>
                </a:cubicBezTo>
                <a:cubicBezTo>
                  <a:pt x="73" y="169"/>
                  <a:pt x="75" y="168"/>
                  <a:pt x="74" y="167"/>
                </a:cubicBezTo>
                <a:cubicBezTo>
                  <a:pt x="73" y="168"/>
                  <a:pt x="73" y="169"/>
                  <a:pt x="72" y="169"/>
                </a:cubicBezTo>
                <a:close/>
                <a:moveTo>
                  <a:pt x="74" y="170"/>
                </a:moveTo>
                <a:cubicBezTo>
                  <a:pt x="75" y="170"/>
                  <a:pt x="76" y="169"/>
                  <a:pt x="76" y="168"/>
                </a:cubicBezTo>
                <a:cubicBezTo>
                  <a:pt x="75" y="169"/>
                  <a:pt x="74" y="170"/>
                  <a:pt x="74" y="170"/>
                </a:cubicBezTo>
                <a:close/>
                <a:moveTo>
                  <a:pt x="88" y="184"/>
                </a:moveTo>
                <a:cubicBezTo>
                  <a:pt x="89" y="185"/>
                  <a:pt x="89" y="185"/>
                  <a:pt x="89" y="185"/>
                </a:cubicBezTo>
                <a:cubicBezTo>
                  <a:pt x="90" y="184"/>
                  <a:pt x="90" y="184"/>
                  <a:pt x="90" y="183"/>
                </a:cubicBezTo>
                <a:cubicBezTo>
                  <a:pt x="90" y="183"/>
                  <a:pt x="89" y="184"/>
                  <a:pt x="88" y="184"/>
                </a:cubicBezTo>
                <a:close/>
                <a:moveTo>
                  <a:pt x="71" y="168"/>
                </a:moveTo>
                <a:cubicBezTo>
                  <a:pt x="71" y="168"/>
                  <a:pt x="71" y="167"/>
                  <a:pt x="71" y="167"/>
                </a:cubicBezTo>
                <a:cubicBezTo>
                  <a:pt x="71" y="167"/>
                  <a:pt x="71" y="168"/>
                  <a:pt x="71" y="168"/>
                </a:cubicBezTo>
                <a:close/>
                <a:moveTo>
                  <a:pt x="89" y="187"/>
                </a:moveTo>
                <a:cubicBezTo>
                  <a:pt x="90" y="188"/>
                  <a:pt x="90" y="187"/>
                  <a:pt x="90" y="187"/>
                </a:cubicBezTo>
                <a:cubicBezTo>
                  <a:pt x="91" y="187"/>
                  <a:pt x="91" y="186"/>
                  <a:pt x="91" y="186"/>
                </a:cubicBezTo>
                <a:cubicBezTo>
                  <a:pt x="90" y="186"/>
                  <a:pt x="90" y="187"/>
                  <a:pt x="89" y="186"/>
                </a:cubicBezTo>
                <a:cubicBezTo>
                  <a:pt x="89" y="186"/>
                  <a:pt x="90" y="187"/>
                  <a:pt x="89" y="187"/>
                </a:cubicBezTo>
                <a:close/>
                <a:moveTo>
                  <a:pt x="84" y="182"/>
                </a:moveTo>
                <a:cubicBezTo>
                  <a:pt x="84" y="182"/>
                  <a:pt x="85" y="180"/>
                  <a:pt x="84" y="180"/>
                </a:cubicBezTo>
                <a:cubicBezTo>
                  <a:pt x="84" y="181"/>
                  <a:pt x="83" y="181"/>
                  <a:pt x="84" y="182"/>
                </a:cubicBezTo>
                <a:close/>
                <a:moveTo>
                  <a:pt x="72" y="173"/>
                </a:moveTo>
                <a:cubicBezTo>
                  <a:pt x="72" y="173"/>
                  <a:pt x="73" y="173"/>
                  <a:pt x="73" y="173"/>
                </a:cubicBezTo>
                <a:cubicBezTo>
                  <a:pt x="73" y="173"/>
                  <a:pt x="73" y="173"/>
                  <a:pt x="73" y="172"/>
                </a:cubicBezTo>
                <a:cubicBezTo>
                  <a:pt x="72" y="172"/>
                  <a:pt x="75" y="172"/>
                  <a:pt x="74" y="171"/>
                </a:cubicBezTo>
                <a:cubicBezTo>
                  <a:pt x="73" y="171"/>
                  <a:pt x="73" y="172"/>
                  <a:pt x="72" y="173"/>
                </a:cubicBezTo>
                <a:close/>
                <a:moveTo>
                  <a:pt x="97" y="197"/>
                </a:moveTo>
                <a:cubicBezTo>
                  <a:pt x="98" y="196"/>
                  <a:pt x="99" y="195"/>
                  <a:pt x="99" y="194"/>
                </a:cubicBezTo>
                <a:cubicBezTo>
                  <a:pt x="99" y="195"/>
                  <a:pt x="97" y="195"/>
                  <a:pt x="97" y="197"/>
                </a:cubicBezTo>
                <a:close/>
                <a:moveTo>
                  <a:pt x="69" y="174"/>
                </a:moveTo>
                <a:cubicBezTo>
                  <a:pt x="70" y="173"/>
                  <a:pt x="71" y="172"/>
                  <a:pt x="72" y="171"/>
                </a:cubicBezTo>
                <a:cubicBezTo>
                  <a:pt x="72" y="170"/>
                  <a:pt x="72" y="170"/>
                  <a:pt x="72" y="170"/>
                </a:cubicBezTo>
                <a:cubicBezTo>
                  <a:pt x="71" y="172"/>
                  <a:pt x="69" y="172"/>
                  <a:pt x="69" y="174"/>
                </a:cubicBezTo>
                <a:close/>
                <a:moveTo>
                  <a:pt x="91" y="189"/>
                </a:moveTo>
                <a:cubicBezTo>
                  <a:pt x="91" y="189"/>
                  <a:pt x="92" y="189"/>
                  <a:pt x="91" y="188"/>
                </a:cubicBezTo>
                <a:cubicBezTo>
                  <a:pt x="91" y="189"/>
                  <a:pt x="90" y="189"/>
                  <a:pt x="91" y="189"/>
                </a:cubicBezTo>
                <a:close/>
                <a:moveTo>
                  <a:pt x="69" y="171"/>
                </a:moveTo>
                <a:cubicBezTo>
                  <a:pt x="69" y="170"/>
                  <a:pt x="70" y="169"/>
                  <a:pt x="70" y="169"/>
                </a:cubicBezTo>
                <a:cubicBezTo>
                  <a:pt x="69" y="169"/>
                  <a:pt x="68" y="170"/>
                  <a:pt x="69" y="171"/>
                </a:cubicBezTo>
                <a:close/>
                <a:moveTo>
                  <a:pt x="67" y="172"/>
                </a:moveTo>
                <a:cubicBezTo>
                  <a:pt x="68" y="173"/>
                  <a:pt x="68" y="172"/>
                  <a:pt x="68" y="171"/>
                </a:cubicBezTo>
                <a:lnTo>
                  <a:pt x="67" y="172"/>
                </a:lnTo>
                <a:close/>
                <a:moveTo>
                  <a:pt x="96" y="198"/>
                </a:moveTo>
                <a:cubicBezTo>
                  <a:pt x="97" y="198"/>
                  <a:pt x="97" y="197"/>
                  <a:pt x="97" y="197"/>
                </a:cubicBezTo>
                <a:cubicBezTo>
                  <a:pt x="96" y="197"/>
                  <a:pt x="96" y="198"/>
                  <a:pt x="96" y="198"/>
                </a:cubicBezTo>
                <a:close/>
                <a:moveTo>
                  <a:pt x="75" y="181"/>
                </a:moveTo>
                <a:cubicBezTo>
                  <a:pt x="76" y="181"/>
                  <a:pt x="77" y="180"/>
                  <a:pt x="76" y="180"/>
                </a:cubicBezTo>
                <a:cubicBezTo>
                  <a:pt x="76" y="180"/>
                  <a:pt x="75" y="181"/>
                  <a:pt x="75" y="181"/>
                </a:cubicBezTo>
                <a:close/>
                <a:moveTo>
                  <a:pt x="90" y="195"/>
                </a:moveTo>
                <a:cubicBezTo>
                  <a:pt x="91" y="196"/>
                  <a:pt x="91" y="194"/>
                  <a:pt x="92" y="194"/>
                </a:cubicBezTo>
                <a:cubicBezTo>
                  <a:pt x="92" y="194"/>
                  <a:pt x="92" y="194"/>
                  <a:pt x="91" y="193"/>
                </a:cubicBezTo>
                <a:cubicBezTo>
                  <a:pt x="91" y="194"/>
                  <a:pt x="91" y="195"/>
                  <a:pt x="90" y="195"/>
                </a:cubicBezTo>
                <a:close/>
                <a:moveTo>
                  <a:pt x="65" y="173"/>
                </a:moveTo>
                <a:cubicBezTo>
                  <a:pt x="66" y="173"/>
                  <a:pt x="66" y="172"/>
                  <a:pt x="66" y="172"/>
                </a:cubicBezTo>
                <a:cubicBezTo>
                  <a:pt x="66" y="172"/>
                  <a:pt x="65" y="173"/>
                  <a:pt x="65" y="173"/>
                </a:cubicBezTo>
                <a:close/>
                <a:moveTo>
                  <a:pt x="67" y="176"/>
                </a:moveTo>
                <a:cubicBezTo>
                  <a:pt x="68" y="177"/>
                  <a:pt x="69" y="175"/>
                  <a:pt x="68" y="175"/>
                </a:cubicBezTo>
                <a:cubicBezTo>
                  <a:pt x="68" y="176"/>
                  <a:pt x="67" y="176"/>
                  <a:pt x="67" y="176"/>
                </a:cubicBezTo>
                <a:close/>
                <a:moveTo>
                  <a:pt x="70" y="178"/>
                </a:moveTo>
                <a:cubicBezTo>
                  <a:pt x="70" y="179"/>
                  <a:pt x="70" y="178"/>
                  <a:pt x="70" y="177"/>
                </a:cubicBezTo>
                <a:cubicBezTo>
                  <a:pt x="70" y="177"/>
                  <a:pt x="70" y="178"/>
                  <a:pt x="70" y="178"/>
                </a:cubicBezTo>
                <a:close/>
                <a:moveTo>
                  <a:pt x="88" y="196"/>
                </a:moveTo>
                <a:cubicBezTo>
                  <a:pt x="89" y="196"/>
                  <a:pt x="90" y="195"/>
                  <a:pt x="89" y="194"/>
                </a:cubicBezTo>
                <a:cubicBezTo>
                  <a:pt x="89" y="196"/>
                  <a:pt x="87" y="195"/>
                  <a:pt x="88" y="196"/>
                </a:cubicBezTo>
                <a:close/>
                <a:moveTo>
                  <a:pt x="63" y="174"/>
                </a:moveTo>
                <a:cubicBezTo>
                  <a:pt x="63" y="174"/>
                  <a:pt x="63" y="174"/>
                  <a:pt x="63" y="174"/>
                </a:cubicBezTo>
                <a:cubicBezTo>
                  <a:pt x="64" y="174"/>
                  <a:pt x="64" y="173"/>
                  <a:pt x="64" y="172"/>
                </a:cubicBezTo>
                <a:cubicBezTo>
                  <a:pt x="64" y="172"/>
                  <a:pt x="64" y="173"/>
                  <a:pt x="63" y="174"/>
                </a:cubicBezTo>
                <a:close/>
                <a:moveTo>
                  <a:pt x="87" y="195"/>
                </a:moveTo>
                <a:cubicBezTo>
                  <a:pt x="87" y="194"/>
                  <a:pt x="87" y="194"/>
                  <a:pt x="88" y="194"/>
                </a:cubicBezTo>
                <a:cubicBezTo>
                  <a:pt x="87" y="193"/>
                  <a:pt x="87" y="193"/>
                  <a:pt x="87" y="193"/>
                </a:cubicBezTo>
                <a:cubicBezTo>
                  <a:pt x="87" y="194"/>
                  <a:pt x="86" y="194"/>
                  <a:pt x="87" y="195"/>
                </a:cubicBezTo>
                <a:close/>
                <a:moveTo>
                  <a:pt x="89" y="196"/>
                </a:moveTo>
                <a:cubicBezTo>
                  <a:pt x="89" y="196"/>
                  <a:pt x="90" y="197"/>
                  <a:pt x="90" y="197"/>
                </a:cubicBezTo>
                <a:cubicBezTo>
                  <a:pt x="90" y="196"/>
                  <a:pt x="90" y="196"/>
                  <a:pt x="89" y="196"/>
                </a:cubicBezTo>
                <a:close/>
                <a:moveTo>
                  <a:pt x="70" y="180"/>
                </a:moveTo>
                <a:cubicBezTo>
                  <a:pt x="70" y="180"/>
                  <a:pt x="70" y="180"/>
                  <a:pt x="70" y="179"/>
                </a:cubicBezTo>
                <a:cubicBezTo>
                  <a:pt x="70" y="179"/>
                  <a:pt x="69" y="179"/>
                  <a:pt x="69" y="180"/>
                </a:cubicBezTo>
                <a:cubicBezTo>
                  <a:pt x="69" y="180"/>
                  <a:pt x="69" y="180"/>
                  <a:pt x="70" y="180"/>
                </a:cubicBezTo>
                <a:close/>
                <a:moveTo>
                  <a:pt x="63" y="175"/>
                </a:moveTo>
                <a:cubicBezTo>
                  <a:pt x="62" y="175"/>
                  <a:pt x="61" y="176"/>
                  <a:pt x="61" y="177"/>
                </a:cubicBezTo>
                <a:cubicBezTo>
                  <a:pt x="62" y="177"/>
                  <a:pt x="63" y="175"/>
                  <a:pt x="63" y="174"/>
                </a:cubicBezTo>
                <a:cubicBezTo>
                  <a:pt x="63" y="174"/>
                  <a:pt x="63" y="175"/>
                  <a:pt x="63" y="175"/>
                </a:cubicBezTo>
                <a:close/>
                <a:moveTo>
                  <a:pt x="88" y="201"/>
                </a:moveTo>
                <a:cubicBezTo>
                  <a:pt x="88" y="202"/>
                  <a:pt x="88" y="202"/>
                  <a:pt x="89" y="202"/>
                </a:cubicBezTo>
                <a:cubicBezTo>
                  <a:pt x="89" y="201"/>
                  <a:pt x="89" y="201"/>
                  <a:pt x="90" y="200"/>
                </a:cubicBezTo>
                <a:cubicBezTo>
                  <a:pt x="90" y="200"/>
                  <a:pt x="90" y="200"/>
                  <a:pt x="90" y="199"/>
                </a:cubicBezTo>
                <a:cubicBezTo>
                  <a:pt x="90" y="199"/>
                  <a:pt x="90" y="199"/>
                  <a:pt x="90" y="199"/>
                </a:cubicBezTo>
                <a:cubicBezTo>
                  <a:pt x="89" y="200"/>
                  <a:pt x="89" y="201"/>
                  <a:pt x="88" y="201"/>
                </a:cubicBezTo>
                <a:close/>
                <a:moveTo>
                  <a:pt x="92" y="203"/>
                </a:moveTo>
                <a:cubicBezTo>
                  <a:pt x="92" y="203"/>
                  <a:pt x="93" y="202"/>
                  <a:pt x="93" y="202"/>
                </a:cubicBezTo>
                <a:cubicBezTo>
                  <a:pt x="92" y="202"/>
                  <a:pt x="92" y="202"/>
                  <a:pt x="92" y="203"/>
                </a:cubicBezTo>
                <a:close/>
                <a:moveTo>
                  <a:pt x="62" y="177"/>
                </a:moveTo>
                <a:cubicBezTo>
                  <a:pt x="62" y="177"/>
                  <a:pt x="63" y="177"/>
                  <a:pt x="63" y="176"/>
                </a:cubicBezTo>
                <a:cubicBezTo>
                  <a:pt x="62" y="176"/>
                  <a:pt x="62" y="177"/>
                  <a:pt x="62" y="177"/>
                </a:cubicBezTo>
                <a:close/>
                <a:moveTo>
                  <a:pt x="62" y="177"/>
                </a:moveTo>
                <a:cubicBezTo>
                  <a:pt x="62" y="178"/>
                  <a:pt x="63" y="178"/>
                  <a:pt x="63" y="178"/>
                </a:cubicBezTo>
                <a:cubicBezTo>
                  <a:pt x="63" y="177"/>
                  <a:pt x="63" y="177"/>
                  <a:pt x="62" y="177"/>
                </a:cubicBezTo>
                <a:close/>
                <a:moveTo>
                  <a:pt x="90" y="205"/>
                </a:moveTo>
                <a:cubicBezTo>
                  <a:pt x="90" y="205"/>
                  <a:pt x="92" y="204"/>
                  <a:pt x="91" y="203"/>
                </a:cubicBezTo>
                <a:cubicBezTo>
                  <a:pt x="91" y="203"/>
                  <a:pt x="90" y="204"/>
                  <a:pt x="90" y="205"/>
                </a:cubicBezTo>
                <a:close/>
                <a:moveTo>
                  <a:pt x="89" y="203"/>
                </a:moveTo>
                <a:cubicBezTo>
                  <a:pt x="90" y="204"/>
                  <a:pt x="91" y="202"/>
                  <a:pt x="90" y="202"/>
                </a:cubicBezTo>
                <a:cubicBezTo>
                  <a:pt x="90" y="203"/>
                  <a:pt x="90" y="203"/>
                  <a:pt x="89" y="203"/>
                </a:cubicBezTo>
                <a:close/>
                <a:moveTo>
                  <a:pt x="78" y="193"/>
                </a:moveTo>
                <a:cubicBezTo>
                  <a:pt x="76" y="194"/>
                  <a:pt x="79" y="195"/>
                  <a:pt x="78" y="196"/>
                </a:cubicBezTo>
                <a:cubicBezTo>
                  <a:pt x="79" y="196"/>
                  <a:pt x="80" y="194"/>
                  <a:pt x="80" y="194"/>
                </a:cubicBezTo>
                <a:cubicBezTo>
                  <a:pt x="79" y="195"/>
                  <a:pt x="78" y="194"/>
                  <a:pt x="78" y="193"/>
                </a:cubicBezTo>
                <a:close/>
                <a:moveTo>
                  <a:pt x="70" y="188"/>
                </a:moveTo>
                <a:cubicBezTo>
                  <a:pt x="69" y="188"/>
                  <a:pt x="70" y="188"/>
                  <a:pt x="69" y="188"/>
                </a:cubicBezTo>
                <a:cubicBezTo>
                  <a:pt x="69" y="189"/>
                  <a:pt x="67" y="189"/>
                  <a:pt x="68" y="190"/>
                </a:cubicBezTo>
                <a:cubicBezTo>
                  <a:pt x="68" y="189"/>
                  <a:pt x="70" y="190"/>
                  <a:pt x="70" y="188"/>
                </a:cubicBezTo>
                <a:cubicBezTo>
                  <a:pt x="70" y="188"/>
                  <a:pt x="70" y="188"/>
                  <a:pt x="70" y="188"/>
                </a:cubicBezTo>
                <a:close/>
                <a:moveTo>
                  <a:pt x="66" y="185"/>
                </a:moveTo>
                <a:cubicBezTo>
                  <a:pt x="65" y="185"/>
                  <a:pt x="65" y="185"/>
                  <a:pt x="66" y="186"/>
                </a:cubicBezTo>
                <a:cubicBezTo>
                  <a:pt x="66" y="185"/>
                  <a:pt x="66" y="184"/>
                  <a:pt x="66" y="185"/>
                </a:cubicBezTo>
                <a:close/>
                <a:moveTo>
                  <a:pt x="79" y="199"/>
                </a:moveTo>
                <a:cubicBezTo>
                  <a:pt x="80" y="199"/>
                  <a:pt x="81" y="198"/>
                  <a:pt x="81" y="198"/>
                </a:cubicBezTo>
                <a:cubicBezTo>
                  <a:pt x="80" y="198"/>
                  <a:pt x="79" y="199"/>
                  <a:pt x="79" y="199"/>
                </a:cubicBezTo>
                <a:close/>
                <a:moveTo>
                  <a:pt x="84" y="202"/>
                </a:moveTo>
                <a:cubicBezTo>
                  <a:pt x="85" y="202"/>
                  <a:pt x="85" y="201"/>
                  <a:pt x="85" y="201"/>
                </a:cubicBezTo>
                <a:cubicBezTo>
                  <a:pt x="84" y="201"/>
                  <a:pt x="84" y="202"/>
                  <a:pt x="84" y="202"/>
                </a:cubicBezTo>
                <a:close/>
                <a:moveTo>
                  <a:pt x="58" y="182"/>
                </a:moveTo>
                <a:cubicBezTo>
                  <a:pt x="58" y="183"/>
                  <a:pt x="60" y="181"/>
                  <a:pt x="59" y="181"/>
                </a:cubicBezTo>
                <a:cubicBezTo>
                  <a:pt x="59" y="181"/>
                  <a:pt x="57" y="182"/>
                  <a:pt x="58" y="182"/>
                </a:cubicBezTo>
                <a:close/>
                <a:moveTo>
                  <a:pt x="76" y="197"/>
                </a:moveTo>
                <a:cubicBezTo>
                  <a:pt x="77" y="198"/>
                  <a:pt x="78" y="196"/>
                  <a:pt x="77" y="197"/>
                </a:cubicBezTo>
                <a:cubicBezTo>
                  <a:pt x="77" y="197"/>
                  <a:pt x="76" y="197"/>
                  <a:pt x="76" y="197"/>
                </a:cubicBezTo>
                <a:close/>
                <a:moveTo>
                  <a:pt x="68" y="191"/>
                </a:moveTo>
                <a:cubicBezTo>
                  <a:pt x="68" y="191"/>
                  <a:pt x="68" y="191"/>
                  <a:pt x="69" y="191"/>
                </a:cubicBezTo>
                <a:cubicBezTo>
                  <a:pt x="68" y="191"/>
                  <a:pt x="69" y="190"/>
                  <a:pt x="69" y="190"/>
                </a:cubicBezTo>
                <a:cubicBezTo>
                  <a:pt x="68" y="190"/>
                  <a:pt x="68" y="191"/>
                  <a:pt x="68" y="191"/>
                </a:cubicBezTo>
                <a:close/>
                <a:moveTo>
                  <a:pt x="69" y="194"/>
                </a:moveTo>
                <a:cubicBezTo>
                  <a:pt x="70" y="195"/>
                  <a:pt x="70" y="194"/>
                  <a:pt x="71" y="194"/>
                </a:cubicBezTo>
                <a:cubicBezTo>
                  <a:pt x="70" y="193"/>
                  <a:pt x="71" y="193"/>
                  <a:pt x="70" y="193"/>
                </a:cubicBezTo>
                <a:cubicBezTo>
                  <a:pt x="70" y="193"/>
                  <a:pt x="70" y="194"/>
                  <a:pt x="69" y="194"/>
                </a:cubicBezTo>
                <a:close/>
                <a:moveTo>
                  <a:pt x="64" y="195"/>
                </a:moveTo>
                <a:cubicBezTo>
                  <a:pt x="64" y="194"/>
                  <a:pt x="64" y="195"/>
                  <a:pt x="64" y="194"/>
                </a:cubicBezTo>
                <a:cubicBezTo>
                  <a:pt x="65" y="193"/>
                  <a:pt x="65" y="191"/>
                  <a:pt x="67" y="190"/>
                </a:cubicBezTo>
                <a:cubicBezTo>
                  <a:pt x="67" y="191"/>
                  <a:pt x="67" y="192"/>
                  <a:pt x="68" y="191"/>
                </a:cubicBezTo>
                <a:cubicBezTo>
                  <a:pt x="67" y="193"/>
                  <a:pt x="66" y="194"/>
                  <a:pt x="65" y="195"/>
                </a:cubicBezTo>
                <a:cubicBezTo>
                  <a:pt x="65" y="194"/>
                  <a:pt x="66" y="194"/>
                  <a:pt x="66" y="193"/>
                </a:cubicBezTo>
                <a:cubicBezTo>
                  <a:pt x="65" y="192"/>
                  <a:pt x="65" y="195"/>
                  <a:pt x="64" y="195"/>
                </a:cubicBezTo>
                <a:cubicBezTo>
                  <a:pt x="64" y="195"/>
                  <a:pt x="64" y="195"/>
                  <a:pt x="64" y="195"/>
                </a:cubicBezTo>
                <a:close/>
                <a:moveTo>
                  <a:pt x="66" y="192"/>
                </a:moveTo>
                <a:cubicBezTo>
                  <a:pt x="66" y="192"/>
                  <a:pt x="68" y="192"/>
                  <a:pt x="67" y="191"/>
                </a:cubicBezTo>
                <a:cubicBezTo>
                  <a:pt x="67" y="192"/>
                  <a:pt x="66" y="192"/>
                  <a:pt x="66" y="192"/>
                </a:cubicBezTo>
                <a:close/>
                <a:moveTo>
                  <a:pt x="68" y="196"/>
                </a:moveTo>
                <a:cubicBezTo>
                  <a:pt x="69" y="196"/>
                  <a:pt x="69" y="195"/>
                  <a:pt x="69" y="195"/>
                </a:cubicBezTo>
                <a:cubicBezTo>
                  <a:pt x="69" y="195"/>
                  <a:pt x="68" y="196"/>
                  <a:pt x="68" y="196"/>
                </a:cubicBezTo>
                <a:close/>
                <a:moveTo>
                  <a:pt x="81" y="205"/>
                </a:moveTo>
                <a:cubicBezTo>
                  <a:pt x="81" y="206"/>
                  <a:pt x="80" y="206"/>
                  <a:pt x="80" y="207"/>
                </a:cubicBezTo>
                <a:cubicBezTo>
                  <a:pt x="81" y="207"/>
                  <a:pt x="81" y="206"/>
                  <a:pt x="81" y="205"/>
                </a:cubicBezTo>
                <a:close/>
                <a:moveTo>
                  <a:pt x="85" y="210"/>
                </a:moveTo>
                <a:cubicBezTo>
                  <a:pt x="85" y="211"/>
                  <a:pt x="84" y="211"/>
                  <a:pt x="84" y="213"/>
                </a:cubicBezTo>
                <a:cubicBezTo>
                  <a:pt x="84" y="212"/>
                  <a:pt x="87" y="210"/>
                  <a:pt x="86" y="210"/>
                </a:cubicBezTo>
                <a:cubicBezTo>
                  <a:pt x="86" y="210"/>
                  <a:pt x="85" y="210"/>
                  <a:pt x="85" y="210"/>
                </a:cubicBezTo>
                <a:close/>
                <a:moveTo>
                  <a:pt x="81" y="210"/>
                </a:moveTo>
                <a:cubicBezTo>
                  <a:pt x="82" y="210"/>
                  <a:pt x="83" y="209"/>
                  <a:pt x="83" y="207"/>
                </a:cubicBezTo>
                <a:cubicBezTo>
                  <a:pt x="82" y="208"/>
                  <a:pt x="81" y="209"/>
                  <a:pt x="81" y="210"/>
                </a:cubicBezTo>
                <a:close/>
                <a:moveTo>
                  <a:pt x="67" y="196"/>
                </a:moveTo>
                <a:cubicBezTo>
                  <a:pt x="67" y="195"/>
                  <a:pt x="67" y="195"/>
                  <a:pt x="67" y="195"/>
                </a:cubicBezTo>
                <a:cubicBezTo>
                  <a:pt x="66" y="194"/>
                  <a:pt x="67" y="195"/>
                  <a:pt x="67" y="196"/>
                </a:cubicBezTo>
                <a:close/>
                <a:moveTo>
                  <a:pt x="54" y="186"/>
                </a:moveTo>
                <a:cubicBezTo>
                  <a:pt x="55" y="186"/>
                  <a:pt x="55" y="186"/>
                  <a:pt x="55" y="186"/>
                </a:cubicBezTo>
                <a:cubicBezTo>
                  <a:pt x="55" y="186"/>
                  <a:pt x="55" y="187"/>
                  <a:pt x="55" y="187"/>
                </a:cubicBezTo>
                <a:cubicBezTo>
                  <a:pt x="56" y="186"/>
                  <a:pt x="55" y="186"/>
                  <a:pt x="55" y="186"/>
                </a:cubicBezTo>
                <a:cubicBezTo>
                  <a:pt x="55" y="185"/>
                  <a:pt x="55" y="186"/>
                  <a:pt x="54" y="186"/>
                </a:cubicBezTo>
                <a:cubicBezTo>
                  <a:pt x="54" y="186"/>
                  <a:pt x="54" y="186"/>
                  <a:pt x="54" y="186"/>
                </a:cubicBezTo>
                <a:close/>
                <a:moveTo>
                  <a:pt x="63" y="194"/>
                </a:moveTo>
                <a:cubicBezTo>
                  <a:pt x="63" y="194"/>
                  <a:pt x="64" y="194"/>
                  <a:pt x="64" y="193"/>
                </a:cubicBezTo>
                <a:cubicBezTo>
                  <a:pt x="63" y="193"/>
                  <a:pt x="62" y="194"/>
                  <a:pt x="63" y="194"/>
                </a:cubicBezTo>
                <a:close/>
                <a:moveTo>
                  <a:pt x="68" y="198"/>
                </a:moveTo>
                <a:cubicBezTo>
                  <a:pt x="68" y="197"/>
                  <a:pt x="68" y="197"/>
                  <a:pt x="68" y="197"/>
                </a:cubicBezTo>
                <a:cubicBezTo>
                  <a:pt x="68" y="197"/>
                  <a:pt x="67" y="198"/>
                  <a:pt x="68" y="198"/>
                </a:cubicBezTo>
                <a:close/>
                <a:moveTo>
                  <a:pt x="68" y="200"/>
                </a:moveTo>
                <a:cubicBezTo>
                  <a:pt x="69" y="201"/>
                  <a:pt x="69" y="200"/>
                  <a:pt x="70" y="200"/>
                </a:cubicBezTo>
                <a:cubicBezTo>
                  <a:pt x="70" y="200"/>
                  <a:pt x="70" y="199"/>
                  <a:pt x="70" y="199"/>
                </a:cubicBezTo>
                <a:cubicBezTo>
                  <a:pt x="70" y="199"/>
                  <a:pt x="70" y="199"/>
                  <a:pt x="70" y="198"/>
                </a:cubicBezTo>
                <a:cubicBezTo>
                  <a:pt x="69" y="199"/>
                  <a:pt x="69" y="200"/>
                  <a:pt x="68" y="200"/>
                </a:cubicBezTo>
                <a:close/>
                <a:moveTo>
                  <a:pt x="53" y="186"/>
                </a:moveTo>
                <a:cubicBezTo>
                  <a:pt x="53" y="185"/>
                  <a:pt x="54" y="185"/>
                  <a:pt x="53" y="184"/>
                </a:cubicBezTo>
                <a:cubicBezTo>
                  <a:pt x="53" y="184"/>
                  <a:pt x="53" y="185"/>
                  <a:pt x="53" y="186"/>
                </a:cubicBezTo>
                <a:close/>
                <a:moveTo>
                  <a:pt x="66" y="197"/>
                </a:moveTo>
                <a:cubicBezTo>
                  <a:pt x="67" y="196"/>
                  <a:pt x="66" y="197"/>
                  <a:pt x="66" y="196"/>
                </a:cubicBezTo>
                <a:cubicBezTo>
                  <a:pt x="66" y="196"/>
                  <a:pt x="66" y="197"/>
                  <a:pt x="66" y="197"/>
                </a:cubicBezTo>
                <a:close/>
                <a:moveTo>
                  <a:pt x="71" y="202"/>
                </a:moveTo>
                <a:cubicBezTo>
                  <a:pt x="71" y="202"/>
                  <a:pt x="72" y="202"/>
                  <a:pt x="72" y="201"/>
                </a:cubicBezTo>
                <a:cubicBezTo>
                  <a:pt x="71" y="201"/>
                  <a:pt x="70" y="202"/>
                  <a:pt x="71" y="202"/>
                </a:cubicBezTo>
                <a:close/>
                <a:moveTo>
                  <a:pt x="60" y="193"/>
                </a:moveTo>
                <a:cubicBezTo>
                  <a:pt x="61" y="193"/>
                  <a:pt x="61" y="193"/>
                  <a:pt x="61" y="194"/>
                </a:cubicBezTo>
                <a:cubicBezTo>
                  <a:pt x="61" y="193"/>
                  <a:pt x="61" y="194"/>
                  <a:pt x="61" y="194"/>
                </a:cubicBezTo>
                <a:cubicBezTo>
                  <a:pt x="61" y="194"/>
                  <a:pt x="62" y="193"/>
                  <a:pt x="61" y="193"/>
                </a:cubicBezTo>
                <a:cubicBezTo>
                  <a:pt x="61" y="193"/>
                  <a:pt x="61" y="193"/>
                  <a:pt x="60" y="193"/>
                </a:cubicBezTo>
                <a:close/>
                <a:moveTo>
                  <a:pt x="54" y="191"/>
                </a:moveTo>
                <a:cubicBezTo>
                  <a:pt x="55" y="191"/>
                  <a:pt x="56" y="190"/>
                  <a:pt x="56" y="189"/>
                </a:cubicBezTo>
                <a:cubicBezTo>
                  <a:pt x="55" y="189"/>
                  <a:pt x="54" y="190"/>
                  <a:pt x="54" y="191"/>
                </a:cubicBezTo>
                <a:close/>
                <a:moveTo>
                  <a:pt x="76" y="210"/>
                </a:moveTo>
                <a:cubicBezTo>
                  <a:pt x="77" y="209"/>
                  <a:pt x="78" y="209"/>
                  <a:pt x="78" y="208"/>
                </a:cubicBezTo>
                <a:cubicBezTo>
                  <a:pt x="78" y="208"/>
                  <a:pt x="76" y="210"/>
                  <a:pt x="76" y="210"/>
                </a:cubicBezTo>
                <a:close/>
                <a:moveTo>
                  <a:pt x="75" y="208"/>
                </a:moveTo>
                <a:cubicBezTo>
                  <a:pt x="75" y="208"/>
                  <a:pt x="75" y="208"/>
                  <a:pt x="75" y="208"/>
                </a:cubicBezTo>
                <a:cubicBezTo>
                  <a:pt x="75" y="208"/>
                  <a:pt x="75" y="207"/>
                  <a:pt x="75" y="207"/>
                </a:cubicBezTo>
                <a:cubicBezTo>
                  <a:pt x="75" y="207"/>
                  <a:pt x="75" y="207"/>
                  <a:pt x="75" y="207"/>
                </a:cubicBezTo>
                <a:cubicBezTo>
                  <a:pt x="74" y="207"/>
                  <a:pt x="75" y="207"/>
                  <a:pt x="74" y="208"/>
                </a:cubicBezTo>
                <a:lnTo>
                  <a:pt x="75" y="208"/>
                </a:lnTo>
                <a:close/>
                <a:moveTo>
                  <a:pt x="74" y="206"/>
                </a:moveTo>
                <a:cubicBezTo>
                  <a:pt x="73" y="207"/>
                  <a:pt x="73" y="205"/>
                  <a:pt x="73" y="206"/>
                </a:cubicBezTo>
                <a:cubicBezTo>
                  <a:pt x="73" y="206"/>
                  <a:pt x="72" y="207"/>
                  <a:pt x="73" y="207"/>
                </a:cubicBezTo>
                <a:cubicBezTo>
                  <a:pt x="73" y="207"/>
                  <a:pt x="73" y="207"/>
                  <a:pt x="73" y="207"/>
                </a:cubicBezTo>
                <a:cubicBezTo>
                  <a:pt x="73" y="207"/>
                  <a:pt x="73" y="207"/>
                  <a:pt x="73" y="207"/>
                </a:cubicBezTo>
                <a:cubicBezTo>
                  <a:pt x="74" y="207"/>
                  <a:pt x="74" y="206"/>
                  <a:pt x="74" y="206"/>
                </a:cubicBezTo>
                <a:close/>
                <a:moveTo>
                  <a:pt x="50" y="189"/>
                </a:moveTo>
                <a:cubicBezTo>
                  <a:pt x="51" y="190"/>
                  <a:pt x="52" y="189"/>
                  <a:pt x="51" y="188"/>
                </a:cubicBezTo>
                <a:cubicBezTo>
                  <a:pt x="51" y="189"/>
                  <a:pt x="51" y="189"/>
                  <a:pt x="50" y="189"/>
                </a:cubicBezTo>
                <a:close/>
                <a:moveTo>
                  <a:pt x="53" y="192"/>
                </a:moveTo>
                <a:cubicBezTo>
                  <a:pt x="54" y="193"/>
                  <a:pt x="54" y="192"/>
                  <a:pt x="54" y="192"/>
                </a:cubicBezTo>
                <a:cubicBezTo>
                  <a:pt x="54" y="192"/>
                  <a:pt x="54" y="191"/>
                  <a:pt x="54" y="191"/>
                </a:cubicBezTo>
                <a:lnTo>
                  <a:pt x="53" y="192"/>
                </a:lnTo>
                <a:close/>
                <a:moveTo>
                  <a:pt x="73" y="209"/>
                </a:moveTo>
                <a:cubicBezTo>
                  <a:pt x="73" y="209"/>
                  <a:pt x="73" y="210"/>
                  <a:pt x="73" y="209"/>
                </a:cubicBezTo>
                <a:cubicBezTo>
                  <a:pt x="73" y="209"/>
                  <a:pt x="74" y="210"/>
                  <a:pt x="74" y="209"/>
                </a:cubicBezTo>
                <a:cubicBezTo>
                  <a:pt x="74" y="209"/>
                  <a:pt x="74" y="208"/>
                  <a:pt x="74" y="208"/>
                </a:cubicBezTo>
                <a:cubicBezTo>
                  <a:pt x="73" y="209"/>
                  <a:pt x="73" y="208"/>
                  <a:pt x="73" y="208"/>
                </a:cubicBezTo>
                <a:cubicBezTo>
                  <a:pt x="73" y="208"/>
                  <a:pt x="73" y="209"/>
                  <a:pt x="73" y="209"/>
                </a:cubicBezTo>
                <a:cubicBezTo>
                  <a:pt x="73" y="209"/>
                  <a:pt x="73" y="209"/>
                  <a:pt x="73" y="209"/>
                </a:cubicBezTo>
                <a:close/>
                <a:moveTo>
                  <a:pt x="49" y="190"/>
                </a:moveTo>
                <a:cubicBezTo>
                  <a:pt x="49" y="190"/>
                  <a:pt x="50" y="189"/>
                  <a:pt x="50" y="189"/>
                </a:cubicBezTo>
                <a:cubicBezTo>
                  <a:pt x="50" y="189"/>
                  <a:pt x="49" y="190"/>
                  <a:pt x="49" y="190"/>
                </a:cubicBezTo>
                <a:close/>
                <a:moveTo>
                  <a:pt x="52" y="194"/>
                </a:moveTo>
                <a:cubicBezTo>
                  <a:pt x="53" y="194"/>
                  <a:pt x="54" y="193"/>
                  <a:pt x="53" y="192"/>
                </a:cubicBezTo>
                <a:cubicBezTo>
                  <a:pt x="53" y="193"/>
                  <a:pt x="52" y="193"/>
                  <a:pt x="52" y="194"/>
                </a:cubicBezTo>
                <a:close/>
                <a:moveTo>
                  <a:pt x="66" y="205"/>
                </a:moveTo>
                <a:cubicBezTo>
                  <a:pt x="66" y="205"/>
                  <a:pt x="67" y="204"/>
                  <a:pt x="67" y="204"/>
                </a:cubicBezTo>
                <a:cubicBezTo>
                  <a:pt x="67" y="204"/>
                  <a:pt x="67" y="204"/>
                  <a:pt x="67" y="204"/>
                </a:cubicBezTo>
                <a:cubicBezTo>
                  <a:pt x="67" y="204"/>
                  <a:pt x="66" y="205"/>
                  <a:pt x="66" y="205"/>
                </a:cubicBezTo>
                <a:close/>
                <a:moveTo>
                  <a:pt x="58" y="198"/>
                </a:moveTo>
                <a:cubicBezTo>
                  <a:pt x="57" y="198"/>
                  <a:pt x="57" y="197"/>
                  <a:pt x="57" y="197"/>
                </a:cubicBezTo>
                <a:cubicBezTo>
                  <a:pt x="56" y="197"/>
                  <a:pt x="57" y="198"/>
                  <a:pt x="58" y="198"/>
                </a:cubicBezTo>
                <a:close/>
                <a:moveTo>
                  <a:pt x="50" y="197"/>
                </a:moveTo>
                <a:cubicBezTo>
                  <a:pt x="51" y="196"/>
                  <a:pt x="51" y="195"/>
                  <a:pt x="52" y="195"/>
                </a:cubicBezTo>
                <a:cubicBezTo>
                  <a:pt x="52" y="194"/>
                  <a:pt x="52" y="194"/>
                  <a:pt x="52" y="194"/>
                </a:cubicBezTo>
                <a:cubicBezTo>
                  <a:pt x="51" y="195"/>
                  <a:pt x="50" y="196"/>
                  <a:pt x="50" y="197"/>
                </a:cubicBezTo>
                <a:close/>
                <a:moveTo>
                  <a:pt x="79" y="218"/>
                </a:moveTo>
                <a:cubicBezTo>
                  <a:pt x="80" y="219"/>
                  <a:pt x="80" y="218"/>
                  <a:pt x="80" y="218"/>
                </a:cubicBezTo>
                <a:cubicBezTo>
                  <a:pt x="80" y="218"/>
                  <a:pt x="80" y="218"/>
                  <a:pt x="79" y="218"/>
                </a:cubicBezTo>
                <a:close/>
                <a:moveTo>
                  <a:pt x="45" y="192"/>
                </a:moveTo>
                <a:cubicBezTo>
                  <a:pt x="45" y="192"/>
                  <a:pt x="47" y="192"/>
                  <a:pt x="46" y="191"/>
                </a:cubicBezTo>
                <a:cubicBezTo>
                  <a:pt x="46" y="192"/>
                  <a:pt x="45" y="191"/>
                  <a:pt x="45" y="192"/>
                </a:cubicBezTo>
                <a:close/>
                <a:moveTo>
                  <a:pt x="42" y="196"/>
                </a:moveTo>
                <a:cubicBezTo>
                  <a:pt x="44" y="196"/>
                  <a:pt x="43" y="194"/>
                  <a:pt x="45" y="193"/>
                </a:cubicBezTo>
                <a:cubicBezTo>
                  <a:pt x="44" y="193"/>
                  <a:pt x="44" y="193"/>
                  <a:pt x="44" y="193"/>
                </a:cubicBezTo>
                <a:cubicBezTo>
                  <a:pt x="44" y="194"/>
                  <a:pt x="42" y="194"/>
                  <a:pt x="42" y="196"/>
                </a:cubicBezTo>
                <a:close/>
                <a:moveTo>
                  <a:pt x="49" y="199"/>
                </a:moveTo>
                <a:cubicBezTo>
                  <a:pt x="49" y="198"/>
                  <a:pt x="50" y="198"/>
                  <a:pt x="49" y="197"/>
                </a:cubicBezTo>
                <a:cubicBezTo>
                  <a:pt x="49" y="198"/>
                  <a:pt x="48" y="198"/>
                  <a:pt x="49" y="199"/>
                </a:cubicBezTo>
                <a:close/>
                <a:moveTo>
                  <a:pt x="67" y="214"/>
                </a:moveTo>
                <a:cubicBezTo>
                  <a:pt x="67" y="214"/>
                  <a:pt x="66" y="215"/>
                  <a:pt x="67" y="215"/>
                </a:cubicBezTo>
                <a:cubicBezTo>
                  <a:pt x="66" y="214"/>
                  <a:pt x="68" y="214"/>
                  <a:pt x="68" y="214"/>
                </a:cubicBezTo>
                <a:cubicBezTo>
                  <a:pt x="67" y="214"/>
                  <a:pt x="67" y="214"/>
                  <a:pt x="67" y="214"/>
                </a:cubicBezTo>
                <a:close/>
                <a:moveTo>
                  <a:pt x="72" y="224"/>
                </a:moveTo>
                <a:cubicBezTo>
                  <a:pt x="72" y="224"/>
                  <a:pt x="74" y="222"/>
                  <a:pt x="74" y="221"/>
                </a:cubicBezTo>
                <a:cubicBezTo>
                  <a:pt x="74" y="222"/>
                  <a:pt x="72" y="224"/>
                  <a:pt x="72" y="224"/>
                </a:cubicBezTo>
                <a:close/>
                <a:moveTo>
                  <a:pt x="59" y="212"/>
                </a:moveTo>
                <a:cubicBezTo>
                  <a:pt x="59" y="211"/>
                  <a:pt x="61" y="211"/>
                  <a:pt x="61" y="211"/>
                </a:cubicBezTo>
                <a:cubicBezTo>
                  <a:pt x="60" y="211"/>
                  <a:pt x="59" y="211"/>
                  <a:pt x="59" y="212"/>
                </a:cubicBezTo>
                <a:close/>
                <a:moveTo>
                  <a:pt x="71" y="219"/>
                </a:moveTo>
                <a:cubicBezTo>
                  <a:pt x="71" y="219"/>
                  <a:pt x="70" y="219"/>
                  <a:pt x="70" y="218"/>
                </a:cubicBezTo>
                <a:cubicBezTo>
                  <a:pt x="70" y="219"/>
                  <a:pt x="70" y="219"/>
                  <a:pt x="71" y="219"/>
                </a:cubicBezTo>
                <a:close/>
                <a:moveTo>
                  <a:pt x="41" y="197"/>
                </a:moveTo>
                <a:cubicBezTo>
                  <a:pt x="42" y="198"/>
                  <a:pt x="42" y="197"/>
                  <a:pt x="42" y="196"/>
                </a:cubicBezTo>
                <a:cubicBezTo>
                  <a:pt x="42" y="196"/>
                  <a:pt x="42" y="196"/>
                  <a:pt x="41" y="197"/>
                </a:cubicBezTo>
                <a:close/>
                <a:moveTo>
                  <a:pt x="57" y="214"/>
                </a:moveTo>
                <a:cubicBezTo>
                  <a:pt x="57" y="214"/>
                  <a:pt x="57" y="214"/>
                  <a:pt x="57" y="215"/>
                </a:cubicBezTo>
                <a:cubicBezTo>
                  <a:pt x="58" y="214"/>
                  <a:pt x="58" y="214"/>
                  <a:pt x="58" y="213"/>
                </a:cubicBezTo>
                <a:cubicBezTo>
                  <a:pt x="58" y="214"/>
                  <a:pt x="58" y="214"/>
                  <a:pt x="57" y="214"/>
                </a:cubicBezTo>
                <a:close/>
                <a:moveTo>
                  <a:pt x="62" y="219"/>
                </a:moveTo>
                <a:cubicBezTo>
                  <a:pt x="62" y="218"/>
                  <a:pt x="62" y="218"/>
                  <a:pt x="62" y="218"/>
                </a:cubicBezTo>
                <a:cubicBezTo>
                  <a:pt x="61" y="218"/>
                  <a:pt x="61" y="218"/>
                  <a:pt x="62" y="219"/>
                </a:cubicBezTo>
                <a:close/>
                <a:moveTo>
                  <a:pt x="62" y="219"/>
                </a:moveTo>
                <a:cubicBezTo>
                  <a:pt x="62" y="220"/>
                  <a:pt x="63" y="220"/>
                  <a:pt x="63" y="220"/>
                </a:cubicBezTo>
                <a:cubicBezTo>
                  <a:pt x="63" y="220"/>
                  <a:pt x="62" y="219"/>
                  <a:pt x="62" y="219"/>
                </a:cubicBezTo>
                <a:close/>
                <a:moveTo>
                  <a:pt x="43" y="206"/>
                </a:moveTo>
                <a:cubicBezTo>
                  <a:pt x="43" y="205"/>
                  <a:pt x="44" y="204"/>
                  <a:pt x="43" y="204"/>
                </a:cubicBezTo>
                <a:cubicBezTo>
                  <a:pt x="42" y="205"/>
                  <a:pt x="42" y="205"/>
                  <a:pt x="43" y="206"/>
                </a:cubicBezTo>
                <a:close/>
                <a:moveTo>
                  <a:pt x="59" y="218"/>
                </a:moveTo>
                <a:cubicBezTo>
                  <a:pt x="60" y="219"/>
                  <a:pt x="60" y="218"/>
                  <a:pt x="60" y="217"/>
                </a:cubicBezTo>
                <a:cubicBezTo>
                  <a:pt x="60" y="217"/>
                  <a:pt x="59" y="218"/>
                  <a:pt x="59" y="218"/>
                </a:cubicBezTo>
                <a:close/>
                <a:moveTo>
                  <a:pt x="57" y="218"/>
                </a:moveTo>
                <a:cubicBezTo>
                  <a:pt x="57" y="217"/>
                  <a:pt x="58" y="217"/>
                  <a:pt x="58" y="216"/>
                </a:cubicBezTo>
                <a:cubicBezTo>
                  <a:pt x="58" y="216"/>
                  <a:pt x="57" y="217"/>
                  <a:pt x="57" y="218"/>
                </a:cubicBezTo>
                <a:close/>
                <a:moveTo>
                  <a:pt x="64" y="226"/>
                </a:moveTo>
                <a:cubicBezTo>
                  <a:pt x="65" y="225"/>
                  <a:pt x="66" y="225"/>
                  <a:pt x="66" y="224"/>
                </a:cubicBezTo>
                <a:cubicBezTo>
                  <a:pt x="66" y="224"/>
                  <a:pt x="66" y="224"/>
                  <a:pt x="66" y="223"/>
                </a:cubicBezTo>
                <a:cubicBezTo>
                  <a:pt x="65" y="224"/>
                  <a:pt x="64" y="225"/>
                  <a:pt x="64" y="226"/>
                </a:cubicBezTo>
                <a:close/>
                <a:moveTo>
                  <a:pt x="49" y="214"/>
                </a:moveTo>
                <a:cubicBezTo>
                  <a:pt x="50" y="214"/>
                  <a:pt x="51" y="213"/>
                  <a:pt x="51" y="212"/>
                </a:cubicBezTo>
                <a:cubicBezTo>
                  <a:pt x="50" y="213"/>
                  <a:pt x="49" y="213"/>
                  <a:pt x="49" y="214"/>
                </a:cubicBezTo>
                <a:close/>
                <a:moveTo>
                  <a:pt x="57" y="221"/>
                </a:moveTo>
                <a:cubicBezTo>
                  <a:pt x="58" y="220"/>
                  <a:pt x="59" y="220"/>
                  <a:pt x="59" y="219"/>
                </a:cubicBezTo>
                <a:cubicBezTo>
                  <a:pt x="58" y="219"/>
                  <a:pt x="56" y="220"/>
                  <a:pt x="57" y="221"/>
                </a:cubicBezTo>
                <a:close/>
                <a:moveTo>
                  <a:pt x="41" y="208"/>
                </a:moveTo>
                <a:cubicBezTo>
                  <a:pt x="41" y="208"/>
                  <a:pt x="41" y="207"/>
                  <a:pt x="41" y="207"/>
                </a:cubicBezTo>
                <a:cubicBezTo>
                  <a:pt x="41" y="207"/>
                  <a:pt x="40" y="208"/>
                  <a:pt x="41" y="208"/>
                </a:cubicBezTo>
                <a:close/>
                <a:moveTo>
                  <a:pt x="62" y="226"/>
                </a:moveTo>
                <a:cubicBezTo>
                  <a:pt x="62" y="225"/>
                  <a:pt x="63" y="225"/>
                  <a:pt x="62" y="224"/>
                </a:cubicBezTo>
                <a:cubicBezTo>
                  <a:pt x="62" y="225"/>
                  <a:pt x="61" y="225"/>
                  <a:pt x="62" y="226"/>
                </a:cubicBezTo>
                <a:close/>
                <a:moveTo>
                  <a:pt x="53" y="219"/>
                </a:moveTo>
                <a:cubicBezTo>
                  <a:pt x="54" y="219"/>
                  <a:pt x="54" y="220"/>
                  <a:pt x="55" y="219"/>
                </a:cubicBezTo>
                <a:cubicBezTo>
                  <a:pt x="54" y="219"/>
                  <a:pt x="54" y="218"/>
                  <a:pt x="53" y="219"/>
                </a:cubicBezTo>
                <a:close/>
                <a:moveTo>
                  <a:pt x="68" y="232"/>
                </a:moveTo>
                <a:cubicBezTo>
                  <a:pt x="69" y="233"/>
                  <a:pt x="70" y="231"/>
                  <a:pt x="69" y="231"/>
                </a:cubicBezTo>
                <a:cubicBezTo>
                  <a:pt x="69" y="231"/>
                  <a:pt x="69" y="232"/>
                  <a:pt x="68" y="232"/>
                </a:cubicBezTo>
                <a:close/>
                <a:moveTo>
                  <a:pt x="55" y="224"/>
                </a:moveTo>
                <a:cubicBezTo>
                  <a:pt x="56" y="223"/>
                  <a:pt x="57" y="222"/>
                  <a:pt x="57" y="221"/>
                </a:cubicBezTo>
                <a:cubicBezTo>
                  <a:pt x="56" y="222"/>
                  <a:pt x="56" y="223"/>
                  <a:pt x="55" y="224"/>
                </a:cubicBezTo>
                <a:close/>
                <a:moveTo>
                  <a:pt x="62" y="228"/>
                </a:moveTo>
                <a:cubicBezTo>
                  <a:pt x="63" y="228"/>
                  <a:pt x="63" y="228"/>
                  <a:pt x="64" y="228"/>
                </a:cubicBezTo>
                <a:cubicBezTo>
                  <a:pt x="63" y="227"/>
                  <a:pt x="64" y="227"/>
                  <a:pt x="63" y="226"/>
                </a:cubicBezTo>
                <a:cubicBezTo>
                  <a:pt x="63" y="227"/>
                  <a:pt x="62" y="228"/>
                  <a:pt x="62" y="228"/>
                </a:cubicBezTo>
                <a:close/>
                <a:moveTo>
                  <a:pt x="53" y="220"/>
                </a:moveTo>
                <a:cubicBezTo>
                  <a:pt x="53" y="220"/>
                  <a:pt x="54" y="219"/>
                  <a:pt x="53" y="219"/>
                </a:cubicBezTo>
                <a:cubicBezTo>
                  <a:pt x="52" y="221"/>
                  <a:pt x="51" y="222"/>
                  <a:pt x="53" y="220"/>
                </a:cubicBezTo>
                <a:close/>
                <a:moveTo>
                  <a:pt x="47" y="216"/>
                </a:moveTo>
                <a:cubicBezTo>
                  <a:pt x="47" y="217"/>
                  <a:pt x="46" y="217"/>
                  <a:pt x="47" y="218"/>
                </a:cubicBezTo>
                <a:cubicBezTo>
                  <a:pt x="47" y="217"/>
                  <a:pt x="47" y="217"/>
                  <a:pt x="48" y="217"/>
                </a:cubicBezTo>
                <a:cubicBezTo>
                  <a:pt x="48" y="216"/>
                  <a:pt x="48" y="216"/>
                  <a:pt x="47" y="216"/>
                </a:cubicBezTo>
                <a:close/>
                <a:moveTo>
                  <a:pt x="59" y="227"/>
                </a:moveTo>
                <a:cubicBezTo>
                  <a:pt x="59" y="227"/>
                  <a:pt x="59" y="227"/>
                  <a:pt x="59" y="228"/>
                </a:cubicBezTo>
                <a:cubicBezTo>
                  <a:pt x="59" y="227"/>
                  <a:pt x="60" y="227"/>
                  <a:pt x="60" y="226"/>
                </a:cubicBezTo>
                <a:cubicBezTo>
                  <a:pt x="60" y="227"/>
                  <a:pt x="59" y="226"/>
                  <a:pt x="59" y="227"/>
                </a:cubicBezTo>
                <a:close/>
                <a:moveTo>
                  <a:pt x="57" y="227"/>
                </a:moveTo>
                <a:cubicBezTo>
                  <a:pt x="57" y="227"/>
                  <a:pt x="59" y="226"/>
                  <a:pt x="58" y="226"/>
                </a:cubicBezTo>
                <a:cubicBezTo>
                  <a:pt x="58" y="226"/>
                  <a:pt x="57" y="226"/>
                  <a:pt x="57" y="227"/>
                </a:cubicBezTo>
                <a:close/>
                <a:moveTo>
                  <a:pt x="51" y="223"/>
                </a:moveTo>
                <a:cubicBezTo>
                  <a:pt x="51" y="222"/>
                  <a:pt x="52" y="222"/>
                  <a:pt x="52" y="221"/>
                </a:cubicBezTo>
                <a:cubicBezTo>
                  <a:pt x="51" y="222"/>
                  <a:pt x="51" y="222"/>
                  <a:pt x="51" y="223"/>
                </a:cubicBezTo>
                <a:close/>
                <a:moveTo>
                  <a:pt x="33" y="211"/>
                </a:moveTo>
                <a:cubicBezTo>
                  <a:pt x="34" y="212"/>
                  <a:pt x="35" y="210"/>
                  <a:pt x="35" y="209"/>
                </a:cubicBezTo>
                <a:cubicBezTo>
                  <a:pt x="34" y="210"/>
                  <a:pt x="34" y="211"/>
                  <a:pt x="33" y="211"/>
                </a:cubicBezTo>
                <a:close/>
                <a:moveTo>
                  <a:pt x="40" y="214"/>
                </a:moveTo>
                <a:cubicBezTo>
                  <a:pt x="40" y="214"/>
                  <a:pt x="41" y="214"/>
                  <a:pt x="40" y="213"/>
                </a:cubicBezTo>
                <a:cubicBezTo>
                  <a:pt x="40" y="213"/>
                  <a:pt x="39" y="214"/>
                  <a:pt x="40" y="214"/>
                </a:cubicBezTo>
                <a:close/>
                <a:moveTo>
                  <a:pt x="35" y="215"/>
                </a:moveTo>
                <a:cubicBezTo>
                  <a:pt x="36" y="215"/>
                  <a:pt x="37" y="214"/>
                  <a:pt x="37" y="213"/>
                </a:cubicBezTo>
                <a:cubicBezTo>
                  <a:pt x="36" y="214"/>
                  <a:pt x="35" y="215"/>
                  <a:pt x="35" y="215"/>
                </a:cubicBezTo>
                <a:close/>
                <a:moveTo>
                  <a:pt x="48" y="223"/>
                </a:moveTo>
                <a:cubicBezTo>
                  <a:pt x="49" y="223"/>
                  <a:pt x="49" y="222"/>
                  <a:pt x="48" y="222"/>
                </a:cubicBezTo>
                <a:cubicBezTo>
                  <a:pt x="48" y="222"/>
                  <a:pt x="48" y="223"/>
                  <a:pt x="48" y="223"/>
                </a:cubicBezTo>
                <a:close/>
                <a:moveTo>
                  <a:pt x="38" y="217"/>
                </a:moveTo>
                <a:cubicBezTo>
                  <a:pt x="38" y="217"/>
                  <a:pt x="39" y="216"/>
                  <a:pt x="39" y="215"/>
                </a:cubicBezTo>
                <a:lnTo>
                  <a:pt x="38" y="217"/>
                </a:lnTo>
                <a:close/>
                <a:moveTo>
                  <a:pt x="43" y="223"/>
                </a:moveTo>
                <a:cubicBezTo>
                  <a:pt x="43" y="223"/>
                  <a:pt x="45" y="222"/>
                  <a:pt x="44" y="221"/>
                </a:cubicBezTo>
                <a:cubicBezTo>
                  <a:pt x="44" y="222"/>
                  <a:pt x="42" y="223"/>
                  <a:pt x="43" y="223"/>
                </a:cubicBezTo>
                <a:close/>
                <a:moveTo>
                  <a:pt x="62" y="237"/>
                </a:moveTo>
                <a:cubicBezTo>
                  <a:pt x="62" y="237"/>
                  <a:pt x="63" y="236"/>
                  <a:pt x="62" y="235"/>
                </a:cubicBezTo>
                <a:cubicBezTo>
                  <a:pt x="62" y="236"/>
                  <a:pt x="61" y="237"/>
                  <a:pt x="62" y="237"/>
                </a:cubicBezTo>
                <a:close/>
                <a:moveTo>
                  <a:pt x="30" y="213"/>
                </a:moveTo>
                <a:cubicBezTo>
                  <a:pt x="30" y="212"/>
                  <a:pt x="31" y="212"/>
                  <a:pt x="30" y="211"/>
                </a:cubicBezTo>
                <a:cubicBezTo>
                  <a:pt x="30" y="212"/>
                  <a:pt x="29" y="212"/>
                  <a:pt x="30" y="213"/>
                </a:cubicBezTo>
                <a:close/>
                <a:moveTo>
                  <a:pt x="49" y="228"/>
                </a:moveTo>
                <a:cubicBezTo>
                  <a:pt x="50" y="229"/>
                  <a:pt x="50" y="227"/>
                  <a:pt x="50" y="228"/>
                </a:cubicBezTo>
                <a:cubicBezTo>
                  <a:pt x="51" y="227"/>
                  <a:pt x="51" y="227"/>
                  <a:pt x="51" y="227"/>
                </a:cubicBezTo>
                <a:cubicBezTo>
                  <a:pt x="51" y="227"/>
                  <a:pt x="51" y="227"/>
                  <a:pt x="51" y="227"/>
                </a:cubicBezTo>
                <a:cubicBezTo>
                  <a:pt x="50" y="228"/>
                  <a:pt x="49" y="227"/>
                  <a:pt x="49" y="228"/>
                </a:cubicBezTo>
                <a:close/>
                <a:moveTo>
                  <a:pt x="44" y="225"/>
                </a:moveTo>
                <a:cubicBezTo>
                  <a:pt x="44" y="224"/>
                  <a:pt x="45" y="224"/>
                  <a:pt x="44" y="223"/>
                </a:cubicBezTo>
                <a:cubicBezTo>
                  <a:pt x="44" y="224"/>
                  <a:pt x="44" y="224"/>
                  <a:pt x="44" y="225"/>
                </a:cubicBezTo>
                <a:close/>
                <a:moveTo>
                  <a:pt x="64" y="238"/>
                </a:moveTo>
                <a:cubicBezTo>
                  <a:pt x="63" y="238"/>
                  <a:pt x="63" y="239"/>
                  <a:pt x="63" y="239"/>
                </a:cubicBezTo>
                <a:cubicBezTo>
                  <a:pt x="64" y="239"/>
                  <a:pt x="64" y="239"/>
                  <a:pt x="64" y="238"/>
                </a:cubicBezTo>
                <a:close/>
                <a:moveTo>
                  <a:pt x="29" y="217"/>
                </a:moveTo>
                <a:cubicBezTo>
                  <a:pt x="30" y="217"/>
                  <a:pt x="30" y="216"/>
                  <a:pt x="30" y="215"/>
                </a:cubicBezTo>
                <a:cubicBezTo>
                  <a:pt x="30" y="216"/>
                  <a:pt x="29" y="216"/>
                  <a:pt x="29" y="217"/>
                </a:cubicBezTo>
                <a:close/>
                <a:moveTo>
                  <a:pt x="55" y="237"/>
                </a:moveTo>
                <a:cubicBezTo>
                  <a:pt x="55" y="236"/>
                  <a:pt x="56" y="236"/>
                  <a:pt x="56" y="235"/>
                </a:cubicBezTo>
                <a:cubicBezTo>
                  <a:pt x="55" y="235"/>
                  <a:pt x="55" y="236"/>
                  <a:pt x="55" y="237"/>
                </a:cubicBezTo>
                <a:close/>
                <a:moveTo>
                  <a:pt x="47" y="231"/>
                </a:moveTo>
                <a:cubicBezTo>
                  <a:pt x="47" y="232"/>
                  <a:pt x="48" y="230"/>
                  <a:pt x="48" y="230"/>
                </a:cubicBezTo>
                <a:cubicBezTo>
                  <a:pt x="47" y="230"/>
                  <a:pt x="47" y="230"/>
                  <a:pt x="47" y="231"/>
                </a:cubicBezTo>
                <a:close/>
                <a:moveTo>
                  <a:pt x="61" y="240"/>
                </a:moveTo>
                <a:cubicBezTo>
                  <a:pt x="62" y="240"/>
                  <a:pt x="61" y="240"/>
                  <a:pt x="61" y="239"/>
                </a:cubicBezTo>
                <a:cubicBezTo>
                  <a:pt x="61" y="240"/>
                  <a:pt x="61" y="240"/>
                  <a:pt x="61" y="240"/>
                </a:cubicBezTo>
                <a:close/>
                <a:moveTo>
                  <a:pt x="34" y="223"/>
                </a:moveTo>
                <a:cubicBezTo>
                  <a:pt x="34" y="222"/>
                  <a:pt x="35" y="222"/>
                  <a:pt x="35" y="221"/>
                </a:cubicBezTo>
                <a:cubicBezTo>
                  <a:pt x="34" y="221"/>
                  <a:pt x="33" y="222"/>
                  <a:pt x="34" y="223"/>
                </a:cubicBezTo>
                <a:close/>
                <a:moveTo>
                  <a:pt x="26" y="217"/>
                </a:moveTo>
                <a:cubicBezTo>
                  <a:pt x="26" y="217"/>
                  <a:pt x="27" y="217"/>
                  <a:pt x="26" y="216"/>
                </a:cubicBezTo>
                <a:cubicBezTo>
                  <a:pt x="26" y="217"/>
                  <a:pt x="26" y="217"/>
                  <a:pt x="26" y="217"/>
                </a:cubicBezTo>
                <a:close/>
                <a:moveTo>
                  <a:pt x="32" y="222"/>
                </a:moveTo>
                <a:cubicBezTo>
                  <a:pt x="33" y="222"/>
                  <a:pt x="33" y="222"/>
                  <a:pt x="33" y="221"/>
                </a:cubicBezTo>
                <a:cubicBezTo>
                  <a:pt x="32" y="221"/>
                  <a:pt x="32" y="222"/>
                  <a:pt x="32" y="222"/>
                </a:cubicBezTo>
                <a:close/>
                <a:moveTo>
                  <a:pt x="27" y="218"/>
                </a:moveTo>
                <a:cubicBezTo>
                  <a:pt x="27" y="219"/>
                  <a:pt x="26" y="220"/>
                  <a:pt x="27" y="221"/>
                </a:cubicBezTo>
                <a:cubicBezTo>
                  <a:pt x="27" y="220"/>
                  <a:pt x="27" y="220"/>
                  <a:pt x="28" y="219"/>
                </a:cubicBezTo>
                <a:cubicBezTo>
                  <a:pt x="28" y="219"/>
                  <a:pt x="28" y="218"/>
                  <a:pt x="27" y="218"/>
                </a:cubicBezTo>
                <a:close/>
                <a:moveTo>
                  <a:pt x="32" y="225"/>
                </a:moveTo>
                <a:cubicBezTo>
                  <a:pt x="33" y="224"/>
                  <a:pt x="33" y="224"/>
                  <a:pt x="34" y="223"/>
                </a:cubicBezTo>
                <a:cubicBezTo>
                  <a:pt x="33" y="223"/>
                  <a:pt x="33" y="223"/>
                  <a:pt x="33" y="223"/>
                </a:cubicBezTo>
                <a:cubicBezTo>
                  <a:pt x="32" y="223"/>
                  <a:pt x="32" y="224"/>
                  <a:pt x="32" y="225"/>
                </a:cubicBezTo>
                <a:close/>
                <a:moveTo>
                  <a:pt x="23" y="221"/>
                </a:moveTo>
                <a:cubicBezTo>
                  <a:pt x="24" y="220"/>
                  <a:pt x="25" y="219"/>
                  <a:pt x="26" y="217"/>
                </a:cubicBezTo>
                <a:cubicBezTo>
                  <a:pt x="25" y="219"/>
                  <a:pt x="24" y="220"/>
                  <a:pt x="23" y="221"/>
                </a:cubicBezTo>
                <a:close/>
                <a:moveTo>
                  <a:pt x="57" y="242"/>
                </a:moveTo>
                <a:cubicBezTo>
                  <a:pt x="58" y="243"/>
                  <a:pt x="58" y="243"/>
                  <a:pt x="58" y="243"/>
                </a:cubicBezTo>
                <a:cubicBezTo>
                  <a:pt x="59" y="243"/>
                  <a:pt x="58" y="242"/>
                  <a:pt x="58" y="241"/>
                </a:cubicBezTo>
                <a:lnTo>
                  <a:pt x="57" y="242"/>
                </a:lnTo>
                <a:close/>
                <a:moveTo>
                  <a:pt x="25" y="220"/>
                </a:moveTo>
                <a:cubicBezTo>
                  <a:pt x="26" y="220"/>
                  <a:pt x="26" y="219"/>
                  <a:pt x="26" y="218"/>
                </a:cubicBezTo>
                <a:cubicBezTo>
                  <a:pt x="26" y="218"/>
                  <a:pt x="25" y="219"/>
                  <a:pt x="25" y="220"/>
                </a:cubicBezTo>
                <a:close/>
                <a:moveTo>
                  <a:pt x="44" y="234"/>
                </a:moveTo>
                <a:cubicBezTo>
                  <a:pt x="44" y="234"/>
                  <a:pt x="45" y="233"/>
                  <a:pt x="45" y="233"/>
                </a:cubicBezTo>
                <a:cubicBezTo>
                  <a:pt x="44" y="233"/>
                  <a:pt x="43" y="233"/>
                  <a:pt x="44" y="234"/>
                </a:cubicBezTo>
                <a:close/>
                <a:moveTo>
                  <a:pt x="49" y="243"/>
                </a:moveTo>
                <a:cubicBezTo>
                  <a:pt x="50" y="242"/>
                  <a:pt x="52" y="240"/>
                  <a:pt x="52" y="239"/>
                </a:cubicBezTo>
                <a:cubicBezTo>
                  <a:pt x="51" y="241"/>
                  <a:pt x="49" y="241"/>
                  <a:pt x="49" y="243"/>
                </a:cubicBezTo>
                <a:close/>
                <a:moveTo>
                  <a:pt x="31" y="225"/>
                </a:moveTo>
                <a:cubicBezTo>
                  <a:pt x="32" y="225"/>
                  <a:pt x="31" y="226"/>
                  <a:pt x="31" y="226"/>
                </a:cubicBezTo>
                <a:cubicBezTo>
                  <a:pt x="32" y="226"/>
                  <a:pt x="32" y="226"/>
                  <a:pt x="32" y="225"/>
                </a:cubicBezTo>
                <a:cubicBezTo>
                  <a:pt x="32" y="225"/>
                  <a:pt x="32" y="225"/>
                  <a:pt x="31" y="225"/>
                </a:cubicBezTo>
                <a:close/>
                <a:moveTo>
                  <a:pt x="42" y="242"/>
                </a:moveTo>
                <a:cubicBezTo>
                  <a:pt x="43" y="241"/>
                  <a:pt x="45" y="239"/>
                  <a:pt x="46" y="236"/>
                </a:cubicBezTo>
                <a:cubicBezTo>
                  <a:pt x="46" y="237"/>
                  <a:pt x="46" y="238"/>
                  <a:pt x="47" y="237"/>
                </a:cubicBezTo>
                <a:cubicBezTo>
                  <a:pt x="47" y="236"/>
                  <a:pt x="46" y="236"/>
                  <a:pt x="46" y="235"/>
                </a:cubicBezTo>
                <a:cubicBezTo>
                  <a:pt x="45" y="238"/>
                  <a:pt x="42" y="240"/>
                  <a:pt x="42" y="242"/>
                </a:cubicBezTo>
                <a:close/>
                <a:moveTo>
                  <a:pt x="23" y="220"/>
                </a:moveTo>
                <a:cubicBezTo>
                  <a:pt x="23" y="220"/>
                  <a:pt x="22" y="220"/>
                  <a:pt x="23" y="219"/>
                </a:cubicBezTo>
                <a:cubicBezTo>
                  <a:pt x="22" y="219"/>
                  <a:pt x="22" y="219"/>
                  <a:pt x="22" y="219"/>
                </a:cubicBezTo>
                <a:cubicBezTo>
                  <a:pt x="22" y="219"/>
                  <a:pt x="22" y="221"/>
                  <a:pt x="23" y="220"/>
                </a:cubicBezTo>
                <a:close/>
                <a:moveTo>
                  <a:pt x="30" y="227"/>
                </a:moveTo>
                <a:cubicBezTo>
                  <a:pt x="30" y="227"/>
                  <a:pt x="30" y="227"/>
                  <a:pt x="31" y="228"/>
                </a:cubicBezTo>
                <a:cubicBezTo>
                  <a:pt x="31" y="227"/>
                  <a:pt x="31" y="227"/>
                  <a:pt x="31" y="227"/>
                </a:cubicBezTo>
                <a:cubicBezTo>
                  <a:pt x="31" y="226"/>
                  <a:pt x="32" y="227"/>
                  <a:pt x="31" y="226"/>
                </a:cubicBezTo>
                <a:cubicBezTo>
                  <a:pt x="31" y="226"/>
                  <a:pt x="31" y="226"/>
                  <a:pt x="30" y="227"/>
                </a:cubicBezTo>
                <a:close/>
                <a:moveTo>
                  <a:pt x="31" y="230"/>
                </a:moveTo>
                <a:cubicBezTo>
                  <a:pt x="32" y="229"/>
                  <a:pt x="33" y="228"/>
                  <a:pt x="33" y="228"/>
                </a:cubicBezTo>
                <a:cubicBezTo>
                  <a:pt x="32" y="228"/>
                  <a:pt x="31" y="229"/>
                  <a:pt x="31" y="230"/>
                </a:cubicBezTo>
                <a:close/>
                <a:moveTo>
                  <a:pt x="57" y="246"/>
                </a:moveTo>
                <a:cubicBezTo>
                  <a:pt x="57" y="246"/>
                  <a:pt x="57" y="246"/>
                  <a:pt x="58" y="246"/>
                </a:cubicBezTo>
                <a:cubicBezTo>
                  <a:pt x="57" y="246"/>
                  <a:pt x="57" y="246"/>
                  <a:pt x="57" y="246"/>
                </a:cubicBezTo>
                <a:close/>
                <a:moveTo>
                  <a:pt x="21" y="224"/>
                </a:moveTo>
                <a:cubicBezTo>
                  <a:pt x="22" y="224"/>
                  <a:pt x="22" y="223"/>
                  <a:pt x="22" y="223"/>
                </a:cubicBezTo>
                <a:cubicBezTo>
                  <a:pt x="22" y="223"/>
                  <a:pt x="21" y="224"/>
                  <a:pt x="21" y="224"/>
                </a:cubicBezTo>
                <a:close/>
                <a:moveTo>
                  <a:pt x="52" y="249"/>
                </a:moveTo>
                <a:cubicBezTo>
                  <a:pt x="52" y="249"/>
                  <a:pt x="52" y="249"/>
                  <a:pt x="51" y="249"/>
                </a:cubicBezTo>
                <a:cubicBezTo>
                  <a:pt x="52" y="250"/>
                  <a:pt x="52" y="249"/>
                  <a:pt x="52" y="250"/>
                </a:cubicBezTo>
                <a:cubicBezTo>
                  <a:pt x="53" y="248"/>
                  <a:pt x="53" y="248"/>
                  <a:pt x="54" y="247"/>
                </a:cubicBezTo>
                <a:cubicBezTo>
                  <a:pt x="53" y="247"/>
                  <a:pt x="52" y="248"/>
                  <a:pt x="52" y="249"/>
                </a:cubicBezTo>
                <a:close/>
                <a:moveTo>
                  <a:pt x="29" y="230"/>
                </a:moveTo>
                <a:cubicBezTo>
                  <a:pt x="29" y="230"/>
                  <a:pt x="29" y="230"/>
                  <a:pt x="29" y="230"/>
                </a:cubicBezTo>
                <a:cubicBezTo>
                  <a:pt x="29" y="229"/>
                  <a:pt x="28" y="230"/>
                  <a:pt x="29" y="230"/>
                </a:cubicBezTo>
                <a:close/>
                <a:moveTo>
                  <a:pt x="54" y="249"/>
                </a:moveTo>
                <a:cubicBezTo>
                  <a:pt x="55" y="250"/>
                  <a:pt x="54" y="251"/>
                  <a:pt x="55" y="250"/>
                </a:cubicBezTo>
                <a:cubicBezTo>
                  <a:pt x="56" y="251"/>
                  <a:pt x="55" y="250"/>
                  <a:pt x="55" y="251"/>
                </a:cubicBezTo>
                <a:cubicBezTo>
                  <a:pt x="56" y="251"/>
                  <a:pt x="56" y="250"/>
                  <a:pt x="56" y="250"/>
                </a:cubicBezTo>
                <a:cubicBezTo>
                  <a:pt x="55" y="249"/>
                  <a:pt x="55" y="249"/>
                  <a:pt x="54" y="249"/>
                </a:cubicBezTo>
                <a:close/>
                <a:moveTo>
                  <a:pt x="47" y="245"/>
                </a:moveTo>
                <a:cubicBezTo>
                  <a:pt x="47" y="246"/>
                  <a:pt x="46" y="246"/>
                  <a:pt x="47" y="246"/>
                </a:cubicBezTo>
                <a:cubicBezTo>
                  <a:pt x="48" y="245"/>
                  <a:pt x="48" y="245"/>
                  <a:pt x="48" y="245"/>
                </a:cubicBezTo>
                <a:cubicBezTo>
                  <a:pt x="48" y="245"/>
                  <a:pt x="47" y="245"/>
                  <a:pt x="47" y="245"/>
                </a:cubicBezTo>
                <a:close/>
                <a:moveTo>
                  <a:pt x="28" y="231"/>
                </a:moveTo>
                <a:cubicBezTo>
                  <a:pt x="28" y="232"/>
                  <a:pt x="27" y="232"/>
                  <a:pt x="27" y="233"/>
                </a:cubicBezTo>
                <a:cubicBezTo>
                  <a:pt x="28" y="232"/>
                  <a:pt x="28" y="231"/>
                  <a:pt x="28" y="231"/>
                </a:cubicBezTo>
                <a:cubicBezTo>
                  <a:pt x="28" y="231"/>
                  <a:pt x="28" y="230"/>
                  <a:pt x="28" y="231"/>
                </a:cubicBezTo>
                <a:close/>
                <a:moveTo>
                  <a:pt x="28" y="235"/>
                </a:moveTo>
                <a:cubicBezTo>
                  <a:pt x="29" y="234"/>
                  <a:pt x="30" y="233"/>
                  <a:pt x="29" y="232"/>
                </a:cubicBezTo>
                <a:cubicBezTo>
                  <a:pt x="29" y="233"/>
                  <a:pt x="29" y="234"/>
                  <a:pt x="28" y="235"/>
                </a:cubicBezTo>
                <a:close/>
                <a:moveTo>
                  <a:pt x="48" y="247"/>
                </a:moveTo>
                <a:cubicBezTo>
                  <a:pt x="48" y="248"/>
                  <a:pt x="49" y="248"/>
                  <a:pt x="49" y="248"/>
                </a:cubicBezTo>
                <a:cubicBezTo>
                  <a:pt x="49" y="248"/>
                  <a:pt x="49" y="248"/>
                  <a:pt x="49" y="248"/>
                </a:cubicBezTo>
                <a:cubicBezTo>
                  <a:pt x="49" y="248"/>
                  <a:pt x="49" y="247"/>
                  <a:pt x="48" y="247"/>
                </a:cubicBezTo>
                <a:close/>
                <a:moveTo>
                  <a:pt x="17" y="226"/>
                </a:moveTo>
                <a:cubicBezTo>
                  <a:pt x="17" y="226"/>
                  <a:pt x="17" y="227"/>
                  <a:pt x="17" y="227"/>
                </a:cubicBezTo>
                <a:cubicBezTo>
                  <a:pt x="17" y="226"/>
                  <a:pt x="18" y="227"/>
                  <a:pt x="18" y="227"/>
                </a:cubicBezTo>
                <a:cubicBezTo>
                  <a:pt x="18" y="226"/>
                  <a:pt x="17" y="226"/>
                  <a:pt x="17" y="225"/>
                </a:cubicBezTo>
                <a:lnTo>
                  <a:pt x="17" y="226"/>
                </a:lnTo>
                <a:close/>
                <a:moveTo>
                  <a:pt x="41" y="244"/>
                </a:moveTo>
                <a:cubicBezTo>
                  <a:pt x="41" y="244"/>
                  <a:pt x="42" y="243"/>
                  <a:pt x="41" y="243"/>
                </a:cubicBezTo>
                <a:cubicBezTo>
                  <a:pt x="40" y="245"/>
                  <a:pt x="39" y="245"/>
                  <a:pt x="41" y="244"/>
                </a:cubicBezTo>
                <a:close/>
                <a:moveTo>
                  <a:pt x="50" y="252"/>
                </a:moveTo>
                <a:cubicBezTo>
                  <a:pt x="50" y="251"/>
                  <a:pt x="51" y="252"/>
                  <a:pt x="51" y="252"/>
                </a:cubicBezTo>
                <a:cubicBezTo>
                  <a:pt x="50" y="252"/>
                  <a:pt x="51" y="251"/>
                  <a:pt x="51" y="250"/>
                </a:cubicBezTo>
                <a:cubicBezTo>
                  <a:pt x="51" y="252"/>
                  <a:pt x="49" y="251"/>
                  <a:pt x="50" y="252"/>
                </a:cubicBezTo>
                <a:close/>
                <a:moveTo>
                  <a:pt x="42" y="245"/>
                </a:moveTo>
                <a:cubicBezTo>
                  <a:pt x="42" y="246"/>
                  <a:pt x="42" y="246"/>
                  <a:pt x="43" y="246"/>
                </a:cubicBezTo>
                <a:cubicBezTo>
                  <a:pt x="43" y="245"/>
                  <a:pt x="42" y="245"/>
                  <a:pt x="42" y="245"/>
                </a:cubicBezTo>
                <a:close/>
                <a:moveTo>
                  <a:pt x="53" y="255"/>
                </a:moveTo>
                <a:cubicBezTo>
                  <a:pt x="53" y="254"/>
                  <a:pt x="54" y="254"/>
                  <a:pt x="53" y="253"/>
                </a:cubicBezTo>
                <a:cubicBezTo>
                  <a:pt x="53" y="254"/>
                  <a:pt x="52" y="254"/>
                  <a:pt x="53" y="255"/>
                </a:cubicBezTo>
                <a:close/>
                <a:moveTo>
                  <a:pt x="40" y="247"/>
                </a:moveTo>
                <a:cubicBezTo>
                  <a:pt x="41" y="247"/>
                  <a:pt x="42" y="246"/>
                  <a:pt x="41" y="246"/>
                </a:cubicBezTo>
                <a:lnTo>
                  <a:pt x="40" y="247"/>
                </a:lnTo>
                <a:close/>
                <a:moveTo>
                  <a:pt x="43" y="248"/>
                </a:moveTo>
                <a:cubicBezTo>
                  <a:pt x="44" y="249"/>
                  <a:pt x="44" y="249"/>
                  <a:pt x="44" y="249"/>
                </a:cubicBezTo>
                <a:cubicBezTo>
                  <a:pt x="44" y="248"/>
                  <a:pt x="43" y="248"/>
                  <a:pt x="43" y="248"/>
                </a:cubicBezTo>
                <a:close/>
                <a:moveTo>
                  <a:pt x="15" y="234"/>
                </a:moveTo>
                <a:cubicBezTo>
                  <a:pt x="15" y="233"/>
                  <a:pt x="15" y="233"/>
                  <a:pt x="15" y="232"/>
                </a:cubicBezTo>
                <a:cubicBezTo>
                  <a:pt x="15" y="233"/>
                  <a:pt x="15" y="233"/>
                  <a:pt x="15" y="233"/>
                </a:cubicBezTo>
                <a:cubicBezTo>
                  <a:pt x="16" y="234"/>
                  <a:pt x="16" y="234"/>
                  <a:pt x="16" y="234"/>
                </a:cubicBezTo>
                <a:cubicBezTo>
                  <a:pt x="17" y="232"/>
                  <a:pt x="17" y="233"/>
                  <a:pt x="18" y="231"/>
                </a:cubicBezTo>
                <a:cubicBezTo>
                  <a:pt x="18" y="231"/>
                  <a:pt x="17" y="231"/>
                  <a:pt x="17" y="230"/>
                </a:cubicBezTo>
                <a:cubicBezTo>
                  <a:pt x="17" y="230"/>
                  <a:pt x="17" y="231"/>
                  <a:pt x="17" y="230"/>
                </a:cubicBezTo>
                <a:cubicBezTo>
                  <a:pt x="17" y="232"/>
                  <a:pt x="16" y="232"/>
                  <a:pt x="15" y="234"/>
                </a:cubicBezTo>
                <a:close/>
                <a:moveTo>
                  <a:pt x="51" y="255"/>
                </a:moveTo>
                <a:cubicBezTo>
                  <a:pt x="51" y="256"/>
                  <a:pt x="50" y="257"/>
                  <a:pt x="51" y="257"/>
                </a:cubicBezTo>
                <a:cubicBezTo>
                  <a:pt x="51" y="256"/>
                  <a:pt x="52" y="256"/>
                  <a:pt x="52" y="255"/>
                </a:cubicBezTo>
                <a:cubicBezTo>
                  <a:pt x="51" y="255"/>
                  <a:pt x="51" y="255"/>
                  <a:pt x="51" y="255"/>
                </a:cubicBezTo>
                <a:close/>
                <a:moveTo>
                  <a:pt x="20" y="235"/>
                </a:moveTo>
                <a:cubicBezTo>
                  <a:pt x="19" y="235"/>
                  <a:pt x="19" y="236"/>
                  <a:pt x="19" y="236"/>
                </a:cubicBezTo>
                <a:cubicBezTo>
                  <a:pt x="20" y="236"/>
                  <a:pt x="20" y="236"/>
                  <a:pt x="20" y="236"/>
                </a:cubicBezTo>
                <a:cubicBezTo>
                  <a:pt x="20" y="236"/>
                  <a:pt x="21" y="235"/>
                  <a:pt x="21" y="235"/>
                </a:cubicBezTo>
                <a:cubicBezTo>
                  <a:pt x="20" y="235"/>
                  <a:pt x="20" y="236"/>
                  <a:pt x="20" y="235"/>
                </a:cubicBezTo>
                <a:close/>
                <a:moveTo>
                  <a:pt x="21" y="238"/>
                </a:moveTo>
                <a:cubicBezTo>
                  <a:pt x="21" y="237"/>
                  <a:pt x="22" y="237"/>
                  <a:pt x="22" y="236"/>
                </a:cubicBezTo>
                <a:cubicBezTo>
                  <a:pt x="21" y="236"/>
                  <a:pt x="21" y="237"/>
                  <a:pt x="21" y="238"/>
                </a:cubicBezTo>
                <a:close/>
                <a:moveTo>
                  <a:pt x="17" y="236"/>
                </a:moveTo>
                <a:cubicBezTo>
                  <a:pt x="18" y="236"/>
                  <a:pt x="18" y="235"/>
                  <a:pt x="18" y="235"/>
                </a:cubicBezTo>
                <a:cubicBezTo>
                  <a:pt x="18" y="235"/>
                  <a:pt x="17" y="236"/>
                  <a:pt x="17" y="236"/>
                </a:cubicBezTo>
                <a:close/>
                <a:moveTo>
                  <a:pt x="23" y="243"/>
                </a:moveTo>
                <a:cubicBezTo>
                  <a:pt x="24" y="243"/>
                  <a:pt x="25" y="241"/>
                  <a:pt x="26" y="240"/>
                </a:cubicBezTo>
                <a:cubicBezTo>
                  <a:pt x="25" y="240"/>
                  <a:pt x="25" y="240"/>
                  <a:pt x="25" y="240"/>
                </a:cubicBezTo>
                <a:cubicBezTo>
                  <a:pt x="24" y="241"/>
                  <a:pt x="24" y="242"/>
                  <a:pt x="23" y="243"/>
                </a:cubicBezTo>
                <a:close/>
                <a:moveTo>
                  <a:pt x="17" y="238"/>
                </a:moveTo>
                <a:cubicBezTo>
                  <a:pt x="17" y="237"/>
                  <a:pt x="18" y="237"/>
                  <a:pt x="18" y="236"/>
                </a:cubicBezTo>
                <a:cubicBezTo>
                  <a:pt x="17" y="236"/>
                  <a:pt x="16" y="237"/>
                  <a:pt x="17" y="238"/>
                </a:cubicBezTo>
                <a:close/>
                <a:moveTo>
                  <a:pt x="35" y="251"/>
                </a:moveTo>
                <a:cubicBezTo>
                  <a:pt x="35" y="252"/>
                  <a:pt x="36" y="250"/>
                  <a:pt x="36" y="250"/>
                </a:cubicBezTo>
                <a:lnTo>
                  <a:pt x="35" y="251"/>
                </a:lnTo>
                <a:close/>
                <a:moveTo>
                  <a:pt x="38" y="255"/>
                </a:moveTo>
                <a:cubicBezTo>
                  <a:pt x="39" y="254"/>
                  <a:pt x="39" y="254"/>
                  <a:pt x="39" y="254"/>
                </a:cubicBezTo>
                <a:cubicBezTo>
                  <a:pt x="39" y="254"/>
                  <a:pt x="38" y="254"/>
                  <a:pt x="38" y="255"/>
                </a:cubicBezTo>
                <a:close/>
                <a:moveTo>
                  <a:pt x="12" y="236"/>
                </a:moveTo>
                <a:cubicBezTo>
                  <a:pt x="12" y="236"/>
                  <a:pt x="12" y="237"/>
                  <a:pt x="12" y="237"/>
                </a:cubicBezTo>
                <a:cubicBezTo>
                  <a:pt x="13" y="236"/>
                  <a:pt x="13" y="236"/>
                  <a:pt x="13" y="236"/>
                </a:cubicBezTo>
                <a:cubicBezTo>
                  <a:pt x="13" y="236"/>
                  <a:pt x="12" y="236"/>
                  <a:pt x="12" y="236"/>
                </a:cubicBezTo>
                <a:close/>
                <a:moveTo>
                  <a:pt x="38" y="253"/>
                </a:moveTo>
                <a:cubicBezTo>
                  <a:pt x="36" y="252"/>
                  <a:pt x="36" y="252"/>
                  <a:pt x="36" y="252"/>
                </a:cubicBezTo>
                <a:cubicBezTo>
                  <a:pt x="36" y="253"/>
                  <a:pt x="37" y="254"/>
                  <a:pt x="38" y="253"/>
                </a:cubicBezTo>
                <a:close/>
                <a:moveTo>
                  <a:pt x="12" y="239"/>
                </a:moveTo>
                <a:cubicBezTo>
                  <a:pt x="13" y="238"/>
                  <a:pt x="13" y="238"/>
                  <a:pt x="13" y="238"/>
                </a:cubicBezTo>
                <a:cubicBezTo>
                  <a:pt x="13" y="238"/>
                  <a:pt x="13" y="239"/>
                  <a:pt x="13" y="238"/>
                </a:cubicBezTo>
                <a:cubicBezTo>
                  <a:pt x="12" y="238"/>
                  <a:pt x="14" y="237"/>
                  <a:pt x="13" y="237"/>
                </a:cubicBezTo>
                <a:cubicBezTo>
                  <a:pt x="12" y="237"/>
                  <a:pt x="12" y="238"/>
                  <a:pt x="12" y="239"/>
                </a:cubicBezTo>
                <a:close/>
                <a:moveTo>
                  <a:pt x="35" y="256"/>
                </a:moveTo>
                <a:cubicBezTo>
                  <a:pt x="35" y="256"/>
                  <a:pt x="36" y="257"/>
                  <a:pt x="36" y="257"/>
                </a:cubicBezTo>
                <a:cubicBezTo>
                  <a:pt x="36" y="256"/>
                  <a:pt x="35" y="256"/>
                  <a:pt x="35" y="256"/>
                </a:cubicBezTo>
                <a:close/>
                <a:moveTo>
                  <a:pt x="27" y="255"/>
                </a:moveTo>
                <a:cubicBezTo>
                  <a:pt x="27" y="255"/>
                  <a:pt x="28" y="254"/>
                  <a:pt x="28" y="254"/>
                </a:cubicBezTo>
                <a:cubicBezTo>
                  <a:pt x="27" y="254"/>
                  <a:pt x="27" y="254"/>
                  <a:pt x="27" y="255"/>
                </a:cubicBezTo>
                <a:close/>
                <a:moveTo>
                  <a:pt x="8" y="244"/>
                </a:moveTo>
                <a:cubicBezTo>
                  <a:pt x="7" y="244"/>
                  <a:pt x="7" y="244"/>
                  <a:pt x="7" y="244"/>
                </a:cubicBezTo>
                <a:cubicBezTo>
                  <a:pt x="8" y="245"/>
                  <a:pt x="8" y="243"/>
                  <a:pt x="7" y="243"/>
                </a:cubicBezTo>
                <a:cubicBezTo>
                  <a:pt x="7" y="243"/>
                  <a:pt x="7" y="243"/>
                  <a:pt x="8" y="244"/>
                </a:cubicBezTo>
                <a:close/>
                <a:moveTo>
                  <a:pt x="6" y="247"/>
                </a:moveTo>
                <a:cubicBezTo>
                  <a:pt x="7" y="248"/>
                  <a:pt x="9" y="244"/>
                  <a:pt x="8" y="244"/>
                </a:cubicBezTo>
                <a:cubicBezTo>
                  <a:pt x="7" y="245"/>
                  <a:pt x="7" y="246"/>
                  <a:pt x="6" y="247"/>
                </a:cubicBezTo>
                <a:close/>
                <a:moveTo>
                  <a:pt x="11" y="248"/>
                </a:moveTo>
                <a:cubicBezTo>
                  <a:pt x="12" y="248"/>
                  <a:pt x="12" y="247"/>
                  <a:pt x="11" y="247"/>
                </a:cubicBezTo>
                <a:cubicBezTo>
                  <a:pt x="11" y="247"/>
                  <a:pt x="11" y="248"/>
                  <a:pt x="11" y="248"/>
                </a:cubicBezTo>
                <a:close/>
                <a:moveTo>
                  <a:pt x="32" y="264"/>
                </a:moveTo>
                <a:cubicBezTo>
                  <a:pt x="33" y="264"/>
                  <a:pt x="33" y="264"/>
                  <a:pt x="33" y="263"/>
                </a:cubicBezTo>
                <a:cubicBezTo>
                  <a:pt x="32" y="263"/>
                  <a:pt x="32" y="263"/>
                  <a:pt x="32" y="264"/>
                </a:cubicBezTo>
                <a:close/>
                <a:moveTo>
                  <a:pt x="10" y="250"/>
                </a:moveTo>
                <a:cubicBezTo>
                  <a:pt x="10" y="250"/>
                  <a:pt x="11" y="249"/>
                  <a:pt x="11" y="249"/>
                </a:cubicBezTo>
                <a:cubicBezTo>
                  <a:pt x="10" y="248"/>
                  <a:pt x="10" y="248"/>
                  <a:pt x="10" y="248"/>
                </a:cubicBezTo>
                <a:cubicBezTo>
                  <a:pt x="10" y="249"/>
                  <a:pt x="9" y="249"/>
                  <a:pt x="10" y="250"/>
                </a:cubicBezTo>
                <a:close/>
                <a:moveTo>
                  <a:pt x="7" y="252"/>
                </a:moveTo>
                <a:cubicBezTo>
                  <a:pt x="7" y="251"/>
                  <a:pt x="9" y="249"/>
                  <a:pt x="8" y="248"/>
                </a:cubicBezTo>
                <a:cubicBezTo>
                  <a:pt x="8" y="249"/>
                  <a:pt x="6" y="251"/>
                  <a:pt x="7" y="252"/>
                </a:cubicBezTo>
                <a:close/>
                <a:moveTo>
                  <a:pt x="3" y="247"/>
                </a:moveTo>
                <a:cubicBezTo>
                  <a:pt x="3" y="246"/>
                  <a:pt x="4" y="246"/>
                  <a:pt x="4" y="246"/>
                </a:cubicBezTo>
                <a:cubicBezTo>
                  <a:pt x="3" y="246"/>
                  <a:pt x="2" y="246"/>
                  <a:pt x="3" y="247"/>
                </a:cubicBezTo>
                <a:close/>
                <a:moveTo>
                  <a:pt x="0" y="255"/>
                </a:moveTo>
                <a:cubicBezTo>
                  <a:pt x="1" y="253"/>
                  <a:pt x="3" y="253"/>
                  <a:pt x="2" y="251"/>
                </a:cubicBezTo>
                <a:cubicBezTo>
                  <a:pt x="2" y="253"/>
                  <a:pt x="0" y="254"/>
                  <a:pt x="0" y="255"/>
                </a:cubicBezTo>
                <a:close/>
                <a:moveTo>
                  <a:pt x="30" y="271"/>
                </a:moveTo>
                <a:cubicBezTo>
                  <a:pt x="30" y="271"/>
                  <a:pt x="31" y="271"/>
                  <a:pt x="31" y="271"/>
                </a:cubicBezTo>
                <a:cubicBezTo>
                  <a:pt x="31" y="271"/>
                  <a:pt x="30" y="270"/>
                  <a:pt x="30" y="271"/>
                </a:cubicBezTo>
                <a:close/>
                <a:moveTo>
                  <a:pt x="34" y="274"/>
                </a:moveTo>
                <a:cubicBezTo>
                  <a:pt x="35" y="275"/>
                  <a:pt x="34" y="275"/>
                  <a:pt x="35" y="275"/>
                </a:cubicBezTo>
                <a:cubicBezTo>
                  <a:pt x="36" y="275"/>
                  <a:pt x="35" y="275"/>
                  <a:pt x="35" y="274"/>
                </a:cubicBezTo>
                <a:cubicBezTo>
                  <a:pt x="35" y="274"/>
                  <a:pt x="35" y="274"/>
                  <a:pt x="34" y="274"/>
                </a:cubicBezTo>
                <a:close/>
                <a:moveTo>
                  <a:pt x="3" y="254"/>
                </a:moveTo>
                <a:cubicBezTo>
                  <a:pt x="2" y="254"/>
                  <a:pt x="2" y="254"/>
                  <a:pt x="2" y="253"/>
                </a:cubicBezTo>
                <a:cubicBezTo>
                  <a:pt x="2" y="254"/>
                  <a:pt x="2" y="254"/>
                  <a:pt x="2" y="254"/>
                </a:cubicBezTo>
                <a:cubicBezTo>
                  <a:pt x="2" y="254"/>
                  <a:pt x="4" y="254"/>
                  <a:pt x="3" y="253"/>
                </a:cubicBezTo>
                <a:lnTo>
                  <a:pt x="3" y="254"/>
                </a:lnTo>
                <a:close/>
                <a:moveTo>
                  <a:pt x="27" y="271"/>
                </a:moveTo>
                <a:cubicBezTo>
                  <a:pt x="27" y="271"/>
                  <a:pt x="27" y="272"/>
                  <a:pt x="28" y="271"/>
                </a:cubicBezTo>
                <a:cubicBezTo>
                  <a:pt x="28" y="271"/>
                  <a:pt x="27" y="270"/>
                  <a:pt x="27" y="271"/>
                </a:cubicBezTo>
                <a:close/>
                <a:moveTo>
                  <a:pt x="31" y="278"/>
                </a:moveTo>
                <a:cubicBezTo>
                  <a:pt x="31" y="277"/>
                  <a:pt x="30" y="277"/>
                  <a:pt x="30" y="276"/>
                </a:cubicBezTo>
                <a:cubicBezTo>
                  <a:pt x="30" y="277"/>
                  <a:pt x="31" y="277"/>
                  <a:pt x="31" y="278"/>
                </a:cubicBezTo>
                <a:close/>
                <a:moveTo>
                  <a:pt x="31" y="281"/>
                </a:moveTo>
                <a:cubicBezTo>
                  <a:pt x="32" y="281"/>
                  <a:pt x="32" y="281"/>
                  <a:pt x="32" y="281"/>
                </a:cubicBezTo>
                <a:cubicBezTo>
                  <a:pt x="32" y="280"/>
                  <a:pt x="32" y="280"/>
                  <a:pt x="33" y="280"/>
                </a:cubicBezTo>
                <a:cubicBezTo>
                  <a:pt x="33" y="280"/>
                  <a:pt x="33" y="279"/>
                  <a:pt x="33" y="279"/>
                </a:cubicBezTo>
                <a:cubicBezTo>
                  <a:pt x="32" y="280"/>
                  <a:pt x="32" y="281"/>
                  <a:pt x="31" y="281"/>
                </a:cubicBezTo>
                <a:close/>
                <a:moveTo>
                  <a:pt x="782" y="255"/>
                </a:moveTo>
                <a:cubicBezTo>
                  <a:pt x="781" y="255"/>
                  <a:pt x="779" y="253"/>
                  <a:pt x="779" y="256"/>
                </a:cubicBezTo>
                <a:cubicBezTo>
                  <a:pt x="781" y="259"/>
                  <a:pt x="782" y="261"/>
                  <a:pt x="783" y="263"/>
                </a:cubicBezTo>
                <a:cubicBezTo>
                  <a:pt x="781" y="263"/>
                  <a:pt x="777" y="259"/>
                  <a:pt x="774" y="258"/>
                </a:cubicBezTo>
                <a:cubicBezTo>
                  <a:pt x="775" y="259"/>
                  <a:pt x="777" y="263"/>
                  <a:pt x="778" y="264"/>
                </a:cubicBezTo>
                <a:cubicBezTo>
                  <a:pt x="779" y="267"/>
                  <a:pt x="779" y="268"/>
                  <a:pt x="780" y="271"/>
                </a:cubicBezTo>
                <a:cubicBezTo>
                  <a:pt x="779" y="271"/>
                  <a:pt x="779" y="271"/>
                  <a:pt x="779" y="272"/>
                </a:cubicBezTo>
                <a:cubicBezTo>
                  <a:pt x="776" y="269"/>
                  <a:pt x="775" y="267"/>
                  <a:pt x="772" y="264"/>
                </a:cubicBezTo>
                <a:cubicBezTo>
                  <a:pt x="771" y="262"/>
                  <a:pt x="772" y="262"/>
                  <a:pt x="771" y="260"/>
                </a:cubicBezTo>
                <a:cubicBezTo>
                  <a:pt x="770" y="259"/>
                  <a:pt x="767" y="254"/>
                  <a:pt x="766" y="252"/>
                </a:cubicBezTo>
                <a:cubicBezTo>
                  <a:pt x="766" y="254"/>
                  <a:pt x="763" y="249"/>
                  <a:pt x="762" y="246"/>
                </a:cubicBezTo>
                <a:cubicBezTo>
                  <a:pt x="763" y="250"/>
                  <a:pt x="761" y="249"/>
                  <a:pt x="764" y="255"/>
                </a:cubicBezTo>
                <a:cubicBezTo>
                  <a:pt x="763" y="252"/>
                  <a:pt x="764" y="254"/>
                  <a:pt x="765" y="256"/>
                </a:cubicBezTo>
                <a:cubicBezTo>
                  <a:pt x="765" y="257"/>
                  <a:pt x="765" y="255"/>
                  <a:pt x="765" y="255"/>
                </a:cubicBezTo>
                <a:cubicBezTo>
                  <a:pt x="766" y="256"/>
                  <a:pt x="766" y="257"/>
                  <a:pt x="766" y="258"/>
                </a:cubicBezTo>
                <a:cubicBezTo>
                  <a:pt x="767" y="259"/>
                  <a:pt x="768" y="260"/>
                  <a:pt x="770" y="260"/>
                </a:cubicBezTo>
                <a:cubicBezTo>
                  <a:pt x="770" y="262"/>
                  <a:pt x="771" y="264"/>
                  <a:pt x="772" y="267"/>
                </a:cubicBezTo>
                <a:cubicBezTo>
                  <a:pt x="771" y="267"/>
                  <a:pt x="768" y="261"/>
                  <a:pt x="769" y="264"/>
                </a:cubicBezTo>
                <a:cubicBezTo>
                  <a:pt x="768" y="262"/>
                  <a:pt x="766" y="259"/>
                  <a:pt x="766" y="260"/>
                </a:cubicBezTo>
                <a:cubicBezTo>
                  <a:pt x="766" y="259"/>
                  <a:pt x="764" y="256"/>
                  <a:pt x="764" y="255"/>
                </a:cubicBezTo>
                <a:cubicBezTo>
                  <a:pt x="763" y="254"/>
                  <a:pt x="762" y="254"/>
                  <a:pt x="761" y="253"/>
                </a:cubicBezTo>
                <a:cubicBezTo>
                  <a:pt x="761" y="252"/>
                  <a:pt x="762" y="253"/>
                  <a:pt x="762" y="252"/>
                </a:cubicBezTo>
                <a:cubicBezTo>
                  <a:pt x="762" y="251"/>
                  <a:pt x="761" y="249"/>
                  <a:pt x="761" y="249"/>
                </a:cubicBezTo>
                <a:cubicBezTo>
                  <a:pt x="757" y="243"/>
                  <a:pt x="757" y="246"/>
                  <a:pt x="752" y="241"/>
                </a:cubicBezTo>
                <a:cubicBezTo>
                  <a:pt x="752" y="241"/>
                  <a:pt x="755" y="244"/>
                  <a:pt x="755" y="245"/>
                </a:cubicBezTo>
                <a:cubicBezTo>
                  <a:pt x="755" y="246"/>
                  <a:pt x="755" y="245"/>
                  <a:pt x="755" y="244"/>
                </a:cubicBezTo>
                <a:cubicBezTo>
                  <a:pt x="755" y="244"/>
                  <a:pt x="755" y="246"/>
                  <a:pt x="756" y="246"/>
                </a:cubicBezTo>
                <a:cubicBezTo>
                  <a:pt x="757" y="248"/>
                  <a:pt x="756" y="247"/>
                  <a:pt x="757" y="249"/>
                </a:cubicBezTo>
                <a:cubicBezTo>
                  <a:pt x="755" y="246"/>
                  <a:pt x="755" y="248"/>
                  <a:pt x="753" y="248"/>
                </a:cubicBezTo>
                <a:cubicBezTo>
                  <a:pt x="752" y="245"/>
                  <a:pt x="751" y="244"/>
                  <a:pt x="750" y="245"/>
                </a:cubicBezTo>
                <a:cubicBezTo>
                  <a:pt x="748" y="242"/>
                  <a:pt x="747" y="243"/>
                  <a:pt x="745" y="239"/>
                </a:cubicBezTo>
                <a:cubicBezTo>
                  <a:pt x="744" y="239"/>
                  <a:pt x="744" y="239"/>
                  <a:pt x="744" y="239"/>
                </a:cubicBezTo>
                <a:cubicBezTo>
                  <a:pt x="743" y="237"/>
                  <a:pt x="741" y="236"/>
                  <a:pt x="739" y="233"/>
                </a:cubicBezTo>
                <a:cubicBezTo>
                  <a:pt x="739" y="232"/>
                  <a:pt x="739" y="231"/>
                  <a:pt x="740" y="231"/>
                </a:cubicBezTo>
                <a:cubicBezTo>
                  <a:pt x="741" y="233"/>
                  <a:pt x="741" y="234"/>
                  <a:pt x="742" y="234"/>
                </a:cubicBezTo>
                <a:cubicBezTo>
                  <a:pt x="742" y="234"/>
                  <a:pt x="741" y="231"/>
                  <a:pt x="743" y="234"/>
                </a:cubicBezTo>
                <a:cubicBezTo>
                  <a:pt x="743" y="233"/>
                  <a:pt x="742" y="232"/>
                  <a:pt x="741" y="231"/>
                </a:cubicBezTo>
                <a:cubicBezTo>
                  <a:pt x="740" y="230"/>
                  <a:pt x="741" y="231"/>
                  <a:pt x="740" y="231"/>
                </a:cubicBezTo>
                <a:cubicBezTo>
                  <a:pt x="739" y="227"/>
                  <a:pt x="737" y="229"/>
                  <a:pt x="736" y="226"/>
                </a:cubicBezTo>
                <a:cubicBezTo>
                  <a:pt x="736" y="227"/>
                  <a:pt x="735" y="226"/>
                  <a:pt x="733" y="224"/>
                </a:cubicBezTo>
                <a:cubicBezTo>
                  <a:pt x="734" y="226"/>
                  <a:pt x="737" y="229"/>
                  <a:pt x="738" y="231"/>
                </a:cubicBezTo>
                <a:cubicBezTo>
                  <a:pt x="735" y="229"/>
                  <a:pt x="728" y="217"/>
                  <a:pt x="726" y="218"/>
                </a:cubicBezTo>
                <a:cubicBezTo>
                  <a:pt x="724" y="215"/>
                  <a:pt x="723" y="213"/>
                  <a:pt x="721" y="210"/>
                </a:cubicBezTo>
                <a:cubicBezTo>
                  <a:pt x="715" y="205"/>
                  <a:pt x="707" y="195"/>
                  <a:pt x="698" y="186"/>
                </a:cubicBezTo>
                <a:cubicBezTo>
                  <a:pt x="698" y="186"/>
                  <a:pt x="701" y="188"/>
                  <a:pt x="700" y="188"/>
                </a:cubicBezTo>
                <a:cubicBezTo>
                  <a:pt x="696" y="184"/>
                  <a:pt x="693" y="182"/>
                  <a:pt x="688" y="177"/>
                </a:cubicBezTo>
                <a:cubicBezTo>
                  <a:pt x="689" y="178"/>
                  <a:pt x="690" y="178"/>
                  <a:pt x="690" y="177"/>
                </a:cubicBezTo>
                <a:cubicBezTo>
                  <a:pt x="689" y="176"/>
                  <a:pt x="689" y="176"/>
                  <a:pt x="689" y="176"/>
                </a:cubicBezTo>
                <a:cubicBezTo>
                  <a:pt x="687" y="174"/>
                  <a:pt x="689" y="177"/>
                  <a:pt x="688" y="177"/>
                </a:cubicBezTo>
                <a:cubicBezTo>
                  <a:pt x="686" y="175"/>
                  <a:pt x="687" y="175"/>
                  <a:pt x="686" y="174"/>
                </a:cubicBezTo>
                <a:cubicBezTo>
                  <a:pt x="684" y="172"/>
                  <a:pt x="686" y="174"/>
                  <a:pt x="684" y="173"/>
                </a:cubicBezTo>
                <a:cubicBezTo>
                  <a:pt x="683" y="172"/>
                  <a:pt x="682" y="169"/>
                  <a:pt x="681" y="170"/>
                </a:cubicBezTo>
                <a:cubicBezTo>
                  <a:pt x="680" y="169"/>
                  <a:pt x="681" y="169"/>
                  <a:pt x="681" y="169"/>
                </a:cubicBezTo>
                <a:cubicBezTo>
                  <a:pt x="680" y="168"/>
                  <a:pt x="679" y="168"/>
                  <a:pt x="678" y="168"/>
                </a:cubicBezTo>
                <a:cubicBezTo>
                  <a:pt x="676" y="165"/>
                  <a:pt x="672" y="163"/>
                  <a:pt x="672" y="161"/>
                </a:cubicBezTo>
                <a:cubicBezTo>
                  <a:pt x="670" y="160"/>
                  <a:pt x="662" y="154"/>
                  <a:pt x="657" y="149"/>
                </a:cubicBezTo>
                <a:cubicBezTo>
                  <a:pt x="660" y="152"/>
                  <a:pt x="654" y="146"/>
                  <a:pt x="654" y="146"/>
                </a:cubicBezTo>
                <a:cubicBezTo>
                  <a:pt x="653" y="145"/>
                  <a:pt x="653" y="145"/>
                  <a:pt x="652" y="145"/>
                </a:cubicBezTo>
                <a:cubicBezTo>
                  <a:pt x="648" y="142"/>
                  <a:pt x="644" y="139"/>
                  <a:pt x="645" y="138"/>
                </a:cubicBezTo>
                <a:cubicBezTo>
                  <a:pt x="641" y="135"/>
                  <a:pt x="641" y="135"/>
                  <a:pt x="641" y="135"/>
                </a:cubicBezTo>
                <a:cubicBezTo>
                  <a:pt x="642" y="137"/>
                  <a:pt x="641" y="136"/>
                  <a:pt x="640" y="136"/>
                </a:cubicBezTo>
                <a:cubicBezTo>
                  <a:pt x="637" y="133"/>
                  <a:pt x="636" y="133"/>
                  <a:pt x="633" y="130"/>
                </a:cubicBezTo>
                <a:cubicBezTo>
                  <a:pt x="633" y="130"/>
                  <a:pt x="632" y="129"/>
                  <a:pt x="633" y="129"/>
                </a:cubicBezTo>
                <a:cubicBezTo>
                  <a:pt x="629" y="126"/>
                  <a:pt x="631" y="129"/>
                  <a:pt x="629" y="128"/>
                </a:cubicBezTo>
                <a:cubicBezTo>
                  <a:pt x="628" y="126"/>
                  <a:pt x="625" y="124"/>
                  <a:pt x="622" y="123"/>
                </a:cubicBezTo>
                <a:cubicBezTo>
                  <a:pt x="626" y="124"/>
                  <a:pt x="620" y="120"/>
                  <a:pt x="618" y="120"/>
                </a:cubicBezTo>
                <a:cubicBezTo>
                  <a:pt x="618" y="120"/>
                  <a:pt x="620" y="122"/>
                  <a:pt x="621" y="122"/>
                </a:cubicBezTo>
                <a:cubicBezTo>
                  <a:pt x="623" y="124"/>
                  <a:pt x="615" y="119"/>
                  <a:pt x="617" y="119"/>
                </a:cubicBezTo>
                <a:cubicBezTo>
                  <a:pt x="614" y="117"/>
                  <a:pt x="614" y="117"/>
                  <a:pt x="614" y="117"/>
                </a:cubicBezTo>
                <a:cubicBezTo>
                  <a:pt x="613" y="116"/>
                  <a:pt x="614" y="118"/>
                  <a:pt x="611" y="116"/>
                </a:cubicBezTo>
                <a:cubicBezTo>
                  <a:pt x="611" y="116"/>
                  <a:pt x="613" y="116"/>
                  <a:pt x="612" y="115"/>
                </a:cubicBezTo>
                <a:cubicBezTo>
                  <a:pt x="610" y="114"/>
                  <a:pt x="612" y="116"/>
                  <a:pt x="610" y="115"/>
                </a:cubicBezTo>
                <a:cubicBezTo>
                  <a:pt x="607" y="112"/>
                  <a:pt x="602" y="111"/>
                  <a:pt x="596" y="106"/>
                </a:cubicBezTo>
                <a:cubicBezTo>
                  <a:pt x="596" y="106"/>
                  <a:pt x="595" y="106"/>
                  <a:pt x="595" y="105"/>
                </a:cubicBezTo>
                <a:cubicBezTo>
                  <a:pt x="594" y="105"/>
                  <a:pt x="594" y="105"/>
                  <a:pt x="594" y="106"/>
                </a:cubicBezTo>
                <a:cubicBezTo>
                  <a:pt x="587" y="101"/>
                  <a:pt x="583" y="99"/>
                  <a:pt x="576" y="95"/>
                </a:cubicBezTo>
                <a:cubicBezTo>
                  <a:pt x="573" y="94"/>
                  <a:pt x="576" y="96"/>
                  <a:pt x="575" y="96"/>
                </a:cubicBezTo>
                <a:cubicBezTo>
                  <a:pt x="575" y="95"/>
                  <a:pt x="571" y="94"/>
                  <a:pt x="571" y="94"/>
                </a:cubicBezTo>
                <a:cubicBezTo>
                  <a:pt x="568" y="92"/>
                  <a:pt x="566" y="90"/>
                  <a:pt x="562" y="88"/>
                </a:cubicBezTo>
                <a:cubicBezTo>
                  <a:pt x="555" y="85"/>
                  <a:pt x="548" y="82"/>
                  <a:pt x="540" y="79"/>
                </a:cubicBezTo>
                <a:cubicBezTo>
                  <a:pt x="540" y="78"/>
                  <a:pt x="540" y="78"/>
                  <a:pt x="540" y="78"/>
                </a:cubicBezTo>
                <a:cubicBezTo>
                  <a:pt x="537" y="77"/>
                  <a:pt x="535" y="76"/>
                  <a:pt x="533" y="75"/>
                </a:cubicBezTo>
                <a:cubicBezTo>
                  <a:pt x="530" y="74"/>
                  <a:pt x="529" y="74"/>
                  <a:pt x="526" y="73"/>
                </a:cubicBezTo>
                <a:cubicBezTo>
                  <a:pt x="526" y="72"/>
                  <a:pt x="526" y="72"/>
                  <a:pt x="526" y="72"/>
                </a:cubicBezTo>
                <a:cubicBezTo>
                  <a:pt x="521" y="71"/>
                  <a:pt x="517" y="70"/>
                  <a:pt x="514" y="68"/>
                </a:cubicBezTo>
                <a:cubicBezTo>
                  <a:pt x="510" y="68"/>
                  <a:pt x="504" y="65"/>
                  <a:pt x="502" y="64"/>
                </a:cubicBezTo>
                <a:cubicBezTo>
                  <a:pt x="500" y="63"/>
                  <a:pt x="502" y="65"/>
                  <a:pt x="502" y="65"/>
                </a:cubicBezTo>
                <a:cubicBezTo>
                  <a:pt x="497" y="64"/>
                  <a:pt x="493" y="62"/>
                  <a:pt x="488" y="60"/>
                </a:cubicBezTo>
                <a:cubicBezTo>
                  <a:pt x="485" y="60"/>
                  <a:pt x="481" y="60"/>
                  <a:pt x="480" y="59"/>
                </a:cubicBezTo>
                <a:cubicBezTo>
                  <a:pt x="483" y="59"/>
                  <a:pt x="485" y="60"/>
                  <a:pt x="484" y="59"/>
                </a:cubicBezTo>
                <a:cubicBezTo>
                  <a:pt x="482" y="58"/>
                  <a:pt x="480" y="59"/>
                  <a:pt x="480" y="58"/>
                </a:cubicBezTo>
                <a:cubicBezTo>
                  <a:pt x="479" y="58"/>
                  <a:pt x="479" y="58"/>
                  <a:pt x="479" y="59"/>
                </a:cubicBezTo>
                <a:cubicBezTo>
                  <a:pt x="474" y="58"/>
                  <a:pt x="470" y="57"/>
                  <a:pt x="468" y="56"/>
                </a:cubicBezTo>
                <a:cubicBezTo>
                  <a:pt x="466" y="56"/>
                  <a:pt x="469" y="57"/>
                  <a:pt x="464" y="56"/>
                </a:cubicBezTo>
                <a:cubicBezTo>
                  <a:pt x="465" y="55"/>
                  <a:pt x="461" y="54"/>
                  <a:pt x="459" y="54"/>
                </a:cubicBezTo>
                <a:cubicBezTo>
                  <a:pt x="459" y="54"/>
                  <a:pt x="459" y="54"/>
                  <a:pt x="458" y="54"/>
                </a:cubicBezTo>
                <a:cubicBezTo>
                  <a:pt x="458" y="54"/>
                  <a:pt x="459" y="54"/>
                  <a:pt x="461" y="54"/>
                </a:cubicBezTo>
                <a:cubicBezTo>
                  <a:pt x="461" y="53"/>
                  <a:pt x="460" y="53"/>
                  <a:pt x="458" y="53"/>
                </a:cubicBezTo>
                <a:cubicBezTo>
                  <a:pt x="457" y="53"/>
                  <a:pt x="456" y="53"/>
                  <a:pt x="456" y="54"/>
                </a:cubicBezTo>
                <a:cubicBezTo>
                  <a:pt x="453" y="53"/>
                  <a:pt x="452" y="52"/>
                  <a:pt x="450" y="52"/>
                </a:cubicBezTo>
                <a:cubicBezTo>
                  <a:pt x="448" y="51"/>
                  <a:pt x="451" y="52"/>
                  <a:pt x="450" y="52"/>
                </a:cubicBezTo>
                <a:cubicBezTo>
                  <a:pt x="442" y="51"/>
                  <a:pt x="434" y="51"/>
                  <a:pt x="428" y="49"/>
                </a:cubicBezTo>
                <a:cubicBezTo>
                  <a:pt x="426" y="49"/>
                  <a:pt x="429" y="50"/>
                  <a:pt x="427" y="50"/>
                </a:cubicBezTo>
                <a:cubicBezTo>
                  <a:pt x="424" y="50"/>
                  <a:pt x="424" y="49"/>
                  <a:pt x="426" y="49"/>
                </a:cubicBezTo>
                <a:cubicBezTo>
                  <a:pt x="426" y="48"/>
                  <a:pt x="425" y="49"/>
                  <a:pt x="423" y="48"/>
                </a:cubicBezTo>
                <a:cubicBezTo>
                  <a:pt x="423" y="49"/>
                  <a:pt x="423" y="49"/>
                  <a:pt x="423" y="49"/>
                </a:cubicBezTo>
                <a:cubicBezTo>
                  <a:pt x="416" y="48"/>
                  <a:pt x="410" y="48"/>
                  <a:pt x="402" y="48"/>
                </a:cubicBezTo>
                <a:cubicBezTo>
                  <a:pt x="404" y="47"/>
                  <a:pt x="401" y="47"/>
                  <a:pt x="397" y="47"/>
                </a:cubicBezTo>
                <a:cubicBezTo>
                  <a:pt x="397" y="46"/>
                  <a:pt x="397" y="46"/>
                  <a:pt x="397" y="46"/>
                </a:cubicBezTo>
                <a:cubicBezTo>
                  <a:pt x="394" y="47"/>
                  <a:pt x="393" y="46"/>
                  <a:pt x="391" y="46"/>
                </a:cubicBezTo>
                <a:cubicBezTo>
                  <a:pt x="389" y="46"/>
                  <a:pt x="395" y="47"/>
                  <a:pt x="393" y="48"/>
                </a:cubicBezTo>
                <a:cubicBezTo>
                  <a:pt x="390" y="47"/>
                  <a:pt x="390" y="47"/>
                  <a:pt x="388" y="47"/>
                </a:cubicBezTo>
                <a:cubicBezTo>
                  <a:pt x="386" y="47"/>
                  <a:pt x="388" y="47"/>
                  <a:pt x="388" y="48"/>
                </a:cubicBezTo>
                <a:cubicBezTo>
                  <a:pt x="385" y="48"/>
                  <a:pt x="385" y="47"/>
                  <a:pt x="382" y="48"/>
                </a:cubicBezTo>
                <a:cubicBezTo>
                  <a:pt x="382" y="47"/>
                  <a:pt x="383" y="47"/>
                  <a:pt x="384" y="47"/>
                </a:cubicBezTo>
                <a:cubicBezTo>
                  <a:pt x="383" y="47"/>
                  <a:pt x="380" y="48"/>
                  <a:pt x="380" y="47"/>
                </a:cubicBezTo>
                <a:cubicBezTo>
                  <a:pt x="379" y="47"/>
                  <a:pt x="380" y="48"/>
                  <a:pt x="377" y="48"/>
                </a:cubicBezTo>
                <a:cubicBezTo>
                  <a:pt x="376" y="47"/>
                  <a:pt x="377" y="47"/>
                  <a:pt x="376" y="47"/>
                </a:cubicBezTo>
                <a:cubicBezTo>
                  <a:pt x="375" y="47"/>
                  <a:pt x="371" y="48"/>
                  <a:pt x="375" y="48"/>
                </a:cubicBezTo>
                <a:cubicBezTo>
                  <a:pt x="374" y="48"/>
                  <a:pt x="373" y="49"/>
                  <a:pt x="371" y="49"/>
                </a:cubicBezTo>
                <a:cubicBezTo>
                  <a:pt x="372" y="48"/>
                  <a:pt x="370" y="48"/>
                  <a:pt x="371" y="47"/>
                </a:cubicBezTo>
                <a:cubicBezTo>
                  <a:pt x="370" y="47"/>
                  <a:pt x="367" y="48"/>
                  <a:pt x="368" y="47"/>
                </a:cubicBezTo>
                <a:cubicBezTo>
                  <a:pt x="365" y="48"/>
                  <a:pt x="363" y="48"/>
                  <a:pt x="361" y="48"/>
                </a:cubicBezTo>
                <a:cubicBezTo>
                  <a:pt x="361" y="47"/>
                  <a:pt x="362" y="47"/>
                  <a:pt x="363" y="47"/>
                </a:cubicBezTo>
                <a:cubicBezTo>
                  <a:pt x="363" y="47"/>
                  <a:pt x="361" y="47"/>
                  <a:pt x="359" y="47"/>
                </a:cubicBezTo>
                <a:cubicBezTo>
                  <a:pt x="358" y="48"/>
                  <a:pt x="355" y="48"/>
                  <a:pt x="351" y="48"/>
                </a:cubicBezTo>
                <a:cubicBezTo>
                  <a:pt x="351" y="49"/>
                  <a:pt x="354" y="48"/>
                  <a:pt x="354" y="49"/>
                </a:cubicBezTo>
                <a:cubicBezTo>
                  <a:pt x="350" y="50"/>
                  <a:pt x="351" y="49"/>
                  <a:pt x="348" y="49"/>
                </a:cubicBezTo>
                <a:cubicBezTo>
                  <a:pt x="350" y="50"/>
                  <a:pt x="344" y="50"/>
                  <a:pt x="342" y="50"/>
                </a:cubicBezTo>
                <a:cubicBezTo>
                  <a:pt x="340" y="50"/>
                  <a:pt x="343" y="50"/>
                  <a:pt x="341" y="51"/>
                </a:cubicBezTo>
                <a:cubicBezTo>
                  <a:pt x="336" y="52"/>
                  <a:pt x="334" y="52"/>
                  <a:pt x="332" y="51"/>
                </a:cubicBezTo>
                <a:cubicBezTo>
                  <a:pt x="334" y="50"/>
                  <a:pt x="335" y="51"/>
                  <a:pt x="335" y="51"/>
                </a:cubicBezTo>
                <a:cubicBezTo>
                  <a:pt x="336" y="51"/>
                  <a:pt x="336" y="51"/>
                  <a:pt x="336" y="51"/>
                </a:cubicBezTo>
                <a:cubicBezTo>
                  <a:pt x="336" y="50"/>
                  <a:pt x="334" y="51"/>
                  <a:pt x="335" y="50"/>
                </a:cubicBezTo>
                <a:cubicBezTo>
                  <a:pt x="331" y="51"/>
                  <a:pt x="331" y="51"/>
                  <a:pt x="331" y="52"/>
                </a:cubicBezTo>
                <a:cubicBezTo>
                  <a:pt x="330" y="51"/>
                  <a:pt x="326" y="51"/>
                  <a:pt x="326" y="52"/>
                </a:cubicBezTo>
                <a:cubicBezTo>
                  <a:pt x="323" y="53"/>
                  <a:pt x="325" y="52"/>
                  <a:pt x="326" y="51"/>
                </a:cubicBezTo>
                <a:cubicBezTo>
                  <a:pt x="326" y="51"/>
                  <a:pt x="322" y="52"/>
                  <a:pt x="321" y="53"/>
                </a:cubicBezTo>
                <a:cubicBezTo>
                  <a:pt x="321" y="53"/>
                  <a:pt x="322" y="53"/>
                  <a:pt x="323" y="53"/>
                </a:cubicBezTo>
                <a:cubicBezTo>
                  <a:pt x="321" y="53"/>
                  <a:pt x="315" y="54"/>
                  <a:pt x="316" y="55"/>
                </a:cubicBezTo>
                <a:cubicBezTo>
                  <a:pt x="314" y="56"/>
                  <a:pt x="314" y="55"/>
                  <a:pt x="312" y="55"/>
                </a:cubicBezTo>
                <a:cubicBezTo>
                  <a:pt x="313" y="55"/>
                  <a:pt x="314" y="54"/>
                  <a:pt x="315" y="54"/>
                </a:cubicBezTo>
                <a:cubicBezTo>
                  <a:pt x="317" y="53"/>
                  <a:pt x="317" y="53"/>
                  <a:pt x="320" y="52"/>
                </a:cubicBezTo>
                <a:cubicBezTo>
                  <a:pt x="319" y="52"/>
                  <a:pt x="314" y="54"/>
                  <a:pt x="313" y="54"/>
                </a:cubicBezTo>
                <a:cubicBezTo>
                  <a:pt x="310" y="54"/>
                  <a:pt x="314" y="54"/>
                  <a:pt x="312" y="55"/>
                </a:cubicBezTo>
                <a:cubicBezTo>
                  <a:pt x="308" y="56"/>
                  <a:pt x="308" y="56"/>
                  <a:pt x="304" y="57"/>
                </a:cubicBezTo>
                <a:cubicBezTo>
                  <a:pt x="305" y="57"/>
                  <a:pt x="307" y="57"/>
                  <a:pt x="307" y="56"/>
                </a:cubicBezTo>
                <a:cubicBezTo>
                  <a:pt x="305" y="56"/>
                  <a:pt x="302" y="58"/>
                  <a:pt x="302" y="58"/>
                </a:cubicBezTo>
                <a:cubicBezTo>
                  <a:pt x="299" y="59"/>
                  <a:pt x="304" y="57"/>
                  <a:pt x="301" y="58"/>
                </a:cubicBezTo>
                <a:cubicBezTo>
                  <a:pt x="301" y="57"/>
                  <a:pt x="304" y="57"/>
                  <a:pt x="303" y="57"/>
                </a:cubicBezTo>
                <a:cubicBezTo>
                  <a:pt x="303" y="57"/>
                  <a:pt x="298" y="58"/>
                  <a:pt x="297" y="58"/>
                </a:cubicBezTo>
                <a:cubicBezTo>
                  <a:pt x="298" y="59"/>
                  <a:pt x="301" y="57"/>
                  <a:pt x="301" y="58"/>
                </a:cubicBezTo>
                <a:cubicBezTo>
                  <a:pt x="296" y="59"/>
                  <a:pt x="295" y="60"/>
                  <a:pt x="292" y="60"/>
                </a:cubicBezTo>
                <a:cubicBezTo>
                  <a:pt x="290" y="61"/>
                  <a:pt x="289" y="61"/>
                  <a:pt x="289" y="62"/>
                </a:cubicBezTo>
                <a:cubicBezTo>
                  <a:pt x="288" y="62"/>
                  <a:pt x="283" y="62"/>
                  <a:pt x="283" y="63"/>
                </a:cubicBezTo>
                <a:cubicBezTo>
                  <a:pt x="279" y="65"/>
                  <a:pt x="279" y="64"/>
                  <a:pt x="276" y="65"/>
                </a:cubicBezTo>
                <a:cubicBezTo>
                  <a:pt x="274" y="66"/>
                  <a:pt x="277" y="66"/>
                  <a:pt x="276" y="66"/>
                </a:cubicBezTo>
                <a:cubicBezTo>
                  <a:pt x="273" y="67"/>
                  <a:pt x="273" y="67"/>
                  <a:pt x="273" y="67"/>
                </a:cubicBezTo>
                <a:cubicBezTo>
                  <a:pt x="275" y="65"/>
                  <a:pt x="264" y="71"/>
                  <a:pt x="260" y="71"/>
                </a:cubicBezTo>
                <a:cubicBezTo>
                  <a:pt x="259" y="72"/>
                  <a:pt x="259" y="72"/>
                  <a:pt x="259" y="73"/>
                </a:cubicBezTo>
                <a:cubicBezTo>
                  <a:pt x="257" y="73"/>
                  <a:pt x="254" y="74"/>
                  <a:pt x="253" y="75"/>
                </a:cubicBezTo>
                <a:cubicBezTo>
                  <a:pt x="253" y="75"/>
                  <a:pt x="253" y="75"/>
                  <a:pt x="253" y="74"/>
                </a:cubicBezTo>
                <a:cubicBezTo>
                  <a:pt x="248" y="77"/>
                  <a:pt x="246" y="78"/>
                  <a:pt x="239" y="81"/>
                </a:cubicBezTo>
                <a:cubicBezTo>
                  <a:pt x="240" y="80"/>
                  <a:pt x="244" y="78"/>
                  <a:pt x="245" y="78"/>
                </a:cubicBezTo>
                <a:cubicBezTo>
                  <a:pt x="244" y="78"/>
                  <a:pt x="244" y="76"/>
                  <a:pt x="243" y="77"/>
                </a:cubicBezTo>
                <a:cubicBezTo>
                  <a:pt x="243" y="77"/>
                  <a:pt x="242" y="76"/>
                  <a:pt x="243" y="75"/>
                </a:cubicBezTo>
                <a:cubicBezTo>
                  <a:pt x="244" y="75"/>
                  <a:pt x="244" y="75"/>
                  <a:pt x="245" y="75"/>
                </a:cubicBezTo>
                <a:cubicBezTo>
                  <a:pt x="247" y="74"/>
                  <a:pt x="243" y="74"/>
                  <a:pt x="246" y="73"/>
                </a:cubicBezTo>
                <a:cubicBezTo>
                  <a:pt x="245" y="73"/>
                  <a:pt x="244" y="74"/>
                  <a:pt x="243" y="75"/>
                </a:cubicBezTo>
                <a:cubicBezTo>
                  <a:pt x="243" y="73"/>
                  <a:pt x="250" y="71"/>
                  <a:pt x="252" y="71"/>
                </a:cubicBezTo>
                <a:cubicBezTo>
                  <a:pt x="254" y="70"/>
                  <a:pt x="251" y="70"/>
                  <a:pt x="254" y="69"/>
                </a:cubicBezTo>
                <a:cubicBezTo>
                  <a:pt x="247" y="70"/>
                  <a:pt x="242" y="74"/>
                  <a:pt x="237" y="76"/>
                </a:cubicBezTo>
                <a:cubicBezTo>
                  <a:pt x="236" y="76"/>
                  <a:pt x="237" y="76"/>
                  <a:pt x="237" y="76"/>
                </a:cubicBezTo>
                <a:cubicBezTo>
                  <a:pt x="235" y="77"/>
                  <a:pt x="233" y="78"/>
                  <a:pt x="233" y="78"/>
                </a:cubicBezTo>
                <a:cubicBezTo>
                  <a:pt x="234" y="77"/>
                  <a:pt x="235" y="77"/>
                  <a:pt x="235" y="76"/>
                </a:cubicBezTo>
                <a:cubicBezTo>
                  <a:pt x="232" y="77"/>
                  <a:pt x="234" y="77"/>
                  <a:pt x="231" y="78"/>
                </a:cubicBezTo>
                <a:cubicBezTo>
                  <a:pt x="229" y="78"/>
                  <a:pt x="231" y="77"/>
                  <a:pt x="227" y="79"/>
                </a:cubicBezTo>
                <a:cubicBezTo>
                  <a:pt x="227" y="78"/>
                  <a:pt x="230" y="77"/>
                  <a:pt x="231" y="76"/>
                </a:cubicBezTo>
                <a:cubicBezTo>
                  <a:pt x="229" y="77"/>
                  <a:pt x="228" y="77"/>
                  <a:pt x="224" y="79"/>
                </a:cubicBezTo>
                <a:cubicBezTo>
                  <a:pt x="227" y="76"/>
                  <a:pt x="236" y="73"/>
                  <a:pt x="233" y="72"/>
                </a:cubicBezTo>
                <a:cubicBezTo>
                  <a:pt x="233" y="72"/>
                  <a:pt x="231" y="72"/>
                  <a:pt x="231" y="72"/>
                </a:cubicBezTo>
                <a:cubicBezTo>
                  <a:pt x="229" y="73"/>
                  <a:pt x="233" y="72"/>
                  <a:pt x="230" y="73"/>
                </a:cubicBezTo>
                <a:cubicBezTo>
                  <a:pt x="230" y="73"/>
                  <a:pt x="232" y="73"/>
                  <a:pt x="232" y="73"/>
                </a:cubicBezTo>
                <a:cubicBezTo>
                  <a:pt x="227" y="76"/>
                  <a:pt x="222" y="80"/>
                  <a:pt x="219" y="80"/>
                </a:cubicBezTo>
                <a:cubicBezTo>
                  <a:pt x="223" y="79"/>
                  <a:pt x="216" y="80"/>
                  <a:pt x="222" y="77"/>
                </a:cubicBezTo>
                <a:cubicBezTo>
                  <a:pt x="221" y="76"/>
                  <a:pt x="216" y="78"/>
                  <a:pt x="218" y="76"/>
                </a:cubicBezTo>
                <a:cubicBezTo>
                  <a:pt x="217" y="77"/>
                  <a:pt x="210" y="80"/>
                  <a:pt x="210" y="82"/>
                </a:cubicBezTo>
                <a:cubicBezTo>
                  <a:pt x="205" y="84"/>
                  <a:pt x="210" y="81"/>
                  <a:pt x="203" y="85"/>
                </a:cubicBezTo>
                <a:cubicBezTo>
                  <a:pt x="207" y="83"/>
                  <a:pt x="205" y="85"/>
                  <a:pt x="206" y="85"/>
                </a:cubicBezTo>
                <a:cubicBezTo>
                  <a:pt x="203" y="87"/>
                  <a:pt x="205" y="85"/>
                  <a:pt x="204" y="85"/>
                </a:cubicBezTo>
                <a:cubicBezTo>
                  <a:pt x="202" y="86"/>
                  <a:pt x="201" y="88"/>
                  <a:pt x="199" y="88"/>
                </a:cubicBezTo>
                <a:cubicBezTo>
                  <a:pt x="199" y="89"/>
                  <a:pt x="199" y="89"/>
                  <a:pt x="198" y="89"/>
                </a:cubicBezTo>
                <a:cubicBezTo>
                  <a:pt x="200" y="89"/>
                  <a:pt x="202" y="86"/>
                  <a:pt x="203" y="86"/>
                </a:cubicBezTo>
                <a:cubicBezTo>
                  <a:pt x="204" y="87"/>
                  <a:pt x="202" y="88"/>
                  <a:pt x="201" y="88"/>
                </a:cubicBezTo>
                <a:cubicBezTo>
                  <a:pt x="201" y="89"/>
                  <a:pt x="205" y="87"/>
                  <a:pt x="202" y="89"/>
                </a:cubicBezTo>
                <a:cubicBezTo>
                  <a:pt x="202" y="89"/>
                  <a:pt x="204" y="88"/>
                  <a:pt x="205" y="87"/>
                </a:cubicBezTo>
                <a:cubicBezTo>
                  <a:pt x="203" y="89"/>
                  <a:pt x="198" y="91"/>
                  <a:pt x="198" y="92"/>
                </a:cubicBezTo>
                <a:cubicBezTo>
                  <a:pt x="198" y="92"/>
                  <a:pt x="198" y="91"/>
                  <a:pt x="195" y="93"/>
                </a:cubicBezTo>
                <a:cubicBezTo>
                  <a:pt x="195" y="92"/>
                  <a:pt x="196" y="92"/>
                  <a:pt x="197" y="91"/>
                </a:cubicBezTo>
                <a:cubicBezTo>
                  <a:pt x="196" y="91"/>
                  <a:pt x="194" y="92"/>
                  <a:pt x="192" y="94"/>
                </a:cubicBezTo>
                <a:cubicBezTo>
                  <a:pt x="191" y="94"/>
                  <a:pt x="190" y="94"/>
                  <a:pt x="190" y="93"/>
                </a:cubicBezTo>
                <a:cubicBezTo>
                  <a:pt x="187" y="95"/>
                  <a:pt x="190" y="94"/>
                  <a:pt x="187" y="96"/>
                </a:cubicBezTo>
                <a:cubicBezTo>
                  <a:pt x="189" y="94"/>
                  <a:pt x="184" y="97"/>
                  <a:pt x="184" y="96"/>
                </a:cubicBezTo>
                <a:cubicBezTo>
                  <a:pt x="182" y="98"/>
                  <a:pt x="180" y="99"/>
                  <a:pt x="179" y="100"/>
                </a:cubicBezTo>
                <a:cubicBezTo>
                  <a:pt x="179" y="99"/>
                  <a:pt x="179" y="98"/>
                  <a:pt x="181" y="98"/>
                </a:cubicBezTo>
                <a:cubicBezTo>
                  <a:pt x="184" y="96"/>
                  <a:pt x="180" y="98"/>
                  <a:pt x="180" y="97"/>
                </a:cubicBezTo>
                <a:cubicBezTo>
                  <a:pt x="184" y="95"/>
                  <a:pt x="186" y="93"/>
                  <a:pt x="191" y="90"/>
                </a:cubicBezTo>
                <a:cubicBezTo>
                  <a:pt x="188" y="92"/>
                  <a:pt x="189" y="92"/>
                  <a:pt x="192" y="90"/>
                </a:cubicBezTo>
                <a:cubicBezTo>
                  <a:pt x="194" y="88"/>
                  <a:pt x="194" y="88"/>
                  <a:pt x="198" y="86"/>
                </a:cubicBezTo>
                <a:cubicBezTo>
                  <a:pt x="200" y="85"/>
                  <a:pt x="196" y="86"/>
                  <a:pt x="200" y="84"/>
                </a:cubicBezTo>
                <a:cubicBezTo>
                  <a:pt x="199" y="85"/>
                  <a:pt x="204" y="82"/>
                  <a:pt x="204" y="84"/>
                </a:cubicBezTo>
                <a:cubicBezTo>
                  <a:pt x="204" y="84"/>
                  <a:pt x="206" y="83"/>
                  <a:pt x="208" y="82"/>
                </a:cubicBezTo>
                <a:cubicBezTo>
                  <a:pt x="208" y="81"/>
                  <a:pt x="209" y="81"/>
                  <a:pt x="209" y="81"/>
                </a:cubicBezTo>
                <a:cubicBezTo>
                  <a:pt x="209" y="80"/>
                  <a:pt x="205" y="82"/>
                  <a:pt x="207" y="82"/>
                </a:cubicBezTo>
                <a:cubicBezTo>
                  <a:pt x="205" y="83"/>
                  <a:pt x="203" y="84"/>
                  <a:pt x="203" y="83"/>
                </a:cubicBezTo>
                <a:cubicBezTo>
                  <a:pt x="206" y="81"/>
                  <a:pt x="206" y="81"/>
                  <a:pt x="206" y="81"/>
                </a:cubicBezTo>
                <a:cubicBezTo>
                  <a:pt x="206" y="81"/>
                  <a:pt x="205" y="82"/>
                  <a:pt x="206" y="82"/>
                </a:cubicBezTo>
                <a:cubicBezTo>
                  <a:pt x="208" y="81"/>
                  <a:pt x="207" y="81"/>
                  <a:pt x="207" y="80"/>
                </a:cubicBezTo>
                <a:cubicBezTo>
                  <a:pt x="208" y="79"/>
                  <a:pt x="209" y="80"/>
                  <a:pt x="210" y="79"/>
                </a:cubicBezTo>
                <a:cubicBezTo>
                  <a:pt x="212" y="78"/>
                  <a:pt x="209" y="81"/>
                  <a:pt x="213" y="79"/>
                </a:cubicBezTo>
                <a:cubicBezTo>
                  <a:pt x="215" y="78"/>
                  <a:pt x="214" y="77"/>
                  <a:pt x="216" y="77"/>
                </a:cubicBezTo>
                <a:cubicBezTo>
                  <a:pt x="218" y="75"/>
                  <a:pt x="218" y="73"/>
                  <a:pt x="217" y="73"/>
                </a:cubicBezTo>
                <a:cubicBezTo>
                  <a:pt x="216" y="74"/>
                  <a:pt x="216" y="74"/>
                  <a:pt x="213" y="75"/>
                </a:cubicBezTo>
                <a:cubicBezTo>
                  <a:pt x="213" y="74"/>
                  <a:pt x="213" y="74"/>
                  <a:pt x="213" y="74"/>
                </a:cubicBezTo>
                <a:cubicBezTo>
                  <a:pt x="219" y="70"/>
                  <a:pt x="218" y="72"/>
                  <a:pt x="221" y="70"/>
                </a:cubicBezTo>
                <a:cubicBezTo>
                  <a:pt x="222" y="70"/>
                  <a:pt x="220" y="71"/>
                  <a:pt x="219" y="72"/>
                </a:cubicBezTo>
                <a:cubicBezTo>
                  <a:pt x="218" y="73"/>
                  <a:pt x="221" y="71"/>
                  <a:pt x="219" y="73"/>
                </a:cubicBezTo>
                <a:cubicBezTo>
                  <a:pt x="219" y="73"/>
                  <a:pt x="223" y="71"/>
                  <a:pt x="222" y="72"/>
                </a:cubicBezTo>
                <a:cubicBezTo>
                  <a:pt x="224" y="71"/>
                  <a:pt x="221" y="72"/>
                  <a:pt x="221" y="71"/>
                </a:cubicBezTo>
                <a:cubicBezTo>
                  <a:pt x="224" y="70"/>
                  <a:pt x="221" y="70"/>
                  <a:pt x="224" y="68"/>
                </a:cubicBezTo>
                <a:cubicBezTo>
                  <a:pt x="224" y="68"/>
                  <a:pt x="224" y="68"/>
                  <a:pt x="224" y="68"/>
                </a:cubicBezTo>
                <a:cubicBezTo>
                  <a:pt x="223" y="68"/>
                  <a:pt x="223" y="69"/>
                  <a:pt x="221" y="70"/>
                </a:cubicBezTo>
                <a:cubicBezTo>
                  <a:pt x="224" y="66"/>
                  <a:pt x="231" y="66"/>
                  <a:pt x="235" y="63"/>
                </a:cubicBezTo>
                <a:cubicBezTo>
                  <a:pt x="234" y="63"/>
                  <a:pt x="233" y="64"/>
                  <a:pt x="234" y="62"/>
                </a:cubicBezTo>
                <a:cubicBezTo>
                  <a:pt x="231" y="63"/>
                  <a:pt x="234" y="63"/>
                  <a:pt x="231" y="64"/>
                </a:cubicBezTo>
                <a:cubicBezTo>
                  <a:pt x="233" y="63"/>
                  <a:pt x="232" y="63"/>
                  <a:pt x="234" y="61"/>
                </a:cubicBezTo>
                <a:cubicBezTo>
                  <a:pt x="236" y="60"/>
                  <a:pt x="235" y="61"/>
                  <a:pt x="234" y="61"/>
                </a:cubicBezTo>
                <a:cubicBezTo>
                  <a:pt x="235" y="61"/>
                  <a:pt x="236" y="61"/>
                  <a:pt x="236" y="62"/>
                </a:cubicBezTo>
                <a:cubicBezTo>
                  <a:pt x="239" y="60"/>
                  <a:pt x="239" y="60"/>
                  <a:pt x="241" y="59"/>
                </a:cubicBezTo>
                <a:cubicBezTo>
                  <a:pt x="240" y="60"/>
                  <a:pt x="244" y="58"/>
                  <a:pt x="245" y="58"/>
                </a:cubicBezTo>
                <a:cubicBezTo>
                  <a:pt x="248" y="57"/>
                  <a:pt x="244" y="57"/>
                  <a:pt x="247" y="57"/>
                </a:cubicBezTo>
                <a:cubicBezTo>
                  <a:pt x="249" y="55"/>
                  <a:pt x="249" y="56"/>
                  <a:pt x="249" y="56"/>
                </a:cubicBezTo>
                <a:cubicBezTo>
                  <a:pt x="248" y="58"/>
                  <a:pt x="246" y="58"/>
                  <a:pt x="244" y="59"/>
                </a:cubicBezTo>
                <a:cubicBezTo>
                  <a:pt x="245" y="59"/>
                  <a:pt x="246" y="59"/>
                  <a:pt x="244" y="61"/>
                </a:cubicBezTo>
                <a:cubicBezTo>
                  <a:pt x="244" y="61"/>
                  <a:pt x="245" y="60"/>
                  <a:pt x="245" y="61"/>
                </a:cubicBezTo>
                <a:cubicBezTo>
                  <a:pt x="245" y="60"/>
                  <a:pt x="245" y="60"/>
                  <a:pt x="246" y="59"/>
                </a:cubicBezTo>
                <a:cubicBezTo>
                  <a:pt x="247" y="59"/>
                  <a:pt x="248" y="59"/>
                  <a:pt x="248" y="59"/>
                </a:cubicBezTo>
                <a:cubicBezTo>
                  <a:pt x="250" y="58"/>
                  <a:pt x="245" y="59"/>
                  <a:pt x="246" y="59"/>
                </a:cubicBezTo>
                <a:cubicBezTo>
                  <a:pt x="248" y="57"/>
                  <a:pt x="253" y="56"/>
                  <a:pt x="253" y="55"/>
                </a:cubicBezTo>
                <a:cubicBezTo>
                  <a:pt x="255" y="54"/>
                  <a:pt x="255" y="55"/>
                  <a:pt x="257" y="55"/>
                </a:cubicBezTo>
                <a:cubicBezTo>
                  <a:pt x="257" y="54"/>
                  <a:pt x="264" y="50"/>
                  <a:pt x="267" y="50"/>
                </a:cubicBezTo>
                <a:cubicBezTo>
                  <a:pt x="271" y="49"/>
                  <a:pt x="268" y="48"/>
                  <a:pt x="268" y="48"/>
                </a:cubicBezTo>
                <a:cubicBezTo>
                  <a:pt x="266" y="49"/>
                  <a:pt x="263" y="49"/>
                  <a:pt x="263" y="50"/>
                </a:cubicBezTo>
                <a:cubicBezTo>
                  <a:pt x="263" y="50"/>
                  <a:pt x="265" y="50"/>
                  <a:pt x="266" y="49"/>
                </a:cubicBezTo>
                <a:cubicBezTo>
                  <a:pt x="263" y="51"/>
                  <a:pt x="256" y="53"/>
                  <a:pt x="253" y="55"/>
                </a:cubicBezTo>
                <a:cubicBezTo>
                  <a:pt x="253" y="54"/>
                  <a:pt x="252" y="54"/>
                  <a:pt x="254" y="53"/>
                </a:cubicBezTo>
                <a:cubicBezTo>
                  <a:pt x="256" y="52"/>
                  <a:pt x="258" y="52"/>
                  <a:pt x="258" y="51"/>
                </a:cubicBezTo>
                <a:cubicBezTo>
                  <a:pt x="261" y="50"/>
                  <a:pt x="259" y="52"/>
                  <a:pt x="257" y="52"/>
                </a:cubicBezTo>
                <a:cubicBezTo>
                  <a:pt x="261" y="51"/>
                  <a:pt x="263" y="49"/>
                  <a:pt x="267" y="48"/>
                </a:cubicBezTo>
                <a:cubicBezTo>
                  <a:pt x="262" y="49"/>
                  <a:pt x="253" y="52"/>
                  <a:pt x="247" y="55"/>
                </a:cubicBezTo>
                <a:cubicBezTo>
                  <a:pt x="244" y="56"/>
                  <a:pt x="242" y="56"/>
                  <a:pt x="242" y="55"/>
                </a:cubicBezTo>
                <a:cubicBezTo>
                  <a:pt x="240" y="56"/>
                  <a:pt x="242" y="56"/>
                  <a:pt x="242" y="57"/>
                </a:cubicBezTo>
                <a:cubicBezTo>
                  <a:pt x="240" y="57"/>
                  <a:pt x="241" y="58"/>
                  <a:pt x="239" y="58"/>
                </a:cubicBezTo>
                <a:cubicBezTo>
                  <a:pt x="238" y="58"/>
                  <a:pt x="240" y="57"/>
                  <a:pt x="239" y="57"/>
                </a:cubicBezTo>
                <a:cubicBezTo>
                  <a:pt x="238" y="57"/>
                  <a:pt x="236" y="58"/>
                  <a:pt x="234" y="59"/>
                </a:cubicBezTo>
                <a:cubicBezTo>
                  <a:pt x="233" y="60"/>
                  <a:pt x="235" y="59"/>
                  <a:pt x="234" y="60"/>
                </a:cubicBezTo>
                <a:cubicBezTo>
                  <a:pt x="236" y="59"/>
                  <a:pt x="235" y="59"/>
                  <a:pt x="235" y="59"/>
                </a:cubicBezTo>
                <a:cubicBezTo>
                  <a:pt x="237" y="57"/>
                  <a:pt x="237" y="58"/>
                  <a:pt x="239" y="58"/>
                </a:cubicBezTo>
                <a:cubicBezTo>
                  <a:pt x="238" y="59"/>
                  <a:pt x="227" y="63"/>
                  <a:pt x="229" y="64"/>
                </a:cubicBezTo>
                <a:cubicBezTo>
                  <a:pt x="228" y="64"/>
                  <a:pt x="227" y="64"/>
                  <a:pt x="226" y="64"/>
                </a:cubicBezTo>
                <a:cubicBezTo>
                  <a:pt x="229" y="61"/>
                  <a:pt x="225" y="63"/>
                  <a:pt x="223" y="62"/>
                </a:cubicBezTo>
                <a:cubicBezTo>
                  <a:pt x="222" y="63"/>
                  <a:pt x="222" y="63"/>
                  <a:pt x="220" y="64"/>
                </a:cubicBezTo>
                <a:cubicBezTo>
                  <a:pt x="220" y="64"/>
                  <a:pt x="221" y="63"/>
                  <a:pt x="221" y="63"/>
                </a:cubicBezTo>
                <a:cubicBezTo>
                  <a:pt x="216" y="65"/>
                  <a:pt x="222" y="64"/>
                  <a:pt x="217" y="66"/>
                </a:cubicBezTo>
                <a:cubicBezTo>
                  <a:pt x="217" y="65"/>
                  <a:pt x="218" y="65"/>
                  <a:pt x="218" y="64"/>
                </a:cubicBezTo>
                <a:cubicBezTo>
                  <a:pt x="213" y="68"/>
                  <a:pt x="214" y="68"/>
                  <a:pt x="210" y="70"/>
                </a:cubicBezTo>
                <a:cubicBezTo>
                  <a:pt x="209" y="69"/>
                  <a:pt x="209" y="69"/>
                  <a:pt x="209" y="69"/>
                </a:cubicBezTo>
                <a:cubicBezTo>
                  <a:pt x="209" y="69"/>
                  <a:pt x="207" y="71"/>
                  <a:pt x="205" y="72"/>
                </a:cubicBezTo>
                <a:cubicBezTo>
                  <a:pt x="205" y="72"/>
                  <a:pt x="207" y="72"/>
                  <a:pt x="204" y="74"/>
                </a:cubicBezTo>
                <a:cubicBezTo>
                  <a:pt x="204" y="73"/>
                  <a:pt x="205" y="72"/>
                  <a:pt x="203" y="73"/>
                </a:cubicBezTo>
                <a:cubicBezTo>
                  <a:pt x="201" y="75"/>
                  <a:pt x="199" y="76"/>
                  <a:pt x="198" y="77"/>
                </a:cubicBezTo>
                <a:cubicBezTo>
                  <a:pt x="199" y="76"/>
                  <a:pt x="202" y="75"/>
                  <a:pt x="198" y="78"/>
                </a:cubicBezTo>
                <a:cubicBezTo>
                  <a:pt x="199" y="78"/>
                  <a:pt x="201" y="77"/>
                  <a:pt x="203" y="75"/>
                </a:cubicBezTo>
                <a:cubicBezTo>
                  <a:pt x="203" y="76"/>
                  <a:pt x="196" y="80"/>
                  <a:pt x="194" y="81"/>
                </a:cubicBezTo>
                <a:cubicBezTo>
                  <a:pt x="197" y="79"/>
                  <a:pt x="196" y="79"/>
                  <a:pt x="197" y="77"/>
                </a:cubicBezTo>
                <a:cubicBezTo>
                  <a:pt x="194" y="79"/>
                  <a:pt x="195" y="78"/>
                  <a:pt x="192" y="80"/>
                </a:cubicBezTo>
                <a:cubicBezTo>
                  <a:pt x="191" y="80"/>
                  <a:pt x="192" y="80"/>
                  <a:pt x="192" y="81"/>
                </a:cubicBezTo>
                <a:cubicBezTo>
                  <a:pt x="187" y="83"/>
                  <a:pt x="184" y="85"/>
                  <a:pt x="179" y="89"/>
                </a:cubicBezTo>
                <a:cubicBezTo>
                  <a:pt x="179" y="89"/>
                  <a:pt x="180" y="89"/>
                  <a:pt x="180" y="89"/>
                </a:cubicBezTo>
                <a:cubicBezTo>
                  <a:pt x="181" y="88"/>
                  <a:pt x="181" y="88"/>
                  <a:pt x="183" y="87"/>
                </a:cubicBezTo>
                <a:cubicBezTo>
                  <a:pt x="182" y="88"/>
                  <a:pt x="182" y="89"/>
                  <a:pt x="182" y="90"/>
                </a:cubicBezTo>
                <a:cubicBezTo>
                  <a:pt x="179" y="91"/>
                  <a:pt x="178" y="93"/>
                  <a:pt x="177" y="92"/>
                </a:cubicBezTo>
                <a:cubicBezTo>
                  <a:pt x="176" y="94"/>
                  <a:pt x="174" y="95"/>
                  <a:pt x="172" y="96"/>
                </a:cubicBezTo>
                <a:cubicBezTo>
                  <a:pt x="171" y="96"/>
                  <a:pt x="173" y="94"/>
                  <a:pt x="173" y="94"/>
                </a:cubicBezTo>
                <a:cubicBezTo>
                  <a:pt x="169" y="96"/>
                  <a:pt x="172" y="96"/>
                  <a:pt x="171" y="97"/>
                </a:cubicBezTo>
                <a:cubicBezTo>
                  <a:pt x="171" y="97"/>
                  <a:pt x="172" y="96"/>
                  <a:pt x="173" y="95"/>
                </a:cubicBezTo>
                <a:cubicBezTo>
                  <a:pt x="173" y="96"/>
                  <a:pt x="169" y="100"/>
                  <a:pt x="173" y="97"/>
                </a:cubicBezTo>
                <a:cubicBezTo>
                  <a:pt x="171" y="99"/>
                  <a:pt x="166" y="102"/>
                  <a:pt x="166" y="101"/>
                </a:cubicBezTo>
                <a:cubicBezTo>
                  <a:pt x="169" y="98"/>
                  <a:pt x="167" y="98"/>
                  <a:pt x="169" y="97"/>
                </a:cubicBezTo>
                <a:cubicBezTo>
                  <a:pt x="168" y="96"/>
                  <a:pt x="165" y="99"/>
                  <a:pt x="163" y="101"/>
                </a:cubicBezTo>
                <a:cubicBezTo>
                  <a:pt x="163" y="101"/>
                  <a:pt x="162" y="101"/>
                  <a:pt x="162" y="101"/>
                </a:cubicBezTo>
                <a:cubicBezTo>
                  <a:pt x="162" y="101"/>
                  <a:pt x="163" y="100"/>
                  <a:pt x="163" y="100"/>
                </a:cubicBezTo>
                <a:cubicBezTo>
                  <a:pt x="163" y="100"/>
                  <a:pt x="162" y="100"/>
                  <a:pt x="161" y="101"/>
                </a:cubicBezTo>
                <a:cubicBezTo>
                  <a:pt x="162" y="102"/>
                  <a:pt x="162" y="102"/>
                  <a:pt x="158" y="102"/>
                </a:cubicBezTo>
                <a:cubicBezTo>
                  <a:pt x="157" y="104"/>
                  <a:pt x="161" y="102"/>
                  <a:pt x="157" y="105"/>
                </a:cubicBezTo>
                <a:cubicBezTo>
                  <a:pt x="157" y="104"/>
                  <a:pt x="155" y="105"/>
                  <a:pt x="154" y="106"/>
                </a:cubicBezTo>
                <a:cubicBezTo>
                  <a:pt x="157" y="105"/>
                  <a:pt x="154" y="107"/>
                  <a:pt x="154" y="107"/>
                </a:cubicBezTo>
                <a:cubicBezTo>
                  <a:pt x="152" y="109"/>
                  <a:pt x="153" y="108"/>
                  <a:pt x="151" y="109"/>
                </a:cubicBezTo>
                <a:cubicBezTo>
                  <a:pt x="151" y="109"/>
                  <a:pt x="153" y="108"/>
                  <a:pt x="152" y="108"/>
                </a:cubicBezTo>
                <a:cubicBezTo>
                  <a:pt x="152" y="108"/>
                  <a:pt x="152" y="108"/>
                  <a:pt x="151" y="108"/>
                </a:cubicBezTo>
                <a:cubicBezTo>
                  <a:pt x="150" y="109"/>
                  <a:pt x="151" y="109"/>
                  <a:pt x="150" y="110"/>
                </a:cubicBezTo>
                <a:cubicBezTo>
                  <a:pt x="150" y="111"/>
                  <a:pt x="153" y="108"/>
                  <a:pt x="150" y="111"/>
                </a:cubicBezTo>
                <a:cubicBezTo>
                  <a:pt x="151" y="111"/>
                  <a:pt x="154" y="109"/>
                  <a:pt x="154" y="108"/>
                </a:cubicBezTo>
                <a:cubicBezTo>
                  <a:pt x="154" y="109"/>
                  <a:pt x="156" y="108"/>
                  <a:pt x="156" y="108"/>
                </a:cubicBezTo>
                <a:cubicBezTo>
                  <a:pt x="154" y="110"/>
                  <a:pt x="154" y="109"/>
                  <a:pt x="153" y="110"/>
                </a:cubicBezTo>
                <a:cubicBezTo>
                  <a:pt x="152" y="111"/>
                  <a:pt x="149" y="113"/>
                  <a:pt x="149" y="114"/>
                </a:cubicBezTo>
                <a:cubicBezTo>
                  <a:pt x="150" y="113"/>
                  <a:pt x="153" y="110"/>
                  <a:pt x="154" y="111"/>
                </a:cubicBezTo>
                <a:cubicBezTo>
                  <a:pt x="151" y="113"/>
                  <a:pt x="152" y="113"/>
                  <a:pt x="153" y="113"/>
                </a:cubicBezTo>
                <a:cubicBezTo>
                  <a:pt x="153" y="113"/>
                  <a:pt x="152" y="113"/>
                  <a:pt x="152" y="113"/>
                </a:cubicBezTo>
                <a:cubicBezTo>
                  <a:pt x="152" y="113"/>
                  <a:pt x="152" y="114"/>
                  <a:pt x="152" y="114"/>
                </a:cubicBezTo>
                <a:cubicBezTo>
                  <a:pt x="150" y="114"/>
                  <a:pt x="153" y="111"/>
                  <a:pt x="149" y="114"/>
                </a:cubicBezTo>
                <a:cubicBezTo>
                  <a:pt x="149" y="116"/>
                  <a:pt x="146" y="119"/>
                  <a:pt x="150" y="117"/>
                </a:cubicBezTo>
                <a:cubicBezTo>
                  <a:pt x="149" y="118"/>
                  <a:pt x="149" y="118"/>
                  <a:pt x="149" y="118"/>
                </a:cubicBezTo>
                <a:cubicBezTo>
                  <a:pt x="147" y="120"/>
                  <a:pt x="146" y="119"/>
                  <a:pt x="147" y="118"/>
                </a:cubicBezTo>
                <a:cubicBezTo>
                  <a:pt x="144" y="118"/>
                  <a:pt x="140" y="124"/>
                  <a:pt x="138" y="124"/>
                </a:cubicBezTo>
                <a:cubicBezTo>
                  <a:pt x="139" y="124"/>
                  <a:pt x="136" y="126"/>
                  <a:pt x="136" y="127"/>
                </a:cubicBezTo>
                <a:cubicBezTo>
                  <a:pt x="137" y="127"/>
                  <a:pt x="140" y="125"/>
                  <a:pt x="143" y="122"/>
                </a:cubicBezTo>
                <a:cubicBezTo>
                  <a:pt x="143" y="122"/>
                  <a:pt x="143" y="122"/>
                  <a:pt x="143" y="122"/>
                </a:cubicBezTo>
                <a:cubicBezTo>
                  <a:pt x="144" y="121"/>
                  <a:pt x="142" y="123"/>
                  <a:pt x="144" y="123"/>
                </a:cubicBezTo>
                <a:cubicBezTo>
                  <a:pt x="142" y="122"/>
                  <a:pt x="139" y="127"/>
                  <a:pt x="138" y="126"/>
                </a:cubicBezTo>
                <a:cubicBezTo>
                  <a:pt x="135" y="128"/>
                  <a:pt x="135" y="129"/>
                  <a:pt x="134" y="130"/>
                </a:cubicBezTo>
                <a:cubicBezTo>
                  <a:pt x="137" y="129"/>
                  <a:pt x="137" y="128"/>
                  <a:pt x="139" y="127"/>
                </a:cubicBezTo>
                <a:cubicBezTo>
                  <a:pt x="139" y="128"/>
                  <a:pt x="140" y="127"/>
                  <a:pt x="139" y="128"/>
                </a:cubicBezTo>
                <a:cubicBezTo>
                  <a:pt x="140" y="128"/>
                  <a:pt x="141" y="127"/>
                  <a:pt x="141" y="127"/>
                </a:cubicBezTo>
                <a:cubicBezTo>
                  <a:pt x="142" y="126"/>
                  <a:pt x="142" y="126"/>
                  <a:pt x="142" y="126"/>
                </a:cubicBezTo>
                <a:cubicBezTo>
                  <a:pt x="143" y="125"/>
                  <a:pt x="144" y="125"/>
                  <a:pt x="146" y="123"/>
                </a:cubicBezTo>
                <a:cubicBezTo>
                  <a:pt x="147" y="121"/>
                  <a:pt x="151" y="120"/>
                  <a:pt x="154" y="116"/>
                </a:cubicBezTo>
                <a:cubicBezTo>
                  <a:pt x="159" y="114"/>
                  <a:pt x="160" y="110"/>
                  <a:pt x="162" y="111"/>
                </a:cubicBezTo>
                <a:cubicBezTo>
                  <a:pt x="165" y="107"/>
                  <a:pt x="169" y="106"/>
                  <a:pt x="173" y="103"/>
                </a:cubicBezTo>
                <a:cubicBezTo>
                  <a:pt x="175" y="101"/>
                  <a:pt x="172" y="103"/>
                  <a:pt x="174" y="102"/>
                </a:cubicBezTo>
                <a:cubicBezTo>
                  <a:pt x="175" y="101"/>
                  <a:pt x="176" y="101"/>
                  <a:pt x="178" y="100"/>
                </a:cubicBezTo>
                <a:cubicBezTo>
                  <a:pt x="174" y="104"/>
                  <a:pt x="169" y="106"/>
                  <a:pt x="163" y="111"/>
                </a:cubicBezTo>
                <a:cubicBezTo>
                  <a:pt x="166" y="111"/>
                  <a:pt x="178" y="99"/>
                  <a:pt x="183" y="98"/>
                </a:cubicBezTo>
                <a:cubicBezTo>
                  <a:pt x="183" y="98"/>
                  <a:pt x="180" y="101"/>
                  <a:pt x="183" y="99"/>
                </a:cubicBezTo>
                <a:cubicBezTo>
                  <a:pt x="183" y="100"/>
                  <a:pt x="177" y="103"/>
                  <a:pt x="177" y="104"/>
                </a:cubicBezTo>
                <a:cubicBezTo>
                  <a:pt x="173" y="106"/>
                  <a:pt x="172" y="108"/>
                  <a:pt x="168" y="110"/>
                </a:cubicBezTo>
                <a:cubicBezTo>
                  <a:pt x="168" y="111"/>
                  <a:pt x="168" y="111"/>
                  <a:pt x="168" y="111"/>
                </a:cubicBezTo>
                <a:cubicBezTo>
                  <a:pt x="170" y="109"/>
                  <a:pt x="173" y="108"/>
                  <a:pt x="176" y="106"/>
                </a:cubicBezTo>
                <a:cubicBezTo>
                  <a:pt x="175" y="107"/>
                  <a:pt x="175" y="107"/>
                  <a:pt x="176" y="107"/>
                </a:cubicBezTo>
                <a:cubicBezTo>
                  <a:pt x="173" y="109"/>
                  <a:pt x="173" y="109"/>
                  <a:pt x="169" y="112"/>
                </a:cubicBezTo>
                <a:cubicBezTo>
                  <a:pt x="168" y="112"/>
                  <a:pt x="168" y="112"/>
                  <a:pt x="168" y="112"/>
                </a:cubicBezTo>
                <a:cubicBezTo>
                  <a:pt x="166" y="114"/>
                  <a:pt x="163" y="116"/>
                  <a:pt x="159" y="119"/>
                </a:cubicBezTo>
                <a:cubicBezTo>
                  <a:pt x="160" y="120"/>
                  <a:pt x="165" y="115"/>
                  <a:pt x="166" y="114"/>
                </a:cubicBezTo>
                <a:cubicBezTo>
                  <a:pt x="167" y="114"/>
                  <a:pt x="166" y="114"/>
                  <a:pt x="166" y="114"/>
                </a:cubicBezTo>
                <a:cubicBezTo>
                  <a:pt x="164" y="116"/>
                  <a:pt x="168" y="113"/>
                  <a:pt x="168" y="114"/>
                </a:cubicBezTo>
                <a:cubicBezTo>
                  <a:pt x="169" y="112"/>
                  <a:pt x="172" y="111"/>
                  <a:pt x="175" y="108"/>
                </a:cubicBezTo>
                <a:cubicBezTo>
                  <a:pt x="175" y="109"/>
                  <a:pt x="174" y="110"/>
                  <a:pt x="174" y="110"/>
                </a:cubicBezTo>
                <a:cubicBezTo>
                  <a:pt x="176" y="108"/>
                  <a:pt x="181" y="104"/>
                  <a:pt x="183" y="104"/>
                </a:cubicBezTo>
                <a:cubicBezTo>
                  <a:pt x="185" y="102"/>
                  <a:pt x="189" y="100"/>
                  <a:pt x="190" y="98"/>
                </a:cubicBezTo>
                <a:cubicBezTo>
                  <a:pt x="191" y="98"/>
                  <a:pt x="196" y="95"/>
                  <a:pt x="199" y="93"/>
                </a:cubicBezTo>
                <a:cubicBezTo>
                  <a:pt x="199" y="93"/>
                  <a:pt x="198" y="94"/>
                  <a:pt x="198" y="94"/>
                </a:cubicBezTo>
                <a:cubicBezTo>
                  <a:pt x="203" y="90"/>
                  <a:pt x="208" y="88"/>
                  <a:pt x="215" y="83"/>
                </a:cubicBezTo>
                <a:cubicBezTo>
                  <a:pt x="214" y="84"/>
                  <a:pt x="214" y="85"/>
                  <a:pt x="215" y="84"/>
                </a:cubicBezTo>
                <a:cubicBezTo>
                  <a:pt x="218" y="83"/>
                  <a:pt x="214" y="85"/>
                  <a:pt x="215" y="85"/>
                </a:cubicBezTo>
                <a:cubicBezTo>
                  <a:pt x="212" y="86"/>
                  <a:pt x="211" y="87"/>
                  <a:pt x="208" y="88"/>
                </a:cubicBezTo>
                <a:cubicBezTo>
                  <a:pt x="206" y="89"/>
                  <a:pt x="209" y="88"/>
                  <a:pt x="209" y="89"/>
                </a:cubicBezTo>
                <a:cubicBezTo>
                  <a:pt x="204" y="91"/>
                  <a:pt x="202" y="93"/>
                  <a:pt x="200" y="95"/>
                </a:cubicBezTo>
                <a:cubicBezTo>
                  <a:pt x="198" y="95"/>
                  <a:pt x="196" y="97"/>
                  <a:pt x="194" y="98"/>
                </a:cubicBezTo>
                <a:cubicBezTo>
                  <a:pt x="193" y="99"/>
                  <a:pt x="193" y="99"/>
                  <a:pt x="193" y="99"/>
                </a:cubicBezTo>
                <a:cubicBezTo>
                  <a:pt x="190" y="100"/>
                  <a:pt x="188" y="102"/>
                  <a:pt x="184" y="105"/>
                </a:cubicBezTo>
                <a:cubicBezTo>
                  <a:pt x="184" y="104"/>
                  <a:pt x="184" y="104"/>
                  <a:pt x="184" y="104"/>
                </a:cubicBezTo>
                <a:cubicBezTo>
                  <a:pt x="183" y="105"/>
                  <a:pt x="182" y="106"/>
                  <a:pt x="182" y="106"/>
                </a:cubicBezTo>
                <a:cubicBezTo>
                  <a:pt x="182" y="106"/>
                  <a:pt x="175" y="111"/>
                  <a:pt x="170" y="115"/>
                </a:cubicBezTo>
                <a:cubicBezTo>
                  <a:pt x="170" y="115"/>
                  <a:pt x="170" y="115"/>
                  <a:pt x="170" y="115"/>
                </a:cubicBezTo>
                <a:cubicBezTo>
                  <a:pt x="164" y="119"/>
                  <a:pt x="167" y="119"/>
                  <a:pt x="161" y="123"/>
                </a:cubicBezTo>
                <a:cubicBezTo>
                  <a:pt x="162" y="123"/>
                  <a:pt x="161" y="124"/>
                  <a:pt x="162" y="123"/>
                </a:cubicBezTo>
                <a:cubicBezTo>
                  <a:pt x="161" y="124"/>
                  <a:pt x="156" y="128"/>
                  <a:pt x="156" y="128"/>
                </a:cubicBezTo>
                <a:cubicBezTo>
                  <a:pt x="155" y="128"/>
                  <a:pt x="156" y="129"/>
                  <a:pt x="155" y="130"/>
                </a:cubicBezTo>
                <a:cubicBezTo>
                  <a:pt x="152" y="130"/>
                  <a:pt x="154" y="128"/>
                  <a:pt x="154" y="127"/>
                </a:cubicBezTo>
                <a:cubicBezTo>
                  <a:pt x="151" y="129"/>
                  <a:pt x="154" y="128"/>
                  <a:pt x="151" y="131"/>
                </a:cubicBezTo>
                <a:cubicBezTo>
                  <a:pt x="151" y="131"/>
                  <a:pt x="152" y="130"/>
                  <a:pt x="152" y="131"/>
                </a:cubicBezTo>
                <a:cubicBezTo>
                  <a:pt x="149" y="133"/>
                  <a:pt x="150" y="133"/>
                  <a:pt x="148" y="135"/>
                </a:cubicBezTo>
                <a:cubicBezTo>
                  <a:pt x="146" y="136"/>
                  <a:pt x="146" y="137"/>
                  <a:pt x="145" y="138"/>
                </a:cubicBezTo>
                <a:cubicBezTo>
                  <a:pt x="145" y="137"/>
                  <a:pt x="145" y="137"/>
                  <a:pt x="142" y="139"/>
                </a:cubicBezTo>
                <a:cubicBezTo>
                  <a:pt x="140" y="141"/>
                  <a:pt x="144" y="138"/>
                  <a:pt x="143" y="139"/>
                </a:cubicBezTo>
                <a:cubicBezTo>
                  <a:pt x="142" y="140"/>
                  <a:pt x="139" y="142"/>
                  <a:pt x="141" y="141"/>
                </a:cubicBezTo>
                <a:cubicBezTo>
                  <a:pt x="141" y="141"/>
                  <a:pt x="139" y="143"/>
                  <a:pt x="139" y="142"/>
                </a:cubicBezTo>
                <a:cubicBezTo>
                  <a:pt x="138" y="144"/>
                  <a:pt x="137" y="145"/>
                  <a:pt x="135" y="148"/>
                </a:cubicBezTo>
                <a:cubicBezTo>
                  <a:pt x="139" y="145"/>
                  <a:pt x="143" y="141"/>
                  <a:pt x="147" y="137"/>
                </a:cubicBezTo>
                <a:cubicBezTo>
                  <a:pt x="149" y="137"/>
                  <a:pt x="147" y="138"/>
                  <a:pt x="149" y="137"/>
                </a:cubicBezTo>
                <a:cubicBezTo>
                  <a:pt x="151" y="135"/>
                  <a:pt x="151" y="135"/>
                  <a:pt x="151" y="134"/>
                </a:cubicBezTo>
                <a:cubicBezTo>
                  <a:pt x="154" y="132"/>
                  <a:pt x="152" y="134"/>
                  <a:pt x="151" y="135"/>
                </a:cubicBezTo>
                <a:cubicBezTo>
                  <a:pt x="152" y="135"/>
                  <a:pt x="154" y="133"/>
                  <a:pt x="156" y="132"/>
                </a:cubicBezTo>
                <a:cubicBezTo>
                  <a:pt x="153" y="132"/>
                  <a:pt x="159" y="128"/>
                  <a:pt x="161" y="127"/>
                </a:cubicBezTo>
                <a:cubicBezTo>
                  <a:pt x="163" y="125"/>
                  <a:pt x="159" y="129"/>
                  <a:pt x="157" y="130"/>
                </a:cubicBezTo>
                <a:cubicBezTo>
                  <a:pt x="159" y="130"/>
                  <a:pt x="156" y="132"/>
                  <a:pt x="156" y="133"/>
                </a:cubicBezTo>
                <a:cubicBezTo>
                  <a:pt x="155" y="134"/>
                  <a:pt x="150" y="138"/>
                  <a:pt x="150" y="139"/>
                </a:cubicBezTo>
                <a:cubicBezTo>
                  <a:pt x="148" y="140"/>
                  <a:pt x="146" y="141"/>
                  <a:pt x="145" y="143"/>
                </a:cubicBezTo>
                <a:cubicBezTo>
                  <a:pt x="144" y="143"/>
                  <a:pt x="145" y="143"/>
                  <a:pt x="145" y="142"/>
                </a:cubicBezTo>
                <a:cubicBezTo>
                  <a:pt x="144" y="145"/>
                  <a:pt x="143" y="144"/>
                  <a:pt x="141" y="145"/>
                </a:cubicBezTo>
                <a:cubicBezTo>
                  <a:pt x="139" y="147"/>
                  <a:pt x="142" y="145"/>
                  <a:pt x="142" y="146"/>
                </a:cubicBezTo>
                <a:cubicBezTo>
                  <a:pt x="140" y="147"/>
                  <a:pt x="141" y="147"/>
                  <a:pt x="139" y="148"/>
                </a:cubicBezTo>
                <a:cubicBezTo>
                  <a:pt x="138" y="148"/>
                  <a:pt x="138" y="147"/>
                  <a:pt x="140" y="145"/>
                </a:cubicBezTo>
                <a:cubicBezTo>
                  <a:pt x="140" y="145"/>
                  <a:pt x="139" y="145"/>
                  <a:pt x="139" y="145"/>
                </a:cubicBezTo>
                <a:cubicBezTo>
                  <a:pt x="137" y="148"/>
                  <a:pt x="135" y="150"/>
                  <a:pt x="136" y="151"/>
                </a:cubicBezTo>
                <a:cubicBezTo>
                  <a:pt x="134" y="153"/>
                  <a:pt x="135" y="151"/>
                  <a:pt x="133" y="152"/>
                </a:cubicBezTo>
                <a:cubicBezTo>
                  <a:pt x="133" y="153"/>
                  <a:pt x="134" y="153"/>
                  <a:pt x="131" y="156"/>
                </a:cubicBezTo>
                <a:cubicBezTo>
                  <a:pt x="131" y="155"/>
                  <a:pt x="131" y="155"/>
                  <a:pt x="130" y="155"/>
                </a:cubicBezTo>
                <a:cubicBezTo>
                  <a:pt x="130" y="156"/>
                  <a:pt x="129" y="157"/>
                  <a:pt x="129" y="158"/>
                </a:cubicBezTo>
                <a:cubicBezTo>
                  <a:pt x="125" y="161"/>
                  <a:pt x="122" y="164"/>
                  <a:pt x="119" y="167"/>
                </a:cubicBezTo>
                <a:cubicBezTo>
                  <a:pt x="118" y="168"/>
                  <a:pt x="118" y="168"/>
                  <a:pt x="118" y="168"/>
                </a:cubicBezTo>
                <a:cubicBezTo>
                  <a:pt x="116" y="169"/>
                  <a:pt x="117" y="169"/>
                  <a:pt x="115" y="171"/>
                </a:cubicBezTo>
                <a:cubicBezTo>
                  <a:pt x="113" y="171"/>
                  <a:pt x="111" y="174"/>
                  <a:pt x="109" y="175"/>
                </a:cubicBezTo>
                <a:cubicBezTo>
                  <a:pt x="110" y="174"/>
                  <a:pt x="110" y="174"/>
                  <a:pt x="110" y="173"/>
                </a:cubicBezTo>
                <a:cubicBezTo>
                  <a:pt x="114" y="170"/>
                  <a:pt x="118" y="163"/>
                  <a:pt x="121" y="162"/>
                </a:cubicBezTo>
                <a:cubicBezTo>
                  <a:pt x="125" y="157"/>
                  <a:pt x="129" y="153"/>
                  <a:pt x="133" y="151"/>
                </a:cubicBezTo>
                <a:cubicBezTo>
                  <a:pt x="134" y="150"/>
                  <a:pt x="134" y="149"/>
                  <a:pt x="134" y="149"/>
                </a:cubicBezTo>
                <a:cubicBezTo>
                  <a:pt x="134" y="148"/>
                  <a:pt x="130" y="152"/>
                  <a:pt x="130" y="150"/>
                </a:cubicBezTo>
                <a:cubicBezTo>
                  <a:pt x="131" y="150"/>
                  <a:pt x="131" y="150"/>
                  <a:pt x="131" y="150"/>
                </a:cubicBezTo>
                <a:cubicBezTo>
                  <a:pt x="133" y="149"/>
                  <a:pt x="133" y="148"/>
                  <a:pt x="135" y="147"/>
                </a:cubicBezTo>
                <a:cubicBezTo>
                  <a:pt x="126" y="153"/>
                  <a:pt x="125" y="155"/>
                  <a:pt x="119" y="161"/>
                </a:cubicBezTo>
                <a:cubicBezTo>
                  <a:pt x="118" y="160"/>
                  <a:pt x="122" y="157"/>
                  <a:pt x="123" y="155"/>
                </a:cubicBezTo>
                <a:cubicBezTo>
                  <a:pt x="121" y="157"/>
                  <a:pt x="123" y="155"/>
                  <a:pt x="121" y="156"/>
                </a:cubicBezTo>
                <a:cubicBezTo>
                  <a:pt x="121" y="155"/>
                  <a:pt x="123" y="153"/>
                  <a:pt x="123" y="153"/>
                </a:cubicBezTo>
                <a:cubicBezTo>
                  <a:pt x="125" y="151"/>
                  <a:pt x="125" y="153"/>
                  <a:pt x="123" y="155"/>
                </a:cubicBezTo>
                <a:cubicBezTo>
                  <a:pt x="123" y="155"/>
                  <a:pt x="127" y="151"/>
                  <a:pt x="125" y="153"/>
                </a:cubicBezTo>
                <a:cubicBezTo>
                  <a:pt x="128" y="151"/>
                  <a:pt x="128" y="151"/>
                  <a:pt x="131" y="148"/>
                </a:cubicBezTo>
                <a:cubicBezTo>
                  <a:pt x="132" y="145"/>
                  <a:pt x="130" y="145"/>
                  <a:pt x="125" y="149"/>
                </a:cubicBezTo>
                <a:cubicBezTo>
                  <a:pt x="120" y="156"/>
                  <a:pt x="111" y="162"/>
                  <a:pt x="106" y="170"/>
                </a:cubicBezTo>
                <a:cubicBezTo>
                  <a:pt x="104" y="170"/>
                  <a:pt x="103" y="171"/>
                  <a:pt x="102" y="172"/>
                </a:cubicBezTo>
                <a:cubicBezTo>
                  <a:pt x="101" y="173"/>
                  <a:pt x="100" y="174"/>
                  <a:pt x="100" y="174"/>
                </a:cubicBezTo>
                <a:cubicBezTo>
                  <a:pt x="100" y="175"/>
                  <a:pt x="100" y="175"/>
                  <a:pt x="99" y="176"/>
                </a:cubicBezTo>
                <a:cubicBezTo>
                  <a:pt x="100" y="176"/>
                  <a:pt x="100" y="176"/>
                  <a:pt x="100" y="175"/>
                </a:cubicBezTo>
                <a:cubicBezTo>
                  <a:pt x="101" y="176"/>
                  <a:pt x="99" y="176"/>
                  <a:pt x="100" y="177"/>
                </a:cubicBezTo>
                <a:cubicBezTo>
                  <a:pt x="99" y="176"/>
                  <a:pt x="98" y="175"/>
                  <a:pt x="97" y="175"/>
                </a:cubicBezTo>
                <a:cubicBezTo>
                  <a:pt x="97" y="175"/>
                  <a:pt x="97" y="176"/>
                  <a:pt x="97" y="176"/>
                </a:cubicBezTo>
                <a:cubicBezTo>
                  <a:pt x="97" y="175"/>
                  <a:pt x="96" y="177"/>
                  <a:pt x="96" y="176"/>
                </a:cubicBezTo>
                <a:cubicBezTo>
                  <a:pt x="97" y="175"/>
                  <a:pt x="97" y="174"/>
                  <a:pt x="98" y="175"/>
                </a:cubicBezTo>
                <a:cubicBezTo>
                  <a:pt x="98" y="174"/>
                  <a:pt x="97" y="174"/>
                  <a:pt x="98" y="174"/>
                </a:cubicBezTo>
                <a:cubicBezTo>
                  <a:pt x="97" y="173"/>
                  <a:pt x="96" y="175"/>
                  <a:pt x="95" y="176"/>
                </a:cubicBezTo>
                <a:cubicBezTo>
                  <a:pt x="95" y="176"/>
                  <a:pt x="95" y="177"/>
                  <a:pt x="94" y="177"/>
                </a:cubicBezTo>
                <a:cubicBezTo>
                  <a:pt x="95" y="178"/>
                  <a:pt x="95" y="177"/>
                  <a:pt x="96" y="177"/>
                </a:cubicBezTo>
                <a:cubicBezTo>
                  <a:pt x="95" y="178"/>
                  <a:pt x="95" y="178"/>
                  <a:pt x="94" y="178"/>
                </a:cubicBezTo>
                <a:cubicBezTo>
                  <a:pt x="94" y="179"/>
                  <a:pt x="95" y="179"/>
                  <a:pt x="95" y="179"/>
                </a:cubicBezTo>
                <a:cubicBezTo>
                  <a:pt x="94" y="179"/>
                  <a:pt x="92" y="179"/>
                  <a:pt x="92" y="180"/>
                </a:cubicBezTo>
                <a:cubicBezTo>
                  <a:pt x="92" y="180"/>
                  <a:pt x="92" y="180"/>
                  <a:pt x="93" y="180"/>
                </a:cubicBezTo>
                <a:cubicBezTo>
                  <a:pt x="93" y="180"/>
                  <a:pt x="93" y="181"/>
                  <a:pt x="93" y="181"/>
                </a:cubicBezTo>
                <a:cubicBezTo>
                  <a:pt x="92" y="181"/>
                  <a:pt x="92" y="180"/>
                  <a:pt x="92" y="181"/>
                </a:cubicBezTo>
                <a:cubicBezTo>
                  <a:pt x="91" y="181"/>
                  <a:pt x="92" y="181"/>
                  <a:pt x="92" y="181"/>
                </a:cubicBezTo>
                <a:cubicBezTo>
                  <a:pt x="92" y="182"/>
                  <a:pt x="91" y="181"/>
                  <a:pt x="91" y="182"/>
                </a:cubicBezTo>
                <a:cubicBezTo>
                  <a:pt x="90" y="182"/>
                  <a:pt x="90" y="183"/>
                  <a:pt x="89" y="183"/>
                </a:cubicBezTo>
                <a:cubicBezTo>
                  <a:pt x="89" y="183"/>
                  <a:pt x="90" y="182"/>
                  <a:pt x="90" y="183"/>
                </a:cubicBezTo>
                <a:cubicBezTo>
                  <a:pt x="89" y="183"/>
                  <a:pt x="89" y="183"/>
                  <a:pt x="88" y="183"/>
                </a:cubicBezTo>
                <a:cubicBezTo>
                  <a:pt x="87" y="184"/>
                  <a:pt x="88" y="184"/>
                  <a:pt x="88" y="184"/>
                </a:cubicBezTo>
                <a:cubicBezTo>
                  <a:pt x="87" y="184"/>
                  <a:pt x="87" y="186"/>
                  <a:pt x="86" y="186"/>
                </a:cubicBezTo>
                <a:cubicBezTo>
                  <a:pt x="86" y="186"/>
                  <a:pt x="86" y="186"/>
                  <a:pt x="86" y="186"/>
                </a:cubicBezTo>
                <a:cubicBezTo>
                  <a:pt x="86" y="186"/>
                  <a:pt x="86" y="186"/>
                  <a:pt x="85" y="186"/>
                </a:cubicBezTo>
                <a:cubicBezTo>
                  <a:pt x="85" y="186"/>
                  <a:pt x="86" y="186"/>
                  <a:pt x="86" y="186"/>
                </a:cubicBezTo>
                <a:cubicBezTo>
                  <a:pt x="84" y="188"/>
                  <a:pt x="83" y="190"/>
                  <a:pt x="81" y="192"/>
                </a:cubicBezTo>
                <a:cubicBezTo>
                  <a:pt x="81" y="192"/>
                  <a:pt x="81" y="192"/>
                  <a:pt x="81" y="192"/>
                </a:cubicBezTo>
                <a:cubicBezTo>
                  <a:pt x="81" y="193"/>
                  <a:pt x="82" y="192"/>
                  <a:pt x="81" y="193"/>
                </a:cubicBezTo>
                <a:cubicBezTo>
                  <a:pt x="81" y="193"/>
                  <a:pt x="81" y="193"/>
                  <a:pt x="81" y="193"/>
                </a:cubicBezTo>
                <a:cubicBezTo>
                  <a:pt x="80" y="193"/>
                  <a:pt x="80" y="194"/>
                  <a:pt x="80" y="193"/>
                </a:cubicBezTo>
                <a:cubicBezTo>
                  <a:pt x="79" y="193"/>
                  <a:pt x="81" y="192"/>
                  <a:pt x="80" y="192"/>
                </a:cubicBezTo>
                <a:cubicBezTo>
                  <a:pt x="80" y="191"/>
                  <a:pt x="80" y="192"/>
                  <a:pt x="80" y="192"/>
                </a:cubicBezTo>
                <a:cubicBezTo>
                  <a:pt x="79" y="191"/>
                  <a:pt x="80" y="191"/>
                  <a:pt x="81" y="190"/>
                </a:cubicBezTo>
                <a:cubicBezTo>
                  <a:pt x="81" y="191"/>
                  <a:pt x="80" y="191"/>
                  <a:pt x="81" y="191"/>
                </a:cubicBezTo>
                <a:cubicBezTo>
                  <a:pt x="81" y="191"/>
                  <a:pt x="82" y="191"/>
                  <a:pt x="82" y="190"/>
                </a:cubicBezTo>
                <a:cubicBezTo>
                  <a:pt x="82" y="190"/>
                  <a:pt x="81" y="191"/>
                  <a:pt x="81" y="190"/>
                </a:cubicBezTo>
                <a:cubicBezTo>
                  <a:pt x="81" y="189"/>
                  <a:pt x="82" y="190"/>
                  <a:pt x="82" y="190"/>
                </a:cubicBezTo>
                <a:cubicBezTo>
                  <a:pt x="83" y="189"/>
                  <a:pt x="82" y="189"/>
                  <a:pt x="81" y="189"/>
                </a:cubicBezTo>
                <a:cubicBezTo>
                  <a:pt x="81" y="189"/>
                  <a:pt x="81" y="190"/>
                  <a:pt x="81" y="190"/>
                </a:cubicBezTo>
                <a:cubicBezTo>
                  <a:pt x="80" y="190"/>
                  <a:pt x="82" y="188"/>
                  <a:pt x="82" y="188"/>
                </a:cubicBezTo>
                <a:cubicBezTo>
                  <a:pt x="83" y="188"/>
                  <a:pt x="82" y="189"/>
                  <a:pt x="82" y="189"/>
                </a:cubicBezTo>
                <a:cubicBezTo>
                  <a:pt x="83" y="189"/>
                  <a:pt x="83" y="188"/>
                  <a:pt x="83" y="189"/>
                </a:cubicBezTo>
                <a:cubicBezTo>
                  <a:pt x="83" y="188"/>
                  <a:pt x="83" y="188"/>
                  <a:pt x="83" y="187"/>
                </a:cubicBezTo>
                <a:cubicBezTo>
                  <a:pt x="86" y="183"/>
                  <a:pt x="86" y="183"/>
                  <a:pt x="86" y="183"/>
                </a:cubicBezTo>
                <a:cubicBezTo>
                  <a:pt x="86" y="184"/>
                  <a:pt x="86" y="183"/>
                  <a:pt x="87" y="184"/>
                </a:cubicBezTo>
                <a:cubicBezTo>
                  <a:pt x="87" y="183"/>
                  <a:pt x="87" y="183"/>
                  <a:pt x="86" y="183"/>
                </a:cubicBezTo>
                <a:cubicBezTo>
                  <a:pt x="87" y="183"/>
                  <a:pt x="86" y="182"/>
                  <a:pt x="87" y="182"/>
                </a:cubicBezTo>
                <a:cubicBezTo>
                  <a:pt x="87" y="182"/>
                  <a:pt x="87" y="182"/>
                  <a:pt x="87" y="183"/>
                </a:cubicBezTo>
                <a:cubicBezTo>
                  <a:pt x="88" y="182"/>
                  <a:pt x="87" y="182"/>
                  <a:pt x="87" y="182"/>
                </a:cubicBezTo>
                <a:cubicBezTo>
                  <a:pt x="89" y="179"/>
                  <a:pt x="92" y="175"/>
                  <a:pt x="95" y="172"/>
                </a:cubicBezTo>
                <a:cubicBezTo>
                  <a:pt x="95" y="172"/>
                  <a:pt x="95" y="172"/>
                  <a:pt x="95" y="172"/>
                </a:cubicBezTo>
                <a:cubicBezTo>
                  <a:pt x="95" y="172"/>
                  <a:pt x="95" y="171"/>
                  <a:pt x="95" y="171"/>
                </a:cubicBezTo>
                <a:cubicBezTo>
                  <a:pt x="95" y="170"/>
                  <a:pt x="95" y="171"/>
                  <a:pt x="95" y="171"/>
                </a:cubicBezTo>
                <a:cubicBezTo>
                  <a:pt x="95" y="171"/>
                  <a:pt x="95" y="171"/>
                  <a:pt x="95" y="170"/>
                </a:cubicBezTo>
                <a:cubicBezTo>
                  <a:pt x="94" y="170"/>
                  <a:pt x="94" y="170"/>
                  <a:pt x="94" y="171"/>
                </a:cubicBezTo>
                <a:cubicBezTo>
                  <a:pt x="93" y="170"/>
                  <a:pt x="94" y="169"/>
                  <a:pt x="95" y="169"/>
                </a:cubicBezTo>
                <a:cubicBezTo>
                  <a:pt x="95" y="169"/>
                  <a:pt x="94" y="169"/>
                  <a:pt x="95" y="170"/>
                </a:cubicBezTo>
                <a:cubicBezTo>
                  <a:pt x="95" y="170"/>
                  <a:pt x="95" y="169"/>
                  <a:pt x="95" y="169"/>
                </a:cubicBezTo>
                <a:cubicBezTo>
                  <a:pt x="96" y="170"/>
                  <a:pt x="95" y="170"/>
                  <a:pt x="95" y="170"/>
                </a:cubicBezTo>
                <a:cubicBezTo>
                  <a:pt x="96" y="170"/>
                  <a:pt x="96" y="170"/>
                  <a:pt x="96" y="170"/>
                </a:cubicBezTo>
                <a:cubicBezTo>
                  <a:pt x="96" y="168"/>
                  <a:pt x="103" y="164"/>
                  <a:pt x="102" y="163"/>
                </a:cubicBezTo>
                <a:cubicBezTo>
                  <a:pt x="105" y="161"/>
                  <a:pt x="102" y="163"/>
                  <a:pt x="105" y="161"/>
                </a:cubicBezTo>
                <a:cubicBezTo>
                  <a:pt x="107" y="157"/>
                  <a:pt x="113" y="152"/>
                  <a:pt x="118" y="147"/>
                </a:cubicBezTo>
                <a:cubicBezTo>
                  <a:pt x="116" y="151"/>
                  <a:pt x="121" y="145"/>
                  <a:pt x="123" y="143"/>
                </a:cubicBezTo>
                <a:cubicBezTo>
                  <a:pt x="123" y="143"/>
                  <a:pt x="123" y="143"/>
                  <a:pt x="123" y="143"/>
                </a:cubicBezTo>
                <a:cubicBezTo>
                  <a:pt x="124" y="142"/>
                  <a:pt x="124" y="143"/>
                  <a:pt x="126" y="141"/>
                </a:cubicBezTo>
                <a:cubicBezTo>
                  <a:pt x="124" y="141"/>
                  <a:pt x="130" y="137"/>
                  <a:pt x="128" y="138"/>
                </a:cubicBezTo>
                <a:cubicBezTo>
                  <a:pt x="129" y="136"/>
                  <a:pt x="131" y="136"/>
                  <a:pt x="131" y="136"/>
                </a:cubicBezTo>
                <a:cubicBezTo>
                  <a:pt x="132" y="135"/>
                  <a:pt x="131" y="135"/>
                  <a:pt x="131" y="135"/>
                </a:cubicBezTo>
                <a:cubicBezTo>
                  <a:pt x="133" y="134"/>
                  <a:pt x="133" y="133"/>
                  <a:pt x="136" y="131"/>
                </a:cubicBezTo>
                <a:cubicBezTo>
                  <a:pt x="135" y="132"/>
                  <a:pt x="136" y="132"/>
                  <a:pt x="137" y="131"/>
                </a:cubicBezTo>
                <a:cubicBezTo>
                  <a:pt x="141" y="128"/>
                  <a:pt x="136" y="130"/>
                  <a:pt x="139" y="128"/>
                </a:cubicBezTo>
                <a:cubicBezTo>
                  <a:pt x="138" y="128"/>
                  <a:pt x="136" y="130"/>
                  <a:pt x="135" y="130"/>
                </a:cubicBezTo>
                <a:cubicBezTo>
                  <a:pt x="134" y="131"/>
                  <a:pt x="134" y="132"/>
                  <a:pt x="134" y="132"/>
                </a:cubicBezTo>
                <a:cubicBezTo>
                  <a:pt x="130" y="134"/>
                  <a:pt x="128" y="137"/>
                  <a:pt x="123" y="141"/>
                </a:cubicBezTo>
                <a:cubicBezTo>
                  <a:pt x="122" y="141"/>
                  <a:pt x="121" y="143"/>
                  <a:pt x="122" y="141"/>
                </a:cubicBezTo>
                <a:cubicBezTo>
                  <a:pt x="121" y="142"/>
                  <a:pt x="120" y="143"/>
                  <a:pt x="117" y="145"/>
                </a:cubicBezTo>
                <a:cubicBezTo>
                  <a:pt x="121" y="141"/>
                  <a:pt x="127" y="135"/>
                  <a:pt x="130" y="134"/>
                </a:cubicBezTo>
                <a:cubicBezTo>
                  <a:pt x="131" y="133"/>
                  <a:pt x="130" y="132"/>
                  <a:pt x="131" y="132"/>
                </a:cubicBezTo>
                <a:cubicBezTo>
                  <a:pt x="129" y="133"/>
                  <a:pt x="130" y="133"/>
                  <a:pt x="128" y="135"/>
                </a:cubicBezTo>
                <a:cubicBezTo>
                  <a:pt x="131" y="131"/>
                  <a:pt x="126" y="134"/>
                  <a:pt x="127" y="132"/>
                </a:cubicBezTo>
                <a:cubicBezTo>
                  <a:pt x="125" y="133"/>
                  <a:pt x="125" y="133"/>
                  <a:pt x="125" y="133"/>
                </a:cubicBezTo>
                <a:cubicBezTo>
                  <a:pt x="124" y="134"/>
                  <a:pt x="127" y="133"/>
                  <a:pt x="125" y="135"/>
                </a:cubicBezTo>
                <a:cubicBezTo>
                  <a:pt x="126" y="134"/>
                  <a:pt x="126" y="134"/>
                  <a:pt x="126" y="134"/>
                </a:cubicBezTo>
                <a:cubicBezTo>
                  <a:pt x="113" y="146"/>
                  <a:pt x="113" y="146"/>
                  <a:pt x="113" y="146"/>
                </a:cubicBezTo>
                <a:cubicBezTo>
                  <a:pt x="112" y="146"/>
                  <a:pt x="112" y="146"/>
                  <a:pt x="113" y="145"/>
                </a:cubicBezTo>
                <a:cubicBezTo>
                  <a:pt x="111" y="147"/>
                  <a:pt x="111" y="147"/>
                  <a:pt x="111" y="147"/>
                </a:cubicBezTo>
                <a:cubicBezTo>
                  <a:pt x="111" y="148"/>
                  <a:pt x="112" y="146"/>
                  <a:pt x="113" y="146"/>
                </a:cubicBezTo>
                <a:cubicBezTo>
                  <a:pt x="113" y="147"/>
                  <a:pt x="111" y="147"/>
                  <a:pt x="110" y="148"/>
                </a:cubicBezTo>
                <a:cubicBezTo>
                  <a:pt x="106" y="153"/>
                  <a:pt x="106" y="153"/>
                  <a:pt x="106" y="153"/>
                </a:cubicBezTo>
                <a:cubicBezTo>
                  <a:pt x="106" y="150"/>
                  <a:pt x="103" y="155"/>
                  <a:pt x="100" y="157"/>
                </a:cubicBezTo>
                <a:cubicBezTo>
                  <a:pt x="101" y="156"/>
                  <a:pt x="104" y="154"/>
                  <a:pt x="104" y="152"/>
                </a:cubicBezTo>
                <a:cubicBezTo>
                  <a:pt x="108" y="149"/>
                  <a:pt x="109" y="148"/>
                  <a:pt x="111" y="145"/>
                </a:cubicBezTo>
                <a:cubicBezTo>
                  <a:pt x="110" y="145"/>
                  <a:pt x="109" y="147"/>
                  <a:pt x="108" y="148"/>
                </a:cubicBezTo>
                <a:cubicBezTo>
                  <a:pt x="108" y="145"/>
                  <a:pt x="106" y="148"/>
                  <a:pt x="103" y="152"/>
                </a:cubicBezTo>
                <a:cubicBezTo>
                  <a:pt x="105" y="150"/>
                  <a:pt x="103" y="150"/>
                  <a:pt x="101" y="151"/>
                </a:cubicBezTo>
                <a:cubicBezTo>
                  <a:pt x="103" y="149"/>
                  <a:pt x="103" y="149"/>
                  <a:pt x="104" y="149"/>
                </a:cubicBezTo>
                <a:cubicBezTo>
                  <a:pt x="105" y="148"/>
                  <a:pt x="105" y="147"/>
                  <a:pt x="107" y="145"/>
                </a:cubicBezTo>
                <a:cubicBezTo>
                  <a:pt x="108" y="144"/>
                  <a:pt x="108" y="146"/>
                  <a:pt x="109" y="144"/>
                </a:cubicBezTo>
                <a:cubicBezTo>
                  <a:pt x="111" y="142"/>
                  <a:pt x="109" y="141"/>
                  <a:pt x="113" y="139"/>
                </a:cubicBezTo>
                <a:cubicBezTo>
                  <a:pt x="113" y="139"/>
                  <a:pt x="111" y="141"/>
                  <a:pt x="111" y="141"/>
                </a:cubicBezTo>
                <a:cubicBezTo>
                  <a:pt x="114" y="139"/>
                  <a:pt x="114" y="138"/>
                  <a:pt x="113" y="138"/>
                </a:cubicBezTo>
                <a:cubicBezTo>
                  <a:pt x="115" y="136"/>
                  <a:pt x="115" y="137"/>
                  <a:pt x="115" y="137"/>
                </a:cubicBezTo>
                <a:cubicBezTo>
                  <a:pt x="115" y="136"/>
                  <a:pt x="118" y="134"/>
                  <a:pt x="118" y="133"/>
                </a:cubicBezTo>
                <a:cubicBezTo>
                  <a:pt x="118" y="133"/>
                  <a:pt x="116" y="134"/>
                  <a:pt x="115" y="135"/>
                </a:cubicBezTo>
                <a:cubicBezTo>
                  <a:pt x="116" y="134"/>
                  <a:pt x="116" y="134"/>
                  <a:pt x="117" y="132"/>
                </a:cubicBezTo>
                <a:cubicBezTo>
                  <a:pt x="115" y="134"/>
                  <a:pt x="115" y="134"/>
                  <a:pt x="116" y="132"/>
                </a:cubicBezTo>
                <a:cubicBezTo>
                  <a:pt x="115" y="132"/>
                  <a:pt x="115" y="132"/>
                  <a:pt x="115" y="132"/>
                </a:cubicBezTo>
                <a:cubicBezTo>
                  <a:pt x="114" y="133"/>
                  <a:pt x="113" y="134"/>
                  <a:pt x="112" y="135"/>
                </a:cubicBezTo>
                <a:cubicBezTo>
                  <a:pt x="111" y="136"/>
                  <a:pt x="112" y="134"/>
                  <a:pt x="109" y="137"/>
                </a:cubicBezTo>
                <a:cubicBezTo>
                  <a:pt x="111" y="135"/>
                  <a:pt x="109" y="136"/>
                  <a:pt x="110" y="134"/>
                </a:cubicBezTo>
                <a:cubicBezTo>
                  <a:pt x="112" y="133"/>
                  <a:pt x="110" y="133"/>
                  <a:pt x="111" y="133"/>
                </a:cubicBezTo>
                <a:cubicBezTo>
                  <a:pt x="112" y="131"/>
                  <a:pt x="115" y="128"/>
                  <a:pt x="116" y="127"/>
                </a:cubicBezTo>
                <a:cubicBezTo>
                  <a:pt x="118" y="126"/>
                  <a:pt x="119" y="125"/>
                  <a:pt x="120" y="126"/>
                </a:cubicBezTo>
                <a:cubicBezTo>
                  <a:pt x="121" y="125"/>
                  <a:pt x="121" y="124"/>
                  <a:pt x="121" y="124"/>
                </a:cubicBezTo>
                <a:cubicBezTo>
                  <a:pt x="121" y="124"/>
                  <a:pt x="119" y="125"/>
                  <a:pt x="119" y="124"/>
                </a:cubicBezTo>
                <a:cubicBezTo>
                  <a:pt x="122" y="121"/>
                  <a:pt x="125" y="119"/>
                  <a:pt x="126" y="117"/>
                </a:cubicBezTo>
                <a:cubicBezTo>
                  <a:pt x="127" y="116"/>
                  <a:pt x="127" y="116"/>
                  <a:pt x="128" y="116"/>
                </a:cubicBezTo>
                <a:cubicBezTo>
                  <a:pt x="142" y="104"/>
                  <a:pt x="148" y="99"/>
                  <a:pt x="162" y="88"/>
                </a:cubicBezTo>
                <a:cubicBezTo>
                  <a:pt x="163" y="89"/>
                  <a:pt x="163" y="89"/>
                  <a:pt x="164" y="88"/>
                </a:cubicBezTo>
                <a:cubicBezTo>
                  <a:pt x="166" y="86"/>
                  <a:pt x="163" y="88"/>
                  <a:pt x="163" y="88"/>
                </a:cubicBezTo>
                <a:cubicBezTo>
                  <a:pt x="175" y="79"/>
                  <a:pt x="184" y="73"/>
                  <a:pt x="197" y="65"/>
                </a:cubicBezTo>
                <a:cubicBezTo>
                  <a:pt x="197" y="65"/>
                  <a:pt x="196" y="65"/>
                  <a:pt x="195" y="66"/>
                </a:cubicBezTo>
                <a:cubicBezTo>
                  <a:pt x="196" y="65"/>
                  <a:pt x="197" y="65"/>
                  <a:pt x="199" y="63"/>
                </a:cubicBezTo>
                <a:cubicBezTo>
                  <a:pt x="199" y="64"/>
                  <a:pt x="199" y="64"/>
                  <a:pt x="201" y="63"/>
                </a:cubicBezTo>
                <a:cubicBezTo>
                  <a:pt x="202" y="63"/>
                  <a:pt x="201" y="62"/>
                  <a:pt x="201" y="62"/>
                </a:cubicBezTo>
                <a:cubicBezTo>
                  <a:pt x="203" y="61"/>
                  <a:pt x="203" y="61"/>
                  <a:pt x="203" y="62"/>
                </a:cubicBezTo>
                <a:cubicBezTo>
                  <a:pt x="207" y="60"/>
                  <a:pt x="211" y="58"/>
                  <a:pt x="214" y="56"/>
                </a:cubicBezTo>
                <a:cubicBezTo>
                  <a:pt x="213" y="56"/>
                  <a:pt x="212" y="57"/>
                  <a:pt x="210" y="57"/>
                </a:cubicBezTo>
                <a:cubicBezTo>
                  <a:pt x="214" y="54"/>
                  <a:pt x="214" y="57"/>
                  <a:pt x="222" y="53"/>
                </a:cubicBezTo>
                <a:cubicBezTo>
                  <a:pt x="222" y="52"/>
                  <a:pt x="218" y="54"/>
                  <a:pt x="217" y="54"/>
                </a:cubicBezTo>
                <a:cubicBezTo>
                  <a:pt x="219" y="52"/>
                  <a:pt x="216" y="54"/>
                  <a:pt x="216" y="53"/>
                </a:cubicBezTo>
                <a:cubicBezTo>
                  <a:pt x="215" y="53"/>
                  <a:pt x="214" y="54"/>
                  <a:pt x="214" y="54"/>
                </a:cubicBezTo>
                <a:cubicBezTo>
                  <a:pt x="212" y="54"/>
                  <a:pt x="215" y="53"/>
                  <a:pt x="210" y="56"/>
                </a:cubicBezTo>
                <a:cubicBezTo>
                  <a:pt x="211" y="54"/>
                  <a:pt x="217" y="52"/>
                  <a:pt x="219" y="50"/>
                </a:cubicBezTo>
                <a:cubicBezTo>
                  <a:pt x="220" y="50"/>
                  <a:pt x="219" y="51"/>
                  <a:pt x="221" y="50"/>
                </a:cubicBezTo>
                <a:cubicBezTo>
                  <a:pt x="227" y="46"/>
                  <a:pt x="237" y="41"/>
                  <a:pt x="245" y="39"/>
                </a:cubicBezTo>
                <a:cubicBezTo>
                  <a:pt x="246" y="40"/>
                  <a:pt x="242" y="40"/>
                  <a:pt x="241" y="41"/>
                </a:cubicBezTo>
                <a:cubicBezTo>
                  <a:pt x="242" y="41"/>
                  <a:pt x="244" y="40"/>
                  <a:pt x="245" y="40"/>
                </a:cubicBezTo>
                <a:cubicBezTo>
                  <a:pt x="247" y="39"/>
                  <a:pt x="249" y="39"/>
                  <a:pt x="254" y="37"/>
                </a:cubicBezTo>
                <a:cubicBezTo>
                  <a:pt x="252" y="37"/>
                  <a:pt x="247" y="38"/>
                  <a:pt x="253" y="36"/>
                </a:cubicBezTo>
                <a:cubicBezTo>
                  <a:pt x="252" y="36"/>
                  <a:pt x="250" y="37"/>
                  <a:pt x="251" y="36"/>
                </a:cubicBezTo>
                <a:cubicBezTo>
                  <a:pt x="252" y="36"/>
                  <a:pt x="254" y="35"/>
                  <a:pt x="255" y="35"/>
                </a:cubicBezTo>
                <a:cubicBezTo>
                  <a:pt x="257" y="35"/>
                  <a:pt x="255" y="34"/>
                  <a:pt x="258" y="33"/>
                </a:cubicBezTo>
                <a:cubicBezTo>
                  <a:pt x="259" y="34"/>
                  <a:pt x="259" y="34"/>
                  <a:pt x="259" y="34"/>
                </a:cubicBezTo>
                <a:cubicBezTo>
                  <a:pt x="263" y="32"/>
                  <a:pt x="265" y="32"/>
                  <a:pt x="267" y="31"/>
                </a:cubicBezTo>
                <a:cubicBezTo>
                  <a:pt x="273" y="28"/>
                  <a:pt x="273" y="30"/>
                  <a:pt x="279" y="27"/>
                </a:cubicBezTo>
                <a:cubicBezTo>
                  <a:pt x="280" y="27"/>
                  <a:pt x="279" y="27"/>
                  <a:pt x="279" y="28"/>
                </a:cubicBezTo>
                <a:cubicBezTo>
                  <a:pt x="282" y="27"/>
                  <a:pt x="285" y="26"/>
                  <a:pt x="285" y="25"/>
                </a:cubicBezTo>
                <a:cubicBezTo>
                  <a:pt x="288" y="26"/>
                  <a:pt x="294" y="23"/>
                  <a:pt x="301" y="22"/>
                </a:cubicBezTo>
                <a:cubicBezTo>
                  <a:pt x="301" y="21"/>
                  <a:pt x="301" y="21"/>
                  <a:pt x="301" y="21"/>
                </a:cubicBezTo>
                <a:cubicBezTo>
                  <a:pt x="301" y="21"/>
                  <a:pt x="297" y="22"/>
                  <a:pt x="296" y="22"/>
                </a:cubicBezTo>
                <a:cubicBezTo>
                  <a:pt x="298" y="21"/>
                  <a:pt x="297" y="22"/>
                  <a:pt x="298" y="21"/>
                </a:cubicBezTo>
                <a:cubicBezTo>
                  <a:pt x="301" y="20"/>
                  <a:pt x="301" y="20"/>
                  <a:pt x="301" y="20"/>
                </a:cubicBezTo>
                <a:cubicBezTo>
                  <a:pt x="301" y="20"/>
                  <a:pt x="297" y="21"/>
                  <a:pt x="297" y="21"/>
                </a:cubicBezTo>
                <a:cubicBezTo>
                  <a:pt x="300" y="19"/>
                  <a:pt x="301" y="19"/>
                  <a:pt x="305" y="18"/>
                </a:cubicBezTo>
                <a:cubicBezTo>
                  <a:pt x="305" y="19"/>
                  <a:pt x="307" y="18"/>
                  <a:pt x="306" y="19"/>
                </a:cubicBezTo>
                <a:cubicBezTo>
                  <a:pt x="308" y="18"/>
                  <a:pt x="309" y="17"/>
                  <a:pt x="309" y="18"/>
                </a:cubicBezTo>
                <a:cubicBezTo>
                  <a:pt x="316" y="16"/>
                  <a:pt x="316" y="16"/>
                  <a:pt x="322" y="15"/>
                </a:cubicBezTo>
                <a:cubicBezTo>
                  <a:pt x="325" y="15"/>
                  <a:pt x="325" y="14"/>
                  <a:pt x="327" y="13"/>
                </a:cubicBezTo>
                <a:cubicBezTo>
                  <a:pt x="329" y="12"/>
                  <a:pt x="329" y="13"/>
                  <a:pt x="330" y="13"/>
                </a:cubicBezTo>
                <a:cubicBezTo>
                  <a:pt x="332" y="13"/>
                  <a:pt x="332" y="12"/>
                  <a:pt x="334" y="12"/>
                </a:cubicBezTo>
                <a:cubicBezTo>
                  <a:pt x="336" y="12"/>
                  <a:pt x="338" y="11"/>
                  <a:pt x="338" y="12"/>
                </a:cubicBezTo>
                <a:cubicBezTo>
                  <a:pt x="337" y="12"/>
                  <a:pt x="338" y="12"/>
                  <a:pt x="337" y="12"/>
                </a:cubicBezTo>
                <a:cubicBezTo>
                  <a:pt x="337" y="12"/>
                  <a:pt x="336" y="12"/>
                  <a:pt x="336" y="12"/>
                </a:cubicBezTo>
                <a:cubicBezTo>
                  <a:pt x="336" y="13"/>
                  <a:pt x="340" y="11"/>
                  <a:pt x="341" y="12"/>
                </a:cubicBezTo>
                <a:cubicBezTo>
                  <a:pt x="343" y="12"/>
                  <a:pt x="337" y="12"/>
                  <a:pt x="340" y="11"/>
                </a:cubicBezTo>
                <a:cubicBezTo>
                  <a:pt x="342" y="11"/>
                  <a:pt x="342" y="11"/>
                  <a:pt x="342" y="11"/>
                </a:cubicBezTo>
                <a:cubicBezTo>
                  <a:pt x="344" y="11"/>
                  <a:pt x="344" y="11"/>
                  <a:pt x="345" y="11"/>
                </a:cubicBezTo>
                <a:cubicBezTo>
                  <a:pt x="346" y="10"/>
                  <a:pt x="340" y="11"/>
                  <a:pt x="342" y="10"/>
                </a:cubicBezTo>
                <a:cubicBezTo>
                  <a:pt x="347" y="10"/>
                  <a:pt x="347" y="10"/>
                  <a:pt x="347" y="10"/>
                </a:cubicBezTo>
                <a:cubicBezTo>
                  <a:pt x="347" y="9"/>
                  <a:pt x="347" y="9"/>
                  <a:pt x="345" y="9"/>
                </a:cubicBezTo>
                <a:cubicBezTo>
                  <a:pt x="349" y="8"/>
                  <a:pt x="350" y="10"/>
                  <a:pt x="354" y="10"/>
                </a:cubicBezTo>
                <a:cubicBezTo>
                  <a:pt x="356" y="10"/>
                  <a:pt x="358" y="9"/>
                  <a:pt x="360" y="9"/>
                </a:cubicBezTo>
                <a:cubicBezTo>
                  <a:pt x="361" y="9"/>
                  <a:pt x="359" y="9"/>
                  <a:pt x="361" y="9"/>
                </a:cubicBezTo>
                <a:cubicBezTo>
                  <a:pt x="360" y="9"/>
                  <a:pt x="359" y="9"/>
                  <a:pt x="358" y="9"/>
                </a:cubicBezTo>
                <a:cubicBezTo>
                  <a:pt x="355" y="8"/>
                  <a:pt x="363" y="8"/>
                  <a:pt x="360" y="8"/>
                </a:cubicBezTo>
                <a:cubicBezTo>
                  <a:pt x="361" y="7"/>
                  <a:pt x="362" y="9"/>
                  <a:pt x="364" y="8"/>
                </a:cubicBezTo>
                <a:cubicBezTo>
                  <a:pt x="367" y="8"/>
                  <a:pt x="362" y="8"/>
                  <a:pt x="363" y="7"/>
                </a:cubicBezTo>
                <a:cubicBezTo>
                  <a:pt x="364" y="7"/>
                  <a:pt x="365" y="7"/>
                  <a:pt x="365" y="7"/>
                </a:cubicBezTo>
                <a:cubicBezTo>
                  <a:pt x="366" y="7"/>
                  <a:pt x="367" y="8"/>
                  <a:pt x="367" y="8"/>
                </a:cubicBezTo>
                <a:cubicBezTo>
                  <a:pt x="367" y="9"/>
                  <a:pt x="370" y="8"/>
                  <a:pt x="371" y="9"/>
                </a:cubicBezTo>
                <a:cubicBezTo>
                  <a:pt x="374" y="8"/>
                  <a:pt x="371" y="8"/>
                  <a:pt x="372" y="8"/>
                </a:cubicBezTo>
                <a:cubicBezTo>
                  <a:pt x="372" y="7"/>
                  <a:pt x="371" y="8"/>
                  <a:pt x="371" y="8"/>
                </a:cubicBezTo>
                <a:cubicBezTo>
                  <a:pt x="371" y="7"/>
                  <a:pt x="379" y="9"/>
                  <a:pt x="381" y="7"/>
                </a:cubicBezTo>
                <a:cubicBezTo>
                  <a:pt x="384" y="7"/>
                  <a:pt x="386" y="8"/>
                  <a:pt x="390" y="7"/>
                </a:cubicBezTo>
                <a:cubicBezTo>
                  <a:pt x="390" y="7"/>
                  <a:pt x="389" y="7"/>
                  <a:pt x="390" y="7"/>
                </a:cubicBezTo>
                <a:cubicBezTo>
                  <a:pt x="387" y="6"/>
                  <a:pt x="389" y="6"/>
                  <a:pt x="386" y="5"/>
                </a:cubicBezTo>
                <a:cubicBezTo>
                  <a:pt x="388" y="6"/>
                  <a:pt x="389" y="7"/>
                  <a:pt x="391" y="6"/>
                </a:cubicBezTo>
                <a:cubicBezTo>
                  <a:pt x="392" y="6"/>
                  <a:pt x="392" y="7"/>
                  <a:pt x="394" y="7"/>
                </a:cubicBezTo>
                <a:cubicBezTo>
                  <a:pt x="395" y="7"/>
                  <a:pt x="395" y="6"/>
                  <a:pt x="395" y="6"/>
                </a:cubicBezTo>
                <a:cubicBezTo>
                  <a:pt x="396" y="6"/>
                  <a:pt x="399" y="6"/>
                  <a:pt x="397" y="6"/>
                </a:cubicBezTo>
                <a:cubicBezTo>
                  <a:pt x="401" y="5"/>
                  <a:pt x="402" y="7"/>
                  <a:pt x="401" y="7"/>
                </a:cubicBezTo>
                <a:cubicBezTo>
                  <a:pt x="408" y="7"/>
                  <a:pt x="400" y="5"/>
                  <a:pt x="400" y="4"/>
                </a:cubicBezTo>
                <a:cubicBezTo>
                  <a:pt x="402" y="5"/>
                  <a:pt x="404" y="4"/>
                  <a:pt x="401" y="4"/>
                </a:cubicBezTo>
                <a:cubicBezTo>
                  <a:pt x="406" y="3"/>
                  <a:pt x="402" y="5"/>
                  <a:pt x="407" y="5"/>
                </a:cubicBezTo>
                <a:cubicBezTo>
                  <a:pt x="411" y="4"/>
                  <a:pt x="406" y="3"/>
                  <a:pt x="410" y="3"/>
                </a:cubicBezTo>
                <a:cubicBezTo>
                  <a:pt x="408" y="2"/>
                  <a:pt x="400" y="3"/>
                  <a:pt x="399" y="2"/>
                </a:cubicBezTo>
                <a:cubicBezTo>
                  <a:pt x="400" y="1"/>
                  <a:pt x="404" y="2"/>
                  <a:pt x="404" y="2"/>
                </a:cubicBezTo>
                <a:cubicBezTo>
                  <a:pt x="407" y="2"/>
                  <a:pt x="407" y="1"/>
                  <a:pt x="412" y="2"/>
                </a:cubicBezTo>
                <a:cubicBezTo>
                  <a:pt x="411" y="2"/>
                  <a:pt x="413" y="2"/>
                  <a:pt x="412" y="3"/>
                </a:cubicBezTo>
                <a:cubicBezTo>
                  <a:pt x="415" y="3"/>
                  <a:pt x="415" y="1"/>
                  <a:pt x="419" y="1"/>
                </a:cubicBezTo>
                <a:cubicBezTo>
                  <a:pt x="417" y="2"/>
                  <a:pt x="416" y="2"/>
                  <a:pt x="421" y="2"/>
                </a:cubicBezTo>
                <a:cubicBezTo>
                  <a:pt x="420" y="3"/>
                  <a:pt x="417" y="3"/>
                  <a:pt x="417" y="2"/>
                </a:cubicBezTo>
                <a:cubicBezTo>
                  <a:pt x="416" y="2"/>
                  <a:pt x="416" y="3"/>
                  <a:pt x="415" y="3"/>
                </a:cubicBezTo>
                <a:cubicBezTo>
                  <a:pt x="414" y="3"/>
                  <a:pt x="417" y="3"/>
                  <a:pt x="417" y="4"/>
                </a:cubicBezTo>
                <a:cubicBezTo>
                  <a:pt x="419" y="4"/>
                  <a:pt x="418" y="3"/>
                  <a:pt x="416" y="3"/>
                </a:cubicBezTo>
                <a:cubicBezTo>
                  <a:pt x="417" y="3"/>
                  <a:pt x="421" y="3"/>
                  <a:pt x="421" y="4"/>
                </a:cubicBezTo>
                <a:cubicBezTo>
                  <a:pt x="418" y="4"/>
                  <a:pt x="427" y="5"/>
                  <a:pt x="424" y="5"/>
                </a:cubicBezTo>
                <a:cubicBezTo>
                  <a:pt x="427" y="5"/>
                  <a:pt x="427" y="6"/>
                  <a:pt x="430" y="6"/>
                </a:cubicBezTo>
                <a:cubicBezTo>
                  <a:pt x="426" y="5"/>
                  <a:pt x="427" y="5"/>
                  <a:pt x="425" y="4"/>
                </a:cubicBezTo>
                <a:cubicBezTo>
                  <a:pt x="426" y="4"/>
                  <a:pt x="428" y="4"/>
                  <a:pt x="430" y="4"/>
                </a:cubicBezTo>
                <a:cubicBezTo>
                  <a:pt x="427" y="4"/>
                  <a:pt x="430" y="4"/>
                  <a:pt x="428" y="4"/>
                </a:cubicBezTo>
                <a:cubicBezTo>
                  <a:pt x="429" y="5"/>
                  <a:pt x="432" y="5"/>
                  <a:pt x="433" y="5"/>
                </a:cubicBezTo>
                <a:cubicBezTo>
                  <a:pt x="434" y="5"/>
                  <a:pt x="431" y="5"/>
                  <a:pt x="431" y="4"/>
                </a:cubicBezTo>
                <a:cubicBezTo>
                  <a:pt x="432" y="4"/>
                  <a:pt x="438" y="5"/>
                  <a:pt x="438" y="5"/>
                </a:cubicBezTo>
                <a:cubicBezTo>
                  <a:pt x="442" y="6"/>
                  <a:pt x="445" y="6"/>
                  <a:pt x="453" y="7"/>
                </a:cubicBezTo>
                <a:cubicBezTo>
                  <a:pt x="453" y="7"/>
                  <a:pt x="452" y="7"/>
                  <a:pt x="451" y="7"/>
                </a:cubicBezTo>
                <a:cubicBezTo>
                  <a:pt x="451" y="7"/>
                  <a:pt x="453" y="7"/>
                  <a:pt x="453" y="7"/>
                </a:cubicBezTo>
                <a:cubicBezTo>
                  <a:pt x="452" y="8"/>
                  <a:pt x="450" y="7"/>
                  <a:pt x="447" y="6"/>
                </a:cubicBezTo>
                <a:cubicBezTo>
                  <a:pt x="447" y="7"/>
                  <a:pt x="447" y="7"/>
                  <a:pt x="447" y="7"/>
                </a:cubicBezTo>
                <a:cubicBezTo>
                  <a:pt x="448" y="7"/>
                  <a:pt x="453" y="8"/>
                  <a:pt x="453" y="9"/>
                </a:cubicBezTo>
                <a:cubicBezTo>
                  <a:pt x="454" y="8"/>
                  <a:pt x="456" y="7"/>
                  <a:pt x="453" y="6"/>
                </a:cubicBezTo>
                <a:cubicBezTo>
                  <a:pt x="454" y="6"/>
                  <a:pt x="457" y="7"/>
                  <a:pt x="455" y="6"/>
                </a:cubicBezTo>
                <a:cubicBezTo>
                  <a:pt x="456" y="6"/>
                  <a:pt x="458" y="7"/>
                  <a:pt x="460" y="7"/>
                </a:cubicBezTo>
                <a:cubicBezTo>
                  <a:pt x="460" y="7"/>
                  <a:pt x="459" y="7"/>
                  <a:pt x="458" y="6"/>
                </a:cubicBezTo>
                <a:cubicBezTo>
                  <a:pt x="460" y="6"/>
                  <a:pt x="465" y="7"/>
                  <a:pt x="465" y="6"/>
                </a:cubicBezTo>
                <a:cubicBezTo>
                  <a:pt x="466" y="7"/>
                  <a:pt x="466" y="7"/>
                  <a:pt x="465" y="7"/>
                </a:cubicBezTo>
                <a:cubicBezTo>
                  <a:pt x="466" y="7"/>
                  <a:pt x="469" y="8"/>
                  <a:pt x="468" y="8"/>
                </a:cubicBezTo>
                <a:cubicBezTo>
                  <a:pt x="466" y="8"/>
                  <a:pt x="466" y="8"/>
                  <a:pt x="463" y="7"/>
                </a:cubicBezTo>
                <a:cubicBezTo>
                  <a:pt x="463" y="8"/>
                  <a:pt x="464" y="8"/>
                  <a:pt x="464" y="8"/>
                </a:cubicBezTo>
                <a:cubicBezTo>
                  <a:pt x="468" y="9"/>
                  <a:pt x="467" y="8"/>
                  <a:pt x="470" y="9"/>
                </a:cubicBezTo>
                <a:cubicBezTo>
                  <a:pt x="470" y="8"/>
                  <a:pt x="473" y="8"/>
                  <a:pt x="477" y="9"/>
                </a:cubicBezTo>
                <a:cubicBezTo>
                  <a:pt x="476" y="10"/>
                  <a:pt x="474" y="9"/>
                  <a:pt x="471" y="9"/>
                </a:cubicBezTo>
                <a:cubicBezTo>
                  <a:pt x="472" y="9"/>
                  <a:pt x="472" y="10"/>
                  <a:pt x="472" y="10"/>
                </a:cubicBezTo>
                <a:cubicBezTo>
                  <a:pt x="473" y="10"/>
                  <a:pt x="475" y="10"/>
                  <a:pt x="476" y="10"/>
                </a:cubicBezTo>
                <a:cubicBezTo>
                  <a:pt x="478" y="10"/>
                  <a:pt x="478" y="11"/>
                  <a:pt x="478" y="11"/>
                </a:cubicBezTo>
                <a:cubicBezTo>
                  <a:pt x="479" y="11"/>
                  <a:pt x="481" y="11"/>
                  <a:pt x="483" y="12"/>
                </a:cubicBezTo>
                <a:cubicBezTo>
                  <a:pt x="483" y="11"/>
                  <a:pt x="484" y="11"/>
                  <a:pt x="482" y="11"/>
                </a:cubicBezTo>
                <a:cubicBezTo>
                  <a:pt x="483" y="10"/>
                  <a:pt x="485" y="11"/>
                  <a:pt x="484" y="12"/>
                </a:cubicBezTo>
                <a:cubicBezTo>
                  <a:pt x="485" y="12"/>
                  <a:pt x="486" y="11"/>
                  <a:pt x="487" y="12"/>
                </a:cubicBezTo>
                <a:cubicBezTo>
                  <a:pt x="487" y="12"/>
                  <a:pt x="485" y="10"/>
                  <a:pt x="490" y="11"/>
                </a:cubicBezTo>
                <a:cubicBezTo>
                  <a:pt x="490" y="10"/>
                  <a:pt x="485" y="10"/>
                  <a:pt x="484" y="9"/>
                </a:cubicBezTo>
                <a:cubicBezTo>
                  <a:pt x="482" y="9"/>
                  <a:pt x="481" y="9"/>
                  <a:pt x="482" y="9"/>
                </a:cubicBezTo>
                <a:cubicBezTo>
                  <a:pt x="480" y="9"/>
                  <a:pt x="481" y="9"/>
                  <a:pt x="478" y="8"/>
                </a:cubicBezTo>
                <a:cubicBezTo>
                  <a:pt x="478" y="8"/>
                  <a:pt x="482" y="9"/>
                  <a:pt x="481" y="7"/>
                </a:cubicBezTo>
                <a:cubicBezTo>
                  <a:pt x="484" y="8"/>
                  <a:pt x="482" y="8"/>
                  <a:pt x="482" y="8"/>
                </a:cubicBezTo>
                <a:cubicBezTo>
                  <a:pt x="486" y="9"/>
                  <a:pt x="486" y="9"/>
                  <a:pt x="489" y="9"/>
                </a:cubicBezTo>
                <a:cubicBezTo>
                  <a:pt x="489" y="9"/>
                  <a:pt x="487" y="9"/>
                  <a:pt x="487" y="8"/>
                </a:cubicBezTo>
                <a:cubicBezTo>
                  <a:pt x="491" y="9"/>
                  <a:pt x="493" y="10"/>
                  <a:pt x="496" y="11"/>
                </a:cubicBezTo>
                <a:cubicBezTo>
                  <a:pt x="495" y="11"/>
                  <a:pt x="495" y="10"/>
                  <a:pt x="495" y="11"/>
                </a:cubicBezTo>
                <a:cubicBezTo>
                  <a:pt x="496" y="11"/>
                  <a:pt x="499" y="12"/>
                  <a:pt x="499" y="11"/>
                </a:cubicBezTo>
                <a:cubicBezTo>
                  <a:pt x="500" y="12"/>
                  <a:pt x="500" y="12"/>
                  <a:pt x="501" y="13"/>
                </a:cubicBezTo>
                <a:cubicBezTo>
                  <a:pt x="505" y="13"/>
                  <a:pt x="510" y="15"/>
                  <a:pt x="512" y="16"/>
                </a:cubicBezTo>
                <a:cubicBezTo>
                  <a:pt x="514" y="17"/>
                  <a:pt x="512" y="15"/>
                  <a:pt x="510" y="14"/>
                </a:cubicBezTo>
                <a:cubicBezTo>
                  <a:pt x="510" y="14"/>
                  <a:pt x="516" y="16"/>
                  <a:pt x="514" y="16"/>
                </a:cubicBezTo>
                <a:cubicBezTo>
                  <a:pt x="516" y="17"/>
                  <a:pt x="519" y="18"/>
                  <a:pt x="520" y="18"/>
                </a:cubicBezTo>
                <a:cubicBezTo>
                  <a:pt x="519" y="17"/>
                  <a:pt x="518" y="17"/>
                  <a:pt x="517" y="17"/>
                </a:cubicBezTo>
                <a:cubicBezTo>
                  <a:pt x="520" y="17"/>
                  <a:pt x="527" y="19"/>
                  <a:pt x="532" y="21"/>
                </a:cubicBezTo>
                <a:cubicBezTo>
                  <a:pt x="529" y="19"/>
                  <a:pt x="537" y="22"/>
                  <a:pt x="537" y="22"/>
                </a:cubicBezTo>
                <a:cubicBezTo>
                  <a:pt x="539" y="22"/>
                  <a:pt x="538" y="23"/>
                  <a:pt x="540" y="23"/>
                </a:cubicBezTo>
                <a:cubicBezTo>
                  <a:pt x="539" y="23"/>
                  <a:pt x="538" y="23"/>
                  <a:pt x="536" y="22"/>
                </a:cubicBezTo>
                <a:cubicBezTo>
                  <a:pt x="536" y="23"/>
                  <a:pt x="543" y="25"/>
                  <a:pt x="545" y="25"/>
                </a:cubicBezTo>
                <a:cubicBezTo>
                  <a:pt x="545" y="25"/>
                  <a:pt x="542" y="25"/>
                  <a:pt x="540" y="24"/>
                </a:cubicBezTo>
                <a:cubicBezTo>
                  <a:pt x="543" y="24"/>
                  <a:pt x="547" y="25"/>
                  <a:pt x="551" y="27"/>
                </a:cubicBezTo>
                <a:cubicBezTo>
                  <a:pt x="551" y="27"/>
                  <a:pt x="550" y="27"/>
                  <a:pt x="552" y="28"/>
                </a:cubicBezTo>
                <a:cubicBezTo>
                  <a:pt x="551" y="28"/>
                  <a:pt x="549" y="26"/>
                  <a:pt x="549" y="27"/>
                </a:cubicBezTo>
                <a:cubicBezTo>
                  <a:pt x="550" y="28"/>
                  <a:pt x="552" y="28"/>
                  <a:pt x="552" y="29"/>
                </a:cubicBezTo>
                <a:cubicBezTo>
                  <a:pt x="554" y="30"/>
                  <a:pt x="550" y="28"/>
                  <a:pt x="551" y="29"/>
                </a:cubicBezTo>
                <a:cubicBezTo>
                  <a:pt x="555" y="29"/>
                  <a:pt x="555" y="30"/>
                  <a:pt x="558" y="30"/>
                </a:cubicBezTo>
                <a:cubicBezTo>
                  <a:pt x="562" y="32"/>
                  <a:pt x="569" y="34"/>
                  <a:pt x="569" y="35"/>
                </a:cubicBezTo>
                <a:cubicBezTo>
                  <a:pt x="571" y="36"/>
                  <a:pt x="570" y="35"/>
                  <a:pt x="571" y="35"/>
                </a:cubicBezTo>
                <a:cubicBezTo>
                  <a:pt x="572" y="36"/>
                  <a:pt x="575" y="37"/>
                  <a:pt x="573" y="37"/>
                </a:cubicBezTo>
                <a:cubicBezTo>
                  <a:pt x="575" y="38"/>
                  <a:pt x="575" y="38"/>
                  <a:pt x="577" y="39"/>
                </a:cubicBezTo>
                <a:cubicBezTo>
                  <a:pt x="577" y="39"/>
                  <a:pt x="575" y="39"/>
                  <a:pt x="576" y="39"/>
                </a:cubicBezTo>
                <a:cubicBezTo>
                  <a:pt x="578" y="40"/>
                  <a:pt x="578" y="39"/>
                  <a:pt x="579" y="39"/>
                </a:cubicBezTo>
                <a:cubicBezTo>
                  <a:pt x="579" y="38"/>
                  <a:pt x="576" y="38"/>
                  <a:pt x="576" y="38"/>
                </a:cubicBezTo>
                <a:cubicBezTo>
                  <a:pt x="576" y="37"/>
                  <a:pt x="580" y="39"/>
                  <a:pt x="579" y="39"/>
                </a:cubicBezTo>
                <a:cubicBezTo>
                  <a:pt x="581" y="40"/>
                  <a:pt x="581" y="40"/>
                  <a:pt x="583" y="40"/>
                </a:cubicBezTo>
                <a:cubicBezTo>
                  <a:pt x="586" y="42"/>
                  <a:pt x="586" y="42"/>
                  <a:pt x="589" y="44"/>
                </a:cubicBezTo>
                <a:cubicBezTo>
                  <a:pt x="587" y="43"/>
                  <a:pt x="587" y="42"/>
                  <a:pt x="586" y="42"/>
                </a:cubicBezTo>
                <a:cubicBezTo>
                  <a:pt x="585" y="40"/>
                  <a:pt x="593" y="44"/>
                  <a:pt x="594" y="45"/>
                </a:cubicBezTo>
                <a:cubicBezTo>
                  <a:pt x="594" y="45"/>
                  <a:pt x="591" y="43"/>
                  <a:pt x="590" y="43"/>
                </a:cubicBezTo>
                <a:cubicBezTo>
                  <a:pt x="592" y="45"/>
                  <a:pt x="596" y="46"/>
                  <a:pt x="598" y="48"/>
                </a:cubicBezTo>
                <a:cubicBezTo>
                  <a:pt x="600" y="49"/>
                  <a:pt x="597" y="46"/>
                  <a:pt x="599" y="47"/>
                </a:cubicBezTo>
                <a:cubicBezTo>
                  <a:pt x="600" y="48"/>
                  <a:pt x="601" y="49"/>
                  <a:pt x="603" y="50"/>
                </a:cubicBezTo>
                <a:cubicBezTo>
                  <a:pt x="603" y="50"/>
                  <a:pt x="606" y="52"/>
                  <a:pt x="606" y="51"/>
                </a:cubicBezTo>
                <a:cubicBezTo>
                  <a:pt x="612" y="54"/>
                  <a:pt x="615" y="56"/>
                  <a:pt x="620" y="59"/>
                </a:cubicBezTo>
                <a:cubicBezTo>
                  <a:pt x="619" y="58"/>
                  <a:pt x="619" y="59"/>
                  <a:pt x="619" y="59"/>
                </a:cubicBezTo>
                <a:cubicBezTo>
                  <a:pt x="624" y="60"/>
                  <a:pt x="634" y="67"/>
                  <a:pt x="640" y="71"/>
                </a:cubicBezTo>
                <a:cubicBezTo>
                  <a:pt x="642" y="72"/>
                  <a:pt x="641" y="71"/>
                  <a:pt x="643" y="73"/>
                </a:cubicBezTo>
                <a:cubicBezTo>
                  <a:pt x="643" y="73"/>
                  <a:pt x="643" y="73"/>
                  <a:pt x="644" y="73"/>
                </a:cubicBezTo>
                <a:cubicBezTo>
                  <a:pt x="644" y="73"/>
                  <a:pt x="643" y="72"/>
                  <a:pt x="642" y="72"/>
                </a:cubicBezTo>
                <a:cubicBezTo>
                  <a:pt x="645" y="73"/>
                  <a:pt x="651" y="78"/>
                  <a:pt x="653" y="78"/>
                </a:cubicBezTo>
                <a:cubicBezTo>
                  <a:pt x="655" y="80"/>
                  <a:pt x="658" y="83"/>
                  <a:pt x="661" y="84"/>
                </a:cubicBezTo>
                <a:cubicBezTo>
                  <a:pt x="665" y="87"/>
                  <a:pt x="675" y="94"/>
                  <a:pt x="680" y="98"/>
                </a:cubicBezTo>
                <a:cubicBezTo>
                  <a:pt x="680" y="98"/>
                  <a:pt x="679" y="97"/>
                  <a:pt x="679" y="98"/>
                </a:cubicBezTo>
                <a:cubicBezTo>
                  <a:pt x="681" y="99"/>
                  <a:pt x="682" y="100"/>
                  <a:pt x="684" y="102"/>
                </a:cubicBezTo>
                <a:cubicBezTo>
                  <a:pt x="685" y="102"/>
                  <a:pt x="683" y="101"/>
                  <a:pt x="684" y="101"/>
                </a:cubicBezTo>
                <a:cubicBezTo>
                  <a:pt x="688" y="104"/>
                  <a:pt x="693" y="109"/>
                  <a:pt x="699" y="114"/>
                </a:cubicBezTo>
                <a:cubicBezTo>
                  <a:pt x="698" y="114"/>
                  <a:pt x="698" y="114"/>
                  <a:pt x="699" y="115"/>
                </a:cubicBezTo>
                <a:cubicBezTo>
                  <a:pt x="701" y="117"/>
                  <a:pt x="702" y="118"/>
                  <a:pt x="703" y="118"/>
                </a:cubicBezTo>
                <a:cubicBezTo>
                  <a:pt x="705" y="120"/>
                  <a:pt x="704" y="119"/>
                  <a:pt x="705" y="120"/>
                </a:cubicBezTo>
                <a:cubicBezTo>
                  <a:pt x="707" y="122"/>
                  <a:pt x="704" y="119"/>
                  <a:pt x="705" y="119"/>
                </a:cubicBezTo>
                <a:cubicBezTo>
                  <a:pt x="707" y="121"/>
                  <a:pt x="707" y="121"/>
                  <a:pt x="709" y="123"/>
                </a:cubicBezTo>
                <a:cubicBezTo>
                  <a:pt x="705" y="121"/>
                  <a:pt x="715" y="129"/>
                  <a:pt x="718" y="132"/>
                </a:cubicBezTo>
                <a:cubicBezTo>
                  <a:pt x="716" y="131"/>
                  <a:pt x="717" y="131"/>
                  <a:pt x="716" y="129"/>
                </a:cubicBezTo>
                <a:cubicBezTo>
                  <a:pt x="716" y="129"/>
                  <a:pt x="717" y="130"/>
                  <a:pt x="717" y="130"/>
                </a:cubicBezTo>
                <a:cubicBezTo>
                  <a:pt x="722" y="135"/>
                  <a:pt x="722" y="134"/>
                  <a:pt x="723" y="137"/>
                </a:cubicBezTo>
                <a:cubicBezTo>
                  <a:pt x="724" y="138"/>
                  <a:pt x="723" y="136"/>
                  <a:pt x="724" y="136"/>
                </a:cubicBezTo>
                <a:cubicBezTo>
                  <a:pt x="727" y="139"/>
                  <a:pt x="727" y="140"/>
                  <a:pt x="728" y="141"/>
                </a:cubicBezTo>
                <a:cubicBezTo>
                  <a:pt x="729" y="142"/>
                  <a:pt x="732" y="144"/>
                  <a:pt x="732" y="145"/>
                </a:cubicBezTo>
                <a:cubicBezTo>
                  <a:pt x="732" y="146"/>
                  <a:pt x="735" y="148"/>
                  <a:pt x="734" y="148"/>
                </a:cubicBezTo>
                <a:cubicBezTo>
                  <a:pt x="736" y="149"/>
                  <a:pt x="736" y="149"/>
                  <a:pt x="737" y="150"/>
                </a:cubicBezTo>
                <a:cubicBezTo>
                  <a:pt x="738" y="150"/>
                  <a:pt x="735" y="148"/>
                  <a:pt x="734" y="147"/>
                </a:cubicBezTo>
                <a:cubicBezTo>
                  <a:pt x="736" y="147"/>
                  <a:pt x="734" y="144"/>
                  <a:pt x="736" y="144"/>
                </a:cubicBezTo>
                <a:cubicBezTo>
                  <a:pt x="739" y="150"/>
                  <a:pt x="741" y="155"/>
                  <a:pt x="745" y="161"/>
                </a:cubicBezTo>
                <a:cubicBezTo>
                  <a:pt x="747" y="163"/>
                  <a:pt x="742" y="157"/>
                  <a:pt x="747" y="162"/>
                </a:cubicBezTo>
                <a:cubicBezTo>
                  <a:pt x="747" y="161"/>
                  <a:pt x="745" y="159"/>
                  <a:pt x="746" y="160"/>
                </a:cubicBezTo>
                <a:cubicBezTo>
                  <a:pt x="744" y="157"/>
                  <a:pt x="744" y="158"/>
                  <a:pt x="743" y="156"/>
                </a:cubicBezTo>
                <a:cubicBezTo>
                  <a:pt x="743" y="156"/>
                  <a:pt x="745" y="158"/>
                  <a:pt x="746" y="159"/>
                </a:cubicBezTo>
                <a:cubicBezTo>
                  <a:pt x="746" y="159"/>
                  <a:pt x="745" y="156"/>
                  <a:pt x="747" y="158"/>
                </a:cubicBezTo>
                <a:cubicBezTo>
                  <a:pt x="746" y="156"/>
                  <a:pt x="744" y="153"/>
                  <a:pt x="745" y="154"/>
                </a:cubicBezTo>
                <a:cubicBezTo>
                  <a:pt x="747" y="156"/>
                  <a:pt x="748" y="158"/>
                  <a:pt x="749" y="159"/>
                </a:cubicBezTo>
                <a:cubicBezTo>
                  <a:pt x="749" y="160"/>
                  <a:pt x="752" y="165"/>
                  <a:pt x="750" y="164"/>
                </a:cubicBezTo>
                <a:cubicBezTo>
                  <a:pt x="752" y="166"/>
                  <a:pt x="751" y="167"/>
                  <a:pt x="751" y="167"/>
                </a:cubicBezTo>
                <a:cubicBezTo>
                  <a:pt x="753" y="170"/>
                  <a:pt x="756" y="173"/>
                  <a:pt x="757" y="174"/>
                </a:cubicBezTo>
                <a:cubicBezTo>
                  <a:pt x="757" y="173"/>
                  <a:pt x="755" y="172"/>
                  <a:pt x="754" y="170"/>
                </a:cubicBezTo>
                <a:cubicBezTo>
                  <a:pt x="754" y="168"/>
                  <a:pt x="759" y="172"/>
                  <a:pt x="756" y="168"/>
                </a:cubicBezTo>
                <a:cubicBezTo>
                  <a:pt x="757" y="169"/>
                  <a:pt x="757" y="170"/>
                  <a:pt x="759" y="173"/>
                </a:cubicBezTo>
                <a:cubicBezTo>
                  <a:pt x="759" y="174"/>
                  <a:pt x="757" y="173"/>
                  <a:pt x="760" y="177"/>
                </a:cubicBezTo>
                <a:cubicBezTo>
                  <a:pt x="759" y="176"/>
                  <a:pt x="759" y="175"/>
                  <a:pt x="758" y="175"/>
                </a:cubicBezTo>
                <a:cubicBezTo>
                  <a:pt x="760" y="177"/>
                  <a:pt x="760" y="179"/>
                  <a:pt x="762" y="181"/>
                </a:cubicBezTo>
                <a:cubicBezTo>
                  <a:pt x="762" y="182"/>
                  <a:pt x="762" y="181"/>
                  <a:pt x="764" y="182"/>
                </a:cubicBezTo>
                <a:cubicBezTo>
                  <a:pt x="765" y="184"/>
                  <a:pt x="766" y="187"/>
                  <a:pt x="767" y="186"/>
                </a:cubicBezTo>
                <a:cubicBezTo>
                  <a:pt x="768" y="186"/>
                  <a:pt x="765" y="183"/>
                  <a:pt x="764" y="182"/>
                </a:cubicBezTo>
                <a:cubicBezTo>
                  <a:pt x="762" y="178"/>
                  <a:pt x="767" y="183"/>
                  <a:pt x="764" y="178"/>
                </a:cubicBezTo>
                <a:cubicBezTo>
                  <a:pt x="766" y="180"/>
                  <a:pt x="766" y="181"/>
                  <a:pt x="766" y="179"/>
                </a:cubicBezTo>
                <a:cubicBezTo>
                  <a:pt x="767" y="180"/>
                  <a:pt x="768" y="181"/>
                  <a:pt x="768" y="181"/>
                </a:cubicBezTo>
                <a:cubicBezTo>
                  <a:pt x="770" y="185"/>
                  <a:pt x="768" y="190"/>
                  <a:pt x="774" y="194"/>
                </a:cubicBezTo>
                <a:cubicBezTo>
                  <a:pt x="773" y="192"/>
                  <a:pt x="774" y="192"/>
                  <a:pt x="776" y="194"/>
                </a:cubicBezTo>
                <a:cubicBezTo>
                  <a:pt x="775" y="192"/>
                  <a:pt x="774" y="188"/>
                  <a:pt x="776" y="190"/>
                </a:cubicBezTo>
                <a:cubicBezTo>
                  <a:pt x="782" y="200"/>
                  <a:pt x="774" y="198"/>
                  <a:pt x="781" y="209"/>
                </a:cubicBezTo>
                <a:cubicBezTo>
                  <a:pt x="782" y="211"/>
                  <a:pt x="782" y="210"/>
                  <a:pt x="784" y="211"/>
                </a:cubicBezTo>
                <a:cubicBezTo>
                  <a:pt x="782" y="207"/>
                  <a:pt x="785" y="207"/>
                  <a:pt x="785" y="203"/>
                </a:cubicBezTo>
                <a:cubicBezTo>
                  <a:pt x="789" y="210"/>
                  <a:pt x="784" y="206"/>
                  <a:pt x="788" y="212"/>
                </a:cubicBezTo>
                <a:cubicBezTo>
                  <a:pt x="786" y="212"/>
                  <a:pt x="788" y="216"/>
                  <a:pt x="786" y="217"/>
                </a:cubicBezTo>
                <a:cubicBezTo>
                  <a:pt x="787" y="218"/>
                  <a:pt x="788" y="218"/>
                  <a:pt x="789" y="220"/>
                </a:cubicBezTo>
                <a:cubicBezTo>
                  <a:pt x="788" y="220"/>
                  <a:pt x="787" y="218"/>
                  <a:pt x="787" y="219"/>
                </a:cubicBezTo>
                <a:cubicBezTo>
                  <a:pt x="788" y="221"/>
                  <a:pt x="789" y="223"/>
                  <a:pt x="791" y="226"/>
                </a:cubicBezTo>
                <a:cubicBezTo>
                  <a:pt x="793" y="227"/>
                  <a:pt x="790" y="222"/>
                  <a:pt x="793" y="224"/>
                </a:cubicBezTo>
                <a:cubicBezTo>
                  <a:pt x="792" y="220"/>
                  <a:pt x="793" y="220"/>
                  <a:pt x="795" y="221"/>
                </a:cubicBezTo>
                <a:cubicBezTo>
                  <a:pt x="798" y="227"/>
                  <a:pt x="796" y="231"/>
                  <a:pt x="795" y="230"/>
                </a:cubicBezTo>
                <a:cubicBezTo>
                  <a:pt x="795" y="231"/>
                  <a:pt x="796" y="233"/>
                  <a:pt x="796" y="234"/>
                </a:cubicBezTo>
                <a:cubicBezTo>
                  <a:pt x="793" y="231"/>
                  <a:pt x="796" y="239"/>
                  <a:pt x="792" y="235"/>
                </a:cubicBezTo>
                <a:cubicBezTo>
                  <a:pt x="794" y="238"/>
                  <a:pt x="793" y="237"/>
                  <a:pt x="792" y="236"/>
                </a:cubicBezTo>
                <a:cubicBezTo>
                  <a:pt x="794" y="240"/>
                  <a:pt x="794" y="243"/>
                  <a:pt x="797" y="248"/>
                </a:cubicBezTo>
                <a:cubicBezTo>
                  <a:pt x="797" y="246"/>
                  <a:pt x="797" y="245"/>
                  <a:pt x="799" y="248"/>
                </a:cubicBezTo>
                <a:cubicBezTo>
                  <a:pt x="799" y="247"/>
                  <a:pt x="798" y="246"/>
                  <a:pt x="798" y="245"/>
                </a:cubicBezTo>
                <a:cubicBezTo>
                  <a:pt x="798" y="244"/>
                  <a:pt x="799" y="247"/>
                  <a:pt x="800" y="247"/>
                </a:cubicBezTo>
                <a:cubicBezTo>
                  <a:pt x="800" y="246"/>
                  <a:pt x="799" y="246"/>
                  <a:pt x="798" y="244"/>
                </a:cubicBezTo>
                <a:cubicBezTo>
                  <a:pt x="799" y="244"/>
                  <a:pt x="800" y="246"/>
                  <a:pt x="800" y="246"/>
                </a:cubicBezTo>
                <a:cubicBezTo>
                  <a:pt x="802" y="250"/>
                  <a:pt x="800" y="249"/>
                  <a:pt x="801" y="252"/>
                </a:cubicBezTo>
                <a:cubicBezTo>
                  <a:pt x="799" y="250"/>
                  <a:pt x="800" y="252"/>
                  <a:pt x="799" y="251"/>
                </a:cubicBezTo>
                <a:cubicBezTo>
                  <a:pt x="800" y="252"/>
                  <a:pt x="801" y="254"/>
                  <a:pt x="802" y="256"/>
                </a:cubicBezTo>
                <a:cubicBezTo>
                  <a:pt x="800" y="254"/>
                  <a:pt x="800" y="256"/>
                  <a:pt x="799" y="255"/>
                </a:cubicBezTo>
                <a:cubicBezTo>
                  <a:pt x="799" y="256"/>
                  <a:pt x="800" y="257"/>
                  <a:pt x="800" y="258"/>
                </a:cubicBezTo>
                <a:cubicBezTo>
                  <a:pt x="798" y="257"/>
                  <a:pt x="797" y="261"/>
                  <a:pt x="794" y="257"/>
                </a:cubicBezTo>
                <a:cubicBezTo>
                  <a:pt x="794" y="258"/>
                  <a:pt x="795" y="260"/>
                  <a:pt x="794" y="260"/>
                </a:cubicBezTo>
                <a:cubicBezTo>
                  <a:pt x="792" y="255"/>
                  <a:pt x="791" y="256"/>
                  <a:pt x="790" y="256"/>
                </a:cubicBezTo>
                <a:cubicBezTo>
                  <a:pt x="792" y="259"/>
                  <a:pt x="794" y="261"/>
                  <a:pt x="795" y="265"/>
                </a:cubicBezTo>
                <a:cubicBezTo>
                  <a:pt x="793" y="262"/>
                  <a:pt x="795" y="266"/>
                  <a:pt x="793" y="262"/>
                </a:cubicBezTo>
                <a:cubicBezTo>
                  <a:pt x="792" y="267"/>
                  <a:pt x="790" y="268"/>
                  <a:pt x="787" y="266"/>
                </a:cubicBezTo>
                <a:cubicBezTo>
                  <a:pt x="786" y="263"/>
                  <a:pt x="784" y="260"/>
                  <a:pt x="784" y="259"/>
                </a:cubicBezTo>
                <a:cubicBezTo>
                  <a:pt x="784" y="258"/>
                  <a:pt x="783" y="258"/>
                  <a:pt x="783" y="257"/>
                </a:cubicBezTo>
                <a:cubicBezTo>
                  <a:pt x="783" y="257"/>
                  <a:pt x="783" y="258"/>
                  <a:pt x="784" y="259"/>
                </a:cubicBezTo>
                <a:cubicBezTo>
                  <a:pt x="783" y="258"/>
                  <a:pt x="782" y="256"/>
                  <a:pt x="782" y="255"/>
                </a:cubicBezTo>
                <a:close/>
                <a:moveTo>
                  <a:pt x="340" y="50"/>
                </a:moveTo>
                <a:cubicBezTo>
                  <a:pt x="338" y="51"/>
                  <a:pt x="336" y="51"/>
                  <a:pt x="336" y="51"/>
                </a:cubicBezTo>
                <a:cubicBezTo>
                  <a:pt x="338" y="51"/>
                  <a:pt x="340" y="51"/>
                  <a:pt x="340" y="50"/>
                </a:cubicBezTo>
                <a:close/>
                <a:moveTo>
                  <a:pt x="236" y="74"/>
                </a:moveTo>
                <a:cubicBezTo>
                  <a:pt x="236" y="74"/>
                  <a:pt x="235" y="75"/>
                  <a:pt x="235" y="74"/>
                </a:cubicBezTo>
                <a:cubicBezTo>
                  <a:pt x="234" y="75"/>
                  <a:pt x="233" y="75"/>
                  <a:pt x="233" y="76"/>
                </a:cubicBezTo>
                <a:cubicBezTo>
                  <a:pt x="236" y="75"/>
                  <a:pt x="230" y="77"/>
                  <a:pt x="232" y="77"/>
                </a:cubicBezTo>
                <a:cubicBezTo>
                  <a:pt x="234" y="76"/>
                  <a:pt x="235" y="75"/>
                  <a:pt x="236" y="74"/>
                </a:cubicBezTo>
                <a:close/>
                <a:moveTo>
                  <a:pt x="231" y="76"/>
                </a:moveTo>
                <a:cubicBezTo>
                  <a:pt x="232" y="75"/>
                  <a:pt x="233" y="76"/>
                  <a:pt x="234" y="74"/>
                </a:cubicBezTo>
                <a:cubicBezTo>
                  <a:pt x="234" y="75"/>
                  <a:pt x="236" y="72"/>
                  <a:pt x="237" y="71"/>
                </a:cubicBezTo>
                <a:cubicBezTo>
                  <a:pt x="233" y="73"/>
                  <a:pt x="233" y="74"/>
                  <a:pt x="231" y="76"/>
                </a:cubicBezTo>
                <a:close/>
                <a:moveTo>
                  <a:pt x="162" y="116"/>
                </a:moveTo>
                <a:cubicBezTo>
                  <a:pt x="164" y="115"/>
                  <a:pt x="164" y="115"/>
                  <a:pt x="164" y="115"/>
                </a:cubicBezTo>
                <a:cubicBezTo>
                  <a:pt x="162" y="115"/>
                  <a:pt x="165" y="114"/>
                  <a:pt x="167" y="112"/>
                </a:cubicBezTo>
                <a:cubicBezTo>
                  <a:pt x="165" y="113"/>
                  <a:pt x="164" y="114"/>
                  <a:pt x="164" y="114"/>
                </a:cubicBezTo>
                <a:cubicBezTo>
                  <a:pt x="167" y="111"/>
                  <a:pt x="164" y="113"/>
                  <a:pt x="165" y="111"/>
                </a:cubicBezTo>
                <a:cubicBezTo>
                  <a:pt x="164" y="112"/>
                  <a:pt x="162" y="113"/>
                  <a:pt x="162" y="114"/>
                </a:cubicBezTo>
                <a:cubicBezTo>
                  <a:pt x="168" y="110"/>
                  <a:pt x="160" y="115"/>
                  <a:pt x="162" y="114"/>
                </a:cubicBezTo>
                <a:cubicBezTo>
                  <a:pt x="166" y="112"/>
                  <a:pt x="161" y="116"/>
                  <a:pt x="162" y="116"/>
                </a:cubicBezTo>
                <a:close/>
                <a:moveTo>
                  <a:pt x="132" y="113"/>
                </a:moveTo>
                <a:cubicBezTo>
                  <a:pt x="134" y="112"/>
                  <a:pt x="135" y="111"/>
                  <a:pt x="134" y="111"/>
                </a:cubicBezTo>
                <a:cubicBezTo>
                  <a:pt x="132" y="113"/>
                  <a:pt x="132" y="113"/>
                  <a:pt x="132" y="113"/>
                </a:cubicBezTo>
                <a:close/>
                <a:moveTo>
                  <a:pt x="788" y="254"/>
                </a:moveTo>
                <a:cubicBezTo>
                  <a:pt x="788" y="256"/>
                  <a:pt x="790" y="259"/>
                  <a:pt x="791" y="260"/>
                </a:cubicBezTo>
                <a:cubicBezTo>
                  <a:pt x="790" y="258"/>
                  <a:pt x="789" y="255"/>
                  <a:pt x="788" y="254"/>
                </a:cubicBezTo>
                <a:close/>
                <a:moveTo>
                  <a:pt x="792" y="242"/>
                </a:moveTo>
                <a:cubicBezTo>
                  <a:pt x="793" y="245"/>
                  <a:pt x="794" y="247"/>
                  <a:pt x="796" y="250"/>
                </a:cubicBezTo>
                <a:cubicBezTo>
                  <a:pt x="797" y="249"/>
                  <a:pt x="792" y="240"/>
                  <a:pt x="790" y="237"/>
                </a:cubicBezTo>
                <a:cubicBezTo>
                  <a:pt x="790" y="239"/>
                  <a:pt x="794" y="244"/>
                  <a:pt x="795" y="246"/>
                </a:cubicBezTo>
                <a:cubicBezTo>
                  <a:pt x="794" y="246"/>
                  <a:pt x="793" y="243"/>
                  <a:pt x="792" y="242"/>
                </a:cubicBezTo>
                <a:close/>
                <a:moveTo>
                  <a:pt x="787" y="245"/>
                </a:moveTo>
                <a:cubicBezTo>
                  <a:pt x="787" y="245"/>
                  <a:pt x="787" y="247"/>
                  <a:pt x="786" y="246"/>
                </a:cubicBezTo>
                <a:cubicBezTo>
                  <a:pt x="788" y="248"/>
                  <a:pt x="789" y="252"/>
                  <a:pt x="790" y="253"/>
                </a:cubicBezTo>
                <a:cubicBezTo>
                  <a:pt x="789" y="250"/>
                  <a:pt x="788" y="247"/>
                  <a:pt x="787" y="245"/>
                </a:cubicBezTo>
                <a:close/>
                <a:moveTo>
                  <a:pt x="779" y="256"/>
                </a:moveTo>
                <a:cubicBezTo>
                  <a:pt x="779" y="256"/>
                  <a:pt x="776" y="252"/>
                  <a:pt x="777" y="255"/>
                </a:cubicBezTo>
                <a:cubicBezTo>
                  <a:pt x="778" y="255"/>
                  <a:pt x="778" y="255"/>
                  <a:pt x="779" y="257"/>
                </a:cubicBezTo>
                <a:cubicBezTo>
                  <a:pt x="779" y="258"/>
                  <a:pt x="779" y="258"/>
                  <a:pt x="779" y="258"/>
                </a:cubicBezTo>
                <a:cubicBezTo>
                  <a:pt x="780" y="258"/>
                  <a:pt x="780" y="258"/>
                  <a:pt x="779" y="256"/>
                </a:cubicBezTo>
                <a:close/>
                <a:moveTo>
                  <a:pt x="785" y="244"/>
                </a:moveTo>
                <a:cubicBezTo>
                  <a:pt x="787" y="249"/>
                  <a:pt x="783" y="241"/>
                  <a:pt x="784" y="244"/>
                </a:cubicBezTo>
                <a:cubicBezTo>
                  <a:pt x="786" y="246"/>
                  <a:pt x="784" y="246"/>
                  <a:pt x="785" y="247"/>
                </a:cubicBezTo>
                <a:cubicBezTo>
                  <a:pt x="785" y="246"/>
                  <a:pt x="787" y="249"/>
                  <a:pt x="787" y="249"/>
                </a:cubicBezTo>
                <a:cubicBezTo>
                  <a:pt x="786" y="247"/>
                  <a:pt x="786" y="245"/>
                  <a:pt x="785" y="244"/>
                </a:cubicBezTo>
                <a:close/>
                <a:moveTo>
                  <a:pt x="789" y="230"/>
                </a:moveTo>
                <a:cubicBezTo>
                  <a:pt x="790" y="231"/>
                  <a:pt x="791" y="232"/>
                  <a:pt x="792" y="233"/>
                </a:cubicBezTo>
                <a:cubicBezTo>
                  <a:pt x="790" y="230"/>
                  <a:pt x="789" y="228"/>
                  <a:pt x="790" y="229"/>
                </a:cubicBezTo>
                <a:cubicBezTo>
                  <a:pt x="788" y="225"/>
                  <a:pt x="789" y="224"/>
                  <a:pt x="787" y="222"/>
                </a:cubicBezTo>
                <a:cubicBezTo>
                  <a:pt x="787" y="222"/>
                  <a:pt x="787" y="224"/>
                  <a:pt x="786" y="224"/>
                </a:cubicBezTo>
                <a:cubicBezTo>
                  <a:pt x="788" y="225"/>
                  <a:pt x="788" y="226"/>
                  <a:pt x="789" y="227"/>
                </a:cubicBezTo>
                <a:cubicBezTo>
                  <a:pt x="789" y="228"/>
                  <a:pt x="789" y="229"/>
                  <a:pt x="789" y="229"/>
                </a:cubicBezTo>
                <a:cubicBezTo>
                  <a:pt x="788" y="226"/>
                  <a:pt x="787" y="226"/>
                  <a:pt x="785" y="224"/>
                </a:cubicBezTo>
                <a:cubicBezTo>
                  <a:pt x="787" y="227"/>
                  <a:pt x="786" y="227"/>
                  <a:pt x="785" y="226"/>
                </a:cubicBezTo>
                <a:cubicBezTo>
                  <a:pt x="787" y="230"/>
                  <a:pt x="786" y="228"/>
                  <a:pt x="787" y="231"/>
                </a:cubicBezTo>
                <a:cubicBezTo>
                  <a:pt x="788" y="231"/>
                  <a:pt x="789" y="234"/>
                  <a:pt x="790" y="235"/>
                </a:cubicBezTo>
                <a:cubicBezTo>
                  <a:pt x="790" y="235"/>
                  <a:pt x="792" y="237"/>
                  <a:pt x="791" y="235"/>
                </a:cubicBezTo>
                <a:cubicBezTo>
                  <a:pt x="790" y="235"/>
                  <a:pt x="790" y="233"/>
                  <a:pt x="789" y="232"/>
                </a:cubicBezTo>
                <a:cubicBezTo>
                  <a:pt x="789" y="232"/>
                  <a:pt x="790" y="235"/>
                  <a:pt x="789" y="233"/>
                </a:cubicBezTo>
                <a:cubicBezTo>
                  <a:pt x="789" y="233"/>
                  <a:pt x="787" y="230"/>
                  <a:pt x="788" y="230"/>
                </a:cubicBezTo>
                <a:cubicBezTo>
                  <a:pt x="789" y="232"/>
                  <a:pt x="790" y="234"/>
                  <a:pt x="792" y="235"/>
                </a:cubicBezTo>
                <a:cubicBezTo>
                  <a:pt x="791" y="234"/>
                  <a:pt x="789" y="231"/>
                  <a:pt x="789" y="230"/>
                </a:cubicBezTo>
                <a:close/>
                <a:moveTo>
                  <a:pt x="788" y="235"/>
                </a:moveTo>
                <a:cubicBezTo>
                  <a:pt x="788" y="233"/>
                  <a:pt x="786" y="229"/>
                  <a:pt x="785" y="229"/>
                </a:cubicBezTo>
                <a:cubicBezTo>
                  <a:pt x="787" y="231"/>
                  <a:pt x="787" y="234"/>
                  <a:pt x="788" y="235"/>
                </a:cubicBezTo>
                <a:close/>
                <a:moveTo>
                  <a:pt x="756" y="236"/>
                </a:moveTo>
                <a:cubicBezTo>
                  <a:pt x="755" y="236"/>
                  <a:pt x="757" y="239"/>
                  <a:pt x="758" y="240"/>
                </a:cubicBezTo>
                <a:cubicBezTo>
                  <a:pt x="760" y="241"/>
                  <a:pt x="759" y="242"/>
                  <a:pt x="760" y="244"/>
                </a:cubicBezTo>
                <a:cubicBezTo>
                  <a:pt x="760" y="243"/>
                  <a:pt x="762" y="245"/>
                  <a:pt x="761" y="242"/>
                </a:cubicBezTo>
                <a:cubicBezTo>
                  <a:pt x="759" y="241"/>
                  <a:pt x="759" y="241"/>
                  <a:pt x="756" y="236"/>
                </a:cubicBezTo>
                <a:close/>
                <a:moveTo>
                  <a:pt x="780" y="220"/>
                </a:moveTo>
                <a:cubicBezTo>
                  <a:pt x="781" y="222"/>
                  <a:pt x="781" y="223"/>
                  <a:pt x="782" y="225"/>
                </a:cubicBezTo>
                <a:cubicBezTo>
                  <a:pt x="783" y="226"/>
                  <a:pt x="784" y="227"/>
                  <a:pt x="785" y="228"/>
                </a:cubicBezTo>
                <a:cubicBezTo>
                  <a:pt x="783" y="225"/>
                  <a:pt x="782" y="222"/>
                  <a:pt x="780" y="220"/>
                </a:cubicBezTo>
                <a:close/>
                <a:moveTo>
                  <a:pt x="787" y="219"/>
                </a:moveTo>
                <a:cubicBezTo>
                  <a:pt x="786" y="219"/>
                  <a:pt x="786" y="220"/>
                  <a:pt x="787" y="221"/>
                </a:cubicBezTo>
                <a:cubicBezTo>
                  <a:pt x="787" y="221"/>
                  <a:pt x="789" y="225"/>
                  <a:pt x="789" y="223"/>
                </a:cubicBezTo>
                <a:cubicBezTo>
                  <a:pt x="787" y="221"/>
                  <a:pt x="787" y="220"/>
                  <a:pt x="787" y="219"/>
                </a:cubicBezTo>
                <a:close/>
                <a:moveTo>
                  <a:pt x="781" y="226"/>
                </a:moveTo>
                <a:cubicBezTo>
                  <a:pt x="781" y="227"/>
                  <a:pt x="780" y="223"/>
                  <a:pt x="779" y="224"/>
                </a:cubicBezTo>
                <a:cubicBezTo>
                  <a:pt x="780" y="224"/>
                  <a:pt x="780" y="225"/>
                  <a:pt x="779" y="225"/>
                </a:cubicBezTo>
                <a:cubicBezTo>
                  <a:pt x="781" y="228"/>
                  <a:pt x="783" y="228"/>
                  <a:pt x="781" y="226"/>
                </a:cubicBezTo>
                <a:close/>
                <a:moveTo>
                  <a:pt x="760" y="233"/>
                </a:moveTo>
                <a:cubicBezTo>
                  <a:pt x="761" y="237"/>
                  <a:pt x="756" y="230"/>
                  <a:pt x="756" y="233"/>
                </a:cubicBezTo>
                <a:cubicBezTo>
                  <a:pt x="758" y="234"/>
                  <a:pt x="760" y="235"/>
                  <a:pt x="762" y="237"/>
                </a:cubicBezTo>
                <a:cubicBezTo>
                  <a:pt x="761" y="235"/>
                  <a:pt x="761" y="233"/>
                  <a:pt x="760" y="233"/>
                </a:cubicBezTo>
                <a:close/>
                <a:moveTo>
                  <a:pt x="754" y="232"/>
                </a:moveTo>
                <a:cubicBezTo>
                  <a:pt x="755" y="231"/>
                  <a:pt x="756" y="235"/>
                  <a:pt x="757" y="236"/>
                </a:cubicBezTo>
                <a:cubicBezTo>
                  <a:pt x="757" y="234"/>
                  <a:pt x="753" y="229"/>
                  <a:pt x="754" y="232"/>
                </a:cubicBezTo>
                <a:close/>
                <a:moveTo>
                  <a:pt x="747" y="236"/>
                </a:moveTo>
                <a:cubicBezTo>
                  <a:pt x="746" y="236"/>
                  <a:pt x="748" y="238"/>
                  <a:pt x="748" y="239"/>
                </a:cubicBezTo>
                <a:cubicBezTo>
                  <a:pt x="749" y="239"/>
                  <a:pt x="749" y="240"/>
                  <a:pt x="749" y="239"/>
                </a:cubicBezTo>
                <a:cubicBezTo>
                  <a:pt x="748" y="239"/>
                  <a:pt x="748" y="237"/>
                  <a:pt x="747" y="236"/>
                </a:cubicBezTo>
                <a:close/>
                <a:moveTo>
                  <a:pt x="753" y="170"/>
                </a:moveTo>
                <a:cubicBezTo>
                  <a:pt x="752" y="170"/>
                  <a:pt x="752" y="170"/>
                  <a:pt x="753" y="172"/>
                </a:cubicBezTo>
                <a:cubicBezTo>
                  <a:pt x="754" y="172"/>
                  <a:pt x="755" y="172"/>
                  <a:pt x="756" y="173"/>
                </a:cubicBezTo>
                <a:cubicBezTo>
                  <a:pt x="754" y="172"/>
                  <a:pt x="753" y="171"/>
                  <a:pt x="753" y="170"/>
                </a:cubicBezTo>
                <a:close/>
                <a:moveTo>
                  <a:pt x="747" y="163"/>
                </a:moveTo>
                <a:cubicBezTo>
                  <a:pt x="746" y="162"/>
                  <a:pt x="745" y="163"/>
                  <a:pt x="746" y="165"/>
                </a:cubicBezTo>
                <a:cubicBezTo>
                  <a:pt x="746" y="164"/>
                  <a:pt x="749" y="168"/>
                  <a:pt x="749" y="167"/>
                </a:cubicBezTo>
                <a:cubicBezTo>
                  <a:pt x="746" y="163"/>
                  <a:pt x="748" y="165"/>
                  <a:pt x="747" y="163"/>
                </a:cubicBezTo>
                <a:close/>
                <a:moveTo>
                  <a:pt x="726" y="156"/>
                </a:moveTo>
                <a:cubicBezTo>
                  <a:pt x="725" y="156"/>
                  <a:pt x="728" y="159"/>
                  <a:pt x="729" y="160"/>
                </a:cubicBezTo>
                <a:cubicBezTo>
                  <a:pt x="730" y="160"/>
                  <a:pt x="728" y="158"/>
                  <a:pt x="726" y="156"/>
                </a:cubicBezTo>
                <a:close/>
                <a:moveTo>
                  <a:pt x="723" y="152"/>
                </a:moveTo>
                <a:cubicBezTo>
                  <a:pt x="722" y="152"/>
                  <a:pt x="721" y="151"/>
                  <a:pt x="721" y="150"/>
                </a:cubicBezTo>
                <a:cubicBezTo>
                  <a:pt x="720" y="150"/>
                  <a:pt x="720" y="151"/>
                  <a:pt x="721" y="152"/>
                </a:cubicBezTo>
                <a:cubicBezTo>
                  <a:pt x="722" y="151"/>
                  <a:pt x="725" y="155"/>
                  <a:pt x="724" y="153"/>
                </a:cubicBezTo>
                <a:cubicBezTo>
                  <a:pt x="723" y="153"/>
                  <a:pt x="723" y="153"/>
                  <a:pt x="723" y="152"/>
                </a:cubicBezTo>
                <a:close/>
                <a:moveTo>
                  <a:pt x="726" y="146"/>
                </a:moveTo>
                <a:cubicBezTo>
                  <a:pt x="727" y="147"/>
                  <a:pt x="726" y="147"/>
                  <a:pt x="728" y="149"/>
                </a:cubicBezTo>
                <a:cubicBezTo>
                  <a:pt x="729" y="150"/>
                  <a:pt x="727" y="147"/>
                  <a:pt x="726" y="146"/>
                </a:cubicBezTo>
                <a:close/>
                <a:moveTo>
                  <a:pt x="717" y="154"/>
                </a:moveTo>
                <a:cubicBezTo>
                  <a:pt x="718" y="156"/>
                  <a:pt x="715" y="152"/>
                  <a:pt x="714" y="152"/>
                </a:cubicBezTo>
                <a:cubicBezTo>
                  <a:pt x="714" y="153"/>
                  <a:pt x="716" y="154"/>
                  <a:pt x="717" y="156"/>
                </a:cubicBezTo>
                <a:cubicBezTo>
                  <a:pt x="718" y="156"/>
                  <a:pt x="718" y="155"/>
                  <a:pt x="717" y="154"/>
                </a:cubicBezTo>
                <a:close/>
                <a:moveTo>
                  <a:pt x="723" y="138"/>
                </a:moveTo>
                <a:cubicBezTo>
                  <a:pt x="726" y="140"/>
                  <a:pt x="727" y="142"/>
                  <a:pt x="728" y="143"/>
                </a:cubicBezTo>
                <a:cubicBezTo>
                  <a:pt x="727" y="141"/>
                  <a:pt x="725" y="139"/>
                  <a:pt x="723" y="138"/>
                </a:cubicBezTo>
                <a:close/>
                <a:moveTo>
                  <a:pt x="723" y="139"/>
                </a:moveTo>
                <a:cubicBezTo>
                  <a:pt x="723" y="138"/>
                  <a:pt x="722" y="137"/>
                  <a:pt x="721" y="137"/>
                </a:cubicBezTo>
                <a:cubicBezTo>
                  <a:pt x="720" y="136"/>
                  <a:pt x="720" y="136"/>
                  <a:pt x="720" y="137"/>
                </a:cubicBezTo>
                <a:cubicBezTo>
                  <a:pt x="721" y="139"/>
                  <a:pt x="722" y="140"/>
                  <a:pt x="723" y="141"/>
                </a:cubicBezTo>
                <a:cubicBezTo>
                  <a:pt x="722" y="139"/>
                  <a:pt x="720" y="138"/>
                  <a:pt x="721" y="137"/>
                </a:cubicBezTo>
                <a:cubicBezTo>
                  <a:pt x="723" y="139"/>
                  <a:pt x="724" y="140"/>
                  <a:pt x="725" y="140"/>
                </a:cubicBezTo>
                <a:cubicBezTo>
                  <a:pt x="724" y="139"/>
                  <a:pt x="724" y="139"/>
                  <a:pt x="723" y="139"/>
                </a:cubicBezTo>
                <a:close/>
                <a:moveTo>
                  <a:pt x="722" y="140"/>
                </a:moveTo>
                <a:cubicBezTo>
                  <a:pt x="719" y="137"/>
                  <a:pt x="719" y="137"/>
                  <a:pt x="719" y="137"/>
                </a:cubicBezTo>
                <a:cubicBezTo>
                  <a:pt x="718" y="137"/>
                  <a:pt x="720" y="140"/>
                  <a:pt x="721" y="141"/>
                </a:cubicBezTo>
                <a:cubicBezTo>
                  <a:pt x="722" y="141"/>
                  <a:pt x="722" y="141"/>
                  <a:pt x="722" y="140"/>
                </a:cubicBezTo>
                <a:close/>
                <a:moveTo>
                  <a:pt x="721" y="134"/>
                </a:moveTo>
                <a:cubicBezTo>
                  <a:pt x="720" y="134"/>
                  <a:pt x="719" y="134"/>
                  <a:pt x="719" y="134"/>
                </a:cubicBezTo>
                <a:cubicBezTo>
                  <a:pt x="723" y="138"/>
                  <a:pt x="724" y="137"/>
                  <a:pt x="721" y="134"/>
                </a:cubicBezTo>
                <a:close/>
                <a:moveTo>
                  <a:pt x="714" y="136"/>
                </a:moveTo>
                <a:cubicBezTo>
                  <a:pt x="715" y="135"/>
                  <a:pt x="715" y="135"/>
                  <a:pt x="714" y="134"/>
                </a:cubicBezTo>
                <a:cubicBezTo>
                  <a:pt x="713" y="133"/>
                  <a:pt x="712" y="134"/>
                  <a:pt x="714" y="136"/>
                </a:cubicBezTo>
                <a:close/>
                <a:moveTo>
                  <a:pt x="697" y="113"/>
                </a:moveTo>
                <a:cubicBezTo>
                  <a:pt x="698" y="114"/>
                  <a:pt x="698" y="113"/>
                  <a:pt x="697" y="113"/>
                </a:cubicBezTo>
                <a:cubicBezTo>
                  <a:pt x="696" y="113"/>
                  <a:pt x="694" y="110"/>
                  <a:pt x="693" y="110"/>
                </a:cubicBezTo>
                <a:cubicBezTo>
                  <a:pt x="695" y="112"/>
                  <a:pt x="698" y="116"/>
                  <a:pt x="700" y="117"/>
                </a:cubicBezTo>
                <a:cubicBezTo>
                  <a:pt x="699" y="116"/>
                  <a:pt x="696" y="113"/>
                  <a:pt x="697" y="113"/>
                </a:cubicBezTo>
                <a:close/>
                <a:moveTo>
                  <a:pt x="662" y="153"/>
                </a:moveTo>
                <a:cubicBezTo>
                  <a:pt x="663" y="154"/>
                  <a:pt x="665" y="156"/>
                  <a:pt x="666" y="156"/>
                </a:cubicBezTo>
                <a:cubicBezTo>
                  <a:pt x="665" y="155"/>
                  <a:pt x="663" y="152"/>
                  <a:pt x="662" y="153"/>
                </a:cubicBezTo>
                <a:close/>
                <a:moveTo>
                  <a:pt x="685" y="103"/>
                </a:moveTo>
                <a:cubicBezTo>
                  <a:pt x="687" y="104"/>
                  <a:pt x="686" y="104"/>
                  <a:pt x="687" y="105"/>
                </a:cubicBezTo>
                <a:cubicBezTo>
                  <a:pt x="688" y="106"/>
                  <a:pt x="689" y="106"/>
                  <a:pt x="689" y="106"/>
                </a:cubicBezTo>
                <a:cubicBezTo>
                  <a:pt x="688" y="105"/>
                  <a:pt x="687" y="103"/>
                  <a:pt x="685" y="103"/>
                </a:cubicBezTo>
                <a:close/>
                <a:moveTo>
                  <a:pt x="599" y="49"/>
                </a:moveTo>
                <a:cubicBezTo>
                  <a:pt x="600" y="50"/>
                  <a:pt x="603" y="51"/>
                  <a:pt x="603" y="50"/>
                </a:cubicBezTo>
                <a:cubicBezTo>
                  <a:pt x="600" y="49"/>
                  <a:pt x="601" y="50"/>
                  <a:pt x="599" y="49"/>
                </a:cubicBezTo>
                <a:close/>
                <a:moveTo>
                  <a:pt x="579" y="43"/>
                </a:moveTo>
                <a:cubicBezTo>
                  <a:pt x="579" y="42"/>
                  <a:pt x="584" y="44"/>
                  <a:pt x="581" y="43"/>
                </a:cubicBezTo>
                <a:cubicBezTo>
                  <a:pt x="581" y="43"/>
                  <a:pt x="576" y="41"/>
                  <a:pt x="579" y="43"/>
                </a:cubicBezTo>
                <a:close/>
                <a:moveTo>
                  <a:pt x="568" y="37"/>
                </a:moveTo>
                <a:cubicBezTo>
                  <a:pt x="568" y="36"/>
                  <a:pt x="570" y="37"/>
                  <a:pt x="571" y="38"/>
                </a:cubicBezTo>
                <a:cubicBezTo>
                  <a:pt x="573" y="38"/>
                  <a:pt x="568" y="36"/>
                  <a:pt x="567" y="36"/>
                </a:cubicBezTo>
                <a:cubicBezTo>
                  <a:pt x="570" y="37"/>
                  <a:pt x="565" y="36"/>
                  <a:pt x="568" y="37"/>
                </a:cubicBezTo>
                <a:close/>
                <a:moveTo>
                  <a:pt x="562" y="33"/>
                </a:moveTo>
                <a:cubicBezTo>
                  <a:pt x="563" y="34"/>
                  <a:pt x="563" y="33"/>
                  <a:pt x="565" y="33"/>
                </a:cubicBezTo>
                <a:cubicBezTo>
                  <a:pt x="567" y="35"/>
                  <a:pt x="567" y="35"/>
                  <a:pt x="567" y="35"/>
                </a:cubicBezTo>
                <a:cubicBezTo>
                  <a:pt x="570" y="35"/>
                  <a:pt x="558" y="30"/>
                  <a:pt x="562" y="33"/>
                </a:cubicBezTo>
                <a:close/>
                <a:moveTo>
                  <a:pt x="533" y="22"/>
                </a:moveTo>
                <a:cubicBezTo>
                  <a:pt x="531" y="22"/>
                  <a:pt x="527" y="19"/>
                  <a:pt x="523" y="19"/>
                </a:cubicBezTo>
                <a:cubicBezTo>
                  <a:pt x="524" y="20"/>
                  <a:pt x="519" y="18"/>
                  <a:pt x="519" y="19"/>
                </a:cubicBezTo>
                <a:cubicBezTo>
                  <a:pt x="522" y="20"/>
                  <a:pt x="520" y="20"/>
                  <a:pt x="524" y="21"/>
                </a:cubicBezTo>
                <a:cubicBezTo>
                  <a:pt x="522" y="19"/>
                  <a:pt x="526" y="20"/>
                  <a:pt x="528" y="20"/>
                </a:cubicBezTo>
                <a:cubicBezTo>
                  <a:pt x="529" y="21"/>
                  <a:pt x="532" y="22"/>
                  <a:pt x="535" y="23"/>
                </a:cubicBezTo>
                <a:cubicBezTo>
                  <a:pt x="534" y="23"/>
                  <a:pt x="535" y="22"/>
                  <a:pt x="533" y="22"/>
                </a:cubicBezTo>
                <a:close/>
                <a:moveTo>
                  <a:pt x="513" y="21"/>
                </a:moveTo>
                <a:cubicBezTo>
                  <a:pt x="515" y="21"/>
                  <a:pt x="520" y="24"/>
                  <a:pt x="520" y="23"/>
                </a:cubicBezTo>
                <a:cubicBezTo>
                  <a:pt x="516" y="22"/>
                  <a:pt x="514" y="21"/>
                  <a:pt x="513" y="21"/>
                </a:cubicBezTo>
                <a:close/>
                <a:moveTo>
                  <a:pt x="499" y="13"/>
                </a:moveTo>
                <a:cubicBezTo>
                  <a:pt x="501" y="14"/>
                  <a:pt x="499" y="14"/>
                  <a:pt x="502" y="15"/>
                </a:cubicBezTo>
                <a:cubicBezTo>
                  <a:pt x="501" y="14"/>
                  <a:pt x="504" y="14"/>
                  <a:pt x="502" y="14"/>
                </a:cubicBezTo>
                <a:cubicBezTo>
                  <a:pt x="502" y="14"/>
                  <a:pt x="499" y="13"/>
                  <a:pt x="499" y="13"/>
                </a:cubicBezTo>
                <a:close/>
                <a:moveTo>
                  <a:pt x="497" y="13"/>
                </a:moveTo>
                <a:cubicBezTo>
                  <a:pt x="502" y="15"/>
                  <a:pt x="497" y="14"/>
                  <a:pt x="497" y="15"/>
                </a:cubicBezTo>
                <a:cubicBezTo>
                  <a:pt x="499" y="15"/>
                  <a:pt x="500" y="16"/>
                  <a:pt x="501" y="16"/>
                </a:cubicBezTo>
                <a:cubicBezTo>
                  <a:pt x="500" y="15"/>
                  <a:pt x="499" y="13"/>
                  <a:pt x="497" y="13"/>
                </a:cubicBezTo>
                <a:close/>
                <a:moveTo>
                  <a:pt x="494" y="15"/>
                </a:moveTo>
                <a:cubicBezTo>
                  <a:pt x="494" y="14"/>
                  <a:pt x="496" y="15"/>
                  <a:pt x="496" y="14"/>
                </a:cubicBezTo>
                <a:cubicBezTo>
                  <a:pt x="492" y="13"/>
                  <a:pt x="493" y="14"/>
                  <a:pt x="494" y="15"/>
                </a:cubicBezTo>
                <a:close/>
                <a:moveTo>
                  <a:pt x="441" y="7"/>
                </a:moveTo>
                <a:cubicBezTo>
                  <a:pt x="441" y="7"/>
                  <a:pt x="443" y="7"/>
                  <a:pt x="445" y="7"/>
                </a:cubicBezTo>
                <a:cubicBezTo>
                  <a:pt x="444" y="7"/>
                  <a:pt x="445" y="7"/>
                  <a:pt x="444" y="7"/>
                </a:cubicBezTo>
                <a:cubicBezTo>
                  <a:pt x="444" y="7"/>
                  <a:pt x="439" y="7"/>
                  <a:pt x="441" y="7"/>
                </a:cubicBezTo>
                <a:close/>
                <a:moveTo>
                  <a:pt x="436" y="6"/>
                </a:moveTo>
                <a:cubicBezTo>
                  <a:pt x="433" y="6"/>
                  <a:pt x="434" y="5"/>
                  <a:pt x="431" y="6"/>
                </a:cubicBezTo>
                <a:cubicBezTo>
                  <a:pt x="431" y="6"/>
                  <a:pt x="433" y="6"/>
                  <a:pt x="432" y="7"/>
                </a:cubicBezTo>
                <a:cubicBezTo>
                  <a:pt x="434" y="7"/>
                  <a:pt x="436" y="8"/>
                  <a:pt x="437" y="7"/>
                </a:cubicBezTo>
                <a:cubicBezTo>
                  <a:pt x="432" y="7"/>
                  <a:pt x="433" y="6"/>
                  <a:pt x="436" y="6"/>
                </a:cubicBezTo>
                <a:close/>
                <a:moveTo>
                  <a:pt x="424" y="8"/>
                </a:moveTo>
                <a:cubicBezTo>
                  <a:pt x="420" y="7"/>
                  <a:pt x="426" y="6"/>
                  <a:pt x="421" y="7"/>
                </a:cubicBezTo>
                <a:cubicBezTo>
                  <a:pt x="423" y="7"/>
                  <a:pt x="420" y="8"/>
                  <a:pt x="424" y="8"/>
                </a:cubicBezTo>
                <a:close/>
                <a:moveTo>
                  <a:pt x="415" y="4"/>
                </a:moveTo>
                <a:cubicBezTo>
                  <a:pt x="415" y="4"/>
                  <a:pt x="414" y="4"/>
                  <a:pt x="413" y="4"/>
                </a:cubicBezTo>
                <a:cubicBezTo>
                  <a:pt x="415" y="4"/>
                  <a:pt x="417" y="5"/>
                  <a:pt x="420" y="5"/>
                </a:cubicBezTo>
                <a:cubicBezTo>
                  <a:pt x="420" y="4"/>
                  <a:pt x="417" y="4"/>
                  <a:pt x="415" y="4"/>
                </a:cubicBezTo>
                <a:close/>
                <a:moveTo>
                  <a:pt x="417" y="5"/>
                </a:moveTo>
                <a:cubicBezTo>
                  <a:pt x="417" y="6"/>
                  <a:pt x="414" y="6"/>
                  <a:pt x="412" y="5"/>
                </a:cubicBezTo>
                <a:cubicBezTo>
                  <a:pt x="412" y="6"/>
                  <a:pt x="415" y="6"/>
                  <a:pt x="416" y="7"/>
                </a:cubicBezTo>
                <a:cubicBezTo>
                  <a:pt x="416" y="7"/>
                  <a:pt x="417" y="7"/>
                  <a:pt x="418" y="7"/>
                </a:cubicBezTo>
                <a:cubicBezTo>
                  <a:pt x="413" y="6"/>
                  <a:pt x="418" y="6"/>
                  <a:pt x="419" y="6"/>
                </a:cubicBezTo>
                <a:cubicBezTo>
                  <a:pt x="419" y="6"/>
                  <a:pt x="419" y="5"/>
                  <a:pt x="417" y="5"/>
                </a:cubicBezTo>
                <a:close/>
                <a:moveTo>
                  <a:pt x="412" y="4"/>
                </a:moveTo>
                <a:cubicBezTo>
                  <a:pt x="409" y="4"/>
                  <a:pt x="409" y="5"/>
                  <a:pt x="410" y="5"/>
                </a:cubicBezTo>
                <a:cubicBezTo>
                  <a:pt x="409" y="4"/>
                  <a:pt x="414" y="5"/>
                  <a:pt x="413" y="5"/>
                </a:cubicBezTo>
                <a:cubicBezTo>
                  <a:pt x="410" y="4"/>
                  <a:pt x="413" y="4"/>
                  <a:pt x="412" y="4"/>
                </a:cubicBezTo>
                <a:close/>
                <a:moveTo>
                  <a:pt x="409" y="5"/>
                </a:moveTo>
                <a:cubicBezTo>
                  <a:pt x="405" y="5"/>
                  <a:pt x="405" y="5"/>
                  <a:pt x="405" y="5"/>
                </a:cubicBezTo>
                <a:cubicBezTo>
                  <a:pt x="404" y="6"/>
                  <a:pt x="408" y="6"/>
                  <a:pt x="407" y="7"/>
                </a:cubicBezTo>
                <a:cubicBezTo>
                  <a:pt x="409" y="7"/>
                  <a:pt x="409" y="7"/>
                  <a:pt x="412" y="8"/>
                </a:cubicBezTo>
                <a:cubicBezTo>
                  <a:pt x="411" y="7"/>
                  <a:pt x="404" y="6"/>
                  <a:pt x="409" y="5"/>
                </a:cubicBezTo>
                <a:close/>
                <a:moveTo>
                  <a:pt x="391" y="7"/>
                </a:moveTo>
                <a:cubicBezTo>
                  <a:pt x="393" y="7"/>
                  <a:pt x="395" y="7"/>
                  <a:pt x="397" y="7"/>
                </a:cubicBezTo>
                <a:cubicBezTo>
                  <a:pt x="397" y="7"/>
                  <a:pt x="397" y="7"/>
                  <a:pt x="397" y="7"/>
                </a:cubicBezTo>
                <a:cubicBezTo>
                  <a:pt x="395" y="7"/>
                  <a:pt x="393" y="7"/>
                  <a:pt x="391" y="7"/>
                </a:cubicBezTo>
                <a:close/>
                <a:moveTo>
                  <a:pt x="376" y="46"/>
                </a:moveTo>
                <a:cubicBezTo>
                  <a:pt x="376" y="47"/>
                  <a:pt x="379" y="47"/>
                  <a:pt x="380" y="47"/>
                </a:cubicBezTo>
                <a:cubicBezTo>
                  <a:pt x="378" y="47"/>
                  <a:pt x="378" y="46"/>
                  <a:pt x="376" y="46"/>
                </a:cubicBezTo>
                <a:close/>
                <a:moveTo>
                  <a:pt x="354" y="47"/>
                </a:moveTo>
                <a:cubicBezTo>
                  <a:pt x="353" y="48"/>
                  <a:pt x="359" y="47"/>
                  <a:pt x="359" y="47"/>
                </a:cubicBezTo>
                <a:cubicBezTo>
                  <a:pt x="357" y="47"/>
                  <a:pt x="357" y="46"/>
                  <a:pt x="354" y="47"/>
                </a:cubicBezTo>
                <a:close/>
                <a:moveTo>
                  <a:pt x="323" y="15"/>
                </a:moveTo>
                <a:cubicBezTo>
                  <a:pt x="323" y="16"/>
                  <a:pt x="322" y="16"/>
                  <a:pt x="324" y="16"/>
                </a:cubicBezTo>
                <a:cubicBezTo>
                  <a:pt x="326" y="16"/>
                  <a:pt x="326" y="15"/>
                  <a:pt x="323" y="15"/>
                </a:cubicBezTo>
                <a:close/>
                <a:moveTo>
                  <a:pt x="325" y="47"/>
                </a:moveTo>
                <a:cubicBezTo>
                  <a:pt x="324" y="48"/>
                  <a:pt x="328" y="47"/>
                  <a:pt x="329" y="46"/>
                </a:cubicBezTo>
                <a:cubicBezTo>
                  <a:pt x="327" y="47"/>
                  <a:pt x="327" y="46"/>
                  <a:pt x="325" y="47"/>
                </a:cubicBezTo>
                <a:close/>
                <a:moveTo>
                  <a:pt x="321" y="51"/>
                </a:moveTo>
                <a:cubicBezTo>
                  <a:pt x="324" y="50"/>
                  <a:pt x="323" y="50"/>
                  <a:pt x="321" y="51"/>
                </a:cubicBezTo>
                <a:cubicBezTo>
                  <a:pt x="323" y="51"/>
                  <a:pt x="325" y="50"/>
                  <a:pt x="327" y="50"/>
                </a:cubicBezTo>
                <a:cubicBezTo>
                  <a:pt x="328" y="50"/>
                  <a:pt x="328" y="49"/>
                  <a:pt x="328" y="49"/>
                </a:cubicBezTo>
                <a:cubicBezTo>
                  <a:pt x="325" y="50"/>
                  <a:pt x="321" y="49"/>
                  <a:pt x="321" y="51"/>
                </a:cubicBezTo>
                <a:close/>
                <a:moveTo>
                  <a:pt x="316" y="18"/>
                </a:moveTo>
                <a:cubicBezTo>
                  <a:pt x="319" y="17"/>
                  <a:pt x="317" y="18"/>
                  <a:pt x="320" y="18"/>
                </a:cubicBezTo>
                <a:cubicBezTo>
                  <a:pt x="319" y="17"/>
                  <a:pt x="321" y="17"/>
                  <a:pt x="321" y="16"/>
                </a:cubicBezTo>
                <a:cubicBezTo>
                  <a:pt x="318" y="17"/>
                  <a:pt x="319" y="17"/>
                  <a:pt x="317" y="17"/>
                </a:cubicBezTo>
                <a:cubicBezTo>
                  <a:pt x="317" y="17"/>
                  <a:pt x="317" y="17"/>
                  <a:pt x="316" y="18"/>
                </a:cubicBezTo>
                <a:close/>
                <a:moveTo>
                  <a:pt x="311" y="35"/>
                </a:moveTo>
                <a:cubicBezTo>
                  <a:pt x="312" y="34"/>
                  <a:pt x="316" y="34"/>
                  <a:pt x="315" y="34"/>
                </a:cubicBezTo>
                <a:cubicBezTo>
                  <a:pt x="314" y="34"/>
                  <a:pt x="308" y="35"/>
                  <a:pt x="311" y="35"/>
                </a:cubicBezTo>
                <a:close/>
                <a:moveTo>
                  <a:pt x="314" y="49"/>
                </a:moveTo>
                <a:cubicBezTo>
                  <a:pt x="314" y="50"/>
                  <a:pt x="318" y="49"/>
                  <a:pt x="318" y="49"/>
                </a:cubicBezTo>
                <a:lnTo>
                  <a:pt x="314" y="49"/>
                </a:lnTo>
                <a:close/>
                <a:moveTo>
                  <a:pt x="308" y="47"/>
                </a:moveTo>
                <a:cubicBezTo>
                  <a:pt x="308" y="48"/>
                  <a:pt x="314" y="46"/>
                  <a:pt x="315" y="46"/>
                </a:cubicBezTo>
                <a:cubicBezTo>
                  <a:pt x="315" y="46"/>
                  <a:pt x="315" y="45"/>
                  <a:pt x="316" y="45"/>
                </a:cubicBezTo>
                <a:cubicBezTo>
                  <a:pt x="313" y="46"/>
                  <a:pt x="309" y="47"/>
                  <a:pt x="308" y="47"/>
                </a:cubicBezTo>
                <a:close/>
                <a:moveTo>
                  <a:pt x="302" y="21"/>
                </a:moveTo>
                <a:cubicBezTo>
                  <a:pt x="305" y="21"/>
                  <a:pt x="305" y="20"/>
                  <a:pt x="306" y="20"/>
                </a:cubicBezTo>
                <a:cubicBezTo>
                  <a:pt x="306" y="19"/>
                  <a:pt x="307" y="19"/>
                  <a:pt x="307" y="19"/>
                </a:cubicBezTo>
                <a:cubicBezTo>
                  <a:pt x="304" y="20"/>
                  <a:pt x="303" y="20"/>
                  <a:pt x="302" y="21"/>
                </a:cubicBezTo>
                <a:close/>
                <a:moveTo>
                  <a:pt x="314" y="52"/>
                </a:moveTo>
                <a:cubicBezTo>
                  <a:pt x="313" y="52"/>
                  <a:pt x="311" y="53"/>
                  <a:pt x="311" y="53"/>
                </a:cubicBezTo>
                <a:cubicBezTo>
                  <a:pt x="314" y="52"/>
                  <a:pt x="313" y="53"/>
                  <a:pt x="315" y="52"/>
                </a:cubicBezTo>
                <a:cubicBezTo>
                  <a:pt x="315" y="52"/>
                  <a:pt x="315" y="52"/>
                  <a:pt x="314" y="52"/>
                </a:cubicBezTo>
                <a:close/>
                <a:moveTo>
                  <a:pt x="309" y="42"/>
                </a:moveTo>
                <a:cubicBezTo>
                  <a:pt x="307" y="43"/>
                  <a:pt x="305" y="43"/>
                  <a:pt x="304" y="44"/>
                </a:cubicBezTo>
                <a:cubicBezTo>
                  <a:pt x="306" y="44"/>
                  <a:pt x="309" y="43"/>
                  <a:pt x="310" y="42"/>
                </a:cubicBezTo>
                <a:cubicBezTo>
                  <a:pt x="310" y="42"/>
                  <a:pt x="310" y="41"/>
                  <a:pt x="309" y="41"/>
                </a:cubicBezTo>
                <a:lnTo>
                  <a:pt x="309" y="42"/>
                </a:lnTo>
                <a:close/>
                <a:moveTo>
                  <a:pt x="306" y="49"/>
                </a:moveTo>
                <a:cubicBezTo>
                  <a:pt x="308" y="49"/>
                  <a:pt x="309" y="49"/>
                  <a:pt x="310" y="49"/>
                </a:cubicBezTo>
                <a:cubicBezTo>
                  <a:pt x="310" y="48"/>
                  <a:pt x="310" y="48"/>
                  <a:pt x="311" y="48"/>
                </a:cubicBezTo>
                <a:cubicBezTo>
                  <a:pt x="311" y="48"/>
                  <a:pt x="311" y="48"/>
                  <a:pt x="311" y="48"/>
                </a:cubicBezTo>
                <a:cubicBezTo>
                  <a:pt x="308" y="49"/>
                  <a:pt x="307" y="48"/>
                  <a:pt x="306" y="49"/>
                </a:cubicBezTo>
                <a:close/>
                <a:moveTo>
                  <a:pt x="306" y="51"/>
                </a:moveTo>
                <a:cubicBezTo>
                  <a:pt x="307" y="51"/>
                  <a:pt x="308" y="50"/>
                  <a:pt x="309" y="50"/>
                </a:cubicBezTo>
                <a:cubicBezTo>
                  <a:pt x="310" y="50"/>
                  <a:pt x="310" y="50"/>
                  <a:pt x="310" y="50"/>
                </a:cubicBezTo>
                <a:cubicBezTo>
                  <a:pt x="310" y="50"/>
                  <a:pt x="310" y="50"/>
                  <a:pt x="310" y="50"/>
                </a:cubicBezTo>
                <a:cubicBezTo>
                  <a:pt x="307" y="50"/>
                  <a:pt x="304" y="51"/>
                  <a:pt x="306" y="51"/>
                </a:cubicBezTo>
                <a:close/>
                <a:moveTo>
                  <a:pt x="307" y="53"/>
                </a:moveTo>
                <a:cubicBezTo>
                  <a:pt x="309" y="53"/>
                  <a:pt x="306" y="54"/>
                  <a:pt x="306" y="54"/>
                </a:cubicBezTo>
                <a:cubicBezTo>
                  <a:pt x="309" y="54"/>
                  <a:pt x="310" y="53"/>
                  <a:pt x="311" y="52"/>
                </a:cubicBezTo>
                <a:cubicBezTo>
                  <a:pt x="310" y="52"/>
                  <a:pt x="308" y="53"/>
                  <a:pt x="307" y="53"/>
                </a:cubicBezTo>
                <a:close/>
                <a:moveTo>
                  <a:pt x="308" y="54"/>
                </a:moveTo>
                <a:cubicBezTo>
                  <a:pt x="305" y="55"/>
                  <a:pt x="306" y="55"/>
                  <a:pt x="305" y="56"/>
                </a:cubicBezTo>
                <a:cubicBezTo>
                  <a:pt x="308" y="55"/>
                  <a:pt x="309" y="56"/>
                  <a:pt x="310" y="55"/>
                </a:cubicBezTo>
                <a:cubicBezTo>
                  <a:pt x="308" y="55"/>
                  <a:pt x="308" y="55"/>
                  <a:pt x="308" y="54"/>
                </a:cubicBezTo>
                <a:close/>
                <a:moveTo>
                  <a:pt x="302" y="38"/>
                </a:moveTo>
                <a:cubicBezTo>
                  <a:pt x="300" y="39"/>
                  <a:pt x="300" y="39"/>
                  <a:pt x="300" y="40"/>
                </a:cubicBezTo>
                <a:cubicBezTo>
                  <a:pt x="303" y="39"/>
                  <a:pt x="303" y="39"/>
                  <a:pt x="302" y="38"/>
                </a:cubicBezTo>
                <a:close/>
                <a:moveTo>
                  <a:pt x="301" y="46"/>
                </a:moveTo>
                <a:cubicBezTo>
                  <a:pt x="300" y="47"/>
                  <a:pt x="300" y="47"/>
                  <a:pt x="299" y="47"/>
                </a:cubicBezTo>
                <a:cubicBezTo>
                  <a:pt x="299" y="47"/>
                  <a:pt x="297" y="48"/>
                  <a:pt x="299" y="48"/>
                </a:cubicBezTo>
                <a:cubicBezTo>
                  <a:pt x="300" y="47"/>
                  <a:pt x="305" y="45"/>
                  <a:pt x="302" y="46"/>
                </a:cubicBezTo>
                <a:cubicBezTo>
                  <a:pt x="302" y="46"/>
                  <a:pt x="301" y="46"/>
                  <a:pt x="301" y="46"/>
                </a:cubicBezTo>
                <a:close/>
                <a:moveTo>
                  <a:pt x="300" y="51"/>
                </a:moveTo>
                <a:cubicBezTo>
                  <a:pt x="300" y="51"/>
                  <a:pt x="303" y="50"/>
                  <a:pt x="303" y="50"/>
                </a:cubicBezTo>
                <a:cubicBezTo>
                  <a:pt x="301" y="50"/>
                  <a:pt x="297" y="52"/>
                  <a:pt x="300" y="51"/>
                </a:cubicBezTo>
                <a:close/>
                <a:moveTo>
                  <a:pt x="296" y="41"/>
                </a:moveTo>
                <a:cubicBezTo>
                  <a:pt x="296" y="40"/>
                  <a:pt x="297" y="40"/>
                  <a:pt x="297" y="40"/>
                </a:cubicBezTo>
                <a:cubicBezTo>
                  <a:pt x="294" y="40"/>
                  <a:pt x="293" y="42"/>
                  <a:pt x="296" y="41"/>
                </a:cubicBezTo>
                <a:close/>
                <a:moveTo>
                  <a:pt x="295" y="49"/>
                </a:moveTo>
                <a:cubicBezTo>
                  <a:pt x="293" y="50"/>
                  <a:pt x="294" y="51"/>
                  <a:pt x="297" y="51"/>
                </a:cubicBezTo>
                <a:cubicBezTo>
                  <a:pt x="298" y="50"/>
                  <a:pt x="294" y="50"/>
                  <a:pt x="297" y="49"/>
                </a:cubicBezTo>
                <a:cubicBezTo>
                  <a:pt x="296" y="49"/>
                  <a:pt x="296" y="49"/>
                  <a:pt x="295" y="49"/>
                </a:cubicBezTo>
                <a:close/>
                <a:moveTo>
                  <a:pt x="296" y="54"/>
                </a:moveTo>
                <a:cubicBezTo>
                  <a:pt x="296" y="55"/>
                  <a:pt x="294" y="55"/>
                  <a:pt x="294" y="55"/>
                </a:cubicBezTo>
                <a:cubicBezTo>
                  <a:pt x="294" y="56"/>
                  <a:pt x="294" y="56"/>
                  <a:pt x="295" y="57"/>
                </a:cubicBezTo>
                <a:cubicBezTo>
                  <a:pt x="293" y="57"/>
                  <a:pt x="293" y="57"/>
                  <a:pt x="293" y="57"/>
                </a:cubicBezTo>
                <a:cubicBezTo>
                  <a:pt x="293" y="58"/>
                  <a:pt x="293" y="58"/>
                  <a:pt x="292" y="58"/>
                </a:cubicBezTo>
                <a:cubicBezTo>
                  <a:pt x="294" y="58"/>
                  <a:pt x="294" y="58"/>
                  <a:pt x="295" y="58"/>
                </a:cubicBezTo>
                <a:cubicBezTo>
                  <a:pt x="293" y="58"/>
                  <a:pt x="293" y="57"/>
                  <a:pt x="297" y="57"/>
                </a:cubicBezTo>
                <a:cubicBezTo>
                  <a:pt x="297" y="56"/>
                  <a:pt x="295" y="56"/>
                  <a:pt x="295" y="56"/>
                </a:cubicBezTo>
                <a:cubicBezTo>
                  <a:pt x="295" y="55"/>
                  <a:pt x="299" y="54"/>
                  <a:pt x="298" y="54"/>
                </a:cubicBezTo>
                <a:cubicBezTo>
                  <a:pt x="297" y="55"/>
                  <a:pt x="297" y="54"/>
                  <a:pt x="296" y="54"/>
                </a:cubicBezTo>
                <a:close/>
                <a:moveTo>
                  <a:pt x="286" y="51"/>
                </a:moveTo>
                <a:cubicBezTo>
                  <a:pt x="286" y="52"/>
                  <a:pt x="282" y="52"/>
                  <a:pt x="282" y="53"/>
                </a:cubicBezTo>
                <a:cubicBezTo>
                  <a:pt x="285" y="52"/>
                  <a:pt x="292" y="51"/>
                  <a:pt x="293" y="49"/>
                </a:cubicBezTo>
                <a:cubicBezTo>
                  <a:pt x="289" y="50"/>
                  <a:pt x="289" y="51"/>
                  <a:pt x="286" y="51"/>
                </a:cubicBezTo>
                <a:close/>
                <a:moveTo>
                  <a:pt x="287" y="58"/>
                </a:moveTo>
                <a:cubicBezTo>
                  <a:pt x="291" y="56"/>
                  <a:pt x="292" y="55"/>
                  <a:pt x="293" y="54"/>
                </a:cubicBezTo>
                <a:cubicBezTo>
                  <a:pt x="288" y="56"/>
                  <a:pt x="290" y="56"/>
                  <a:pt x="287" y="58"/>
                </a:cubicBezTo>
                <a:close/>
                <a:moveTo>
                  <a:pt x="286" y="51"/>
                </a:moveTo>
                <a:cubicBezTo>
                  <a:pt x="288" y="50"/>
                  <a:pt x="291" y="49"/>
                  <a:pt x="291" y="48"/>
                </a:cubicBezTo>
                <a:cubicBezTo>
                  <a:pt x="289" y="49"/>
                  <a:pt x="285" y="51"/>
                  <a:pt x="286" y="51"/>
                </a:cubicBezTo>
                <a:close/>
                <a:moveTo>
                  <a:pt x="288" y="60"/>
                </a:moveTo>
                <a:cubicBezTo>
                  <a:pt x="289" y="60"/>
                  <a:pt x="294" y="59"/>
                  <a:pt x="294" y="59"/>
                </a:cubicBezTo>
                <a:cubicBezTo>
                  <a:pt x="293" y="59"/>
                  <a:pt x="289" y="59"/>
                  <a:pt x="288" y="60"/>
                </a:cubicBezTo>
                <a:close/>
                <a:moveTo>
                  <a:pt x="283" y="27"/>
                </a:moveTo>
                <a:cubicBezTo>
                  <a:pt x="276" y="29"/>
                  <a:pt x="276" y="29"/>
                  <a:pt x="276" y="29"/>
                </a:cubicBezTo>
                <a:cubicBezTo>
                  <a:pt x="277" y="30"/>
                  <a:pt x="274" y="30"/>
                  <a:pt x="274" y="31"/>
                </a:cubicBezTo>
                <a:cubicBezTo>
                  <a:pt x="278" y="29"/>
                  <a:pt x="276" y="29"/>
                  <a:pt x="281" y="28"/>
                </a:cubicBezTo>
                <a:cubicBezTo>
                  <a:pt x="281" y="28"/>
                  <a:pt x="279" y="29"/>
                  <a:pt x="280" y="29"/>
                </a:cubicBezTo>
                <a:cubicBezTo>
                  <a:pt x="282" y="28"/>
                  <a:pt x="282" y="29"/>
                  <a:pt x="284" y="28"/>
                </a:cubicBezTo>
                <a:cubicBezTo>
                  <a:pt x="285" y="27"/>
                  <a:pt x="281" y="28"/>
                  <a:pt x="283" y="27"/>
                </a:cubicBezTo>
                <a:close/>
                <a:moveTo>
                  <a:pt x="291" y="52"/>
                </a:moveTo>
                <a:cubicBezTo>
                  <a:pt x="291" y="51"/>
                  <a:pt x="289" y="52"/>
                  <a:pt x="291" y="51"/>
                </a:cubicBezTo>
                <a:cubicBezTo>
                  <a:pt x="285" y="53"/>
                  <a:pt x="289" y="53"/>
                  <a:pt x="291" y="52"/>
                </a:cubicBezTo>
                <a:close/>
                <a:moveTo>
                  <a:pt x="282" y="46"/>
                </a:moveTo>
                <a:cubicBezTo>
                  <a:pt x="282" y="46"/>
                  <a:pt x="281" y="46"/>
                  <a:pt x="281" y="47"/>
                </a:cubicBezTo>
                <a:cubicBezTo>
                  <a:pt x="283" y="46"/>
                  <a:pt x="285" y="46"/>
                  <a:pt x="286" y="45"/>
                </a:cubicBezTo>
                <a:cubicBezTo>
                  <a:pt x="284" y="45"/>
                  <a:pt x="284" y="45"/>
                  <a:pt x="282" y="46"/>
                </a:cubicBezTo>
                <a:close/>
                <a:moveTo>
                  <a:pt x="275" y="46"/>
                </a:moveTo>
                <a:cubicBezTo>
                  <a:pt x="277" y="46"/>
                  <a:pt x="280" y="44"/>
                  <a:pt x="281" y="44"/>
                </a:cubicBezTo>
                <a:cubicBezTo>
                  <a:pt x="282" y="44"/>
                  <a:pt x="286" y="42"/>
                  <a:pt x="284" y="42"/>
                </a:cubicBezTo>
                <a:cubicBezTo>
                  <a:pt x="283" y="43"/>
                  <a:pt x="276" y="45"/>
                  <a:pt x="275" y="46"/>
                </a:cubicBezTo>
                <a:close/>
                <a:moveTo>
                  <a:pt x="284" y="57"/>
                </a:moveTo>
                <a:cubicBezTo>
                  <a:pt x="285" y="56"/>
                  <a:pt x="283" y="55"/>
                  <a:pt x="287" y="54"/>
                </a:cubicBezTo>
                <a:cubicBezTo>
                  <a:pt x="288" y="53"/>
                  <a:pt x="286" y="54"/>
                  <a:pt x="285" y="54"/>
                </a:cubicBezTo>
                <a:cubicBezTo>
                  <a:pt x="284" y="55"/>
                  <a:pt x="285" y="55"/>
                  <a:pt x="283" y="56"/>
                </a:cubicBezTo>
                <a:cubicBezTo>
                  <a:pt x="282" y="56"/>
                  <a:pt x="285" y="56"/>
                  <a:pt x="281" y="57"/>
                </a:cubicBezTo>
                <a:cubicBezTo>
                  <a:pt x="281" y="58"/>
                  <a:pt x="283" y="57"/>
                  <a:pt x="284" y="57"/>
                </a:cubicBezTo>
                <a:cubicBezTo>
                  <a:pt x="283" y="57"/>
                  <a:pt x="283" y="57"/>
                  <a:pt x="284" y="57"/>
                </a:cubicBezTo>
                <a:close/>
                <a:moveTo>
                  <a:pt x="279" y="43"/>
                </a:moveTo>
                <a:cubicBezTo>
                  <a:pt x="279" y="43"/>
                  <a:pt x="279" y="43"/>
                  <a:pt x="280" y="43"/>
                </a:cubicBezTo>
                <a:cubicBezTo>
                  <a:pt x="280" y="43"/>
                  <a:pt x="283" y="42"/>
                  <a:pt x="283" y="42"/>
                </a:cubicBezTo>
                <a:cubicBezTo>
                  <a:pt x="281" y="42"/>
                  <a:pt x="281" y="42"/>
                  <a:pt x="279" y="43"/>
                </a:cubicBezTo>
                <a:close/>
                <a:moveTo>
                  <a:pt x="273" y="49"/>
                </a:moveTo>
                <a:cubicBezTo>
                  <a:pt x="277" y="47"/>
                  <a:pt x="276" y="49"/>
                  <a:pt x="277" y="48"/>
                </a:cubicBezTo>
                <a:cubicBezTo>
                  <a:pt x="278" y="48"/>
                  <a:pt x="278" y="48"/>
                  <a:pt x="278" y="47"/>
                </a:cubicBezTo>
                <a:cubicBezTo>
                  <a:pt x="276" y="48"/>
                  <a:pt x="274" y="48"/>
                  <a:pt x="273" y="49"/>
                </a:cubicBezTo>
                <a:close/>
                <a:moveTo>
                  <a:pt x="274" y="62"/>
                </a:moveTo>
                <a:cubicBezTo>
                  <a:pt x="273" y="62"/>
                  <a:pt x="272" y="63"/>
                  <a:pt x="272" y="63"/>
                </a:cubicBezTo>
                <a:cubicBezTo>
                  <a:pt x="273" y="62"/>
                  <a:pt x="274" y="63"/>
                  <a:pt x="275" y="62"/>
                </a:cubicBezTo>
                <a:cubicBezTo>
                  <a:pt x="274" y="62"/>
                  <a:pt x="281" y="60"/>
                  <a:pt x="282" y="59"/>
                </a:cubicBezTo>
                <a:cubicBezTo>
                  <a:pt x="281" y="60"/>
                  <a:pt x="280" y="60"/>
                  <a:pt x="280" y="60"/>
                </a:cubicBezTo>
                <a:cubicBezTo>
                  <a:pt x="279" y="60"/>
                  <a:pt x="280" y="59"/>
                  <a:pt x="278" y="59"/>
                </a:cubicBezTo>
                <a:cubicBezTo>
                  <a:pt x="279" y="60"/>
                  <a:pt x="277" y="60"/>
                  <a:pt x="275" y="61"/>
                </a:cubicBezTo>
                <a:cubicBezTo>
                  <a:pt x="276" y="61"/>
                  <a:pt x="275" y="61"/>
                  <a:pt x="274" y="62"/>
                </a:cubicBezTo>
                <a:close/>
                <a:moveTo>
                  <a:pt x="270" y="48"/>
                </a:moveTo>
                <a:cubicBezTo>
                  <a:pt x="270" y="49"/>
                  <a:pt x="273" y="48"/>
                  <a:pt x="276" y="47"/>
                </a:cubicBezTo>
                <a:cubicBezTo>
                  <a:pt x="273" y="47"/>
                  <a:pt x="273" y="46"/>
                  <a:pt x="271" y="47"/>
                </a:cubicBezTo>
                <a:cubicBezTo>
                  <a:pt x="272" y="47"/>
                  <a:pt x="274" y="47"/>
                  <a:pt x="270" y="48"/>
                </a:cubicBezTo>
                <a:close/>
                <a:moveTo>
                  <a:pt x="276" y="60"/>
                </a:moveTo>
                <a:cubicBezTo>
                  <a:pt x="276" y="60"/>
                  <a:pt x="277" y="59"/>
                  <a:pt x="276" y="59"/>
                </a:cubicBezTo>
                <a:cubicBezTo>
                  <a:pt x="270" y="61"/>
                  <a:pt x="269" y="62"/>
                  <a:pt x="276" y="60"/>
                </a:cubicBezTo>
                <a:close/>
                <a:moveTo>
                  <a:pt x="264" y="34"/>
                </a:moveTo>
                <a:cubicBezTo>
                  <a:pt x="262" y="34"/>
                  <a:pt x="261" y="35"/>
                  <a:pt x="261" y="35"/>
                </a:cubicBezTo>
                <a:cubicBezTo>
                  <a:pt x="263" y="35"/>
                  <a:pt x="265" y="34"/>
                  <a:pt x="265" y="34"/>
                </a:cubicBezTo>
                <a:cubicBezTo>
                  <a:pt x="264" y="34"/>
                  <a:pt x="264" y="34"/>
                  <a:pt x="264" y="34"/>
                </a:cubicBezTo>
                <a:close/>
                <a:moveTo>
                  <a:pt x="248" y="40"/>
                </a:moveTo>
                <a:cubicBezTo>
                  <a:pt x="250" y="40"/>
                  <a:pt x="247" y="41"/>
                  <a:pt x="248" y="41"/>
                </a:cubicBezTo>
                <a:cubicBezTo>
                  <a:pt x="251" y="40"/>
                  <a:pt x="250" y="40"/>
                  <a:pt x="252" y="39"/>
                </a:cubicBezTo>
                <a:cubicBezTo>
                  <a:pt x="252" y="39"/>
                  <a:pt x="252" y="40"/>
                  <a:pt x="253" y="39"/>
                </a:cubicBezTo>
                <a:cubicBezTo>
                  <a:pt x="254" y="39"/>
                  <a:pt x="253" y="39"/>
                  <a:pt x="254" y="38"/>
                </a:cubicBezTo>
                <a:cubicBezTo>
                  <a:pt x="257" y="37"/>
                  <a:pt x="256" y="38"/>
                  <a:pt x="259" y="36"/>
                </a:cubicBezTo>
                <a:cubicBezTo>
                  <a:pt x="260" y="36"/>
                  <a:pt x="260" y="36"/>
                  <a:pt x="260" y="35"/>
                </a:cubicBezTo>
                <a:cubicBezTo>
                  <a:pt x="258" y="36"/>
                  <a:pt x="258" y="36"/>
                  <a:pt x="256" y="36"/>
                </a:cubicBezTo>
                <a:cubicBezTo>
                  <a:pt x="258" y="36"/>
                  <a:pt x="253" y="38"/>
                  <a:pt x="254" y="37"/>
                </a:cubicBezTo>
                <a:cubicBezTo>
                  <a:pt x="251" y="38"/>
                  <a:pt x="252" y="39"/>
                  <a:pt x="250" y="40"/>
                </a:cubicBezTo>
                <a:cubicBezTo>
                  <a:pt x="250" y="39"/>
                  <a:pt x="251" y="39"/>
                  <a:pt x="250" y="39"/>
                </a:cubicBezTo>
                <a:cubicBezTo>
                  <a:pt x="245" y="41"/>
                  <a:pt x="242" y="42"/>
                  <a:pt x="238" y="44"/>
                </a:cubicBezTo>
                <a:cubicBezTo>
                  <a:pt x="237" y="45"/>
                  <a:pt x="241" y="44"/>
                  <a:pt x="239" y="45"/>
                </a:cubicBezTo>
                <a:cubicBezTo>
                  <a:pt x="235" y="46"/>
                  <a:pt x="238" y="43"/>
                  <a:pt x="235" y="45"/>
                </a:cubicBezTo>
                <a:cubicBezTo>
                  <a:pt x="236" y="45"/>
                  <a:pt x="236" y="46"/>
                  <a:pt x="238" y="45"/>
                </a:cubicBezTo>
                <a:cubicBezTo>
                  <a:pt x="239" y="44"/>
                  <a:pt x="241" y="44"/>
                  <a:pt x="242" y="44"/>
                </a:cubicBezTo>
                <a:cubicBezTo>
                  <a:pt x="243" y="43"/>
                  <a:pt x="241" y="44"/>
                  <a:pt x="242" y="43"/>
                </a:cubicBezTo>
                <a:cubicBezTo>
                  <a:pt x="245" y="42"/>
                  <a:pt x="246" y="41"/>
                  <a:pt x="248" y="40"/>
                </a:cubicBezTo>
                <a:close/>
                <a:moveTo>
                  <a:pt x="253" y="56"/>
                </a:moveTo>
                <a:cubicBezTo>
                  <a:pt x="253" y="57"/>
                  <a:pt x="253" y="57"/>
                  <a:pt x="254" y="57"/>
                </a:cubicBezTo>
                <a:cubicBezTo>
                  <a:pt x="257" y="55"/>
                  <a:pt x="256" y="56"/>
                  <a:pt x="258" y="55"/>
                </a:cubicBezTo>
                <a:cubicBezTo>
                  <a:pt x="258" y="55"/>
                  <a:pt x="263" y="53"/>
                  <a:pt x="264" y="52"/>
                </a:cubicBezTo>
                <a:cubicBezTo>
                  <a:pt x="260" y="53"/>
                  <a:pt x="255" y="56"/>
                  <a:pt x="253" y="56"/>
                </a:cubicBezTo>
                <a:close/>
                <a:moveTo>
                  <a:pt x="264" y="64"/>
                </a:moveTo>
                <a:cubicBezTo>
                  <a:pt x="267" y="64"/>
                  <a:pt x="264" y="65"/>
                  <a:pt x="263" y="65"/>
                </a:cubicBezTo>
                <a:cubicBezTo>
                  <a:pt x="263" y="66"/>
                  <a:pt x="263" y="66"/>
                  <a:pt x="264" y="66"/>
                </a:cubicBezTo>
                <a:cubicBezTo>
                  <a:pt x="264" y="65"/>
                  <a:pt x="265" y="66"/>
                  <a:pt x="267" y="65"/>
                </a:cubicBezTo>
                <a:cubicBezTo>
                  <a:pt x="268" y="64"/>
                  <a:pt x="268" y="64"/>
                  <a:pt x="268" y="63"/>
                </a:cubicBezTo>
                <a:cubicBezTo>
                  <a:pt x="267" y="64"/>
                  <a:pt x="265" y="63"/>
                  <a:pt x="264" y="64"/>
                </a:cubicBezTo>
                <a:close/>
                <a:moveTo>
                  <a:pt x="261" y="65"/>
                </a:moveTo>
                <a:cubicBezTo>
                  <a:pt x="261" y="65"/>
                  <a:pt x="261" y="65"/>
                  <a:pt x="261" y="65"/>
                </a:cubicBezTo>
                <a:cubicBezTo>
                  <a:pt x="263" y="65"/>
                  <a:pt x="266" y="63"/>
                  <a:pt x="264" y="63"/>
                </a:cubicBezTo>
                <a:cubicBezTo>
                  <a:pt x="264" y="64"/>
                  <a:pt x="263" y="64"/>
                  <a:pt x="261" y="65"/>
                </a:cubicBezTo>
                <a:close/>
                <a:moveTo>
                  <a:pt x="253" y="68"/>
                </a:moveTo>
                <a:cubicBezTo>
                  <a:pt x="255" y="68"/>
                  <a:pt x="258" y="67"/>
                  <a:pt x="259" y="67"/>
                </a:cubicBezTo>
                <a:cubicBezTo>
                  <a:pt x="258" y="67"/>
                  <a:pt x="261" y="66"/>
                  <a:pt x="260" y="66"/>
                </a:cubicBezTo>
                <a:cubicBezTo>
                  <a:pt x="257" y="67"/>
                  <a:pt x="256" y="67"/>
                  <a:pt x="253" y="68"/>
                </a:cubicBezTo>
                <a:close/>
                <a:moveTo>
                  <a:pt x="256" y="64"/>
                </a:moveTo>
                <a:cubicBezTo>
                  <a:pt x="258" y="64"/>
                  <a:pt x="255" y="65"/>
                  <a:pt x="257" y="65"/>
                </a:cubicBezTo>
                <a:cubicBezTo>
                  <a:pt x="258" y="64"/>
                  <a:pt x="257" y="64"/>
                  <a:pt x="258" y="63"/>
                </a:cubicBezTo>
                <a:lnTo>
                  <a:pt x="256" y="64"/>
                </a:lnTo>
                <a:close/>
                <a:moveTo>
                  <a:pt x="249" y="75"/>
                </a:moveTo>
                <a:cubicBezTo>
                  <a:pt x="249" y="75"/>
                  <a:pt x="249" y="75"/>
                  <a:pt x="248" y="75"/>
                </a:cubicBezTo>
                <a:cubicBezTo>
                  <a:pt x="247" y="75"/>
                  <a:pt x="250" y="73"/>
                  <a:pt x="247" y="74"/>
                </a:cubicBezTo>
                <a:cubicBezTo>
                  <a:pt x="250" y="74"/>
                  <a:pt x="243" y="77"/>
                  <a:pt x="246" y="77"/>
                </a:cubicBezTo>
                <a:cubicBezTo>
                  <a:pt x="246" y="77"/>
                  <a:pt x="247" y="76"/>
                  <a:pt x="247" y="76"/>
                </a:cubicBezTo>
                <a:cubicBezTo>
                  <a:pt x="246" y="77"/>
                  <a:pt x="246" y="77"/>
                  <a:pt x="247" y="77"/>
                </a:cubicBezTo>
                <a:cubicBezTo>
                  <a:pt x="249" y="75"/>
                  <a:pt x="255" y="74"/>
                  <a:pt x="257" y="72"/>
                </a:cubicBezTo>
                <a:cubicBezTo>
                  <a:pt x="255" y="72"/>
                  <a:pt x="252" y="74"/>
                  <a:pt x="249" y="75"/>
                </a:cubicBezTo>
                <a:close/>
                <a:moveTo>
                  <a:pt x="248" y="62"/>
                </a:moveTo>
                <a:cubicBezTo>
                  <a:pt x="250" y="61"/>
                  <a:pt x="251" y="61"/>
                  <a:pt x="251" y="60"/>
                </a:cubicBezTo>
                <a:cubicBezTo>
                  <a:pt x="249" y="61"/>
                  <a:pt x="248" y="62"/>
                  <a:pt x="248" y="62"/>
                </a:cubicBezTo>
                <a:close/>
                <a:moveTo>
                  <a:pt x="246" y="67"/>
                </a:moveTo>
                <a:cubicBezTo>
                  <a:pt x="243" y="68"/>
                  <a:pt x="245" y="69"/>
                  <a:pt x="248" y="68"/>
                </a:cubicBezTo>
                <a:cubicBezTo>
                  <a:pt x="248" y="67"/>
                  <a:pt x="246" y="68"/>
                  <a:pt x="246" y="67"/>
                </a:cubicBezTo>
                <a:close/>
                <a:moveTo>
                  <a:pt x="244" y="65"/>
                </a:moveTo>
                <a:cubicBezTo>
                  <a:pt x="243" y="65"/>
                  <a:pt x="245" y="64"/>
                  <a:pt x="245" y="63"/>
                </a:cubicBezTo>
                <a:cubicBezTo>
                  <a:pt x="242" y="64"/>
                  <a:pt x="242" y="66"/>
                  <a:pt x="244" y="65"/>
                </a:cubicBezTo>
                <a:close/>
                <a:moveTo>
                  <a:pt x="241" y="72"/>
                </a:moveTo>
                <a:cubicBezTo>
                  <a:pt x="241" y="72"/>
                  <a:pt x="241" y="71"/>
                  <a:pt x="240" y="71"/>
                </a:cubicBezTo>
                <a:cubicBezTo>
                  <a:pt x="240" y="72"/>
                  <a:pt x="239" y="72"/>
                  <a:pt x="239" y="72"/>
                </a:cubicBezTo>
                <a:cubicBezTo>
                  <a:pt x="239" y="72"/>
                  <a:pt x="238" y="73"/>
                  <a:pt x="238" y="73"/>
                </a:cubicBezTo>
                <a:cubicBezTo>
                  <a:pt x="242" y="71"/>
                  <a:pt x="237" y="74"/>
                  <a:pt x="239" y="74"/>
                </a:cubicBezTo>
                <a:cubicBezTo>
                  <a:pt x="243" y="71"/>
                  <a:pt x="246" y="72"/>
                  <a:pt x="248" y="70"/>
                </a:cubicBezTo>
                <a:cubicBezTo>
                  <a:pt x="245" y="70"/>
                  <a:pt x="241" y="73"/>
                  <a:pt x="239" y="73"/>
                </a:cubicBezTo>
                <a:cubicBezTo>
                  <a:pt x="239" y="73"/>
                  <a:pt x="240" y="72"/>
                  <a:pt x="241" y="72"/>
                </a:cubicBezTo>
                <a:close/>
                <a:moveTo>
                  <a:pt x="239" y="71"/>
                </a:moveTo>
                <a:cubicBezTo>
                  <a:pt x="236" y="72"/>
                  <a:pt x="237" y="73"/>
                  <a:pt x="236" y="74"/>
                </a:cubicBezTo>
                <a:cubicBezTo>
                  <a:pt x="238" y="73"/>
                  <a:pt x="239" y="72"/>
                  <a:pt x="239" y="71"/>
                </a:cubicBezTo>
                <a:close/>
                <a:moveTo>
                  <a:pt x="226" y="49"/>
                </a:moveTo>
                <a:cubicBezTo>
                  <a:pt x="226" y="48"/>
                  <a:pt x="225" y="49"/>
                  <a:pt x="227" y="47"/>
                </a:cubicBezTo>
                <a:cubicBezTo>
                  <a:pt x="225" y="49"/>
                  <a:pt x="222" y="49"/>
                  <a:pt x="221" y="51"/>
                </a:cubicBezTo>
                <a:cubicBezTo>
                  <a:pt x="225" y="49"/>
                  <a:pt x="224" y="50"/>
                  <a:pt x="226" y="50"/>
                </a:cubicBezTo>
                <a:cubicBezTo>
                  <a:pt x="224" y="51"/>
                  <a:pt x="224" y="51"/>
                  <a:pt x="222" y="51"/>
                </a:cubicBezTo>
                <a:cubicBezTo>
                  <a:pt x="223" y="52"/>
                  <a:pt x="227" y="50"/>
                  <a:pt x="230" y="49"/>
                </a:cubicBezTo>
                <a:cubicBezTo>
                  <a:pt x="230" y="48"/>
                  <a:pt x="230" y="48"/>
                  <a:pt x="231" y="47"/>
                </a:cubicBezTo>
                <a:cubicBezTo>
                  <a:pt x="231" y="47"/>
                  <a:pt x="231" y="48"/>
                  <a:pt x="233" y="47"/>
                </a:cubicBezTo>
                <a:cubicBezTo>
                  <a:pt x="233" y="46"/>
                  <a:pt x="233" y="46"/>
                  <a:pt x="233" y="46"/>
                </a:cubicBezTo>
                <a:cubicBezTo>
                  <a:pt x="229" y="48"/>
                  <a:pt x="228" y="48"/>
                  <a:pt x="226" y="49"/>
                </a:cubicBezTo>
                <a:close/>
                <a:moveTo>
                  <a:pt x="235" y="57"/>
                </a:moveTo>
                <a:cubicBezTo>
                  <a:pt x="233" y="58"/>
                  <a:pt x="231" y="59"/>
                  <a:pt x="230" y="59"/>
                </a:cubicBezTo>
                <a:cubicBezTo>
                  <a:pt x="228" y="60"/>
                  <a:pt x="231" y="59"/>
                  <a:pt x="232" y="59"/>
                </a:cubicBezTo>
                <a:cubicBezTo>
                  <a:pt x="232" y="59"/>
                  <a:pt x="231" y="59"/>
                  <a:pt x="233" y="58"/>
                </a:cubicBezTo>
                <a:cubicBezTo>
                  <a:pt x="233" y="58"/>
                  <a:pt x="233" y="59"/>
                  <a:pt x="232" y="59"/>
                </a:cubicBezTo>
                <a:cubicBezTo>
                  <a:pt x="234" y="58"/>
                  <a:pt x="236" y="58"/>
                  <a:pt x="236" y="57"/>
                </a:cubicBezTo>
                <a:cubicBezTo>
                  <a:pt x="235" y="57"/>
                  <a:pt x="235" y="57"/>
                  <a:pt x="235" y="57"/>
                </a:cubicBezTo>
                <a:close/>
                <a:moveTo>
                  <a:pt x="235" y="64"/>
                </a:moveTo>
                <a:cubicBezTo>
                  <a:pt x="237" y="63"/>
                  <a:pt x="235" y="65"/>
                  <a:pt x="235" y="65"/>
                </a:cubicBezTo>
                <a:cubicBezTo>
                  <a:pt x="238" y="64"/>
                  <a:pt x="238" y="64"/>
                  <a:pt x="238" y="63"/>
                </a:cubicBezTo>
                <a:cubicBezTo>
                  <a:pt x="237" y="64"/>
                  <a:pt x="235" y="64"/>
                  <a:pt x="235" y="64"/>
                </a:cubicBezTo>
                <a:close/>
                <a:moveTo>
                  <a:pt x="230" y="61"/>
                </a:moveTo>
                <a:cubicBezTo>
                  <a:pt x="230" y="61"/>
                  <a:pt x="228" y="63"/>
                  <a:pt x="231" y="62"/>
                </a:cubicBezTo>
                <a:cubicBezTo>
                  <a:pt x="230" y="62"/>
                  <a:pt x="232" y="60"/>
                  <a:pt x="232" y="60"/>
                </a:cubicBezTo>
                <a:cubicBezTo>
                  <a:pt x="231" y="60"/>
                  <a:pt x="230" y="61"/>
                  <a:pt x="230" y="61"/>
                </a:cubicBezTo>
                <a:close/>
                <a:moveTo>
                  <a:pt x="227" y="61"/>
                </a:moveTo>
                <a:cubicBezTo>
                  <a:pt x="227" y="62"/>
                  <a:pt x="227" y="62"/>
                  <a:pt x="227" y="62"/>
                </a:cubicBezTo>
                <a:cubicBezTo>
                  <a:pt x="228" y="61"/>
                  <a:pt x="229" y="60"/>
                  <a:pt x="230" y="60"/>
                </a:cubicBezTo>
                <a:cubicBezTo>
                  <a:pt x="230" y="60"/>
                  <a:pt x="229" y="60"/>
                  <a:pt x="227" y="61"/>
                </a:cubicBezTo>
                <a:close/>
                <a:moveTo>
                  <a:pt x="225" y="71"/>
                </a:moveTo>
                <a:cubicBezTo>
                  <a:pt x="228" y="69"/>
                  <a:pt x="229" y="68"/>
                  <a:pt x="232" y="66"/>
                </a:cubicBezTo>
                <a:cubicBezTo>
                  <a:pt x="230" y="67"/>
                  <a:pt x="232" y="66"/>
                  <a:pt x="232" y="65"/>
                </a:cubicBezTo>
                <a:cubicBezTo>
                  <a:pt x="230" y="67"/>
                  <a:pt x="226" y="67"/>
                  <a:pt x="226" y="68"/>
                </a:cubicBezTo>
                <a:cubicBezTo>
                  <a:pt x="227" y="69"/>
                  <a:pt x="228" y="67"/>
                  <a:pt x="230" y="67"/>
                </a:cubicBezTo>
                <a:cubicBezTo>
                  <a:pt x="230" y="67"/>
                  <a:pt x="231" y="67"/>
                  <a:pt x="231" y="67"/>
                </a:cubicBezTo>
                <a:cubicBezTo>
                  <a:pt x="228" y="69"/>
                  <a:pt x="225" y="70"/>
                  <a:pt x="225" y="71"/>
                </a:cubicBezTo>
                <a:close/>
                <a:moveTo>
                  <a:pt x="228" y="73"/>
                </a:moveTo>
                <a:cubicBezTo>
                  <a:pt x="228" y="73"/>
                  <a:pt x="228" y="72"/>
                  <a:pt x="226" y="73"/>
                </a:cubicBezTo>
                <a:cubicBezTo>
                  <a:pt x="227" y="74"/>
                  <a:pt x="227" y="74"/>
                  <a:pt x="227" y="74"/>
                </a:cubicBezTo>
                <a:cubicBezTo>
                  <a:pt x="228" y="73"/>
                  <a:pt x="231" y="72"/>
                  <a:pt x="230" y="72"/>
                </a:cubicBezTo>
                <a:lnTo>
                  <a:pt x="228" y="73"/>
                </a:lnTo>
                <a:close/>
                <a:moveTo>
                  <a:pt x="221" y="77"/>
                </a:moveTo>
                <a:cubicBezTo>
                  <a:pt x="221" y="77"/>
                  <a:pt x="224" y="76"/>
                  <a:pt x="225" y="76"/>
                </a:cubicBezTo>
                <a:cubicBezTo>
                  <a:pt x="224" y="77"/>
                  <a:pt x="222" y="78"/>
                  <a:pt x="221" y="79"/>
                </a:cubicBezTo>
                <a:cubicBezTo>
                  <a:pt x="223" y="78"/>
                  <a:pt x="225" y="77"/>
                  <a:pt x="227" y="76"/>
                </a:cubicBezTo>
                <a:cubicBezTo>
                  <a:pt x="228" y="75"/>
                  <a:pt x="227" y="75"/>
                  <a:pt x="226" y="74"/>
                </a:cubicBezTo>
                <a:cubicBezTo>
                  <a:pt x="224" y="75"/>
                  <a:pt x="223" y="76"/>
                  <a:pt x="222" y="77"/>
                </a:cubicBezTo>
                <a:cubicBezTo>
                  <a:pt x="222" y="76"/>
                  <a:pt x="221" y="76"/>
                  <a:pt x="221" y="77"/>
                </a:cubicBezTo>
                <a:close/>
                <a:moveTo>
                  <a:pt x="224" y="73"/>
                </a:moveTo>
                <a:cubicBezTo>
                  <a:pt x="220" y="76"/>
                  <a:pt x="220" y="76"/>
                  <a:pt x="220" y="76"/>
                </a:cubicBezTo>
                <a:cubicBezTo>
                  <a:pt x="222" y="76"/>
                  <a:pt x="221" y="76"/>
                  <a:pt x="224" y="75"/>
                </a:cubicBezTo>
                <a:cubicBezTo>
                  <a:pt x="223" y="74"/>
                  <a:pt x="226" y="73"/>
                  <a:pt x="224" y="73"/>
                </a:cubicBezTo>
                <a:close/>
                <a:moveTo>
                  <a:pt x="206" y="64"/>
                </a:moveTo>
                <a:cubicBezTo>
                  <a:pt x="207" y="65"/>
                  <a:pt x="208" y="64"/>
                  <a:pt x="207" y="65"/>
                </a:cubicBezTo>
                <a:cubicBezTo>
                  <a:pt x="212" y="62"/>
                  <a:pt x="208" y="64"/>
                  <a:pt x="209" y="63"/>
                </a:cubicBezTo>
                <a:cubicBezTo>
                  <a:pt x="210" y="62"/>
                  <a:pt x="210" y="63"/>
                  <a:pt x="212" y="62"/>
                </a:cubicBezTo>
                <a:cubicBezTo>
                  <a:pt x="212" y="61"/>
                  <a:pt x="209" y="62"/>
                  <a:pt x="206" y="64"/>
                </a:cubicBezTo>
                <a:close/>
                <a:moveTo>
                  <a:pt x="197" y="73"/>
                </a:moveTo>
                <a:cubicBezTo>
                  <a:pt x="198" y="73"/>
                  <a:pt x="198" y="72"/>
                  <a:pt x="198" y="73"/>
                </a:cubicBezTo>
                <a:cubicBezTo>
                  <a:pt x="199" y="72"/>
                  <a:pt x="200" y="71"/>
                  <a:pt x="200" y="71"/>
                </a:cubicBezTo>
                <a:cubicBezTo>
                  <a:pt x="198" y="72"/>
                  <a:pt x="201" y="70"/>
                  <a:pt x="200" y="70"/>
                </a:cubicBezTo>
                <a:cubicBezTo>
                  <a:pt x="197" y="72"/>
                  <a:pt x="200" y="72"/>
                  <a:pt x="197" y="73"/>
                </a:cubicBezTo>
                <a:close/>
                <a:moveTo>
                  <a:pt x="196" y="70"/>
                </a:moveTo>
                <a:cubicBezTo>
                  <a:pt x="196" y="71"/>
                  <a:pt x="198" y="69"/>
                  <a:pt x="197" y="71"/>
                </a:cubicBezTo>
                <a:cubicBezTo>
                  <a:pt x="200" y="69"/>
                  <a:pt x="198" y="68"/>
                  <a:pt x="196" y="70"/>
                </a:cubicBezTo>
                <a:close/>
                <a:moveTo>
                  <a:pt x="191" y="75"/>
                </a:moveTo>
                <a:cubicBezTo>
                  <a:pt x="192" y="74"/>
                  <a:pt x="194" y="72"/>
                  <a:pt x="192" y="73"/>
                </a:cubicBezTo>
                <a:cubicBezTo>
                  <a:pt x="192" y="74"/>
                  <a:pt x="189" y="75"/>
                  <a:pt x="191" y="75"/>
                </a:cubicBezTo>
                <a:close/>
                <a:moveTo>
                  <a:pt x="187" y="76"/>
                </a:moveTo>
                <a:cubicBezTo>
                  <a:pt x="186" y="77"/>
                  <a:pt x="184" y="78"/>
                  <a:pt x="185" y="79"/>
                </a:cubicBezTo>
                <a:cubicBezTo>
                  <a:pt x="185" y="78"/>
                  <a:pt x="187" y="77"/>
                  <a:pt x="187" y="78"/>
                </a:cubicBezTo>
                <a:cubicBezTo>
                  <a:pt x="186" y="78"/>
                  <a:pt x="187" y="78"/>
                  <a:pt x="188" y="77"/>
                </a:cubicBezTo>
                <a:cubicBezTo>
                  <a:pt x="189" y="76"/>
                  <a:pt x="189" y="76"/>
                  <a:pt x="187" y="76"/>
                </a:cubicBezTo>
                <a:close/>
                <a:moveTo>
                  <a:pt x="186" y="75"/>
                </a:moveTo>
                <a:cubicBezTo>
                  <a:pt x="185" y="76"/>
                  <a:pt x="184" y="77"/>
                  <a:pt x="184" y="77"/>
                </a:cubicBezTo>
                <a:cubicBezTo>
                  <a:pt x="183" y="78"/>
                  <a:pt x="188" y="76"/>
                  <a:pt x="188" y="75"/>
                </a:cubicBezTo>
                <a:cubicBezTo>
                  <a:pt x="186" y="76"/>
                  <a:pt x="187" y="75"/>
                  <a:pt x="186" y="75"/>
                </a:cubicBezTo>
                <a:close/>
                <a:moveTo>
                  <a:pt x="186" y="95"/>
                </a:moveTo>
                <a:cubicBezTo>
                  <a:pt x="187" y="94"/>
                  <a:pt x="186" y="95"/>
                  <a:pt x="186" y="95"/>
                </a:cubicBezTo>
                <a:cubicBezTo>
                  <a:pt x="191" y="92"/>
                  <a:pt x="191" y="92"/>
                  <a:pt x="191" y="92"/>
                </a:cubicBezTo>
                <a:cubicBezTo>
                  <a:pt x="192" y="92"/>
                  <a:pt x="191" y="93"/>
                  <a:pt x="193" y="92"/>
                </a:cubicBezTo>
                <a:cubicBezTo>
                  <a:pt x="192" y="92"/>
                  <a:pt x="195" y="91"/>
                  <a:pt x="195" y="90"/>
                </a:cubicBezTo>
                <a:cubicBezTo>
                  <a:pt x="194" y="91"/>
                  <a:pt x="193" y="90"/>
                  <a:pt x="192" y="91"/>
                </a:cubicBezTo>
                <a:cubicBezTo>
                  <a:pt x="190" y="93"/>
                  <a:pt x="187" y="94"/>
                  <a:pt x="186" y="95"/>
                </a:cubicBezTo>
                <a:close/>
                <a:moveTo>
                  <a:pt x="178" y="81"/>
                </a:moveTo>
                <a:cubicBezTo>
                  <a:pt x="176" y="83"/>
                  <a:pt x="179" y="82"/>
                  <a:pt x="180" y="81"/>
                </a:cubicBezTo>
                <a:cubicBezTo>
                  <a:pt x="181" y="80"/>
                  <a:pt x="183" y="79"/>
                  <a:pt x="183" y="79"/>
                </a:cubicBezTo>
                <a:cubicBezTo>
                  <a:pt x="180" y="81"/>
                  <a:pt x="183" y="78"/>
                  <a:pt x="178" y="81"/>
                </a:cubicBezTo>
                <a:close/>
                <a:moveTo>
                  <a:pt x="182" y="80"/>
                </a:moveTo>
                <a:cubicBezTo>
                  <a:pt x="182" y="81"/>
                  <a:pt x="178" y="83"/>
                  <a:pt x="179" y="83"/>
                </a:cubicBezTo>
                <a:cubicBezTo>
                  <a:pt x="181" y="82"/>
                  <a:pt x="182" y="82"/>
                  <a:pt x="183" y="81"/>
                </a:cubicBezTo>
                <a:cubicBezTo>
                  <a:pt x="180" y="82"/>
                  <a:pt x="186" y="79"/>
                  <a:pt x="182" y="80"/>
                </a:cubicBezTo>
                <a:close/>
                <a:moveTo>
                  <a:pt x="182" y="82"/>
                </a:moveTo>
                <a:cubicBezTo>
                  <a:pt x="180" y="84"/>
                  <a:pt x="178" y="86"/>
                  <a:pt x="180" y="86"/>
                </a:cubicBezTo>
                <a:cubicBezTo>
                  <a:pt x="180" y="85"/>
                  <a:pt x="183" y="83"/>
                  <a:pt x="181" y="85"/>
                </a:cubicBezTo>
                <a:cubicBezTo>
                  <a:pt x="186" y="82"/>
                  <a:pt x="180" y="85"/>
                  <a:pt x="183" y="82"/>
                </a:cubicBezTo>
                <a:cubicBezTo>
                  <a:pt x="182" y="82"/>
                  <a:pt x="182" y="83"/>
                  <a:pt x="182" y="82"/>
                </a:cubicBezTo>
                <a:close/>
                <a:moveTo>
                  <a:pt x="165" y="91"/>
                </a:moveTo>
                <a:cubicBezTo>
                  <a:pt x="163" y="92"/>
                  <a:pt x="163" y="92"/>
                  <a:pt x="163" y="93"/>
                </a:cubicBezTo>
                <a:cubicBezTo>
                  <a:pt x="163" y="92"/>
                  <a:pt x="159" y="95"/>
                  <a:pt x="158" y="95"/>
                </a:cubicBezTo>
                <a:cubicBezTo>
                  <a:pt x="159" y="96"/>
                  <a:pt x="163" y="93"/>
                  <a:pt x="166" y="91"/>
                </a:cubicBezTo>
                <a:cubicBezTo>
                  <a:pt x="165" y="91"/>
                  <a:pt x="167" y="90"/>
                  <a:pt x="165" y="91"/>
                </a:cubicBezTo>
                <a:close/>
                <a:moveTo>
                  <a:pt x="167" y="91"/>
                </a:moveTo>
                <a:cubicBezTo>
                  <a:pt x="169" y="90"/>
                  <a:pt x="169" y="90"/>
                  <a:pt x="171" y="90"/>
                </a:cubicBezTo>
                <a:cubicBezTo>
                  <a:pt x="171" y="88"/>
                  <a:pt x="176" y="85"/>
                  <a:pt x="178" y="83"/>
                </a:cubicBezTo>
                <a:cubicBezTo>
                  <a:pt x="176" y="84"/>
                  <a:pt x="176" y="82"/>
                  <a:pt x="174" y="84"/>
                </a:cubicBezTo>
                <a:cubicBezTo>
                  <a:pt x="175" y="85"/>
                  <a:pt x="170" y="87"/>
                  <a:pt x="170" y="88"/>
                </a:cubicBezTo>
                <a:cubicBezTo>
                  <a:pt x="169" y="88"/>
                  <a:pt x="169" y="88"/>
                  <a:pt x="169" y="87"/>
                </a:cubicBezTo>
                <a:cubicBezTo>
                  <a:pt x="166" y="90"/>
                  <a:pt x="167" y="90"/>
                  <a:pt x="167" y="91"/>
                </a:cubicBezTo>
                <a:close/>
                <a:moveTo>
                  <a:pt x="173" y="93"/>
                </a:moveTo>
                <a:cubicBezTo>
                  <a:pt x="174" y="92"/>
                  <a:pt x="173" y="94"/>
                  <a:pt x="176" y="92"/>
                </a:cubicBezTo>
                <a:cubicBezTo>
                  <a:pt x="176" y="91"/>
                  <a:pt x="175" y="92"/>
                  <a:pt x="176" y="91"/>
                </a:cubicBezTo>
                <a:cubicBezTo>
                  <a:pt x="174" y="92"/>
                  <a:pt x="173" y="92"/>
                  <a:pt x="173" y="93"/>
                </a:cubicBezTo>
                <a:close/>
                <a:moveTo>
                  <a:pt x="174" y="104"/>
                </a:moveTo>
                <a:cubicBezTo>
                  <a:pt x="174" y="105"/>
                  <a:pt x="181" y="100"/>
                  <a:pt x="180" y="100"/>
                </a:cubicBezTo>
                <a:cubicBezTo>
                  <a:pt x="177" y="102"/>
                  <a:pt x="177" y="103"/>
                  <a:pt x="174" y="104"/>
                </a:cubicBezTo>
                <a:close/>
                <a:moveTo>
                  <a:pt x="164" y="99"/>
                </a:moveTo>
                <a:cubicBezTo>
                  <a:pt x="166" y="98"/>
                  <a:pt x="169" y="96"/>
                  <a:pt x="170" y="95"/>
                </a:cubicBezTo>
                <a:cubicBezTo>
                  <a:pt x="167" y="97"/>
                  <a:pt x="165" y="97"/>
                  <a:pt x="164" y="99"/>
                </a:cubicBezTo>
                <a:close/>
                <a:moveTo>
                  <a:pt x="159" y="99"/>
                </a:moveTo>
                <a:cubicBezTo>
                  <a:pt x="159" y="100"/>
                  <a:pt x="158" y="100"/>
                  <a:pt x="158" y="100"/>
                </a:cubicBezTo>
                <a:cubicBezTo>
                  <a:pt x="160" y="99"/>
                  <a:pt x="160" y="98"/>
                  <a:pt x="161" y="97"/>
                </a:cubicBezTo>
                <a:cubicBezTo>
                  <a:pt x="161" y="97"/>
                  <a:pt x="161" y="98"/>
                  <a:pt x="162" y="97"/>
                </a:cubicBezTo>
                <a:cubicBezTo>
                  <a:pt x="163" y="96"/>
                  <a:pt x="162" y="97"/>
                  <a:pt x="162" y="97"/>
                </a:cubicBezTo>
                <a:cubicBezTo>
                  <a:pt x="158" y="99"/>
                  <a:pt x="158" y="99"/>
                  <a:pt x="158" y="99"/>
                </a:cubicBezTo>
                <a:cubicBezTo>
                  <a:pt x="158" y="100"/>
                  <a:pt x="157" y="102"/>
                  <a:pt x="159" y="99"/>
                </a:cubicBezTo>
                <a:close/>
                <a:moveTo>
                  <a:pt x="153" y="99"/>
                </a:moveTo>
                <a:cubicBezTo>
                  <a:pt x="153" y="99"/>
                  <a:pt x="152" y="100"/>
                  <a:pt x="153" y="101"/>
                </a:cubicBezTo>
                <a:cubicBezTo>
                  <a:pt x="151" y="101"/>
                  <a:pt x="149" y="103"/>
                  <a:pt x="150" y="103"/>
                </a:cubicBezTo>
                <a:cubicBezTo>
                  <a:pt x="154" y="100"/>
                  <a:pt x="153" y="100"/>
                  <a:pt x="156" y="98"/>
                </a:cubicBezTo>
                <a:cubicBezTo>
                  <a:pt x="155" y="98"/>
                  <a:pt x="155" y="98"/>
                  <a:pt x="154" y="98"/>
                </a:cubicBezTo>
                <a:cubicBezTo>
                  <a:pt x="154" y="100"/>
                  <a:pt x="154" y="98"/>
                  <a:pt x="153" y="99"/>
                </a:cubicBezTo>
                <a:close/>
                <a:moveTo>
                  <a:pt x="160" y="120"/>
                </a:moveTo>
                <a:cubicBezTo>
                  <a:pt x="160" y="120"/>
                  <a:pt x="160" y="121"/>
                  <a:pt x="161" y="120"/>
                </a:cubicBezTo>
                <a:cubicBezTo>
                  <a:pt x="162" y="119"/>
                  <a:pt x="165" y="116"/>
                  <a:pt x="163" y="117"/>
                </a:cubicBezTo>
                <a:cubicBezTo>
                  <a:pt x="163" y="117"/>
                  <a:pt x="162" y="119"/>
                  <a:pt x="160" y="120"/>
                </a:cubicBezTo>
                <a:close/>
                <a:moveTo>
                  <a:pt x="150" y="106"/>
                </a:moveTo>
                <a:cubicBezTo>
                  <a:pt x="148" y="108"/>
                  <a:pt x="154" y="103"/>
                  <a:pt x="151" y="106"/>
                </a:cubicBezTo>
                <a:cubicBezTo>
                  <a:pt x="154" y="104"/>
                  <a:pt x="154" y="104"/>
                  <a:pt x="154" y="104"/>
                </a:cubicBezTo>
                <a:cubicBezTo>
                  <a:pt x="154" y="103"/>
                  <a:pt x="153" y="104"/>
                  <a:pt x="154" y="103"/>
                </a:cubicBezTo>
                <a:cubicBezTo>
                  <a:pt x="151" y="105"/>
                  <a:pt x="151" y="105"/>
                  <a:pt x="150" y="106"/>
                </a:cubicBezTo>
                <a:close/>
                <a:moveTo>
                  <a:pt x="146" y="105"/>
                </a:moveTo>
                <a:cubicBezTo>
                  <a:pt x="142" y="108"/>
                  <a:pt x="147" y="106"/>
                  <a:pt x="145" y="108"/>
                </a:cubicBezTo>
                <a:cubicBezTo>
                  <a:pt x="147" y="106"/>
                  <a:pt x="146" y="106"/>
                  <a:pt x="149" y="104"/>
                </a:cubicBezTo>
                <a:cubicBezTo>
                  <a:pt x="148" y="104"/>
                  <a:pt x="149" y="103"/>
                  <a:pt x="149" y="103"/>
                </a:cubicBezTo>
                <a:cubicBezTo>
                  <a:pt x="145" y="105"/>
                  <a:pt x="149" y="103"/>
                  <a:pt x="146" y="106"/>
                </a:cubicBezTo>
                <a:cubicBezTo>
                  <a:pt x="146" y="105"/>
                  <a:pt x="147" y="104"/>
                  <a:pt x="146" y="105"/>
                </a:cubicBezTo>
                <a:close/>
                <a:moveTo>
                  <a:pt x="153" y="120"/>
                </a:moveTo>
                <a:cubicBezTo>
                  <a:pt x="156" y="118"/>
                  <a:pt x="154" y="119"/>
                  <a:pt x="157" y="116"/>
                </a:cubicBezTo>
                <a:cubicBezTo>
                  <a:pt x="156" y="117"/>
                  <a:pt x="154" y="118"/>
                  <a:pt x="152" y="119"/>
                </a:cubicBezTo>
                <a:cubicBezTo>
                  <a:pt x="154" y="119"/>
                  <a:pt x="151" y="121"/>
                  <a:pt x="149" y="122"/>
                </a:cubicBezTo>
                <a:cubicBezTo>
                  <a:pt x="148" y="124"/>
                  <a:pt x="152" y="120"/>
                  <a:pt x="151" y="122"/>
                </a:cubicBezTo>
                <a:cubicBezTo>
                  <a:pt x="153" y="120"/>
                  <a:pt x="153" y="119"/>
                  <a:pt x="154" y="119"/>
                </a:cubicBezTo>
                <a:cubicBezTo>
                  <a:pt x="154" y="119"/>
                  <a:pt x="153" y="120"/>
                  <a:pt x="153" y="120"/>
                </a:cubicBezTo>
                <a:close/>
                <a:moveTo>
                  <a:pt x="136" y="117"/>
                </a:moveTo>
                <a:cubicBezTo>
                  <a:pt x="139" y="115"/>
                  <a:pt x="135" y="118"/>
                  <a:pt x="135" y="118"/>
                </a:cubicBezTo>
                <a:cubicBezTo>
                  <a:pt x="138" y="116"/>
                  <a:pt x="140" y="115"/>
                  <a:pt x="142" y="113"/>
                </a:cubicBezTo>
                <a:cubicBezTo>
                  <a:pt x="142" y="112"/>
                  <a:pt x="147" y="109"/>
                  <a:pt x="148" y="107"/>
                </a:cubicBezTo>
                <a:cubicBezTo>
                  <a:pt x="147" y="108"/>
                  <a:pt x="146" y="108"/>
                  <a:pt x="146" y="108"/>
                </a:cubicBezTo>
                <a:cubicBezTo>
                  <a:pt x="144" y="109"/>
                  <a:pt x="144" y="110"/>
                  <a:pt x="142" y="111"/>
                </a:cubicBezTo>
                <a:cubicBezTo>
                  <a:pt x="141" y="113"/>
                  <a:pt x="142" y="113"/>
                  <a:pt x="141" y="113"/>
                </a:cubicBezTo>
                <a:cubicBezTo>
                  <a:pt x="140" y="113"/>
                  <a:pt x="136" y="116"/>
                  <a:pt x="136" y="117"/>
                </a:cubicBezTo>
                <a:close/>
                <a:moveTo>
                  <a:pt x="153" y="123"/>
                </a:moveTo>
                <a:cubicBezTo>
                  <a:pt x="154" y="123"/>
                  <a:pt x="157" y="120"/>
                  <a:pt x="156" y="120"/>
                </a:cubicBezTo>
                <a:cubicBezTo>
                  <a:pt x="155" y="121"/>
                  <a:pt x="152" y="123"/>
                  <a:pt x="153" y="123"/>
                </a:cubicBezTo>
                <a:close/>
                <a:moveTo>
                  <a:pt x="137" y="109"/>
                </a:moveTo>
                <a:cubicBezTo>
                  <a:pt x="139" y="108"/>
                  <a:pt x="141" y="106"/>
                  <a:pt x="141" y="106"/>
                </a:cubicBezTo>
                <a:cubicBezTo>
                  <a:pt x="139" y="107"/>
                  <a:pt x="137" y="109"/>
                  <a:pt x="137" y="109"/>
                </a:cubicBezTo>
                <a:close/>
                <a:moveTo>
                  <a:pt x="136" y="114"/>
                </a:moveTo>
                <a:cubicBezTo>
                  <a:pt x="138" y="114"/>
                  <a:pt x="137" y="113"/>
                  <a:pt x="137" y="115"/>
                </a:cubicBezTo>
                <a:cubicBezTo>
                  <a:pt x="138" y="114"/>
                  <a:pt x="138" y="113"/>
                  <a:pt x="141" y="111"/>
                </a:cubicBezTo>
                <a:cubicBezTo>
                  <a:pt x="142" y="110"/>
                  <a:pt x="141" y="111"/>
                  <a:pt x="140" y="111"/>
                </a:cubicBezTo>
                <a:cubicBezTo>
                  <a:pt x="141" y="110"/>
                  <a:pt x="142" y="110"/>
                  <a:pt x="143" y="109"/>
                </a:cubicBezTo>
                <a:cubicBezTo>
                  <a:pt x="143" y="109"/>
                  <a:pt x="144" y="108"/>
                  <a:pt x="143" y="108"/>
                </a:cubicBezTo>
                <a:cubicBezTo>
                  <a:pt x="141" y="111"/>
                  <a:pt x="139" y="111"/>
                  <a:pt x="136" y="114"/>
                </a:cubicBezTo>
                <a:close/>
                <a:moveTo>
                  <a:pt x="142" y="117"/>
                </a:moveTo>
                <a:cubicBezTo>
                  <a:pt x="140" y="118"/>
                  <a:pt x="142" y="116"/>
                  <a:pt x="144" y="115"/>
                </a:cubicBezTo>
                <a:cubicBezTo>
                  <a:pt x="144" y="114"/>
                  <a:pt x="142" y="115"/>
                  <a:pt x="141" y="116"/>
                </a:cubicBezTo>
                <a:cubicBezTo>
                  <a:pt x="141" y="116"/>
                  <a:pt x="141" y="117"/>
                  <a:pt x="140" y="117"/>
                </a:cubicBezTo>
                <a:cubicBezTo>
                  <a:pt x="137" y="118"/>
                  <a:pt x="139" y="119"/>
                  <a:pt x="136" y="120"/>
                </a:cubicBezTo>
                <a:cubicBezTo>
                  <a:pt x="136" y="121"/>
                  <a:pt x="133" y="123"/>
                  <a:pt x="132" y="124"/>
                </a:cubicBezTo>
                <a:cubicBezTo>
                  <a:pt x="133" y="124"/>
                  <a:pt x="131" y="125"/>
                  <a:pt x="131" y="126"/>
                </a:cubicBezTo>
                <a:cubicBezTo>
                  <a:pt x="133" y="124"/>
                  <a:pt x="135" y="122"/>
                  <a:pt x="134" y="124"/>
                </a:cubicBezTo>
                <a:cubicBezTo>
                  <a:pt x="135" y="124"/>
                  <a:pt x="139" y="121"/>
                  <a:pt x="138" y="121"/>
                </a:cubicBezTo>
                <a:cubicBezTo>
                  <a:pt x="137" y="121"/>
                  <a:pt x="135" y="124"/>
                  <a:pt x="135" y="123"/>
                </a:cubicBezTo>
                <a:cubicBezTo>
                  <a:pt x="136" y="122"/>
                  <a:pt x="135" y="122"/>
                  <a:pt x="137" y="121"/>
                </a:cubicBezTo>
                <a:cubicBezTo>
                  <a:pt x="139" y="119"/>
                  <a:pt x="142" y="117"/>
                  <a:pt x="142" y="117"/>
                </a:cubicBezTo>
                <a:close/>
                <a:moveTo>
                  <a:pt x="143" y="118"/>
                </a:moveTo>
                <a:cubicBezTo>
                  <a:pt x="141" y="119"/>
                  <a:pt x="141" y="119"/>
                  <a:pt x="141" y="119"/>
                </a:cubicBezTo>
                <a:cubicBezTo>
                  <a:pt x="140" y="120"/>
                  <a:pt x="140" y="120"/>
                  <a:pt x="141" y="121"/>
                </a:cubicBezTo>
                <a:cubicBezTo>
                  <a:pt x="143" y="119"/>
                  <a:pt x="142" y="119"/>
                  <a:pt x="143" y="118"/>
                </a:cubicBezTo>
                <a:cubicBezTo>
                  <a:pt x="143" y="119"/>
                  <a:pt x="144" y="118"/>
                  <a:pt x="145" y="117"/>
                </a:cubicBezTo>
                <a:cubicBezTo>
                  <a:pt x="143" y="118"/>
                  <a:pt x="144" y="117"/>
                  <a:pt x="143" y="118"/>
                </a:cubicBezTo>
                <a:close/>
                <a:moveTo>
                  <a:pt x="146" y="128"/>
                </a:moveTo>
                <a:cubicBezTo>
                  <a:pt x="147" y="128"/>
                  <a:pt x="145" y="129"/>
                  <a:pt x="145" y="130"/>
                </a:cubicBezTo>
                <a:cubicBezTo>
                  <a:pt x="146" y="129"/>
                  <a:pt x="146" y="129"/>
                  <a:pt x="148" y="128"/>
                </a:cubicBezTo>
                <a:cubicBezTo>
                  <a:pt x="147" y="128"/>
                  <a:pt x="147" y="127"/>
                  <a:pt x="148" y="127"/>
                </a:cubicBezTo>
                <a:cubicBezTo>
                  <a:pt x="147" y="127"/>
                  <a:pt x="146" y="128"/>
                  <a:pt x="146" y="128"/>
                </a:cubicBezTo>
                <a:close/>
                <a:moveTo>
                  <a:pt x="133" y="117"/>
                </a:moveTo>
                <a:cubicBezTo>
                  <a:pt x="133" y="118"/>
                  <a:pt x="134" y="117"/>
                  <a:pt x="135" y="117"/>
                </a:cubicBezTo>
                <a:cubicBezTo>
                  <a:pt x="136" y="116"/>
                  <a:pt x="137" y="115"/>
                  <a:pt x="137" y="115"/>
                </a:cubicBezTo>
                <a:cubicBezTo>
                  <a:pt x="136" y="116"/>
                  <a:pt x="135" y="115"/>
                  <a:pt x="133" y="117"/>
                </a:cubicBezTo>
                <a:close/>
                <a:moveTo>
                  <a:pt x="144" y="129"/>
                </a:moveTo>
                <a:cubicBezTo>
                  <a:pt x="143" y="129"/>
                  <a:pt x="141" y="129"/>
                  <a:pt x="139" y="132"/>
                </a:cubicBezTo>
                <a:cubicBezTo>
                  <a:pt x="139" y="133"/>
                  <a:pt x="145" y="129"/>
                  <a:pt x="146" y="127"/>
                </a:cubicBezTo>
                <a:cubicBezTo>
                  <a:pt x="145" y="128"/>
                  <a:pt x="144" y="128"/>
                  <a:pt x="144" y="129"/>
                </a:cubicBezTo>
                <a:close/>
                <a:moveTo>
                  <a:pt x="133" y="117"/>
                </a:moveTo>
                <a:cubicBezTo>
                  <a:pt x="132" y="118"/>
                  <a:pt x="132" y="117"/>
                  <a:pt x="131" y="118"/>
                </a:cubicBezTo>
                <a:cubicBezTo>
                  <a:pt x="131" y="119"/>
                  <a:pt x="133" y="117"/>
                  <a:pt x="135" y="116"/>
                </a:cubicBezTo>
                <a:cubicBezTo>
                  <a:pt x="134" y="116"/>
                  <a:pt x="136" y="114"/>
                  <a:pt x="134" y="115"/>
                </a:cubicBezTo>
                <a:cubicBezTo>
                  <a:pt x="134" y="116"/>
                  <a:pt x="134" y="116"/>
                  <a:pt x="133" y="117"/>
                </a:cubicBezTo>
                <a:close/>
                <a:moveTo>
                  <a:pt x="138" y="122"/>
                </a:moveTo>
                <a:cubicBezTo>
                  <a:pt x="137" y="123"/>
                  <a:pt x="137" y="123"/>
                  <a:pt x="139" y="122"/>
                </a:cubicBezTo>
                <a:cubicBezTo>
                  <a:pt x="140" y="121"/>
                  <a:pt x="140" y="120"/>
                  <a:pt x="138" y="122"/>
                </a:cubicBezTo>
                <a:close/>
                <a:moveTo>
                  <a:pt x="139" y="137"/>
                </a:moveTo>
                <a:cubicBezTo>
                  <a:pt x="141" y="135"/>
                  <a:pt x="141" y="137"/>
                  <a:pt x="139" y="138"/>
                </a:cubicBezTo>
                <a:cubicBezTo>
                  <a:pt x="140" y="137"/>
                  <a:pt x="141" y="137"/>
                  <a:pt x="142" y="136"/>
                </a:cubicBezTo>
                <a:cubicBezTo>
                  <a:pt x="142" y="135"/>
                  <a:pt x="142" y="135"/>
                  <a:pt x="142" y="135"/>
                </a:cubicBezTo>
                <a:cubicBezTo>
                  <a:pt x="142" y="135"/>
                  <a:pt x="143" y="134"/>
                  <a:pt x="144" y="134"/>
                </a:cubicBezTo>
                <a:cubicBezTo>
                  <a:pt x="142" y="136"/>
                  <a:pt x="138" y="139"/>
                  <a:pt x="138" y="140"/>
                </a:cubicBezTo>
                <a:cubicBezTo>
                  <a:pt x="138" y="140"/>
                  <a:pt x="137" y="141"/>
                  <a:pt x="136" y="141"/>
                </a:cubicBezTo>
                <a:cubicBezTo>
                  <a:pt x="138" y="140"/>
                  <a:pt x="138" y="139"/>
                  <a:pt x="139" y="138"/>
                </a:cubicBezTo>
                <a:cubicBezTo>
                  <a:pt x="139" y="137"/>
                  <a:pt x="136" y="138"/>
                  <a:pt x="133" y="141"/>
                </a:cubicBezTo>
                <a:cubicBezTo>
                  <a:pt x="134" y="141"/>
                  <a:pt x="136" y="139"/>
                  <a:pt x="137" y="139"/>
                </a:cubicBezTo>
                <a:cubicBezTo>
                  <a:pt x="137" y="139"/>
                  <a:pt x="138" y="139"/>
                  <a:pt x="138" y="139"/>
                </a:cubicBezTo>
                <a:cubicBezTo>
                  <a:pt x="135" y="142"/>
                  <a:pt x="132" y="145"/>
                  <a:pt x="132" y="146"/>
                </a:cubicBezTo>
                <a:cubicBezTo>
                  <a:pt x="133" y="145"/>
                  <a:pt x="135" y="144"/>
                  <a:pt x="135" y="143"/>
                </a:cubicBezTo>
                <a:cubicBezTo>
                  <a:pt x="134" y="144"/>
                  <a:pt x="134" y="144"/>
                  <a:pt x="134" y="144"/>
                </a:cubicBezTo>
                <a:cubicBezTo>
                  <a:pt x="135" y="144"/>
                  <a:pt x="136" y="142"/>
                  <a:pt x="136" y="142"/>
                </a:cubicBezTo>
                <a:cubicBezTo>
                  <a:pt x="137" y="142"/>
                  <a:pt x="134" y="145"/>
                  <a:pt x="137" y="143"/>
                </a:cubicBezTo>
                <a:cubicBezTo>
                  <a:pt x="136" y="142"/>
                  <a:pt x="139" y="141"/>
                  <a:pt x="140" y="141"/>
                </a:cubicBezTo>
                <a:cubicBezTo>
                  <a:pt x="139" y="140"/>
                  <a:pt x="141" y="139"/>
                  <a:pt x="141" y="139"/>
                </a:cubicBezTo>
                <a:cubicBezTo>
                  <a:pt x="140" y="139"/>
                  <a:pt x="140" y="139"/>
                  <a:pt x="141" y="138"/>
                </a:cubicBezTo>
                <a:cubicBezTo>
                  <a:pt x="144" y="136"/>
                  <a:pt x="146" y="134"/>
                  <a:pt x="148" y="133"/>
                </a:cubicBezTo>
                <a:cubicBezTo>
                  <a:pt x="147" y="133"/>
                  <a:pt x="143" y="135"/>
                  <a:pt x="146" y="132"/>
                </a:cubicBezTo>
                <a:cubicBezTo>
                  <a:pt x="143" y="133"/>
                  <a:pt x="141" y="134"/>
                  <a:pt x="139" y="137"/>
                </a:cubicBezTo>
                <a:close/>
                <a:moveTo>
                  <a:pt x="142" y="131"/>
                </a:moveTo>
                <a:cubicBezTo>
                  <a:pt x="142" y="131"/>
                  <a:pt x="143" y="132"/>
                  <a:pt x="144" y="130"/>
                </a:cubicBezTo>
                <a:cubicBezTo>
                  <a:pt x="144" y="130"/>
                  <a:pt x="144" y="130"/>
                  <a:pt x="144" y="129"/>
                </a:cubicBezTo>
                <a:cubicBezTo>
                  <a:pt x="144" y="130"/>
                  <a:pt x="143" y="130"/>
                  <a:pt x="142" y="131"/>
                </a:cubicBezTo>
                <a:close/>
                <a:moveTo>
                  <a:pt x="142" y="143"/>
                </a:moveTo>
                <a:cubicBezTo>
                  <a:pt x="142" y="143"/>
                  <a:pt x="145" y="140"/>
                  <a:pt x="145" y="142"/>
                </a:cubicBezTo>
                <a:cubicBezTo>
                  <a:pt x="147" y="140"/>
                  <a:pt x="149" y="139"/>
                  <a:pt x="150" y="138"/>
                </a:cubicBezTo>
                <a:cubicBezTo>
                  <a:pt x="148" y="139"/>
                  <a:pt x="147" y="140"/>
                  <a:pt x="146" y="140"/>
                </a:cubicBezTo>
                <a:cubicBezTo>
                  <a:pt x="147" y="139"/>
                  <a:pt x="147" y="139"/>
                  <a:pt x="148" y="138"/>
                </a:cubicBezTo>
                <a:cubicBezTo>
                  <a:pt x="147" y="139"/>
                  <a:pt x="150" y="137"/>
                  <a:pt x="150" y="137"/>
                </a:cubicBezTo>
                <a:cubicBezTo>
                  <a:pt x="148" y="138"/>
                  <a:pt x="142" y="142"/>
                  <a:pt x="142" y="143"/>
                </a:cubicBezTo>
                <a:close/>
                <a:moveTo>
                  <a:pt x="125" y="125"/>
                </a:moveTo>
                <a:cubicBezTo>
                  <a:pt x="126" y="125"/>
                  <a:pt x="128" y="123"/>
                  <a:pt x="128" y="124"/>
                </a:cubicBezTo>
                <a:cubicBezTo>
                  <a:pt x="126" y="126"/>
                  <a:pt x="124" y="127"/>
                  <a:pt x="124" y="128"/>
                </a:cubicBezTo>
                <a:cubicBezTo>
                  <a:pt x="129" y="124"/>
                  <a:pt x="129" y="124"/>
                  <a:pt x="129" y="124"/>
                </a:cubicBezTo>
                <a:cubicBezTo>
                  <a:pt x="128" y="123"/>
                  <a:pt x="132" y="121"/>
                  <a:pt x="131" y="120"/>
                </a:cubicBezTo>
                <a:cubicBezTo>
                  <a:pt x="129" y="122"/>
                  <a:pt x="127" y="123"/>
                  <a:pt x="125" y="125"/>
                </a:cubicBezTo>
                <a:close/>
                <a:moveTo>
                  <a:pt x="131" y="122"/>
                </a:moveTo>
                <a:cubicBezTo>
                  <a:pt x="132" y="122"/>
                  <a:pt x="131" y="122"/>
                  <a:pt x="131" y="123"/>
                </a:cubicBezTo>
                <a:cubicBezTo>
                  <a:pt x="132" y="122"/>
                  <a:pt x="132" y="121"/>
                  <a:pt x="133" y="120"/>
                </a:cubicBezTo>
                <a:cubicBezTo>
                  <a:pt x="134" y="120"/>
                  <a:pt x="134" y="120"/>
                  <a:pt x="134" y="120"/>
                </a:cubicBezTo>
                <a:cubicBezTo>
                  <a:pt x="133" y="120"/>
                  <a:pt x="135" y="117"/>
                  <a:pt x="131" y="119"/>
                </a:cubicBezTo>
                <a:cubicBezTo>
                  <a:pt x="131" y="120"/>
                  <a:pt x="134" y="119"/>
                  <a:pt x="131" y="122"/>
                </a:cubicBezTo>
                <a:close/>
                <a:moveTo>
                  <a:pt x="139" y="130"/>
                </a:moveTo>
                <a:cubicBezTo>
                  <a:pt x="138" y="132"/>
                  <a:pt x="142" y="129"/>
                  <a:pt x="142" y="129"/>
                </a:cubicBezTo>
                <a:lnTo>
                  <a:pt x="139" y="130"/>
                </a:lnTo>
                <a:close/>
                <a:moveTo>
                  <a:pt x="133" y="129"/>
                </a:moveTo>
                <a:cubicBezTo>
                  <a:pt x="135" y="127"/>
                  <a:pt x="136" y="126"/>
                  <a:pt x="135" y="126"/>
                </a:cubicBezTo>
                <a:cubicBezTo>
                  <a:pt x="133" y="128"/>
                  <a:pt x="132" y="129"/>
                  <a:pt x="133" y="129"/>
                </a:cubicBezTo>
                <a:close/>
                <a:moveTo>
                  <a:pt x="129" y="121"/>
                </a:moveTo>
                <a:cubicBezTo>
                  <a:pt x="128" y="120"/>
                  <a:pt x="126" y="121"/>
                  <a:pt x="124" y="124"/>
                </a:cubicBezTo>
                <a:cubicBezTo>
                  <a:pt x="125" y="123"/>
                  <a:pt x="125" y="123"/>
                  <a:pt x="124" y="124"/>
                </a:cubicBezTo>
                <a:cubicBezTo>
                  <a:pt x="123" y="124"/>
                  <a:pt x="121" y="127"/>
                  <a:pt x="120" y="128"/>
                </a:cubicBezTo>
                <a:cubicBezTo>
                  <a:pt x="121" y="128"/>
                  <a:pt x="121" y="128"/>
                  <a:pt x="120" y="130"/>
                </a:cubicBezTo>
                <a:cubicBezTo>
                  <a:pt x="121" y="129"/>
                  <a:pt x="121" y="129"/>
                  <a:pt x="121" y="129"/>
                </a:cubicBezTo>
                <a:cubicBezTo>
                  <a:pt x="125" y="126"/>
                  <a:pt x="124" y="125"/>
                  <a:pt x="128" y="123"/>
                </a:cubicBezTo>
                <a:cubicBezTo>
                  <a:pt x="127" y="122"/>
                  <a:pt x="126" y="123"/>
                  <a:pt x="129" y="121"/>
                </a:cubicBezTo>
                <a:close/>
                <a:moveTo>
                  <a:pt x="129" y="131"/>
                </a:moveTo>
                <a:cubicBezTo>
                  <a:pt x="130" y="130"/>
                  <a:pt x="133" y="127"/>
                  <a:pt x="134" y="126"/>
                </a:cubicBezTo>
                <a:cubicBezTo>
                  <a:pt x="131" y="128"/>
                  <a:pt x="130" y="130"/>
                  <a:pt x="129" y="131"/>
                </a:cubicBezTo>
                <a:close/>
                <a:moveTo>
                  <a:pt x="133" y="136"/>
                </a:moveTo>
                <a:cubicBezTo>
                  <a:pt x="135" y="136"/>
                  <a:pt x="137" y="136"/>
                  <a:pt x="139" y="133"/>
                </a:cubicBezTo>
                <a:cubicBezTo>
                  <a:pt x="136" y="135"/>
                  <a:pt x="136" y="134"/>
                  <a:pt x="133" y="136"/>
                </a:cubicBezTo>
                <a:close/>
                <a:moveTo>
                  <a:pt x="124" y="131"/>
                </a:moveTo>
                <a:cubicBezTo>
                  <a:pt x="125" y="131"/>
                  <a:pt x="125" y="131"/>
                  <a:pt x="124" y="132"/>
                </a:cubicBezTo>
                <a:cubicBezTo>
                  <a:pt x="126" y="131"/>
                  <a:pt x="131" y="127"/>
                  <a:pt x="128" y="128"/>
                </a:cubicBezTo>
                <a:cubicBezTo>
                  <a:pt x="128" y="129"/>
                  <a:pt x="126" y="130"/>
                  <a:pt x="124" y="131"/>
                </a:cubicBezTo>
                <a:close/>
                <a:moveTo>
                  <a:pt x="121" y="127"/>
                </a:moveTo>
                <a:cubicBezTo>
                  <a:pt x="121" y="126"/>
                  <a:pt x="121" y="125"/>
                  <a:pt x="123" y="124"/>
                </a:cubicBezTo>
                <a:cubicBezTo>
                  <a:pt x="120" y="126"/>
                  <a:pt x="117" y="127"/>
                  <a:pt x="117" y="128"/>
                </a:cubicBezTo>
                <a:cubicBezTo>
                  <a:pt x="118" y="128"/>
                  <a:pt x="120" y="126"/>
                  <a:pt x="121" y="126"/>
                </a:cubicBezTo>
                <a:cubicBezTo>
                  <a:pt x="120" y="126"/>
                  <a:pt x="119" y="128"/>
                  <a:pt x="121" y="127"/>
                </a:cubicBezTo>
                <a:close/>
                <a:moveTo>
                  <a:pt x="120" y="131"/>
                </a:moveTo>
                <a:cubicBezTo>
                  <a:pt x="121" y="131"/>
                  <a:pt x="122" y="131"/>
                  <a:pt x="124" y="129"/>
                </a:cubicBezTo>
                <a:cubicBezTo>
                  <a:pt x="124" y="128"/>
                  <a:pt x="121" y="130"/>
                  <a:pt x="120" y="131"/>
                </a:cubicBezTo>
                <a:close/>
                <a:moveTo>
                  <a:pt x="119" y="140"/>
                </a:moveTo>
                <a:cubicBezTo>
                  <a:pt x="121" y="139"/>
                  <a:pt x="122" y="137"/>
                  <a:pt x="124" y="135"/>
                </a:cubicBezTo>
                <a:cubicBezTo>
                  <a:pt x="124" y="134"/>
                  <a:pt x="124" y="134"/>
                  <a:pt x="124" y="134"/>
                </a:cubicBezTo>
                <a:cubicBezTo>
                  <a:pt x="121" y="137"/>
                  <a:pt x="119" y="139"/>
                  <a:pt x="119" y="140"/>
                </a:cubicBezTo>
                <a:close/>
                <a:moveTo>
                  <a:pt x="117" y="131"/>
                </a:moveTo>
                <a:cubicBezTo>
                  <a:pt x="119" y="130"/>
                  <a:pt x="117" y="130"/>
                  <a:pt x="118" y="129"/>
                </a:cubicBezTo>
                <a:cubicBezTo>
                  <a:pt x="116" y="131"/>
                  <a:pt x="116" y="131"/>
                  <a:pt x="117" y="131"/>
                </a:cubicBezTo>
                <a:close/>
                <a:moveTo>
                  <a:pt x="112" y="133"/>
                </a:moveTo>
                <a:cubicBezTo>
                  <a:pt x="112" y="134"/>
                  <a:pt x="114" y="132"/>
                  <a:pt x="113" y="133"/>
                </a:cubicBezTo>
                <a:cubicBezTo>
                  <a:pt x="117" y="130"/>
                  <a:pt x="114" y="131"/>
                  <a:pt x="112" y="133"/>
                </a:cubicBezTo>
                <a:close/>
                <a:moveTo>
                  <a:pt x="117" y="138"/>
                </a:moveTo>
                <a:cubicBezTo>
                  <a:pt x="116" y="140"/>
                  <a:pt x="113" y="143"/>
                  <a:pt x="114" y="143"/>
                </a:cubicBezTo>
                <a:cubicBezTo>
                  <a:pt x="117" y="140"/>
                  <a:pt x="116" y="140"/>
                  <a:pt x="119" y="137"/>
                </a:cubicBezTo>
                <a:cubicBezTo>
                  <a:pt x="118" y="138"/>
                  <a:pt x="118" y="137"/>
                  <a:pt x="117" y="138"/>
                </a:cubicBezTo>
                <a:close/>
                <a:moveTo>
                  <a:pt x="114" y="157"/>
                </a:moveTo>
                <a:cubicBezTo>
                  <a:pt x="112" y="158"/>
                  <a:pt x="113" y="158"/>
                  <a:pt x="111" y="158"/>
                </a:cubicBezTo>
                <a:cubicBezTo>
                  <a:pt x="113" y="158"/>
                  <a:pt x="109" y="161"/>
                  <a:pt x="109" y="161"/>
                </a:cubicBezTo>
                <a:cubicBezTo>
                  <a:pt x="111" y="159"/>
                  <a:pt x="109" y="160"/>
                  <a:pt x="108" y="161"/>
                </a:cubicBezTo>
                <a:cubicBezTo>
                  <a:pt x="108" y="162"/>
                  <a:pt x="107" y="163"/>
                  <a:pt x="107" y="164"/>
                </a:cubicBezTo>
                <a:cubicBezTo>
                  <a:pt x="105" y="166"/>
                  <a:pt x="105" y="164"/>
                  <a:pt x="102" y="167"/>
                </a:cubicBezTo>
                <a:cubicBezTo>
                  <a:pt x="102" y="169"/>
                  <a:pt x="103" y="167"/>
                  <a:pt x="104" y="167"/>
                </a:cubicBezTo>
                <a:cubicBezTo>
                  <a:pt x="103" y="168"/>
                  <a:pt x="102" y="168"/>
                  <a:pt x="101" y="169"/>
                </a:cubicBezTo>
                <a:cubicBezTo>
                  <a:pt x="103" y="169"/>
                  <a:pt x="106" y="166"/>
                  <a:pt x="107" y="164"/>
                </a:cubicBezTo>
                <a:cubicBezTo>
                  <a:pt x="106" y="167"/>
                  <a:pt x="101" y="172"/>
                  <a:pt x="99" y="173"/>
                </a:cubicBezTo>
                <a:cubicBezTo>
                  <a:pt x="99" y="173"/>
                  <a:pt x="99" y="175"/>
                  <a:pt x="98" y="175"/>
                </a:cubicBezTo>
                <a:cubicBezTo>
                  <a:pt x="98" y="175"/>
                  <a:pt x="99" y="175"/>
                  <a:pt x="98" y="175"/>
                </a:cubicBezTo>
                <a:cubicBezTo>
                  <a:pt x="99" y="175"/>
                  <a:pt x="98" y="175"/>
                  <a:pt x="99" y="175"/>
                </a:cubicBezTo>
                <a:cubicBezTo>
                  <a:pt x="99" y="175"/>
                  <a:pt x="100" y="174"/>
                  <a:pt x="100" y="174"/>
                </a:cubicBezTo>
                <a:cubicBezTo>
                  <a:pt x="100" y="174"/>
                  <a:pt x="100" y="174"/>
                  <a:pt x="100" y="174"/>
                </a:cubicBezTo>
                <a:cubicBezTo>
                  <a:pt x="101" y="172"/>
                  <a:pt x="101" y="172"/>
                  <a:pt x="101" y="172"/>
                </a:cubicBezTo>
                <a:cubicBezTo>
                  <a:pt x="102" y="172"/>
                  <a:pt x="103" y="171"/>
                  <a:pt x="104" y="170"/>
                </a:cubicBezTo>
                <a:cubicBezTo>
                  <a:pt x="103" y="170"/>
                  <a:pt x="106" y="168"/>
                  <a:pt x="106" y="167"/>
                </a:cubicBezTo>
                <a:cubicBezTo>
                  <a:pt x="108" y="166"/>
                  <a:pt x="114" y="158"/>
                  <a:pt x="117" y="157"/>
                </a:cubicBezTo>
                <a:cubicBezTo>
                  <a:pt x="117" y="157"/>
                  <a:pt x="116" y="157"/>
                  <a:pt x="117" y="156"/>
                </a:cubicBezTo>
                <a:cubicBezTo>
                  <a:pt x="119" y="155"/>
                  <a:pt x="120" y="153"/>
                  <a:pt x="123" y="151"/>
                </a:cubicBezTo>
                <a:cubicBezTo>
                  <a:pt x="122" y="150"/>
                  <a:pt x="125" y="150"/>
                  <a:pt x="126" y="148"/>
                </a:cubicBezTo>
                <a:cubicBezTo>
                  <a:pt x="126" y="148"/>
                  <a:pt x="127" y="147"/>
                  <a:pt x="126" y="147"/>
                </a:cubicBezTo>
                <a:cubicBezTo>
                  <a:pt x="123" y="150"/>
                  <a:pt x="122" y="148"/>
                  <a:pt x="120" y="151"/>
                </a:cubicBezTo>
                <a:cubicBezTo>
                  <a:pt x="121" y="150"/>
                  <a:pt x="120" y="153"/>
                  <a:pt x="119" y="153"/>
                </a:cubicBezTo>
                <a:cubicBezTo>
                  <a:pt x="119" y="152"/>
                  <a:pt x="117" y="155"/>
                  <a:pt x="116" y="155"/>
                </a:cubicBezTo>
                <a:cubicBezTo>
                  <a:pt x="117" y="154"/>
                  <a:pt x="118" y="153"/>
                  <a:pt x="118" y="152"/>
                </a:cubicBezTo>
                <a:cubicBezTo>
                  <a:pt x="117" y="154"/>
                  <a:pt x="116" y="154"/>
                  <a:pt x="116" y="154"/>
                </a:cubicBezTo>
                <a:cubicBezTo>
                  <a:pt x="116" y="154"/>
                  <a:pt x="117" y="153"/>
                  <a:pt x="117" y="153"/>
                </a:cubicBezTo>
                <a:cubicBezTo>
                  <a:pt x="115" y="155"/>
                  <a:pt x="115" y="155"/>
                  <a:pt x="114" y="157"/>
                </a:cubicBezTo>
                <a:close/>
                <a:moveTo>
                  <a:pt x="119" y="151"/>
                </a:moveTo>
                <a:cubicBezTo>
                  <a:pt x="120" y="150"/>
                  <a:pt x="121" y="149"/>
                  <a:pt x="121" y="148"/>
                </a:cubicBezTo>
                <a:cubicBezTo>
                  <a:pt x="120" y="149"/>
                  <a:pt x="119" y="149"/>
                  <a:pt x="118" y="151"/>
                </a:cubicBezTo>
                <a:cubicBezTo>
                  <a:pt x="118" y="152"/>
                  <a:pt x="119" y="150"/>
                  <a:pt x="120" y="150"/>
                </a:cubicBezTo>
                <a:cubicBezTo>
                  <a:pt x="119" y="151"/>
                  <a:pt x="118" y="152"/>
                  <a:pt x="119" y="151"/>
                </a:cubicBezTo>
                <a:close/>
                <a:moveTo>
                  <a:pt x="124" y="159"/>
                </a:moveTo>
                <a:cubicBezTo>
                  <a:pt x="125" y="159"/>
                  <a:pt x="128" y="159"/>
                  <a:pt x="128" y="157"/>
                </a:cubicBezTo>
                <a:cubicBezTo>
                  <a:pt x="125" y="160"/>
                  <a:pt x="127" y="156"/>
                  <a:pt x="124" y="159"/>
                </a:cubicBezTo>
                <a:close/>
                <a:moveTo>
                  <a:pt x="112" y="142"/>
                </a:moveTo>
                <a:cubicBezTo>
                  <a:pt x="110" y="143"/>
                  <a:pt x="109" y="144"/>
                  <a:pt x="109" y="145"/>
                </a:cubicBezTo>
                <a:cubicBezTo>
                  <a:pt x="110" y="145"/>
                  <a:pt x="111" y="143"/>
                  <a:pt x="112" y="142"/>
                </a:cubicBezTo>
                <a:cubicBezTo>
                  <a:pt x="112" y="143"/>
                  <a:pt x="112" y="143"/>
                  <a:pt x="113" y="142"/>
                </a:cubicBezTo>
                <a:cubicBezTo>
                  <a:pt x="113" y="142"/>
                  <a:pt x="112" y="142"/>
                  <a:pt x="112" y="142"/>
                </a:cubicBezTo>
                <a:close/>
                <a:moveTo>
                  <a:pt x="114" y="170"/>
                </a:moveTo>
                <a:cubicBezTo>
                  <a:pt x="115" y="170"/>
                  <a:pt x="118" y="166"/>
                  <a:pt x="117" y="166"/>
                </a:cubicBezTo>
                <a:cubicBezTo>
                  <a:pt x="115" y="168"/>
                  <a:pt x="116" y="167"/>
                  <a:pt x="114" y="170"/>
                </a:cubicBezTo>
                <a:close/>
                <a:moveTo>
                  <a:pt x="88" y="182"/>
                </a:moveTo>
                <a:cubicBezTo>
                  <a:pt x="88" y="182"/>
                  <a:pt x="89" y="182"/>
                  <a:pt x="89" y="181"/>
                </a:cubicBezTo>
                <a:cubicBezTo>
                  <a:pt x="88" y="181"/>
                  <a:pt x="88" y="182"/>
                  <a:pt x="88" y="182"/>
                </a:cubicBezTo>
                <a:close/>
                <a:moveTo>
                  <a:pt x="108" y="144"/>
                </a:moveTo>
                <a:cubicBezTo>
                  <a:pt x="106" y="144"/>
                  <a:pt x="109" y="142"/>
                  <a:pt x="108" y="142"/>
                </a:cubicBezTo>
                <a:cubicBezTo>
                  <a:pt x="107" y="142"/>
                  <a:pt x="103" y="145"/>
                  <a:pt x="103" y="145"/>
                </a:cubicBezTo>
                <a:cubicBezTo>
                  <a:pt x="105" y="144"/>
                  <a:pt x="106" y="145"/>
                  <a:pt x="107" y="144"/>
                </a:cubicBezTo>
                <a:cubicBezTo>
                  <a:pt x="109" y="143"/>
                  <a:pt x="109" y="143"/>
                  <a:pt x="110" y="141"/>
                </a:cubicBezTo>
                <a:cubicBezTo>
                  <a:pt x="110" y="141"/>
                  <a:pt x="110" y="141"/>
                  <a:pt x="110" y="141"/>
                </a:cubicBezTo>
                <a:cubicBezTo>
                  <a:pt x="107" y="143"/>
                  <a:pt x="110" y="142"/>
                  <a:pt x="108" y="144"/>
                </a:cubicBezTo>
                <a:close/>
                <a:moveTo>
                  <a:pt x="802" y="247"/>
                </a:moveTo>
                <a:cubicBezTo>
                  <a:pt x="799" y="242"/>
                  <a:pt x="799" y="242"/>
                  <a:pt x="799" y="242"/>
                </a:cubicBezTo>
                <a:cubicBezTo>
                  <a:pt x="798" y="242"/>
                  <a:pt x="801" y="247"/>
                  <a:pt x="801" y="246"/>
                </a:cubicBezTo>
                <a:cubicBezTo>
                  <a:pt x="801" y="247"/>
                  <a:pt x="801" y="247"/>
                  <a:pt x="801" y="247"/>
                </a:cubicBezTo>
                <a:cubicBezTo>
                  <a:pt x="800" y="244"/>
                  <a:pt x="802" y="246"/>
                  <a:pt x="802" y="247"/>
                </a:cubicBezTo>
                <a:close/>
                <a:moveTo>
                  <a:pt x="596" y="44"/>
                </a:moveTo>
                <a:cubicBezTo>
                  <a:pt x="592" y="42"/>
                  <a:pt x="592" y="42"/>
                  <a:pt x="592" y="42"/>
                </a:cubicBezTo>
                <a:cubicBezTo>
                  <a:pt x="592" y="43"/>
                  <a:pt x="593" y="43"/>
                  <a:pt x="594" y="44"/>
                </a:cubicBezTo>
                <a:cubicBezTo>
                  <a:pt x="591" y="43"/>
                  <a:pt x="597" y="45"/>
                  <a:pt x="596" y="44"/>
                </a:cubicBezTo>
                <a:close/>
                <a:moveTo>
                  <a:pt x="493" y="9"/>
                </a:moveTo>
                <a:cubicBezTo>
                  <a:pt x="495" y="10"/>
                  <a:pt x="500" y="11"/>
                  <a:pt x="502" y="11"/>
                </a:cubicBezTo>
                <a:cubicBezTo>
                  <a:pt x="500" y="10"/>
                  <a:pt x="492" y="9"/>
                  <a:pt x="493" y="9"/>
                </a:cubicBezTo>
                <a:close/>
                <a:moveTo>
                  <a:pt x="467" y="5"/>
                </a:moveTo>
                <a:cubicBezTo>
                  <a:pt x="469" y="5"/>
                  <a:pt x="477" y="7"/>
                  <a:pt x="475" y="6"/>
                </a:cubicBezTo>
                <a:cubicBezTo>
                  <a:pt x="473" y="6"/>
                  <a:pt x="466" y="4"/>
                  <a:pt x="466" y="5"/>
                </a:cubicBezTo>
                <a:cubicBezTo>
                  <a:pt x="467" y="6"/>
                  <a:pt x="469" y="7"/>
                  <a:pt x="470" y="6"/>
                </a:cubicBezTo>
                <a:cubicBezTo>
                  <a:pt x="469" y="6"/>
                  <a:pt x="468" y="6"/>
                  <a:pt x="467" y="5"/>
                </a:cubicBezTo>
                <a:close/>
                <a:moveTo>
                  <a:pt x="411" y="0"/>
                </a:moveTo>
                <a:cubicBezTo>
                  <a:pt x="410" y="0"/>
                  <a:pt x="406" y="0"/>
                  <a:pt x="404" y="1"/>
                </a:cubicBezTo>
                <a:cubicBezTo>
                  <a:pt x="407" y="1"/>
                  <a:pt x="411" y="1"/>
                  <a:pt x="414" y="1"/>
                </a:cubicBezTo>
                <a:cubicBezTo>
                  <a:pt x="413" y="1"/>
                  <a:pt x="411" y="1"/>
                  <a:pt x="412" y="1"/>
                </a:cubicBezTo>
                <a:cubicBezTo>
                  <a:pt x="413" y="1"/>
                  <a:pt x="417" y="0"/>
                  <a:pt x="415" y="0"/>
                </a:cubicBezTo>
                <a:cubicBezTo>
                  <a:pt x="415" y="1"/>
                  <a:pt x="413" y="0"/>
                  <a:pt x="411" y="0"/>
                </a:cubicBezTo>
                <a:close/>
                <a:moveTo>
                  <a:pt x="394" y="50"/>
                </a:moveTo>
                <a:cubicBezTo>
                  <a:pt x="394" y="49"/>
                  <a:pt x="401" y="50"/>
                  <a:pt x="399" y="50"/>
                </a:cubicBezTo>
                <a:cubicBezTo>
                  <a:pt x="399" y="49"/>
                  <a:pt x="391" y="49"/>
                  <a:pt x="394" y="50"/>
                </a:cubicBezTo>
                <a:close/>
                <a:moveTo>
                  <a:pt x="388" y="50"/>
                </a:moveTo>
                <a:cubicBezTo>
                  <a:pt x="389" y="50"/>
                  <a:pt x="391" y="51"/>
                  <a:pt x="393" y="50"/>
                </a:cubicBezTo>
                <a:cubicBezTo>
                  <a:pt x="384" y="50"/>
                  <a:pt x="379" y="50"/>
                  <a:pt x="376" y="50"/>
                </a:cubicBezTo>
                <a:cubicBezTo>
                  <a:pt x="379" y="50"/>
                  <a:pt x="373" y="51"/>
                  <a:pt x="376" y="51"/>
                </a:cubicBezTo>
                <a:cubicBezTo>
                  <a:pt x="378" y="50"/>
                  <a:pt x="383" y="51"/>
                  <a:pt x="382" y="50"/>
                </a:cubicBezTo>
                <a:cubicBezTo>
                  <a:pt x="383" y="50"/>
                  <a:pt x="386" y="50"/>
                  <a:pt x="388" y="50"/>
                </a:cubicBezTo>
                <a:close/>
                <a:moveTo>
                  <a:pt x="350" y="7"/>
                </a:moveTo>
                <a:cubicBezTo>
                  <a:pt x="351" y="6"/>
                  <a:pt x="358" y="6"/>
                  <a:pt x="359" y="6"/>
                </a:cubicBezTo>
                <a:cubicBezTo>
                  <a:pt x="355" y="6"/>
                  <a:pt x="351" y="7"/>
                  <a:pt x="349" y="7"/>
                </a:cubicBezTo>
                <a:cubicBezTo>
                  <a:pt x="350" y="7"/>
                  <a:pt x="350" y="7"/>
                  <a:pt x="350" y="7"/>
                </a:cubicBezTo>
                <a:cubicBezTo>
                  <a:pt x="350" y="7"/>
                  <a:pt x="349" y="7"/>
                  <a:pt x="350" y="7"/>
                </a:cubicBezTo>
                <a:close/>
                <a:moveTo>
                  <a:pt x="350" y="8"/>
                </a:moveTo>
                <a:cubicBezTo>
                  <a:pt x="350" y="8"/>
                  <a:pt x="350" y="8"/>
                  <a:pt x="351" y="7"/>
                </a:cubicBezTo>
                <a:cubicBezTo>
                  <a:pt x="348" y="8"/>
                  <a:pt x="348" y="7"/>
                  <a:pt x="347" y="7"/>
                </a:cubicBezTo>
                <a:cubicBezTo>
                  <a:pt x="346" y="8"/>
                  <a:pt x="345" y="8"/>
                  <a:pt x="343" y="8"/>
                </a:cubicBezTo>
                <a:cubicBezTo>
                  <a:pt x="342" y="8"/>
                  <a:pt x="336" y="8"/>
                  <a:pt x="335" y="9"/>
                </a:cubicBezTo>
                <a:cubicBezTo>
                  <a:pt x="336" y="9"/>
                  <a:pt x="337" y="9"/>
                  <a:pt x="337" y="9"/>
                </a:cubicBezTo>
                <a:cubicBezTo>
                  <a:pt x="334" y="10"/>
                  <a:pt x="330" y="9"/>
                  <a:pt x="327" y="11"/>
                </a:cubicBezTo>
                <a:cubicBezTo>
                  <a:pt x="331" y="11"/>
                  <a:pt x="333" y="10"/>
                  <a:pt x="336" y="10"/>
                </a:cubicBezTo>
                <a:cubicBezTo>
                  <a:pt x="336" y="9"/>
                  <a:pt x="337" y="9"/>
                  <a:pt x="339" y="9"/>
                </a:cubicBezTo>
                <a:cubicBezTo>
                  <a:pt x="339" y="9"/>
                  <a:pt x="336" y="9"/>
                  <a:pt x="337" y="10"/>
                </a:cubicBezTo>
                <a:cubicBezTo>
                  <a:pt x="342" y="9"/>
                  <a:pt x="350" y="9"/>
                  <a:pt x="351" y="8"/>
                </a:cubicBezTo>
                <a:cubicBezTo>
                  <a:pt x="350" y="8"/>
                  <a:pt x="350" y="8"/>
                  <a:pt x="350" y="8"/>
                </a:cubicBezTo>
                <a:close/>
                <a:moveTo>
                  <a:pt x="314" y="14"/>
                </a:moveTo>
                <a:cubicBezTo>
                  <a:pt x="315" y="14"/>
                  <a:pt x="322" y="13"/>
                  <a:pt x="320" y="13"/>
                </a:cubicBezTo>
                <a:cubicBezTo>
                  <a:pt x="317" y="14"/>
                  <a:pt x="316" y="13"/>
                  <a:pt x="314" y="14"/>
                </a:cubicBezTo>
                <a:close/>
                <a:moveTo>
                  <a:pt x="241" y="77"/>
                </a:moveTo>
                <a:cubicBezTo>
                  <a:pt x="240" y="77"/>
                  <a:pt x="241" y="75"/>
                  <a:pt x="240" y="76"/>
                </a:cubicBezTo>
                <a:cubicBezTo>
                  <a:pt x="240" y="76"/>
                  <a:pt x="238" y="77"/>
                  <a:pt x="238" y="77"/>
                </a:cubicBezTo>
                <a:cubicBezTo>
                  <a:pt x="238" y="77"/>
                  <a:pt x="238" y="77"/>
                  <a:pt x="237" y="77"/>
                </a:cubicBezTo>
                <a:cubicBezTo>
                  <a:pt x="237" y="78"/>
                  <a:pt x="238" y="77"/>
                  <a:pt x="238" y="77"/>
                </a:cubicBezTo>
                <a:cubicBezTo>
                  <a:pt x="236" y="79"/>
                  <a:pt x="236" y="78"/>
                  <a:pt x="235" y="79"/>
                </a:cubicBezTo>
                <a:cubicBezTo>
                  <a:pt x="236" y="79"/>
                  <a:pt x="240" y="77"/>
                  <a:pt x="241" y="77"/>
                </a:cubicBezTo>
                <a:close/>
                <a:moveTo>
                  <a:pt x="232" y="80"/>
                </a:moveTo>
                <a:cubicBezTo>
                  <a:pt x="232" y="81"/>
                  <a:pt x="233" y="81"/>
                  <a:pt x="228" y="83"/>
                </a:cubicBezTo>
                <a:cubicBezTo>
                  <a:pt x="231" y="83"/>
                  <a:pt x="236" y="79"/>
                  <a:pt x="241" y="77"/>
                </a:cubicBezTo>
                <a:cubicBezTo>
                  <a:pt x="238" y="78"/>
                  <a:pt x="235" y="79"/>
                  <a:pt x="232" y="80"/>
                </a:cubicBezTo>
                <a:close/>
                <a:moveTo>
                  <a:pt x="222" y="84"/>
                </a:moveTo>
                <a:cubicBezTo>
                  <a:pt x="220" y="86"/>
                  <a:pt x="220" y="87"/>
                  <a:pt x="223" y="86"/>
                </a:cubicBezTo>
                <a:cubicBezTo>
                  <a:pt x="221" y="87"/>
                  <a:pt x="219" y="89"/>
                  <a:pt x="217" y="89"/>
                </a:cubicBezTo>
                <a:cubicBezTo>
                  <a:pt x="217" y="88"/>
                  <a:pt x="219" y="88"/>
                  <a:pt x="219" y="87"/>
                </a:cubicBezTo>
                <a:cubicBezTo>
                  <a:pt x="217" y="88"/>
                  <a:pt x="213" y="90"/>
                  <a:pt x="213" y="91"/>
                </a:cubicBezTo>
                <a:cubicBezTo>
                  <a:pt x="218" y="88"/>
                  <a:pt x="214" y="91"/>
                  <a:pt x="215" y="91"/>
                </a:cubicBezTo>
                <a:cubicBezTo>
                  <a:pt x="219" y="89"/>
                  <a:pt x="219" y="89"/>
                  <a:pt x="219" y="89"/>
                </a:cubicBezTo>
                <a:cubicBezTo>
                  <a:pt x="219" y="88"/>
                  <a:pt x="224" y="86"/>
                  <a:pt x="226" y="84"/>
                </a:cubicBezTo>
                <a:cubicBezTo>
                  <a:pt x="222" y="86"/>
                  <a:pt x="223" y="85"/>
                  <a:pt x="222" y="84"/>
                </a:cubicBezTo>
                <a:close/>
                <a:moveTo>
                  <a:pt x="214" y="101"/>
                </a:moveTo>
                <a:cubicBezTo>
                  <a:pt x="214" y="103"/>
                  <a:pt x="210" y="104"/>
                  <a:pt x="207" y="106"/>
                </a:cubicBezTo>
                <a:cubicBezTo>
                  <a:pt x="211" y="104"/>
                  <a:pt x="216" y="101"/>
                  <a:pt x="220" y="99"/>
                </a:cubicBezTo>
                <a:cubicBezTo>
                  <a:pt x="219" y="99"/>
                  <a:pt x="215" y="102"/>
                  <a:pt x="215" y="101"/>
                </a:cubicBezTo>
                <a:cubicBezTo>
                  <a:pt x="219" y="99"/>
                  <a:pt x="223" y="98"/>
                  <a:pt x="226" y="95"/>
                </a:cubicBezTo>
                <a:cubicBezTo>
                  <a:pt x="223" y="97"/>
                  <a:pt x="219" y="98"/>
                  <a:pt x="214" y="101"/>
                </a:cubicBezTo>
                <a:close/>
                <a:moveTo>
                  <a:pt x="211" y="86"/>
                </a:moveTo>
                <a:cubicBezTo>
                  <a:pt x="213" y="83"/>
                  <a:pt x="216" y="83"/>
                  <a:pt x="217" y="81"/>
                </a:cubicBezTo>
                <a:cubicBezTo>
                  <a:pt x="214" y="83"/>
                  <a:pt x="214" y="82"/>
                  <a:pt x="210" y="84"/>
                </a:cubicBezTo>
                <a:cubicBezTo>
                  <a:pt x="210" y="85"/>
                  <a:pt x="208" y="86"/>
                  <a:pt x="211" y="86"/>
                </a:cubicBezTo>
                <a:close/>
                <a:moveTo>
                  <a:pt x="210" y="82"/>
                </a:moveTo>
                <a:cubicBezTo>
                  <a:pt x="211" y="82"/>
                  <a:pt x="207" y="83"/>
                  <a:pt x="208" y="84"/>
                </a:cubicBezTo>
                <a:cubicBezTo>
                  <a:pt x="211" y="83"/>
                  <a:pt x="211" y="82"/>
                  <a:pt x="213" y="80"/>
                </a:cubicBezTo>
                <a:cubicBezTo>
                  <a:pt x="214" y="80"/>
                  <a:pt x="214" y="81"/>
                  <a:pt x="215" y="80"/>
                </a:cubicBezTo>
                <a:cubicBezTo>
                  <a:pt x="216" y="79"/>
                  <a:pt x="212" y="81"/>
                  <a:pt x="210" y="82"/>
                </a:cubicBezTo>
                <a:close/>
                <a:moveTo>
                  <a:pt x="203" y="100"/>
                </a:moveTo>
                <a:cubicBezTo>
                  <a:pt x="201" y="100"/>
                  <a:pt x="199" y="102"/>
                  <a:pt x="199" y="102"/>
                </a:cubicBezTo>
                <a:cubicBezTo>
                  <a:pt x="201" y="100"/>
                  <a:pt x="205" y="97"/>
                  <a:pt x="207" y="96"/>
                </a:cubicBezTo>
                <a:cubicBezTo>
                  <a:pt x="207" y="96"/>
                  <a:pt x="213" y="92"/>
                  <a:pt x="212" y="92"/>
                </a:cubicBezTo>
                <a:cubicBezTo>
                  <a:pt x="211" y="93"/>
                  <a:pt x="207" y="95"/>
                  <a:pt x="207" y="96"/>
                </a:cubicBezTo>
                <a:cubicBezTo>
                  <a:pt x="204" y="97"/>
                  <a:pt x="201" y="100"/>
                  <a:pt x="197" y="101"/>
                </a:cubicBezTo>
                <a:cubicBezTo>
                  <a:pt x="197" y="102"/>
                  <a:pt x="198" y="101"/>
                  <a:pt x="196" y="103"/>
                </a:cubicBezTo>
                <a:cubicBezTo>
                  <a:pt x="192" y="104"/>
                  <a:pt x="183" y="110"/>
                  <a:pt x="180" y="114"/>
                </a:cubicBezTo>
                <a:cubicBezTo>
                  <a:pt x="175" y="115"/>
                  <a:pt x="167" y="123"/>
                  <a:pt x="160" y="128"/>
                </a:cubicBezTo>
                <a:cubicBezTo>
                  <a:pt x="161" y="128"/>
                  <a:pt x="163" y="127"/>
                  <a:pt x="161" y="129"/>
                </a:cubicBezTo>
                <a:cubicBezTo>
                  <a:pt x="164" y="127"/>
                  <a:pt x="163" y="126"/>
                  <a:pt x="165" y="125"/>
                </a:cubicBezTo>
                <a:cubicBezTo>
                  <a:pt x="166" y="125"/>
                  <a:pt x="167" y="124"/>
                  <a:pt x="165" y="127"/>
                </a:cubicBezTo>
                <a:cubicBezTo>
                  <a:pt x="167" y="125"/>
                  <a:pt x="166" y="126"/>
                  <a:pt x="168" y="125"/>
                </a:cubicBezTo>
                <a:cubicBezTo>
                  <a:pt x="168" y="124"/>
                  <a:pt x="169" y="122"/>
                  <a:pt x="167" y="123"/>
                </a:cubicBezTo>
                <a:cubicBezTo>
                  <a:pt x="172" y="119"/>
                  <a:pt x="174" y="119"/>
                  <a:pt x="177" y="116"/>
                </a:cubicBezTo>
                <a:cubicBezTo>
                  <a:pt x="176" y="117"/>
                  <a:pt x="178" y="116"/>
                  <a:pt x="179" y="115"/>
                </a:cubicBezTo>
                <a:cubicBezTo>
                  <a:pt x="179" y="115"/>
                  <a:pt x="178" y="115"/>
                  <a:pt x="179" y="114"/>
                </a:cubicBezTo>
                <a:cubicBezTo>
                  <a:pt x="183" y="113"/>
                  <a:pt x="189" y="107"/>
                  <a:pt x="193" y="105"/>
                </a:cubicBezTo>
                <a:cubicBezTo>
                  <a:pt x="193" y="105"/>
                  <a:pt x="192" y="105"/>
                  <a:pt x="194" y="104"/>
                </a:cubicBezTo>
                <a:cubicBezTo>
                  <a:pt x="193" y="106"/>
                  <a:pt x="196" y="103"/>
                  <a:pt x="198" y="102"/>
                </a:cubicBezTo>
                <a:cubicBezTo>
                  <a:pt x="198" y="103"/>
                  <a:pt x="189" y="108"/>
                  <a:pt x="194" y="106"/>
                </a:cubicBezTo>
                <a:cubicBezTo>
                  <a:pt x="192" y="107"/>
                  <a:pt x="190" y="108"/>
                  <a:pt x="190" y="108"/>
                </a:cubicBezTo>
                <a:cubicBezTo>
                  <a:pt x="194" y="106"/>
                  <a:pt x="190" y="109"/>
                  <a:pt x="189" y="110"/>
                </a:cubicBezTo>
                <a:cubicBezTo>
                  <a:pt x="194" y="107"/>
                  <a:pt x="196" y="106"/>
                  <a:pt x="200" y="103"/>
                </a:cubicBezTo>
                <a:cubicBezTo>
                  <a:pt x="201" y="103"/>
                  <a:pt x="200" y="103"/>
                  <a:pt x="201" y="102"/>
                </a:cubicBezTo>
                <a:cubicBezTo>
                  <a:pt x="202" y="102"/>
                  <a:pt x="205" y="100"/>
                  <a:pt x="205" y="99"/>
                </a:cubicBezTo>
                <a:cubicBezTo>
                  <a:pt x="207" y="98"/>
                  <a:pt x="210" y="96"/>
                  <a:pt x="210" y="97"/>
                </a:cubicBezTo>
                <a:cubicBezTo>
                  <a:pt x="212" y="96"/>
                  <a:pt x="213" y="96"/>
                  <a:pt x="213" y="95"/>
                </a:cubicBezTo>
                <a:cubicBezTo>
                  <a:pt x="211" y="96"/>
                  <a:pt x="215" y="94"/>
                  <a:pt x="214" y="94"/>
                </a:cubicBezTo>
                <a:cubicBezTo>
                  <a:pt x="213" y="95"/>
                  <a:pt x="213" y="94"/>
                  <a:pt x="211" y="95"/>
                </a:cubicBezTo>
                <a:cubicBezTo>
                  <a:pt x="211" y="96"/>
                  <a:pt x="207" y="98"/>
                  <a:pt x="205" y="99"/>
                </a:cubicBezTo>
                <a:cubicBezTo>
                  <a:pt x="205" y="99"/>
                  <a:pt x="202" y="101"/>
                  <a:pt x="202" y="101"/>
                </a:cubicBezTo>
                <a:cubicBezTo>
                  <a:pt x="200" y="101"/>
                  <a:pt x="205" y="99"/>
                  <a:pt x="203" y="100"/>
                </a:cubicBezTo>
                <a:close/>
                <a:moveTo>
                  <a:pt x="201" y="82"/>
                </a:moveTo>
                <a:cubicBezTo>
                  <a:pt x="203" y="81"/>
                  <a:pt x="203" y="82"/>
                  <a:pt x="205" y="81"/>
                </a:cubicBezTo>
                <a:cubicBezTo>
                  <a:pt x="205" y="80"/>
                  <a:pt x="206" y="80"/>
                  <a:pt x="205" y="79"/>
                </a:cubicBezTo>
                <a:cubicBezTo>
                  <a:pt x="203" y="80"/>
                  <a:pt x="202" y="81"/>
                  <a:pt x="201" y="82"/>
                </a:cubicBezTo>
                <a:close/>
                <a:moveTo>
                  <a:pt x="192" y="82"/>
                </a:moveTo>
                <a:cubicBezTo>
                  <a:pt x="192" y="81"/>
                  <a:pt x="194" y="80"/>
                  <a:pt x="194" y="80"/>
                </a:cubicBezTo>
                <a:cubicBezTo>
                  <a:pt x="192" y="80"/>
                  <a:pt x="187" y="84"/>
                  <a:pt x="190" y="83"/>
                </a:cubicBezTo>
                <a:cubicBezTo>
                  <a:pt x="192" y="81"/>
                  <a:pt x="191" y="83"/>
                  <a:pt x="191" y="83"/>
                </a:cubicBezTo>
                <a:cubicBezTo>
                  <a:pt x="192" y="83"/>
                  <a:pt x="194" y="82"/>
                  <a:pt x="195" y="81"/>
                </a:cubicBezTo>
                <a:cubicBezTo>
                  <a:pt x="195" y="81"/>
                  <a:pt x="195" y="82"/>
                  <a:pt x="195" y="82"/>
                </a:cubicBezTo>
                <a:cubicBezTo>
                  <a:pt x="197" y="81"/>
                  <a:pt x="197" y="81"/>
                  <a:pt x="197" y="81"/>
                </a:cubicBezTo>
                <a:cubicBezTo>
                  <a:pt x="197" y="80"/>
                  <a:pt x="197" y="80"/>
                  <a:pt x="197" y="80"/>
                </a:cubicBezTo>
                <a:cubicBezTo>
                  <a:pt x="194" y="82"/>
                  <a:pt x="193" y="81"/>
                  <a:pt x="192" y="82"/>
                </a:cubicBezTo>
                <a:close/>
                <a:moveTo>
                  <a:pt x="196" y="84"/>
                </a:moveTo>
                <a:cubicBezTo>
                  <a:pt x="193" y="86"/>
                  <a:pt x="192" y="85"/>
                  <a:pt x="192" y="85"/>
                </a:cubicBezTo>
                <a:cubicBezTo>
                  <a:pt x="192" y="86"/>
                  <a:pt x="191" y="86"/>
                  <a:pt x="191" y="87"/>
                </a:cubicBezTo>
                <a:cubicBezTo>
                  <a:pt x="193" y="86"/>
                  <a:pt x="192" y="87"/>
                  <a:pt x="194" y="87"/>
                </a:cubicBezTo>
                <a:cubicBezTo>
                  <a:pt x="196" y="86"/>
                  <a:pt x="195" y="86"/>
                  <a:pt x="197" y="85"/>
                </a:cubicBezTo>
                <a:cubicBezTo>
                  <a:pt x="198" y="84"/>
                  <a:pt x="195" y="86"/>
                  <a:pt x="195" y="85"/>
                </a:cubicBezTo>
                <a:cubicBezTo>
                  <a:pt x="195" y="85"/>
                  <a:pt x="198" y="82"/>
                  <a:pt x="196" y="83"/>
                </a:cubicBezTo>
                <a:cubicBezTo>
                  <a:pt x="196" y="83"/>
                  <a:pt x="196" y="83"/>
                  <a:pt x="196" y="84"/>
                </a:cubicBezTo>
                <a:close/>
                <a:moveTo>
                  <a:pt x="187" y="104"/>
                </a:moveTo>
                <a:cubicBezTo>
                  <a:pt x="188" y="103"/>
                  <a:pt x="188" y="105"/>
                  <a:pt x="192" y="103"/>
                </a:cubicBezTo>
                <a:cubicBezTo>
                  <a:pt x="192" y="102"/>
                  <a:pt x="190" y="103"/>
                  <a:pt x="190" y="103"/>
                </a:cubicBezTo>
                <a:cubicBezTo>
                  <a:pt x="192" y="102"/>
                  <a:pt x="193" y="101"/>
                  <a:pt x="194" y="99"/>
                </a:cubicBezTo>
                <a:cubicBezTo>
                  <a:pt x="195" y="100"/>
                  <a:pt x="195" y="100"/>
                  <a:pt x="195" y="100"/>
                </a:cubicBezTo>
                <a:cubicBezTo>
                  <a:pt x="197" y="98"/>
                  <a:pt x="198" y="98"/>
                  <a:pt x="201" y="96"/>
                </a:cubicBezTo>
                <a:cubicBezTo>
                  <a:pt x="200" y="96"/>
                  <a:pt x="201" y="94"/>
                  <a:pt x="200" y="95"/>
                </a:cubicBezTo>
                <a:cubicBezTo>
                  <a:pt x="196" y="97"/>
                  <a:pt x="191" y="101"/>
                  <a:pt x="189" y="102"/>
                </a:cubicBezTo>
                <a:cubicBezTo>
                  <a:pt x="188" y="103"/>
                  <a:pt x="191" y="102"/>
                  <a:pt x="188" y="103"/>
                </a:cubicBezTo>
                <a:cubicBezTo>
                  <a:pt x="188" y="103"/>
                  <a:pt x="187" y="104"/>
                  <a:pt x="187" y="104"/>
                </a:cubicBezTo>
                <a:close/>
                <a:moveTo>
                  <a:pt x="198" y="107"/>
                </a:moveTo>
                <a:cubicBezTo>
                  <a:pt x="200" y="106"/>
                  <a:pt x="201" y="105"/>
                  <a:pt x="202" y="105"/>
                </a:cubicBezTo>
                <a:cubicBezTo>
                  <a:pt x="201" y="105"/>
                  <a:pt x="199" y="106"/>
                  <a:pt x="198" y="106"/>
                </a:cubicBezTo>
                <a:cubicBezTo>
                  <a:pt x="200" y="105"/>
                  <a:pt x="200" y="104"/>
                  <a:pt x="202" y="103"/>
                </a:cubicBezTo>
                <a:cubicBezTo>
                  <a:pt x="201" y="104"/>
                  <a:pt x="203" y="102"/>
                  <a:pt x="205" y="102"/>
                </a:cubicBezTo>
                <a:cubicBezTo>
                  <a:pt x="204" y="101"/>
                  <a:pt x="200" y="104"/>
                  <a:pt x="197" y="105"/>
                </a:cubicBezTo>
                <a:cubicBezTo>
                  <a:pt x="199" y="105"/>
                  <a:pt x="196" y="108"/>
                  <a:pt x="198" y="107"/>
                </a:cubicBezTo>
                <a:close/>
                <a:moveTo>
                  <a:pt x="186" y="99"/>
                </a:moveTo>
                <a:cubicBezTo>
                  <a:pt x="183" y="101"/>
                  <a:pt x="173" y="108"/>
                  <a:pt x="182" y="103"/>
                </a:cubicBezTo>
                <a:cubicBezTo>
                  <a:pt x="183" y="101"/>
                  <a:pt x="187" y="99"/>
                  <a:pt x="183" y="102"/>
                </a:cubicBezTo>
                <a:cubicBezTo>
                  <a:pt x="186" y="100"/>
                  <a:pt x="187" y="99"/>
                  <a:pt x="188" y="98"/>
                </a:cubicBezTo>
                <a:cubicBezTo>
                  <a:pt x="187" y="99"/>
                  <a:pt x="187" y="98"/>
                  <a:pt x="186" y="99"/>
                </a:cubicBezTo>
                <a:close/>
                <a:moveTo>
                  <a:pt x="169" y="89"/>
                </a:moveTo>
                <a:cubicBezTo>
                  <a:pt x="171" y="89"/>
                  <a:pt x="178" y="83"/>
                  <a:pt x="174" y="85"/>
                </a:cubicBezTo>
                <a:cubicBezTo>
                  <a:pt x="174" y="86"/>
                  <a:pt x="171" y="88"/>
                  <a:pt x="169" y="89"/>
                </a:cubicBezTo>
                <a:close/>
                <a:moveTo>
                  <a:pt x="182" y="123"/>
                </a:moveTo>
                <a:cubicBezTo>
                  <a:pt x="187" y="120"/>
                  <a:pt x="189" y="118"/>
                  <a:pt x="195" y="114"/>
                </a:cubicBezTo>
                <a:cubicBezTo>
                  <a:pt x="194" y="115"/>
                  <a:pt x="195" y="113"/>
                  <a:pt x="194" y="114"/>
                </a:cubicBezTo>
                <a:cubicBezTo>
                  <a:pt x="194" y="114"/>
                  <a:pt x="191" y="117"/>
                  <a:pt x="189" y="118"/>
                </a:cubicBezTo>
                <a:cubicBezTo>
                  <a:pt x="190" y="117"/>
                  <a:pt x="190" y="117"/>
                  <a:pt x="190" y="116"/>
                </a:cubicBezTo>
                <a:cubicBezTo>
                  <a:pt x="188" y="118"/>
                  <a:pt x="186" y="120"/>
                  <a:pt x="183" y="121"/>
                </a:cubicBezTo>
                <a:cubicBezTo>
                  <a:pt x="184" y="121"/>
                  <a:pt x="184" y="120"/>
                  <a:pt x="183" y="121"/>
                </a:cubicBezTo>
                <a:cubicBezTo>
                  <a:pt x="183" y="121"/>
                  <a:pt x="182" y="123"/>
                  <a:pt x="182" y="123"/>
                </a:cubicBezTo>
                <a:close/>
                <a:moveTo>
                  <a:pt x="178" y="110"/>
                </a:moveTo>
                <a:cubicBezTo>
                  <a:pt x="180" y="109"/>
                  <a:pt x="180" y="109"/>
                  <a:pt x="180" y="109"/>
                </a:cubicBezTo>
                <a:cubicBezTo>
                  <a:pt x="178" y="111"/>
                  <a:pt x="182" y="109"/>
                  <a:pt x="182" y="108"/>
                </a:cubicBezTo>
                <a:cubicBezTo>
                  <a:pt x="181" y="108"/>
                  <a:pt x="179" y="109"/>
                  <a:pt x="178" y="110"/>
                </a:cubicBezTo>
                <a:close/>
                <a:moveTo>
                  <a:pt x="178" y="117"/>
                </a:moveTo>
                <a:cubicBezTo>
                  <a:pt x="177" y="118"/>
                  <a:pt x="176" y="118"/>
                  <a:pt x="175" y="120"/>
                </a:cubicBezTo>
                <a:cubicBezTo>
                  <a:pt x="176" y="119"/>
                  <a:pt x="176" y="119"/>
                  <a:pt x="177" y="119"/>
                </a:cubicBezTo>
                <a:cubicBezTo>
                  <a:pt x="178" y="118"/>
                  <a:pt x="182" y="116"/>
                  <a:pt x="181" y="116"/>
                </a:cubicBezTo>
                <a:cubicBezTo>
                  <a:pt x="177" y="119"/>
                  <a:pt x="181" y="114"/>
                  <a:pt x="178" y="117"/>
                </a:cubicBezTo>
                <a:close/>
                <a:moveTo>
                  <a:pt x="164" y="122"/>
                </a:moveTo>
                <a:cubicBezTo>
                  <a:pt x="169" y="117"/>
                  <a:pt x="172" y="117"/>
                  <a:pt x="177" y="112"/>
                </a:cubicBezTo>
                <a:cubicBezTo>
                  <a:pt x="174" y="114"/>
                  <a:pt x="176" y="112"/>
                  <a:pt x="174" y="113"/>
                </a:cubicBezTo>
                <a:cubicBezTo>
                  <a:pt x="171" y="116"/>
                  <a:pt x="165" y="119"/>
                  <a:pt x="164" y="122"/>
                </a:cubicBezTo>
                <a:close/>
                <a:moveTo>
                  <a:pt x="159" y="111"/>
                </a:moveTo>
                <a:cubicBezTo>
                  <a:pt x="160" y="110"/>
                  <a:pt x="164" y="108"/>
                  <a:pt x="164" y="107"/>
                </a:cubicBezTo>
                <a:cubicBezTo>
                  <a:pt x="162" y="109"/>
                  <a:pt x="158" y="112"/>
                  <a:pt x="159" y="111"/>
                </a:cubicBezTo>
                <a:close/>
                <a:moveTo>
                  <a:pt x="170" y="123"/>
                </a:moveTo>
                <a:cubicBezTo>
                  <a:pt x="172" y="122"/>
                  <a:pt x="175" y="118"/>
                  <a:pt x="172" y="121"/>
                </a:cubicBezTo>
                <a:cubicBezTo>
                  <a:pt x="172" y="121"/>
                  <a:pt x="173" y="120"/>
                  <a:pt x="173" y="121"/>
                </a:cubicBezTo>
                <a:cubicBezTo>
                  <a:pt x="172" y="121"/>
                  <a:pt x="168" y="124"/>
                  <a:pt x="170" y="123"/>
                </a:cubicBezTo>
                <a:close/>
                <a:moveTo>
                  <a:pt x="125" y="113"/>
                </a:moveTo>
                <a:cubicBezTo>
                  <a:pt x="123" y="114"/>
                  <a:pt x="123" y="114"/>
                  <a:pt x="123" y="114"/>
                </a:cubicBezTo>
                <a:cubicBezTo>
                  <a:pt x="123" y="115"/>
                  <a:pt x="122" y="116"/>
                  <a:pt x="123" y="115"/>
                </a:cubicBezTo>
                <a:cubicBezTo>
                  <a:pt x="125" y="114"/>
                  <a:pt x="125" y="114"/>
                  <a:pt x="125" y="113"/>
                </a:cubicBezTo>
                <a:cubicBezTo>
                  <a:pt x="125" y="113"/>
                  <a:pt x="126" y="113"/>
                  <a:pt x="126" y="112"/>
                </a:cubicBezTo>
                <a:cubicBezTo>
                  <a:pt x="125" y="113"/>
                  <a:pt x="125" y="113"/>
                  <a:pt x="125" y="113"/>
                </a:cubicBezTo>
                <a:close/>
                <a:moveTo>
                  <a:pt x="107" y="138"/>
                </a:moveTo>
                <a:cubicBezTo>
                  <a:pt x="106" y="138"/>
                  <a:pt x="106" y="138"/>
                  <a:pt x="105" y="139"/>
                </a:cubicBezTo>
                <a:cubicBezTo>
                  <a:pt x="105" y="138"/>
                  <a:pt x="107" y="136"/>
                  <a:pt x="107" y="136"/>
                </a:cubicBezTo>
                <a:cubicBezTo>
                  <a:pt x="105" y="138"/>
                  <a:pt x="104" y="139"/>
                  <a:pt x="102" y="141"/>
                </a:cubicBezTo>
                <a:cubicBezTo>
                  <a:pt x="104" y="141"/>
                  <a:pt x="106" y="140"/>
                  <a:pt x="108" y="139"/>
                </a:cubicBezTo>
                <a:cubicBezTo>
                  <a:pt x="104" y="141"/>
                  <a:pt x="110" y="134"/>
                  <a:pt x="107" y="137"/>
                </a:cubicBezTo>
                <a:cubicBezTo>
                  <a:pt x="107" y="137"/>
                  <a:pt x="107" y="137"/>
                  <a:pt x="107" y="138"/>
                </a:cubicBezTo>
                <a:close/>
                <a:moveTo>
                  <a:pt x="128" y="160"/>
                </a:moveTo>
                <a:cubicBezTo>
                  <a:pt x="127" y="161"/>
                  <a:pt x="126" y="161"/>
                  <a:pt x="126" y="161"/>
                </a:cubicBezTo>
                <a:cubicBezTo>
                  <a:pt x="125" y="163"/>
                  <a:pt x="128" y="160"/>
                  <a:pt x="128" y="162"/>
                </a:cubicBezTo>
                <a:cubicBezTo>
                  <a:pt x="127" y="163"/>
                  <a:pt x="126" y="164"/>
                  <a:pt x="125" y="164"/>
                </a:cubicBezTo>
                <a:cubicBezTo>
                  <a:pt x="125" y="165"/>
                  <a:pt x="128" y="162"/>
                  <a:pt x="129" y="162"/>
                </a:cubicBezTo>
                <a:cubicBezTo>
                  <a:pt x="128" y="162"/>
                  <a:pt x="127" y="163"/>
                  <a:pt x="127" y="163"/>
                </a:cubicBezTo>
                <a:cubicBezTo>
                  <a:pt x="131" y="161"/>
                  <a:pt x="128" y="162"/>
                  <a:pt x="131" y="159"/>
                </a:cubicBezTo>
                <a:cubicBezTo>
                  <a:pt x="130" y="159"/>
                  <a:pt x="127" y="162"/>
                  <a:pt x="128" y="160"/>
                </a:cubicBezTo>
                <a:close/>
                <a:moveTo>
                  <a:pt x="95" y="148"/>
                </a:moveTo>
                <a:cubicBezTo>
                  <a:pt x="95" y="148"/>
                  <a:pt x="96" y="148"/>
                  <a:pt x="96" y="148"/>
                </a:cubicBezTo>
                <a:cubicBezTo>
                  <a:pt x="94" y="149"/>
                  <a:pt x="94" y="150"/>
                  <a:pt x="94" y="150"/>
                </a:cubicBezTo>
                <a:cubicBezTo>
                  <a:pt x="98" y="147"/>
                  <a:pt x="99" y="145"/>
                  <a:pt x="101" y="143"/>
                </a:cubicBezTo>
                <a:cubicBezTo>
                  <a:pt x="102" y="143"/>
                  <a:pt x="102" y="142"/>
                  <a:pt x="102" y="141"/>
                </a:cubicBezTo>
                <a:cubicBezTo>
                  <a:pt x="100" y="143"/>
                  <a:pt x="97" y="147"/>
                  <a:pt x="95" y="148"/>
                </a:cubicBezTo>
                <a:close/>
                <a:moveTo>
                  <a:pt x="110" y="169"/>
                </a:moveTo>
                <a:cubicBezTo>
                  <a:pt x="110" y="169"/>
                  <a:pt x="111" y="169"/>
                  <a:pt x="111" y="169"/>
                </a:cubicBezTo>
                <a:cubicBezTo>
                  <a:pt x="110" y="170"/>
                  <a:pt x="109" y="171"/>
                  <a:pt x="109" y="171"/>
                </a:cubicBezTo>
                <a:cubicBezTo>
                  <a:pt x="112" y="168"/>
                  <a:pt x="113" y="166"/>
                  <a:pt x="114" y="165"/>
                </a:cubicBezTo>
                <a:cubicBezTo>
                  <a:pt x="114" y="165"/>
                  <a:pt x="114" y="165"/>
                  <a:pt x="114" y="165"/>
                </a:cubicBezTo>
                <a:cubicBezTo>
                  <a:pt x="112" y="167"/>
                  <a:pt x="111" y="169"/>
                  <a:pt x="110" y="169"/>
                </a:cubicBezTo>
                <a:close/>
                <a:moveTo>
                  <a:pt x="91" y="154"/>
                </a:moveTo>
                <a:cubicBezTo>
                  <a:pt x="92" y="155"/>
                  <a:pt x="92" y="155"/>
                  <a:pt x="92" y="155"/>
                </a:cubicBezTo>
                <a:cubicBezTo>
                  <a:pt x="94" y="153"/>
                  <a:pt x="93" y="153"/>
                  <a:pt x="94" y="152"/>
                </a:cubicBezTo>
                <a:cubicBezTo>
                  <a:pt x="94" y="152"/>
                  <a:pt x="94" y="152"/>
                  <a:pt x="95" y="152"/>
                </a:cubicBezTo>
                <a:cubicBezTo>
                  <a:pt x="95" y="152"/>
                  <a:pt x="95" y="151"/>
                  <a:pt x="95" y="151"/>
                </a:cubicBezTo>
                <a:cubicBezTo>
                  <a:pt x="94" y="151"/>
                  <a:pt x="94" y="151"/>
                  <a:pt x="94" y="152"/>
                </a:cubicBezTo>
                <a:cubicBezTo>
                  <a:pt x="93" y="153"/>
                  <a:pt x="93" y="153"/>
                  <a:pt x="91" y="154"/>
                </a:cubicBezTo>
                <a:close/>
                <a:moveTo>
                  <a:pt x="92" y="162"/>
                </a:moveTo>
                <a:cubicBezTo>
                  <a:pt x="94" y="162"/>
                  <a:pt x="97" y="157"/>
                  <a:pt x="99" y="155"/>
                </a:cubicBezTo>
                <a:cubicBezTo>
                  <a:pt x="96" y="158"/>
                  <a:pt x="95" y="159"/>
                  <a:pt x="92" y="162"/>
                </a:cubicBezTo>
                <a:close/>
                <a:moveTo>
                  <a:pt x="88" y="161"/>
                </a:moveTo>
                <a:cubicBezTo>
                  <a:pt x="87" y="161"/>
                  <a:pt x="87" y="161"/>
                  <a:pt x="87" y="161"/>
                </a:cubicBezTo>
                <a:cubicBezTo>
                  <a:pt x="87" y="161"/>
                  <a:pt x="87" y="161"/>
                  <a:pt x="87" y="161"/>
                </a:cubicBezTo>
                <a:cubicBezTo>
                  <a:pt x="87" y="162"/>
                  <a:pt x="87" y="162"/>
                  <a:pt x="87" y="162"/>
                </a:cubicBezTo>
                <a:cubicBezTo>
                  <a:pt x="87" y="162"/>
                  <a:pt x="87" y="162"/>
                  <a:pt x="87" y="162"/>
                </a:cubicBezTo>
                <a:cubicBezTo>
                  <a:pt x="87" y="162"/>
                  <a:pt x="87" y="163"/>
                  <a:pt x="87" y="163"/>
                </a:cubicBezTo>
                <a:cubicBezTo>
                  <a:pt x="87" y="163"/>
                  <a:pt x="87" y="162"/>
                  <a:pt x="87" y="162"/>
                </a:cubicBezTo>
                <a:cubicBezTo>
                  <a:pt x="87" y="162"/>
                  <a:pt x="87" y="162"/>
                  <a:pt x="88" y="161"/>
                </a:cubicBezTo>
                <a:cubicBezTo>
                  <a:pt x="89" y="160"/>
                  <a:pt x="89" y="160"/>
                  <a:pt x="89" y="160"/>
                </a:cubicBezTo>
                <a:cubicBezTo>
                  <a:pt x="88" y="162"/>
                  <a:pt x="90" y="159"/>
                  <a:pt x="91" y="158"/>
                </a:cubicBezTo>
                <a:cubicBezTo>
                  <a:pt x="91" y="157"/>
                  <a:pt x="93" y="157"/>
                  <a:pt x="94" y="156"/>
                </a:cubicBezTo>
                <a:cubicBezTo>
                  <a:pt x="92" y="156"/>
                  <a:pt x="90" y="158"/>
                  <a:pt x="88" y="161"/>
                </a:cubicBezTo>
                <a:close/>
                <a:moveTo>
                  <a:pt x="106" y="176"/>
                </a:moveTo>
                <a:cubicBezTo>
                  <a:pt x="106" y="177"/>
                  <a:pt x="105" y="177"/>
                  <a:pt x="105" y="178"/>
                </a:cubicBezTo>
                <a:cubicBezTo>
                  <a:pt x="104" y="178"/>
                  <a:pt x="104" y="178"/>
                  <a:pt x="104" y="178"/>
                </a:cubicBezTo>
                <a:cubicBezTo>
                  <a:pt x="104" y="179"/>
                  <a:pt x="103" y="179"/>
                  <a:pt x="103" y="180"/>
                </a:cubicBezTo>
                <a:cubicBezTo>
                  <a:pt x="104" y="179"/>
                  <a:pt x="104" y="180"/>
                  <a:pt x="104" y="179"/>
                </a:cubicBezTo>
                <a:cubicBezTo>
                  <a:pt x="105" y="179"/>
                  <a:pt x="105" y="180"/>
                  <a:pt x="106" y="179"/>
                </a:cubicBezTo>
                <a:cubicBezTo>
                  <a:pt x="105" y="179"/>
                  <a:pt x="105" y="179"/>
                  <a:pt x="105" y="179"/>
                </a:cubicBezTo>
                <a:cubicBezTo>
                  <a:pt x="105" y="178"/>
                  <a:pt x="105" y="179"/>
                  <a:pt x="106" y="178"/>
                </a:cubicBezTo>
                <a:cubicBezTo>
                  <a:pt x="105" y="179"/>
                  <a:pt x="108" y="175"/>
                  <a:pt x="108" y="175"/>
                </a:cubicBezTo>
                <a:cubicBezTo>
                  <a:pt x="108" y="175"/>
                  <a:pt x="108" y="175"/>
                  <a:pt x="109" y="175"/>
                </a:cubicBezTo>
                <a:cubicBezTo>
                  <a:pt x="108" y="175"/>
                  <a:pt x="107" y="175"/>
                  <a:pt x="106" y="176"/>
                </a:cubicBezTo>
                <a:close/>
                <a:moveTo>
                  <a:pt x="109" y="180"/>
                </a:moveTo>
                <a:cubicBezTo>
                  <a:pt x="108" y="180"/>
                  <a:pt x="108" y="180"/>
                  <a:pt x="108" y="180"/>
                </a:cubicBezTo>
                <a:cubicBezTo>
                  <a:pt x="108" y="181"/>
                  <a:pt x="108" y="181"/>
                  <a:pt x="108" y="181"/>
                </a:cubicBezTo>
                <a:cubicBezTo>
                  <a:pt x="107" y="181"/>
                  <a:pt x="107" y="181"/>
                  <a:pt x="107" y="181"/>
                </a:cubicBezTo>
                <a:cubicBezTo>
                  <a:pt x="107" y="181"/>
                  <a:pt x="107" y="181"/>
                  <a:pt x="107" y="181"/>
                </a:cubicBezTo>
                <a:cubicBezTo>
                  <a:pt x="106" y="182"/>
                  <a:pt x="106" y="183"/>
                  <a:pt x="105" y="184"/>
                </a:cubicBezTo>
                <a:cubicBezTo>
                  <a:pt x="106" y="184"/>
                  <a:pt x="107" y="183"/>
                  <a:pt x="107" y="182"/>
                </a:cubicBezTo>
                <a:cubicBezTo>
                  <a:pt x="108" y="182"/>
                  <a:pt x="108" y="182"/>
                  <a:pt x="108" y="182"/>
                </a:cubicBezTo>
                <a:cubicBezTo>
                  <a:pt x="108" y="182"/>
                  <a:pt x="108" y="182"/>
                  <a:pt x="110" y="180"/>
                </a:cubicBezTo>
                <a:cubicBezTo>
                  <a:pt x="110" y="180"/>
                  <a:pt x="109" y="180"/>
                  <a:pt x="109" y="180"/>
                </a:cubicBezTo>
                <a:close/>
                <a:moveTo>
                  <a:pt x="88" y="171"/>
                </a:moveTo>
                <a:cubicBezTo>
                  <a:pt x="89" y="170"/>
                  <a:pt x="88" y="170"/>
                  <a:pt x="88" y="170"/>
                </a:cubicBezTo>
                <a:cubicBezTo>
                  <a:pt x="89" y="171"/>
                  <a:pt x="90" y="169"/>
                  <a:pt x="90" y="169"/>
                </a:cubicBezTo>
                <a:cubicBezTo>
                  <a:pt x="90" y="169"/>
                  <a:pt x="90" y="168"/>
                  <a:pt x="89" y="169"/>
                </a:cubicBezTo>
                <a:cubicBezTo>
                  <a:pt x="89" y="169"/>
                  <a:pt x="88" y="170"/>
                  <a:pt x="88" y="171"/>
                </a:cubicBezTo>
                <a:close/>
                <a:moveTo>
                  <a:pt x="98" y="180"/>
                </a:moveTo>
                <a:cubicBezTo>
                  <a:pt x="99" y="179"/>
                  <a:pt x="99" y="180"/>
                  <a:pt x="100" y="180"/>
                </a:cubicBezTo>
                <a:cubicBezTo>
                  <a:pt x="99" y="179"/>
                  <a:pt x="98" y="179"/>
                  <a:pt x="98" y="180"/>
                </a:cubicBezTo>
                <a:close/>
                <a:moveTo>
                  <a:pt x="102" y="183"/>
                </a:moveTo>
                <a:cubicBezTo>
                  <a:pt x="102" y="182"/>
                  <a:pt x="101" y="182"/>
                  <a:pt x="102" y="182"/>
                </a:cubicBezTo>
                <a:cubicBezTo>
                  <a:pt x="102" y="182"/>
                  <a:pt x="102" y="183"/>
                  <a:pt x="102" y="182"/>
                </a:cubicBezTo>
                <a:cubicBezTo>
                  <a:pt x="102" y="182"/>
                  <a:pt x="101" y="182"/>
                  <a:pt x="101" y="182"/>
                </a:cubicBezTo>
                <a:cubicBezTo>
                  <a:pt x="102" y="182"/>
                  <a:pt x="101" y="183"/>
                  <a:pt x="102" y="183"/>
                </a:cubicBezTo>
                <a:close/>
                <a:moveTo>
                  <a:pt x="102" y="191"/>
                </a:moveTo>
                <a:cubicBezTo>
                  <a:pt x="102" y="191"/>
                  <a:pt x="104" y="189"/>
                  <a:pt x="104" y="188"/>
                </a:cubicBezTo>
                <a:cubicBezTo>
                  <a:pt x="103" y="187"/>
                  <a:pt x="103" y="186"/>
                  <a:pt x="102" y="187"/>
                </a:cubicBezTo>
                <a:cubicBezTo>
                  <a:pt x="104" y="188"/>
                  <a:pt x="101" y="190"/>
                  <a:pt x="102" y="191"/>
                </a:cubicBezTo>
                <a:close/>
                <a:moveTo>
                  <a:pt x="100" y="187"/>
                </a:moveTo>
                <a:cubicBezTo>
                  <a:pt x="100" y="187"/>
                  <a:pt x="99" y="187"/>
                  <a:pt x="100" y="187"/>
                </a:cubicBezTo>
                <a:cubicBezTo>
                  <a:pt x="100" y="187"/>
                  <a:pt x="101" y="187"/>
                  <a:pt x="101" y="187"/>
                </a:cubicBezTo>
                <a:cubicBezTo>
                  <a:pt x="100" y="187"/>
                  <a:pt x="100" y="187"/>
                  <a:pt x="100" y="187"/>
                </a:cubicBezTo>
                <a:close/>
                <a:moveTo>
                  <a:pt x="99" y="192"/>
                </a:moveTo>
                <a:cubicBezTo>
                  <a:pt x="97" y="193"/>
                  <a:pt x="94" y="197"/>
                  <a:pt x="94" y="198"/>
                </a:cubicBezTo>
                <a:cubicBezTo>
                  <a:pt x="95" y="197"/>
                  <a:pt x="96" y="196"/>
                  <a:pt x="97" y="194"/>
                </a:cubicBezTo>
                <a:cubicBezTo>
                  <a:pt x="97" y="195"/>
                  <a:pt x="97" y="195"/>
                  <a:pt x="97" y="194"/>
                </a:cubicBezTo>
                <a:cubicBezTo>
                  <a:pt x="98" y="192"/>
                  <a:pt x="101" y="192"/>
                  <a:pt x="102" y="189"/>
                </a:cubicBezTo>
                <a:cubicBezTo>
                  <a:pt x="101" y="189"/>
                  <a:pt x="101" y="190"/>
                  <a:pt x="101" y="190"/>
                </a:cubicBezTo>
                <a:cubicBezTo>
                  <a:pt x="100" y="189"/>
                  <a:pt x="102" y="189"/>
                  <a:pt x="102" y="188"/>
                </a:cubicBezTo>
                <a:cubicBezTo>
                  <a:pt x="100" y="189"/>
                  <a:pt x="100" y="191"/>
                  <a:pt x="98" y="191"/>
                </a:cubicBezTo>
                <a:cubicBezTo>
                  <a:pt x="99" y="191"/>
                  <a:pt x="99" y="192"/>
                  <a:pt x="99" y="192"/>
                </a:cubicBezTo>
                <a:close/>
                <a:moveTo>
                  <a:pt x="95" y="191"/>
                </a:moveTo>
                <a:cubicBezTo>
                  <a:pt x="96" y="191"/>
                  <a:pt x="95" y="192"/>
                  <a:pt x="96" y="192"/>
                </a:cubicBezTo>
                <a:cubicBezTo>
                  <a:pt x="96" y="191"/>
                  <a:pt x="98" y="191"/>
                  <a:pt x="97" y="190"/>
                </a:cubicBezTo>
                <a:cubicBezTo>
                  <a:pt x="98" y="190"/>
                  <a:pt x="98" y="189"/>
                  <a:pt x="98" y="189"/>
                </a:cubicBezTo>
                <a:cubicBezTo>
                  <a:pt x="98" y="189"/>
                  <a:pt x="97" y="189"/>
                  <a:pt x="98" y="189"/>
                </a:cubicBezTo>
                <a:cubicBezTo>
                  <a:pt x="98" y="189"/>
                  <a:pt x="99" y="189"/>
                  <a:pt x="100" y="188"/>
                </a:cubicBezTo>
                <a:cubicBezTo>
                  <a:pt x="99" y="187"/>
                  <a:pt x="99" y="187"/>
                  <a:pt x="99" y="187"/>
                </a:cubicBezTo>
                <a:cubicBezTo>
                  <a:pt x="98" y="187"/>
                  <a:pt x="99" y="188"/>
                  <a:pt x="98" y="188"/>
                </a:cubicBezTo>
                <a:cubicBezTo>
                  <a:pt x="98" y="187"/>
                  <a:pt x="96" y="189"/>
                  <a:pt x="97" y="190"/>
                </a:cubicBezTo>
                <a:cubicBezTo>
                  <a:pt x="96" y="190"/>
                  <a:pt x="96" y="190"/>
                  <a:pt x="96" y="190"/>
                </a:cubicBezTo>
                <a:cubicBezTo>
                  <a:pt x="96" y="190"/>
                  <a:pt x="97" y="190"/>
                  <a:pt x="96" y="191"/>
                </a:cubicBezTo>
                <a:cubicBezTo>
                  <a:pt x="96" y="190"/>
                  <a:pt x="96" y="190"/>
                  <a:pt x="96" y="190"/>
                </a:cubicBezTo>
                <a:cubicBezTo>
                  <a:pt x="96" y="191"/>
                  <a:pt x="96" y="191"/>
                  <a:pt x="95" y="191"/>
                </a:cubicBezTo>
                <a:close/>
                <a:moveTo>
                  <a:pt x="85" y="191"/>
                </a:moveTo>
                <a:cubicBezTo>
                  <a:pt x="85" y="194"/>
                  <a:pt x="82" y="195"/>
                  <a:pt x="81" y="197"/>
                </a:cubicBezTo>
                <a:cubicBezTo>
                  <a:pt x="82" y="198"/>
                  <a:pt x="82" y="197"/>
                  <a:pt x="82" y="197"/>
                </a:cubicBezTo>
                <a:cubicBezTo>
                  <a:pt x="84" y="195"/>
                  <a:pt x="85" y="193"/>
                  <a:pt x="87" y="192"/>
                </a:cubicBezTo>
                <a:cubicBezTo>
                  <a:pt x="87" y="192"/>
                  <a:pt x="87" y="193"/>
                  <a:pt x="88" y="193"/>
                </a:cubicBezTo>
                <a:cubicBezTo>
                  <a:pt x="88" y="193"/>
                  <a:pt x="89" y="191"/>
                  <a:pt x="90" y="191"/>
                </a:cubicBezTo>
                <a:cubicBezTo>
                  <a:pt x="89" y="190"/>
                  <a:pt x="89" y="190"/>
                  <a:pt x="89" y="190"/>
                </a:cubicBezTo>
                <a:cubicBezTo>
                  <a:pt x="89" y="191"/>
                  <a:pt x="88" y="193"/>
                  <a:pt x="87" y="192"/>
                </a:cubicBezTo>
                <a:cubicBezTo>
                  <a:pt x="87" y="191"/>
                  <a:pt x="88" y="190"/>
                  <a:pt x="89" y="189"/>
                </a:cubicBezTo>
                <a:cubicBezTo>
                  <a:pt x="88" y="189"/>
                  <a:pt x="88" y="188"/>
                  <a:pt x="87" y="189"/>
                </a:cubicBezTo>
                <a:cubicBezTo>
                  <a:pt x="88" y="189"/>
                  <a:pt x="87" y="190"/>
                  <a:pt x="88" y="190"/>
                </a:cubicBezTo>
                <a:cubicBezTo>
                  <a:pt x="87" y="190"/>
                  <a:pt x="88" y="190"/>
                  <a:pt x="87" y="190"/>
                </a:cubicBezTo>
                <a:cubicBezTo>
                  <a:pt x="86" y="190"/>
                  <a:pt x="86" y="192"/>
                  <a:pt x="85" y="191"/>
                </a:cubicBezTo>
                <a:cubicBezTo>
                  <a:pt x="86" y="191"/>
                  <a:pt x="86" y="191"/>
                  <a:pt x="86" y="191"/>
                </a:cubicBezTo>
                <a:cubicBezTo>
                  <a:pt x="85" y="191"/>
                  <a:pt x="86" y="191"/>
                  <a:pt x="85" y="191"/>
                </a:cubicBezTo>
                <a:close/>
                <a:moveTo>
                  <a:pt x="94" y="201"/>
                </a:moveTo>
                <a:cubicBezTo>
                  <a:pt x="95" y="200"/>
                  <a:pt x="94" y="199"/>
                  <a:pt x="95" y="200"/>
                </a:cubicBezTo>
                <a:cubicBezTo>
                  <a:pt x="95" y="199"/>
                  <a:pt x="95" y="199"/>
                  <a:pt x="96" y="199"/>
                </a:cubicBezTo>
                <a:cubicBezTo>
                  <a:pt x="94" y="198"/>
                  <a:pt x="94" y="200"/>
                  <a:pt x="94" y="201"/>
                </a:cubicBezTo>
                <a:close/>
                <a:moveTo>
                  <a:pt x="93" y="198"/>
                </a:moveTo>
                <a:cubicBezTo>
                  <a:pt x="93" y="199"/>
                  <a:pt x="93" y="199"/>
                  <a:pt x="92" y="199"/>
                </a:cubicBezTo>
                <a:cubicBezTo>
                  <a:pt x="93" y="200"/>
                  <a:pt x="91" y="200"/>
                  <a:pt x="92" y="200"/>
                </a:cubicBezTo>
                <a:cubicBezTo>
                  <a:pt x="92" y="199"/>
                  <a:pt x="94" y="199"/>
                  <a:pt x="93" y="198"/>
                </a:cubicBezTo>
                <a:close/>
                <a:moveTo>
                  <a:pt x="91" y="201"/>
                </a:moveTo>
                <a:cubicBezTo>
                  <a:pt x="91" y="202"/>
                  <a:pt x="91" y="201"/>
                  <a:pt x="90" y="201"/>
                </a:cubicBezTo>
                <a:cubicBezTo>
                  <a:pt x="90" y="202"/>
                  <a:pt x="91" y="202"/>
                  <a:pt x="91" y="202"/>
                </a:cubicBezTo>
                <a:cubicBezTo>
                  <a:pt x="91" y="202"/>
                  <a:pt x="91" y="202"/>
                  <a:pt x="91" y="203"/>
                </a:cubicBezTo>
                <a:cubicBezTo>
                  <a:pt x="91" y="202"/>
                  <a:pt x="92" y="202"/>
                  <a:pt x="91" y="202"/>
                </a:cubicBezTo>
                <a:cubicBezTo>
                  <a:pt x="92" y="201"/>
                  <a:pt x="92" y="202"/>
                  <a:pt x="92" y="201"/>
                </a:cubicBezTo>
                <a:cubicBezTo>
                  <a:pt x="92" y="201"/>
                  <a:pt x="92" y="201"/>
                  <a:pt x="92" y="201"/>
                </a:cubicBezTo>
                <a:cubicBezTo>
                  <a:pt x="92" y="200"/>
                  <a:pt x="92" y="201"/>
                  <a:pt x="93" y="201"/>
                </a:cubicBezTo>
                <a:cubicBezTo>
                  <a:pt x="93" y="200"/>
                  <a:pt x="93" y="200"/>
                  <a:pt x="93" y="200"/>
                </a:cubicBezTo>
                <a:cubicBezTo>
                  <a:pt x="92" y="199"/>
                  <a:pt x="92" y="201"/>
                  <a:pt x="91" y="201"/>
                </a:cubicBezTo>
                <a:close/>
                <a:moveTo>
                  <a:pt x="87" y="202"/>
                </a:moveTo>
                <a:cubicBezTo>
                  <a:pt x="87" y="203"/>
                  <a:pt x="86" y="204"/>
                  <a:pt x="86" y="205"/>
                </a:cubicBezTo>
                <a:cubicBezTo>
                  <a:pt x="88" y="203"/>
                  <a:pt x="89" y="204"/>
                  <a:pt x="90" y="205"/>
                </a:cubicBezTo>
                <a:cubicBezTo>
                  <a:pt x="89" y="204"/>
                  <a:pt x="90" y="204"/>
                  <a:pt x="90" y="204"/>
                </a:cubicBezTo>
                <a:cubicBezTo>
                  <a:pt x="90" y="204"/>
                  <a:pt x="89" y="204"/>
                  <a:pt x="89" y="203"/>
                </a:cubicBezTo>
                <a:cubicBezTo>
                  <a:pt x="89" y="204"/>
                  <a:pt x="89" y="203"/>
                  <a:pt x="88" y="203"/>
                </a:cubicBezTo>
                <a:cubicBezTo>
                  <a:pt x="88" y="203"/>
                  <a:pt x="88" y="203"/>
                  <a:pt x="88" y="203"/>
                </a:cubicBezTo>
                <a:cubicBezTo>
                  <a:pt x="88" y="203"/>
                  <a:pt x="88" y="203"/>
                  <a:pt x="88" y="203"/>
                </a:cubicBezTo>
                <a:cubicBezTo>
                  <a:pt x="88" y="203"/>
                  <a:pt x="88" y="202"/>
                  <a:pt x="89" y="202"/>
                </a:cubicBezTo>
                <a:cubicBezTo>
                  <a:pt x="87" y="202"/>
                  <a:pt x="88" y="201"/>
                  <a:pt x="87" y="202"/>
                </a:cubicBezTo>
                <a:close/>
                <a:moveTo>
                  <a:pt x="64" y="186"/>
                </a:moveTo>
                <a:cubicBezTo>
                  <a:pt x="65" y="186"/>
                  <a:pt x="65" y="186"/>
                  <a:pt x="65" y="186"/>
                </a:cubicBezTo>
                <a:cubicBezTo>
                  <a:pt x="65" y="186"/>
                  <a:pt x="65" y="186"/>
                  <a:pt x="65" y="186"/>
                </a:cubicBezTo>
                <a:cubicBezTo>
                  <a:pt x="65" y="186"/>
                  <a:pt x="65" y="186"/>
                  <a:pt x="65" y="186"/>
                </a:cubicBezTo>
                <a:cubicBezTo>
                  <a:pt x="65" y="186"/>
                  <a:pt x="65" y="186"/>
                  <a:pt x="65" y="186"/>
                </a:cubicBezTo>
                <a:cubicBezTo>
                  <a:pt x="65" y="186"/>
                  <a:pt x="64" y="186"/>
                  <a:pt x="64" y="186"/>
                </a:cubicBezTo>
                <a:close/>
                <a:moveTo>
                  <a:pt x="86" y="208"/>
                </a:moveTo>
                <a:cubicBezTo>
                  <a:pt x="86" y="208"/>
                  <a:pt x="86" y="207"/>
                  <a:pt x="86" y="207"/>
                </a:cubicBezTo>
                <a:cubicBezTo>
                  <a:pt x="85" y="207"/>
                  <a:pt x="87" y="207"/>
                  <a:pt x="87" y="206"/>
                </a:cubicBezTo>
                <a:cubicBezTo>
                  <a:pt x="86" y="206"/>
                  <a:pt x="85" y="208"/>
                  <a:pt x="86" y="208"/>
                </a:cubicBezTo>
                <a:close/>
                <a:moveTo>
                  <a:pt x="84" y="206"/>
                </a:moveTo>
                <a:cubicBezTo>
                  <a:pt x="84" y="206"/>
                  <a:pt x="84" y="207"/>
                  <a:pt x="85" y="206"/>
                </a:cubicBezTo>
                <a:cubicBezTo>
                  <a:pt x="84" y="206"/>
                  <a:pt x="84" y="205"/>
                  <a:pt x="84" y="206"/>
                </a:cubicBezTo>
                <a:cubicBezTo>
                  <a:pt x="84" y="206"/>
                  <a:pt x="83" y="205"/>
                  <a:pt x="84" y="206"/>
                </a:cubicBezTo>
                <a:close/>
                <a:moveTo>
                  <a:pt x="79" y="215"/>
                </a:moveTo>
                <a:cubicBezTo>
                  <a:pt x="79" y="215"/>
                  <a:pt x="79" y="215"/>
                  <a:pt x="80" y="215"/>
                </a:cubicBezTo>
                <a:cubicBezTo>
                  <a:pt x="80" y="214"/>
                  <a:pt x="82" y="213"/>
                  <a:pt x="81" y="212"/>
                </a:cubicBezTo>
                <a:cubicBezTo>
                  <a:pt x="81" y="212"/>
                  <a:pt x="81" y="212"/>
                  <a:pt x="81" y="212"/>
                </a:cubicBezTo>
                <a:cubicBezTo>
                  <a:pt x="81" y="212"/>
                  <a:pt x="80" y="212"/>
                  <a:pt x="80" y="212"/>
                </a:cubicBezTo>
                <a:cubicBezTo>
                  <a:pt x="81" y="212"/>
                  <a:pt x="81" y="212"/>
                  <a:pt x="81" y="213"/>
                </a:cubicBezTo>
                <a:cubicBezTo>
                  <a:pt x="80" y="212"/>
                  <a:pt x="80" y="213"/>
                  <a:pt x="80" y="212"/>
                </a:cubicBezTo>
                <a:cubicBezTo>
                  <a:pt x="79" y="212"/>
                  <a:pt x="79" y="212"/>
                  <a:pt x="79" y="213"/>
                </a:cubicBezTo>
                <a:cubicBezTo>
                  <a:pt x="79" y="214"/>
                  <a:pt x="77" y="216"/>
                  <a:pt x="76" y="217"/>
                </a:cubicBezTo>
                <a:cubicBezTo>
                  <a:pt x="77" y="217"/>
                  <a:pt x="77" y="216"/>
                  <a:pt x="77" y="217"/>
                </a:cubicBezTo>
                <a:cubicBezTo>
                  <a:pt x="77" y="217"/>
                  <a:pt x="77" y="217"/>
                  <a:pt x="77" y="217"/>
                </a:cubicBezTo>
                <a:cubicBezTo>
                  <a:pt x="77" y="217"/>
                  <a:pt x="78" y="216"/>
                  <a:pt x="79" y="216"/>
                </a:cubicBezTo>
                <a:cubicBezTo>
                  <a:pt x="78" y="216"/>
                  <a:pt x="78" y="215"/>
                  <a:pt x="78" y="215"/>
                </a:cubicBezTo>
                <a:cubicBezTo>
                  <a:pt x="79" y="215"/>
                  <a:pt x="78" y="215"/>
                  <a:pt x="79" y="215"/>
                </a:cubicBezTo>
                <a:cubicBezTo>
                  <a:pt x="79" y="215"/>
                  <a:pt x="79" y="215"/>
                  <a:pt x="79" y="215"/>
                </a:cubicBezTo>
                <a:close/>
                <a:moveTo>
                  <a:pt x="74" y="207"/>
                </a:moveTo>
                <a:cubicBezTo>
                  <a:pt x="73" y="207"/>
                  <a:pt x="73" y="208"/>
                  <a:pt x="72" y="207"/>
                </a:cubicBezTo>
                <a:cubicBezTo>
                  <a:pt x="71" y="209"/>
                  <a:pt x="70" y="210"/>
                  <a:pt x="69" y="210"/>
                </a:cubicBezTo>
                <a:cubicBezTo>
                  <a:pt x="68" y="211"/>
                  <a:pt x="69" y="210"/>
                  <a:pt x="69" y="211"/>
                </a:cubicBezTo>
                <a:cubicBezTo>
                  <a:pt x="68" y="211"/>
                  <a:pt x="69" y="212"/>
                  <a:pt x="68" y="212"/>
                </a:cubicBezTo>
                <a:cubicBezTo>
                  <a:pt x="69" y="212"/>
                  <a:pt x="69" y="211"/>
                  <a:pt x="68" y="211"/>
                </a:cubicBezTo>
                <a:cubicBezTo>
                  <a:pt x="68" y="212"/>
                  <a:pt x="67" y="212"/>
                  <a:pt x="68" y="213"/>
                </a:cubicBezTo>
                <a:cubicBezTo>
                  <a:pt x="68" y="213"/>
                  <a:pt x="68" y="213"/>
                  <a:pt x="68" y="213"/>
                </a:cubicBezTo>
                <a:cubicBezTo>
                  <a:pt x="69" y="212"/>
                  <a:pt x="69" y="213"/>
                  <a:pt x="69" y="214"/>
                </a:cubicBezTo>
                <a:cubicBezTo>
                  <a:pt x="70" y="213"/>
                  <a:pt x="70" y="211"/>
                  <a:pt x="71" y="211"/>
                </a:cubicBezTo>
                <a:cubicBezTo>
                  <a:pt x="70" y="211"/>
                  <a:pt x="70" y="212"/>
                  <a:pt x="70" y="212"/>
                </a:cubicBezTo>
                <a:cubicBezTo>
                  <a:pt x="71" y="212"/>
                  <a:pt x="71" y="212"/>
                  <a:pt x="71" y="212"/>
                </a:cubicBezTo>
                <a:cubicBezTo>
                  <a:pt x="71" y="213"/>
                  <a:pt x="70" y="213"/>
                  <a:pt x="71" y="214"/>
                </a:cubicBezTo>
                <a:cubicBezTo>
                  <a:pt x="69" y="213"/>
                  <a:pt x="70" y="215"/>
                  <a:pt x="69" y="216"/>
                </a:cubicBezTo>
                <a:cubicBezTo>
                  <a:pt x="68" y="217"/>
                  <a:pt x="66" y="218"/>
                  <a:pt x="67" y="219"/>
                </a:cubicBezTo>
                <a:cubicBezTo>
                  <a:pt x="65" y="219"/>
                  <a:pt x="64" y="222"/>
                  <a:pt x="62" y="223"/>
                </a:cubicBezTo>
                <a:cubicBezTo>
                  <a:pt x="63" y="223"/>
                  <a:pt x="62" y="223"/>
                  <a:pt x="63" y="223"/>
                </a:cubicBezTo>
                <a:cubicBezTo>
                  <a:pt x="63" y="223"/>
                  <a:pt x="62" y="225"/>
                  <a:pt x="63" y="225"/>
                </a:cubicBezTo>
                <a:cubicBezTo>
                  <a:pt x="63" y="224"/>
                  <a:pt x="63" y="223"/>
                  <a:pt x="64" y="223"/>
                </a:cubicBezTo>
                <a:cubicBezTo>
                  <a:pt x="64" y="221"/>
                  <a:pt x="67" y="221"/>
                  <a:pt x="67" y="219"/>
                </a:cubicBezTo>
                <a:cubicBezTo>
                  <a:pt x="68" y="218"/>
                  <a:pt x="68" y="218"/>
                  <a:pt x="69" y="217"/>
                </a:cubicBezTo>
                <a:cubicBezTo>
                  <a:pt x="69" y="217"/>
                  <a:pt x="68" y="217"/>
                  <a:pt x="69" y="216"/>
                </a:cubicBezTo>
                <a:cubicBezTo>
                  <a:pt x="70" y="217"/>
                  <a:pt x="69" y="216"/>
                  <a:pt x="69" y="216"/>
                </a:cubicBezTo>
                <a:cubicBezTo>
                  <a:pt x="70" y="216"/>
                  <a:pt x="73" y="213"/>
                  <a:pt x="72" y="212"/>
                </a:cubicBezTo>
                <a:cubicBezTo>
                  <a:pt x="73" y="212"/>
                  <a:pt x="73" y="212"/>
                  <a:pt x="73" y="212"/>
                </a:cubicBezTo>
                <a:cubicBezTo>
                  <a:pt x="73" y="211"/>
                  <a:pt x="73" y="210"/>
                  <a:pt x="72" y="210"/>
                </a:cubicBezTo>
                <a:cubicBezTo>
                  <a:pt x="73" y="210"/>
                  <a:pt x="73" y="210"/>
                  <a:pt x="73" y="211"/>
                </a:cubicBezTo>
                <a:cubicBezTo>
                  <a:pt x="72" y="210"/>
                  <a:pt x="72" y="211"/>
                  <a:pt x="72" y="211"/>
                </a:cubicBezTo>
                <a:cubicBezTo>
                  <a:pt x="72" y="210"/>
                  <a:pt x="72" y="209"/>
                  <a:pt x="72" y="209"/>
                </a:cubicBezTo>
                <a:cubicBezTo>
                  <a:pt x="72" y="210"/>
                  <a:pt x="71" y="210"/>
                  <a:pt x="71" y="210"/>
                </a:cubicBezTo>
                <a:cubicBezTo>
                  <a:pt x="72" y="210"/>
                  <a:pt x="71" y="209"/>
                  <a:pt x="72" y="209"/>
                </a:cubicBezTo>
                <a:cubicBezTo>
                  <a:pt x="73" y="209"/>
                  <a:pt x="72" y="207"/>
                  <a:pt x="74" y="208"/>
                </a:cubicBezTo>
                <a:cubicBezTo>
                  <a:pt x="74" y="208"/>
                  <a:pt x="74" y="207"/>
                  <a:pt x="74" y="207"/>
                </a:cubicBezTo>
                <a:close/>
                <a:moveTo>
                  <a:pt x="64" y="211"/>
                </a:moveTo>
                <a:cubicBezTo>
                  <a:pt x="66" y="211"/>
                  <a:pt x="67" y="206"/>
                  <a:pt x="68" y="207"/>
                </a:cubicBezTo>
                <a:cubicBezTo>
                  <a:pt x="68" y="206"/>
                  <a:pt x="70" y="205"/>
                  <a:pt x="69" y="204"/>
                </a:cubicBezTo>
                <a:cubicBezTo>
                  <a:pt x="68" y="206"/>
                  <a:pt x="66" y="208"/>
                  <a:pt x="64" y="211"/>
                </a:cubicBezTo>
                <a:close/>
                <a:moveTo>
                  <a:pt x="73" y="215"/>
                </a:moveTo>
                <a:cubicBezTo>
                  <a:pt x="73" y="215"/>
                  <a:pt x="74" y="214"/>
                  <a:pt x="73" y="214"/>
                </a:cubicBezTo>
                <a:cubicBezTo>
                  <a:pt x="73" y="215"/>
                  <a:pt x="72" y="214"/>
                  <a:pt x="72" y="215"/>
                </a:cubicBezTo>
                <a:cubicBezTo>
                  <a:pt x="72" y="215"/>
                  <a:pt x="71" y="215"/>
                  <a:pt x="71" y="217"/>
                </a:cubicBezTo>
                <a:cubicBezTo>
                  <a:pt x="71" y="217"/>
                  <a:pt x="71" y="217"/>
                  <a:pt x="71" y="217"/>
                </a:cubicBezTo>
                <a:cubicBezTo>
                  <a:pt x="72" y="217"/>
                  <a:pt x="73" y="215"/>
                  <a:pt x="74" y="216"/>
                </a:cubicBezTo>
                <a:cubicBezTo>
                  <a:pt x="74" y="216"/>
                  <a:pt x="74" y="215"/>
                  <a:pt x="75" y="215"/>
                </a:cubicBezTo>
                <a:cubicBezTo>
                  <a:pt x="74" y="214"/>
                  <a:pt x="74" y="214"/>
                  <a:pt x="74" y="213"/>
                </a:cubicBezTo>
                <a:cubicBezTo>
                  <a:pt x="75" y="213"/>
                  <a:pt x="75" y="212"/>
                  <a:pt x="76" y="212"/>
                </a:cubicBezTo>
                <a:cubicBezTo>
                  <a:pt x="75" y="212"/>
                  <a:pt x="76" y="211"/>
                  <a:pt x="76" y="211"/>
                </a:cubicBezTo>
                <a:cubicBezTo>
                  <a:pt x="75" y="211"/>
                  <a:pt x="74" y="213"/>
                  <a:pt x="73" y="214"/>
                </a:cubicBezTo>
                <a:cubicBezTo>
                  <a:pt x="74" y="214"/>
                  <a:pt x="74" y="215"/>
                  <a:pt x="73" y="215"/>
                </a:cubicBezTo>
                <a:close/>
                <a:moveTo>
                  <a:pt x="74" y="210"/>
                </a:moveTo>
                <a:cubicBezTo>
                  <a:pt x="74" y="210"/>
                  <a:pt x="74" y="210"/>
                  <a:pt x="74" y="210"/>
                </a:cubicBezTo>
                <a:cubicBezTo>
                  <a:pt x="75" y="211"/>
                  <a:pt x="75" y="211"/>
                  <a:pt x="75" y="211"/>
                </a:cubicBezTo>
                <a:cubicBezTo>
                  <a:pt x="75" y="210"/>
                  <a:pt x="75" y="210"/>
                  <a:pt x="75" y="210"/>
                </a:cubicBezTo>
                <a:cubicBezTo>
                  <a:pt x="75" y="210"/>
                  <a:pt x="75" y="210"/>
                  <a:pt x="75" y="210"/>
                </a:cubicBezTo>
                <a:cubicBezTo>
                  <a:pt x="75" y="210"/>
                  <a:pt x="74" y="210"/>
                  <a:pt x="74" y="210"/>
                </a:cubicBezTo>
                <a:close/>
                <a:moveTo>
                  <a:pt x="48" y="194"/>
                </a:moveTo>
                <a:cubicBezTo>
                  <a:pt x="47" y="194"/>
                  <a:pt x="49" y="193"/>
                  <a:pt x="48" y="193"/>
                </a:cubicBezTo>
                <a:cubicBezTo>
                  <a:pt x="47" y="193"/>
                  <a:pt x="47" y="195"/>
                  <a:pt x="48" y="194"/>
                </a:cubicBezTo>
                <a:close/>
                <a:moveTo>
                  <a:pt x="75" y="220"/>
                </a:moveTo>
                <a:cubicBezTo>
                  <a:pt x="76" y="219"/>
                  <a:pt x="77" y="219"/>
                  <a:pt x="77" y="217"/>
                </a:cubicBezTo>
                <a:cubicBezTo>
                  <a:pt x="76" y="218"/>
                  <a:pt x="75" y="219"/>
                  <a:pt x="75" y="220"/>
                </a:cubicBezTo>
                <a:close/>
                <a:moveTo>
                  <a:pt x="39" y="198"/>
                </a:moveTo>
                <a:cubicBezTo>
                  <a:pt x="39" y="199"/>
                  <a:pt x="39" y="198"/>
                  <a:pt x="39" y="199"/>
                </a:cubicBezTo>
                <a:cubicBezTo>
                  <a:pt x="40" y="199"/>
                  <a:pt x="40" y="198"/>
                  <a:pt x="40" y="198"/>
                </a:cubicBezTo>
                <a:cubicBezTo>
                  <a:pt x="40" y="198"/>
                  <a:pt x="39" y="198"/>
                  <a:pt x="39" y="198"/>
                </a:cubicBezTo>
                <a:close/>
                <a:moveTo>
                  <a:pt x="67" y="230"/>
                </a:moveTo>
                <a:cubicBezTo>
                  <a:pt x="68" y="230"/>
                  <a:pt x="68" y="229"/>
                  <a:pt x="67" y="229"/>
                </a:cubicBezTo>
                <a:cubicBezTo>
                  <a:pt x="67" y="229"/>
                  <a:pt x="66" y="229"/>
                  <a:pt x="67" y="230"/>
                </a:cubicBezTo>
                <a:cubicBezTo>
                  <a:pt x="67" y="230"/>
                  <a:pt x="67" y="230"/>
                  <a:pt x="67" y="230"/>
                </a:cubicBezTo>
                <a:cubicBezTo>
                  <a:pt x="68" y="230"/>
                  <a:pt x="71" y="228"/>
                  <a:pt x="70" y="227"/>
                </a:cubicBezTo>
                <a:cubicBezTo>
                  <a:pt x="70" y="228"/>
                  <a:pt x="69" y="228"/>
                  <a:pt x="68" y="228"/>
                </a:cubicBezTo>
                <a:cubicBezTo>
                  <a:pt x="68" y="228"/>
                  <a:pt x="67" y="228"/>
                  <a:pt x="68" y="227"/>
                </a:cubicBezTo>
                <a:cubicBezTo>
                  <a:pt x="67" y="228"/>
                  <a:pt x="67" y="229"/>
                  <a:pt x="68" y="229"/>
                </a:cubicBezTo>
                <a:cubicBezTo>
                  <a:pt x="68" y="229"/>
                  <a:pt x="68" y="229"/>
                  <a:pt x="68" y="230"/>
                </a:cubicBezTo>
                <a:cubicBezTo>
                  <a:pt x="68" y="229"/>
                  <a:pt x="67" y="230"/>
                  <a:pt x="67" y="230"/>
                </a:cubicBezTo>
                <a:close/>
                <a:moveTo>
                  <a:pt x="57" y="232"/>
                </a:moveTo>
                <a:cubicBezTo>
                  <a:pt x="56" y="231"/>
                  <a:pt x="57" y="233"/>
                  <a:pt x="56" y="233"/>
                </a:cubicBezTo>
                <a:cubicBezTo>
                  <a:pt x="56" y="233"/>
                  <a:pt x="57" y="233"/>
                  <a:pt x="57" y="232"/>
                </a:cubicBezTo>
                <a:cubicBezTo>
                  <a:pt x="57" y="231"/>
                  <a:pt x="60" y="229"/>
                  <a:pt x="61" y="228"/>
                </a:cubicBezTo>
                <a:cubicBezTo>
                  <a:pt x="60" y="228"/>
                  <a:pt x="60" y="227"/>
                  <a:pt x="60" y="227"/>
                </a:cubicBezTo>
                <a:cubicBezTo>
                  <a:pt x="61" y="227"/>
                  <a:pt x="62" y="226"/>
                  <a:pt x="62" y="226"/>
                </a:cubicBezTo>
                <a:cubicBezTo>
                  <a:pt x="61" y="226"/>
                  <a:pt x="61" y="226"/>
                  <a:pt x="60" y="226"/>
                </a:cubicBezTo>
                <a:cubicBezTo>
                  <a:pt x="61" y="226"/>
                  <a:pt x="61" y="227"/>
                  <a:pt x="61" y="227"/>
                </a:cubicBezTo>
                <a:cubicBezTo>
                  <a:pt x="59" y="228"/>
                  <a:pt x="58" y="230"/>
                  <a:pt x="57" y="232"/>
                </a:cubicBezTo>
                <a:close/>
                <a:moveTo>
                  <a:pt x="66" y="232"/>
                </a:moveTo>
                <a:cubicBezTo>
                  <a:pt x="67" y="232"/>
                  <a:pt x="65" y="232"/>
                  <a:pt x="65" y="231"/>
                </a:cubicBezTo>
                <a:cubicBezTo>
                  <a:pt x="66" y="232"/>
                  <a:pt x="64" y="232"/>
                  <a:pt x="64" y="233"/>
                </a:cubicBezTo>
                <a:cubicBezTo>
                  <a:pt x="65" y="233"/>
                  <a:pt x="65" y="233"/>
                  <a:pt x="66" y="233"/>
                </a:cubicBezTo>
                <a:cubicBezTo>
                  <a:pt x="65" y="232"/>
                  <a:pt x="65" y="233"/>
                  <a:pt x="65" y="233"/>
                </a:cubicBezTo>
                <a:cubicBezTo>
                  <a:pt x="65" y="232"/>
                  <a:pt x="65" y="232"/>
                  <a:pt x="66" y="232"/>
                </a:cubicBezTo>
                <a:cubicBezTo>
                  <a:pt x="66" y="232"/>
                  <a:pt x="66" y="232"/>
                  <a:pt x="66" y="233"/>
                </a:cubicBezTo>
                <a:cubicBezTo>
                  <a:pt x="67" y="232"/>
                  <a:pt x="68" y="232"/>
                  <a:pt x="67" y="231"/>
                </a:cubicBezTo>
                <a:cubicBezTo>
                  <a:pt x="67" y="231"/>
                  <a:pt x="67" y="232"/>
                  <a:pt x="66" y="232"/>
                </a:cubicBezTo>
                <a:close/>
                <a:moveTo>
                  <a:pt x="50" y="233"/>
                </a:moveTo>
                <a:cubicBezTo>
                  <a:pt x="50" y="232"/>
                  <a:pt x="50" y="232"/>
                  <a:pt x="50" y="232"/>
                </a:cubicBezTo>
                <a:cubicBezTo>
                  <a:pt x="49" y="233"/>
                  <a:pt x="49" y="233"/>
                  <a:pt x="49" y="233"/>
                </a:cubicBezTo>
                <a:cubicBezTo>
                  <a:pt x="49" y="233"/>
                  <a:pt x="49" y="233"/>
                  <a:pt x="49" y="233"/>
                </a:cubicBezTo>
                <a:cubicBezTo>
                  <a:pt x="48" y="233"/>
                  <a:pt x="48" y="234"/>
                  <a:pt x="47" y="235"/>
                </a:cubicBezTo>
                <a:cubicBezTo>
                  <a:pt x="48" y="233"/>
                  <a:pt x="49" y="231"/>
                  <a:pt x="50" y="229"/>
                </a:cubicBezTo>
                <a:cubicBezTo>
                  <a:pt x="52" y="228"/>
                  <a:pt x="53" y="226"/>
                  <a:pt x="55" y="224"/>
                </a:cubicBezTo>
                <a:cubicBezTo>
                  <a:pt x="55" y="225"/>
                  <a:pt x="54" y="226"/>
                  <a:pt x="53" y="227"/>
                </a:cubicBezTo>
                <a:cubicBezTo>
                  <a:pt x="52" y="228"/>
                  <a:pt x="53" y="228"/>
                  <a:pt x="52" y="229"/>
                </a:cubicBezTo>
                <a:cubicBezTo>
                  <a:pt x="52" y="229"/>
                  <a:pt x="52" y="230"/>
                  <a:pt x="52" y="229"/>
                </a:cubicBezTo>
                <a:cubicBezTo>
                  <a:pt x="52" y="231"/>
                  <a:pt x="50" y="232"/>
                  <a:pt x="50" y="233"/>
                </a:cubicBezTo>
                <a:close/>
                <a:moveTo>
                  <a:pt x="51" y="231"/>
                </a:moveTo>
                <a:cubicBezTo>
                  <a:pt x="51" y="231"/>
                  <a:pt x="50" y="231"/>
                  <a:pt x="50" y="231"/>
                </a:cubicBezTo>
                <a:cubicBezTo>
                  <a:pt x="50" y="232"/>
                  <a:pt x="50" y="232"/>
                  <a:pt x="51" y="231"/>
                </a:cubicBezTo>
                <a:close/>
                <a:moveTo>
                  <a:pt x="47" y="227"/>
                </a:moveTo>
                <a:cubicBezTo>
                  <a:pt x="47" y="226"/>
                  <a:pt x="48" y="225"/>
                  <a:pt x="48" y="225"/>
                </a:cubicBezTo>
                <a:cubicBezTo>
                  <a:pt x="47" y="225"/>
                  <a:pt x="47" y="225"/>
                  <a:pt x="47" y="225"/>
                </a:cubicBezTo>
                <a:cubicBezTo>
                  <a:pt x="48" y="226"/>
                  <a:pt x="46" y="226"/>
                  <a:pt x="47" y="227"/>
                </a:cubicBezTo>
                <a:close/>
                <a:moveTo>
                  <a:pt x="64" y="239"/>
                </a:moveTo>
                <a:cubicBezTo>
                  <a:pt x="64" y="238"/>
                  <a:pt x="65" y="238"/>
                  <a:pt x="64" y="238"/>
                </a:cubicBezTo>
                <a:cubicBezTo>
                  <a:pt x="64" y="238"/>
                  <a:pt x="64" y="238"/>
                  <a:pt x="64" y="238"/>
                </a:cubicBezTo>
                <a:cubicBezTo>
                  <a:pt x="65" y="238"/>
                  <a:pt x="63" y="239"/>
                  <a:pt x="64" y="239"/>
                </a:cubicBezTo>
                <a:close/>
                <a:moveTo>
                  <a:pt x="54" y="231"/>
                </a:moveTo>
                <a:cubicBezTo>
                  <a:pt x="53" y="232"/>
                  <a:pt x="53" y="232"/>
                  <a:pt x="53" y="232"/>
                </a:cubicBezTo>
                <a:cubicBezTo>
                  <a:pt x="53" y="231"/>
                  <a:pt x="53" y="231"/>
                  <a:pt x="53" y="231"/>
                </a:cubicBezTo>
                <a:cubicBezTo>
                  <a:pt x="53" y="231"/>
                  <a:pt x="52" y="231"/>
                  <a:pt x="52" y="231"/>
                </a:cubicBezTo>
                <a:cubicBezTo>
                  <a:pt x="52" y="232"/>
                  <a:pt x="53" y="232"/>
                  <a:pt x="52" y="232"/>
                </a:cubicBezTo>
                <a:cubicBezTo>
                  <a:pt x="51" y="232"/>
                  <a:pt x="51" y="234"/>
                  <a:pt x="50" y="235"/>
                </a:cubicBezTo>
                <a:cubicBezTo>
                  <a:pt x="50" y="235"/>
                  <a:pt x="51" y="236"/>
                  <a:pt x="51" y="235"/>
                </a:cubicBezTo>
                <a:cubicBezTo>
                  <a:pt x="52" y="235"/>
                  <a:pt x="50" y="235"/>
                  <a:pt x="51" y="235"/>
                </a:cubicBezTo>
                <a:cubicBezTo>
                  <a:pt x="51" y="235"/>
                  <a:pt x="52" y="235"/>
                  <a:pt x="52" y="234"/>
                </a:cubicBezTo>
                <a:cubicBezTo>
                  <a:pt x="51" y="234"/>
                  <a:pt x="51" y="234"/>
                  <a:pt x="51" y="233"/>
                </a:cubicBezTo>
                <a:cubicBezTo>
                  <a:pt x="52" y="233"/>
                  <a:pt x="52" y="232"/>
                  <a:pt x="53" y="232"/>
                </a:cubicBezTo>
                <a:cubicBezTo>
                  <a:pt x="53" y="232"/>
                  <a:pt x="53" y="233"/>
                  <a:pt x="53" y="233"/>
                </a:cubicBezTo>
                <a:cubicBezTo>
                  <a:pt x="54" y="232"/>
                  <a:pt x="54" y="231"/>
                  <a:pt x="53" y="231"/>
                </a:cubicBezTo>
                <a:cubicBezTo>
                  <a:pt x="53" y="231"/>
                  <a:pt x="54" y="231"/>
                  <a:pt x="54" y="231"/>
                </a:cubicBezTo>
                <a:close/>
                <a:moveTo>
                  <a:pt x="53" y="236"/>
                </a:moveTo>
                <a:cubicBezTo>
                  <a:pt x="54" y="237"/>
                  <a:pt x="51" y="238"/>
                  <a:pt x="52" y="239"/>
                </a:cubicBezTo>
                <a:cubicBezTo>
                  <a:pt x="53" y="237"/>
                  <a:pt x="55" y="235"/>
                  <a:pt x="56" y="233"/>
                </a:cubicBezTo>
                <a:cubicBezTo>
                  <a:pt x="55" y="234"/>
                  <a:pt x="55" y="235"/>
                  <a:pt x="54" y="235"/>
                </a:cubicBezTo>
                <a:cubicBezTo>
                  <a:pt x="54" y="236"/>
                  <a:pt x="54" y="236"/>
                  <a:pt x="54" y="235"/>
                </a:cubicBezTo>
                <a:cubicBezTo>
                  <a:pt x="54" y="236"/>
                  <a:pt x="53" y="237"/>
                  <a:pt x="53" y="236"/>
                </a:cubicBezTo>
                <a:close/>
                <a:moveTo>
                  <a:pt x="59" y="240"/>
                </a:moveTo>
                <a:cubicBezTo>
                  <a:pt x="59" y="240"/>
                  <a:pt x="60" y="240"/>
                  <a:pt x="60" y="240"/>
                </a:cubicBezTo>
                <a:cubicBezTo>
                  <a:pt x="60" y="239"/>
                  <a:pt x="60" y="240"/>
                  <a:pt x="59" y="239"/>
                </a:cubicBezTo>
                <a:cubicBezTo>
                  <a:pt x="60" y="239"/>
                  <a:pt x="59" y="239"/>
                  <a:pt x="59" y="239"/>
                </a:cubicBezTo>
                <a:cubicBezTo>
                  <a:pt x="60" y="240"/>
                  <a:pt x="59" y="240"/>
                  <a:pt x="59" y="240"/>
                </a:cubicBezTo>
                <a:close/>
                <a:moveTo>
                  <a:pt x="46" y="234"/>
                </a:moveTo>
                <a:cubicBezTo>
                  <a:pt x="47" y="234"/>
                  <a:pt x="47" y="233"/>
                  <a:pt x="47" y="233"/>
                </a:cubicBezTo>
                <a:cubicBezTo>
                  <a:pt x="46" y="234"/>
                  <a:pt x="46" y="232"/>
                  <a:pt x="46" y="233"/>
                </a:cubicBezTo>
                <a:cubicBezTo>
                  <a:pt x="46" y="233"/>
                  <a:pt x="46" y="233"/>
                  <a:pt x="46" y="233"/>
                </a:cubicBezTo>
                <a:cubicBezTo>
                  <a:pt x="46" y="233"/>
                  <a:pt x="46" y="234"/>
                  <a:pt x="46" y="234"/>
                </a:cubicBezTo>
                <a:close/>
                <a:moveTo>
                  <a:pt x="48" y="236"/>
                </a:moveTo>
                <a:cubicBezTo>
                  <a:pt x="48" y="237"/>
                  <a:pt x="49" y="237"/>
                  <a:pt x="49" y="238"/>
                </a:cubicBezTo>
                <a:cubicBezTo>
                  <a:pt x="49" y="237"/>
                  <a:pt x="51" y="237"/>
                  <a:pt x="51" y="236"/>
                </a:cubicBezTo>
                <a:cubicBezTo>
                  <a:pt x="50" y="236"/>
                  <a:pt x="50" y="236"/>
                  <a:pt x="49" y="237"/>
                </a:cubicBezTo>
                <a:cubicBezTo>
                  <a:pt x="49" y="236"/>
                  <a:pt x="50" y="236"/>
                  <a:pt x="49" y="235"/>
                </a:cubicBezTo>
                <a:cubicBezTo>
                  <a:pt x="49" y="236"/>
                  <a:pt x="49" y="236"/>
                  <a:pt x="48" y="236"/>
                </a:cubicBezTo>
                <a:close/>
                <a:moveTo>
                  <a:pt x="24" y="224"/>
                </a:moveTo>
                <a:cubicBezTo>
                  <a:pt x="24" y="223"/>
                  <a:pt x="24" y="224"/>
                  <a:pt x="25" y="223"/>
                </a:cubicBezTo>
                <a:cubicBezTo>
                  <a:pt x="24" y="223"/>
                  <a:pt x="24" y="223"/>
                  <a:pt x="23" y="223"/>
                </a:cubicBezTo>
                <a:cubicBezTo>
                  <a:pt x="24" y="224"/>
                  <a:pt x="24" y="223"/>
                  <a:pt x="24" y="224"/>
                </a:cubicBezTo>
                <a:cubicBezTo>
                  <a:pt x="24" y="224"/>
                  <a:pt x="24" y="224"/>
                  <a:pt x="24" y="224"/>
                </a:cubicBezTo>
                <a:close/>
                <a:moveTo>
                  <a:pt x="17" y="230"/>
                </a:moveTo>
                <a:cubicBezTo>
                  <a:pt x="18" y="228"/>
                  <a:pt x="19" y="228"/>
                  <a:pt x="19" y="227"/>
                </a:cubicBezTo>
                <a:cubicBezTo>
                  <a:pt x="19" y="227"/>
                  <a:pt x="16" y="229"/>
                  <a:pt x="17" y="230"/>
                </a:cubicBezTo>
                <a:close/>
                <a:moveTo>
                  <a:pt x="45" y="246"/>
                </a:moveTo>
                <a:cubicBezTo>
                  <a:pt x="45" y="246"/>
                  <a:pt x="46" y="247"/>
                  <a:pt x="46" y="247"/>
                </a:cubicBezTo>
                <a:cubicBezTo>
                  <a:pt x="45" y="247"/>
                  <a:pt x="45" y="248"/>
                  <a:pt x="45" y="248"/>
                </a:cubicBezTo>
                <a:cubicBezTo>
                  <a:pt x="46" y="248"/>
                  <a:pt x="46" y="247"/>
                  <a:pt x="47" y="247"/>
                </a:cubicBezTo>
                <a:cubicBezTo>
                  <a:pt x="47" y="247"/>
                  <a:pt x="47" y="247"/>
                  <a:pt x="47" y="247"/>
                </a:cubicBezTo>
                <a:cubicBezTo>
                  <a:pt x="46" y="247"/>
                  <a:pt x="46" y="245"/>
                  <a:pt x="45" y="246"/>
                </a:cubicBezTo>
                <a:close/>
                <a:moveTo>
                  <a:pt x="19" y="231"/>
                </a:moveTo>
                <a:cubicBezTo>
                  <a:pt x="19" y="231"/>
                  <a:pt x="18" y="231"/>
                  <a:pt x="18" y="231"/>
                </a:cubicBezTo>
                <a:cubicBezTo>
                  <a:pt x="19" y="232"/>
                  <a:pt x="19" y="230"/>
                  <a:pt x="18" y="230"/>
                </a:cubicBezTo>
                <a:cubicBezTo>
                  <a:pt x="18" y="231"/>
                  <a:pt x="19" y="230"/>
                  <a:pt x="19" y="231"/>
                </a:cubicBezTo>
                <a:close/>
                <a:moveTo>
                  <a:pt x="18" y="232"/>
                </a:moveTo>
                <a:cubicBezTo>
                  <a:pt x="18" y="234"/>
                  <a:pt x="17" y="234"/>
                  <a:pt x="17" y="235"/>
                </a:cubicBezTo>
                <a:cubicBezTo>
                  <a:pt x="17" y="235"/>
                  <a:pt x="17" y="234"/>
                  <a:pt x="18" y="234"/>
                </a:cubicBezTo>
                <a:cubicBezTo>
                  <a:pt x="18" y="233"/>
                  <a:pt x="19" y="232"/>
                  <a:pt x="18" y="232"/>
                </a:cubicBezTo>
                <a:cubicBezTo>
                  <a:pt x="17" y="232"/>
                  <a:pt x="18" y="233"/>
                  <a:pt x="18" y="232"/>
                </a:cubicBezTo>
                <a:close/>
                <a:moveTo>
                  <a:pt x="4" y="256"/>
                </a:moveTo>
                <a:cubicBezTo>
                  <a:pt x="5" y="255"/>
                  <a:pt x="5" y="254"/>
                  <a:pt x="6" y="253"/>
                </a:cubicBezTo>
                <a:cubicBezTo>
                  <a:pt x="5" y="254"/>
                  <a:pt x="4" y="255"/>
                  <a:pt x="4" y="256"/>
                </a:cubicBezTo>
                <a:close/>
                <a:moveTo>
                  <a:pt x="5" y="258"/>
                </a:moveTo>
                <a:cubicBezTo>
                  <a:pt x="6" y="257"/>
                  <a:pt x="6" y="258"/>
                  <a:pt x="6" y="257"/>
                </a:cubicBezTo>
                <a:cubicBezTo>
                  <a:pt x="6" y="257"/>
                  <a:pt x="6" y="256"/>
                  <a:pt x="6" y="257"/>
                </a:cubicBezTo>
                <a:cubicBezTo>
                  <a:pt x="6" y="257"/>
                  <a:pt x="6" y="257"/>
                  <a:pt x="6" y="257"/>
                </a:cubicBezTo>
                <a:cubicBezTo>
                  <a:pt x="5" y="257"/>
                  <a:pt x="5" y="257"/>
                  <a:pt x="5" y="258"/>
                </a:cubicBezTo>
                <a:close/>
                <a:moveTo>
                  <a:pt x="810" y="264"/>
                </a:moveTo>
                <a:cubicBezTo>
                  <a:pt x="810" y="263"/>
                  <a:pt x="808" y="261"/>
                  <a:pt x="809" y="261"/>
                </a:cubicBezTo>
                <a:cubicBezTo>
                  <a:pt x="810" y="263"/>
                  <a:pt x="809" y="259"/>
                  <a:pt x="809" y="258"/>
                </a:cubicBezTo>
                <a:cubicBezTo>
                  <a:pt x="810" y="258"/>
                  <a:pt x="811" y="261"/>
                  <a:pt x="811" y="261"/>
                </a:cubicBezTo>
                <a:cubicBezTo>
                  <a:pt x="809" y="256"/>
                  <a:pt x="809" y="255"/>
                  <a:pt x="807" y="251"/>
                </a:cubicBezTo>
                <a:cubicBezTo>
                  <a:pt x="808" y="254"/>
                  <a:pt x="807" y="252"/>
                  <a:pt x="806" y="253"/>
                </a:cubicBezTo>
                <a:cubicBezTo>
                  <a:pt x="806" y="253"/>
                  <a:pt x="807" y="260"/>
                  <a:pt x="805" y="261"/>
                </a:cubicBezTo>
                <a:cubicBezTo>
                  <a:pt x="805" y="261"/>
                  <a:pt x="804" y="259"/>
                  <a:pt x="804" y="259"/>
                </a:cubicBezTo>
                <a:cubicBezTo>
                  <a:pt x="803" y="261"/>
                  <a:pt x="804" y="266"/>
                  <a:pt x="801" y="262"/>
                </a:cubicBezTo>
                <a:cubicBezTo>
                  <a:pt x="805" y="271"/>
                  <a:pt x="805" y="267"/>
                  <a:pt x="806" y="266"/>
                </a:cubicBezTo>
                <a:cubicBezTo>
                  <a:pt x="806" y="266"/>
                  <a:pt x="810" y="269"/>
                  <a:pt x="808" y="265"/>
                </a:cubicBezTo>
                <a:cubicBezTo>
                  <a:pt x="809" y="266"/>
                  <a:pt x="810" y="269"/>
                  <a:pt x="810" y="268"/>
                </a:cubicBezTo>
                <a:cubicBezTo>
                  <a:pt x="811" y="267"/>
                  <a:pt x="808" y="263"/>
                  <a:pt x="810" y="264"/>
                </a:cubicBezTo>
                <a:close/>
                <a:moveTo>
                  <a:pt x="440" y="4"/>
                </a:moveTo>
                <a:cubicBezTo>
                  <a:pt x="437" y="3"/>
                  <a:pt x="437" y="4"/>
                  <a:pt x="434" y="4"/>
                </a:cubicBezTo>
                <a:cubicBezTo>
                  <a:pt x="434" y="3"/>
                  <a:pt x="433" y="3"/>
                  <a:pt x="433" y="3"/>
                </a:cubicBezTo>
                <a:cubicBezTo>
                  <a:pt x="435" y="3"/>
                  <a:pt x="437" y="3"/>
                  <a:pt x="438" y="2"/>
                </a:cubicBezTo>
                <a:cubicBezTo>
                  <a:pt x="434" y="2"/>
                  <a:pt x="429" y="3"/>
                  <a:pt x="425" y="3"/>
                </a:cubicBezTo>
                <a:cubicBezTo>
                  <a:pt x="428" y="3"/>
                  <a:pt x="433" y="4"/>
                  <a:pt x="437" y="4"/>
                </a:cubicBezTo>
                <a:cubicBezTo>
                  <a:pt x="436" y="4"/>
                  <a:pt x="434" y="4"/>
                  <a:pt x="434" y="4"/>
                </a:cubicBezTo>
                <a:cubicBezTo>
                  <a:pt x="439" y="4"/>
                  <a:pt x="441" y="4"/>
                  <a:pt x="443" y="5"/>
                </a:cubicBezTo>
                <a:cubicBezTo>
                  <a:pt x="442" y="4"/>
                  <a:pt x="446" y="5"/>
                  <a:pt x="446" y="5"/>
                </a:cubicBezTo>
                <a:cubicBezTo>
                  <a:pt x="444" y="4"/>
                  <a:pt x="444" y="5"/>
                  <a:pt x="440" y="4"/>
                </a:cubicBezTo>
                <a:close/>
                <a:moveTo>
                  <a:pt x="399" y="5"/>
                </a:moveTo>
                <a:cubicBezTo>
                  <a:pt x="398" y="4"/>
                  <a:pt x="401" y="4"/>
                  <a:pt x="398" y="4"/>
                </a:cubicBezTo>
                <a:cubicBezTo>
                  <a:pt x="393" y="5"/>
                  <a:pt x="386" y="4"/>
                  <a:pt x="382" y="5"/>
                </a:cubicBezTo>
                <a:cubicBezTo>
                  <a:pt x="385" y="5"/>
                  <a:pt x="389" y="5"/>
                  <a:pt x="390" y="6"/>
                </a:cubicBezTo>
                <a:cubicBezTo>
                  <a:pt x="395" y="5"/>
                  <a:pt x="398" y="6"/>
                  <a:pt x="400" y="5"/>
                </a:cubicBezTo>
                <a:lnTo>
                  <a:pt x="399" y="5"/>
                </a:lnTo>
                <a:close/>
                <a:moveTo>
                  <a:pt x="142" y="101"/>
                </a:moveTo>
                <a:cubicBezTo>
                  <a:pt x="142" y="102"/>
                  <a:pt x="141" y="103"/>
                  <a:pt x="143" y="102"/>
                </a:cubicBezTo>
                <a:cubicBezTo>
                  <a:pt x="147" y="98"/>
                  <a:pt x="152" y="95"/>
                  <a:pt x="156" y="91"/>
                </a:cubicBezTo>
                <a:cubicBezTo>
                  <a:pt x="154" y="92"/>
                  <a:pt x="153" y="93"/>
                  <a:pt x="152" y="94"/>
                </a:cubicBezTo>
                <a:cubicBezTo>
                  <a:pt x="153" y="93"/>
                  <a:pt x="154" y="92"/>
                  <a:pt x="154" y="91"/>
                </a:cubicBezTo>
                <a:cubicBezTo>
                  <a:pt x="149" y="95"/>
                  <a:pt x="141" y="101"/>
                  <a:pt x="134" y="107"/>
                </a:cubicBezTo>
                <a:cubicBezTo>
                  <a:pt x="135" y="107"/>
                  <a:pt x="140" y="103"/>
                  <a:pt x="142" y="101"/>
                </a:cubicBezTo>
                <a:close/>
                <a:moveTo>
                  <a:pt x="84" y="158"/>
                </a:moveTo>
                <a:cubicBezTo>
                  <a:pt x="84" y="159"/>
                  <a:pt x="84" y="160"/>
                  <a:pt x="83" y="160"/>
                </a:cubicBezTo>
                <a:cubicBezTo>
                  <a:pt x="83" y="161"/>
                  <a:pt x="83" y="162"/>
                  <a:pt x="84" y="161"/>
                </a:cubicBezTo>
                <a:cubicBezTo>
                  <a:pt x="84" y="161"/>
                  <a:pt x="84" y="161"/>
                  <a:pt x="84" y="161"/>
                </a:cubicBezTo>
                <a:cubicBezTo>
                  <a:pt x="84" y="160"/>
                  <a:pt x="84" y="160"/>
                  <a:pt x="84" y="160"/>
                </a:cubicBezTo>
                <a:cubicBezTo>
                  <a:pt x="85" y="160"/>
                  <a:pt x="84" y="161"/>
                  <a:pt x="85" y="161"/>
                </a:cubicBezTo>
                <a:cubicBezTo>
                  <a:pt x="85" y="160"/>
                  <a:pt x="86" y="160"/>
                  <a:pt x="85" y="160"/>
                </a:cubicBezTo>
                <a:cubicBezTo>
                  <a:pt x="85" y="160"/>
                  <a:pt x="85" y="160"/>
                  <a:pt x="85" y="160"/>
                </a:cubicBezTo>
                <a:cubicBezTo>
                  <a:pt x="85" y="160"/>
                  <a:pt x="85" y="159"/>
                  <a:pt x="85" y="159"/>
                </a:cubicBezTo>
                <a:cubicBezTo>
                  <a:pt x="85" y="159"/>
                  <a:pt x="86" y="159"/>
                  <a:pt x="87" y="158"/>
                </a:cubicBezTo>
                <a:cubicBezTo>
                  <a:pt x="85" y="159"/>
                  <a:pt x="86" y="157"/>
                  <a:pt x="84" y="158"/>
                </a:cubicBezTo>
                <a:close/>
                <a:moveTo>
                  <a:pt x="103" y="180"/>
                </a:moveTo>
                <a:cubicBezTo>
                  <a:pt x="102" y="180"/>
                  <a:pt x="102" y="181"/>
                  <a:pt x="102" y="181"/>
                </a:cubicBezTo>
                <a:cubicBezTo>
                  <a:pt x="102" y="181"/>
                  <a:pt x="103" y="181"/>
                  <a:pt x="103" y="181"/>
                </a:cubicBezTo>
                <a:cubicBezTo>
                  <a:pt x="103" y="181"/>
                  <a:pt x="102" y="181"/>
                  <a:pt x="103" y="182"/>
                </a:cubicBezTo>
                <a:cubicBezTo>
                  <a:pt x="103" y="182"/>
                  <a:pt x="103" y="181"/>
                  <a:pt x="104" y="181"/>
                </a:cubicBezTo>
                <a:cubicBezTo>
                  <a:pt x="103" y="182"/>
                  <a:pt x="103" y="182"/>
                  <a:pt x="103" y="183"/>
                </a:cubicBezTo>
                <a:cubicBezTo>
                  <a:pt x="103" y="182"/>
                  <a:pt x="104" y="182"/>
                  <a:pt x="104" y="181"/>
                </a:cubicBezTo>
                <a:cubicBezTo>
                  <a:pt x="103" y="182"/>
                  <a:pt x="104" y="180"/>
                  <a:pt x="103" y="180"/>
                </a:cubicBezTo>
                <a:close/>
                <a:moveTo>
                  <a:pt x="77" y="160"/>
                </a:moveTo>
                <a:cubicBezTo>
                  <a:pt x="79" y="161"/>
                  <a:pt x="79" y="158"/>
                  <a:pt x="80" y="158"/>
                </a:cubicBezTo>
                <a:cubicBezTo>
                  <a:pt x="80" y="157"/>
                  <a:pt x="80" y="157"/>
                  <a:pt x="80" y="157"/>
                </a:cubicBezTo>
                <a:cubicBezTo>
                  <a:pt x="79" y="157"/>
                  <a:pt x="78" y="159"/>
                  <a:pt x="77" y="160"/>
                </a:cubicBezTo>
                <a:close/>
                <a:moveTo>
                  <a:pt x="81" y="163"/>
                </a:moveTo>
                <a:cubicBezTo>
                  <a:pt x="81" y="163"/>
                  <a:pt x="81" y="164"/>
                  <a:pt x="81" y="164"/>
                </a:cubicBezTo>
                <a:cubicBezTo>
                  <a:pt x="81" y="164"/>
                  <a:pt x="80" y="165"/>
                  <a:pt x="80" y="165"/>
                </a:cubicBezTo>
                <a:cubicBezTo>
                  <a:pt x="82" y="164"/>
                  <a:pt x="83" y="163"/>
                  <a:pt x="83" y="162"/>
                </a:cubicBezTo>
                <a:cubicBezTo>
                  <a:pt x="83" y="161"/>
                  <a:pt x="83" y="161"/>
                  <a:pt x="82" y="161"/>
                </a:cubicBezTo>
                <a:cubicBezTo>
                  <a:pt x="81" y="161"/>
                  <a:pt x="82" y="163"/>
                  <a:pt x="81" y="163"/>
                </a:cubicBezTo>
                <a:close/>
                <a:moveTo>
                  <a:pt x="95" y="192"/>
                </a:moveTo>
                <a:cubicBezTo>
                  <a:pt x="95" y="192"/>
                  <a:pt x="95" y="192"/>
                  <a:pt x="94" y="192"/>
                </a:cubicBezTo>
                <a:cubicBezTo>
                  <a:pt x="94" y="192"/>
                  <a:pt x="94" y="193"/>
                  <a:pt x="94" y="193"/>
                </a:cubicBezTo>
                <a:cubicBezTo>
                  <a:pt x="93" y="193"/>
                  <a:pt x="93" y="194"/>
                  <a:pt x="94" y="194"/>
                </a:cubicBezTo>
                <a:cubicBezTo>
                  <a:pt x="93" y="194"/>
                  <a:pt x="91" y="196"/>
                  <a:pt x="91" y="197"/>
                </a:cubicBezTo>
                <a:cubicBezTo>
                  <a:pt x="91" y="197"/>
                  <a:pt x="91" y="197"/>
                  <a:pt x="91" y="197"/>
                </a:cubicBezTo>
                <a:cubicBezTo>
                  <a:pt x="91" y="198"/>
                  <a:pt x="90" y="198"/>
                  <a:pt x="90" y="199"/>
                </a:cubicBezTo>
                <a:cubicBezTo>
                  <a:pt x="91" y="197"/>
                  <a:pt x="92" y="197"/>
                  <a:pt x="93" y="197"/>
                </a:cubicBezTo>
                <a:cubicBezTo>
                  <a:pt x="93" y="197"/>
                  <a:pt x="93" y="197"/>
                  <a:pt x="93" y="196"/>
                </a:cubicBezTo>
                <a:cubicBezTo>
                  <a:pt x="93" y="196"/>
                  <a:pt x="94" y="195"/>
                  <a:pt x="94" y="195"/>
                </a:cubicBezTo>
                <a:cubicBezTo>
                  <a:pt x="94" y="195"/>
                  <a:pt x="94" y="195"/>
                  <a:pt x="94" y="196"/>
                </a:cubicBezTo>
                <a:cubicBezTo>
                  <a:pt x="95" y="194"/>
                  <a:pt x="95" y="192"/>
                  <a:pt x="96" y="193"/>
                </a:cubicBezTo>
                <a:cubicBezTo>
                  <a:pt x="96" y="193"/>
                  <a:pt x="96" y="193"/>
                  <a:pt x="96" y="193"/>
                </a:cubicBezTo>
                <a:cubicBezTo>
                  <a:pt x="97" y="193"/>
                  <a:pt x="97" y="193"/>
                  <a:pt x="97" y="192"/>
                </a:cubicBezTo>
                <a:cubicBezTo>
                  <a:pt x="96" y="193"/>
                  <a:pt x="97" y="192"/>
                  <a:pt x="96" y="192"/>
                </a:cubicBezTo>
                <a:cubicBezTo>
                  <a:pt x="96" y="193"/>
                  <a:pt x="96" y="192"/>
                  <a:pt x="95" y="192"/>
                </a:cubicBezTo>
                <a:close/>
                <a:moveTo>
                  <a:pt x="65" y="175"/>
                </a:moveTo>
                <a:cubicBezTo>
                  <a:pt x="64" y="175"/>
                  <a:pt x="64" y="175"/>
                  <a:pt x="63" y="175"/>
                </a:cubicBezTo>
                <a:cubicBezTo>
                  <a:pt x="63" y="175"/>
                  <a:pt x="63" y="175"/>
                  <a:pt x="63" y="176"/>
                </a:cubicBezTo>
                <a:cubicBezTo>
                  <a:pt x="64" y="176"/>
                  <a:pt x="64" y="176"/>
                  <a:pt x="64" y="177"/>
                </a:cubicBezTo>
                <a:cubicBezTo>
                  <a:pt x="65" y="175"/>
                  <a:pt x="66" y="175"/>
                  <a:pt x="67" y="173"/>
                </a:cubicBezTo>
                <a:cubicBezTo>
                  <a:pt x="65" y="173"/>
                  <a:pt x="66" y="174"/>
                  <a:pt x="65" y="175"/>
                </a:cubicBezTo>
                <a:close/>
                <a:moveTo>
                  <a:pt x="45" y="240"/>
                </a:moveTo>
                <a:cubicBezTo>
                  <a:pt x="46" y="241"/>
                  <a:pt x="46" y="241"/>
                  <a:pt x="46" y="241"/>
                </a:cubicBezTo>
                <a:cubicBezTo>
                  <a:pt x="45" y="241"/>
                  <a:pt x="45" y="242"/>
                  <a:pt x="44" y="243"/>
                </a:cubicBezTo>
                <a:cubicBezTo>
                  <a:pt x="44" y="243"/>
                  <a:pt x="43" y="243"/>
                  <a:pt x="43" y="243"/>
                </a:cubicBezTo>
                <a:cubicBezTo>
                  <a:pt x="43" y="244"/>
                  <a:pt x="43" y="244"/>
                  <a:pt x="42" y="245"/>
                </a:cubicBezTo>
                <a:cubicBezTo>
                  <a:pt x="43" y="245"/>
                  <a:pt x="43" y="245"/>
                  <a:pt x="44" y="244"/>
                </a:cubicBezTo>
                <a:cubicBezTo>
                  <a:pt x="44" y="244"/>
                  <a:pt x="44" y="244"/>
                  <a:pt x="44" y="244"/>
                </a:cubicBezTo>
                <a:cubicBezTo>
                  <a:pt x="44" y="244"/>
                  <a:pt x="45" y="243"/>
                  <a:pt x="45" y="244"/>
                </a:cubicBezTo>
                <a:cubicBezTo>
                  <a:pt x="45" y="241"/>
                  <a:pt x="47" y="241"/>
                  <a:pt x="48" y="239"/>
                </a:cubicBezTo>
                <a:cubicBezTo>
                  <a:pt x="47" y="238"/>
                  <a:pt x="48" y="238"/>
                  <a:pt x="48" y="237"/>
                </a:cubicBezTo>
                <a:cubicBezTo>
                  <a:pt x="47" y="238"/>
                  <a:pt x="47" y="240"/>
                  <a:pt x="45" y="240"/>
                </a:cubicBezTo>
                <a:close/>
                <a:moveTo>
                  <a:pt x="820" y="180"/>
                </a:moveTo>
                <a:cubicBezTo>
                  <a:pt x="820" y="181"/>
                  <a:pt x="820" y="181"/>
                  <a:pt x="820" y="181"/>
                </a:cubicBezTo>
                <a:cubicBezTo>
                  <a:pt x="821" y="181"/>
                  <a:pt x="820" y="180"/>
                  <a:pt x="820" y="180"/>
                </a:cubicBezTo>
                <a:close/>
                <a:moveTo>
                  <a:pt x="866" y="171"/>
                </a:moveTo>
                <a:cubicBezTo>
                  <a:pt x="865" y="171"/>
                  <a:pt x="865" y="172"/>
                  <a:pt x="865" y="172"/>
                </a:cubicBezTo>
                <a:cubicBezTo>
                  <a:pt x="865" y="172"/>
                  <a:pt x="866" y="172"/>
                  <a:pt x="866" y="171"/>
                </a:cubicBezTo>
                <a:close/>
                <a:moveTo>
                  <a:pt x="867" y="170"/>
                </a:moveTo>
                <a:cubicBezTo>
                  <a:pt x="867" y="170"/>
                  <a:pt x="866" y="171"/>
                  <a:pt x="866" y="171"/>
                </a:cubicBezTo>
                <a:cubicBezTo>
                  <a:pt x="867" y="171"/>
                  <a:pt x="867" y="170"/>
                  <a:pt x="867" y="170"/>
                </a:cubicBezTo>
                <a:close/>
                <a:moveTo>
                  <a:pt x="861" y="164"/>
                </a:moveTo>
                <a:cubicBezTo>
                  <a:pt x="861" y="164"/>
                  <a:pt x="861" y="165"/>
                  <a:pt x="861" y="165"/>
                </a:cubicBezTo>
                <a:cubicBezTo>
                  <a:pt x="861" y="164"/>
                  <a:pt x="861" y="164"/>
                  <a:pt x="861" y="164"/>
                </a:cubicBezTo>
                <a:close/>
                <a:moveTo>
                  <a:pt x="868" y="162"/>
                </a:moveTo>
                <a:cubicBezTo>
                  <a:pt x="868" y="163"/>
                  <a:pt x="868" y="163"/>
                  <a:pt x="868" y="164"/>
                </a:cubicBezTo>
                <a:cubicBezTo>
                  <a:pt x="868" y="163"/>
                  <a:pt x="868" y="162"/>
                  <a:pt x="868" y="162"/>
                </a:cubicBezTo>
                <a:close/>
                <a:moveTo>
                  <a:pt x="837" y="147"/>
                </a:moveTo>
                <a:cubicBezTo>
                  <a:pt x="837" y="148"/>
                  <a:pt x="837" y="150"/>
                  <a:pt x="836" y="151"/>
                </a:cubicBezTo>
                <a:cubicBezTo>
                  <a:pt x="837" y="150"/>
                  <a:pt x="837" y="148"/>
                  <a:pt x="837" y="147"/>
                </a:cubicBezTo>
                <a:close/>
                <a:moveTo>
                  <a:pt x="852" y="150"/>
                </a:moveTo>
                <a:cubicBezTo>
                  <a:pt x="852" y="149"/>
                  <a:pt x="852" y="149"/>
                  <a:pt x="852" y="149"/>
                </a:cubicBezTo>
                <a:cubicBezTo>
                  <a:pt x="852" y="148"/>
                  <a:pt x="853" y="145"/>
                  <a:pt x="852" y="146"/>
                </a:cubicBezTo>
                <a:cubicBezTo>
                  <a:pt x="852" y="147"/>
                  <a:pt x="851" y="150"/>
                  <a:pt x="851" y="151"/>
                </a:cubicBezTo>
                <a:cubicBezTo>
                  <a:pt x="852" y="151"/>
                  <a:pt x="852" y="150"/>
                  <a:pt x="852" y="150"/>
                </a:cubicBezTo>
                <a:close/>
                <a:moveTo>
                  <a:pt x="857" y="134"/>
                </a:moveTo>
                <a:cubicBezTo>
                  <a:pt x="857" y="134"/>
                  <a:pt x="857" y="134"/>
                  <a:pt x="857" y="134"/>
                </a:cubicBezTo>
                <a:cubicBezTo>
                  <a:pt x="857" y="135"/>
                  <a:pt x="857" y="135"/>
                  <a:pt x="857" y="135"/>
                </a:cubicBezTo>
                <a:lnTo>
                  <a:pt x="857" y="134"/>
                </a:lnTo>
                <a:close/>
                <a:moveTo>
                  <a:pt x="855" y="121"/>
                </a:moveTo>
                <a:cubicBezTo>
                  <a:pt x="855" y="119"/>
                  <a:pt x="855" y="121"/>
                  <a:pt x="855" y="122"/>
                </a:cubicBezTo>
                <a:cubicBezTo>
                  <a:pt x="854" y="122"/>
                  <a:pt x="855" y="122"/>
                  <a:pt x="855" y="122"/>
                </a:cubicBezTo>
                <a:cubicBezTo>
                  <a:pt x="854" y="123"/>
                  <a:pt x="853" y="126"/>
                  <a:pt x="854" y="127"/>
                </a:cubicBezTo>
                <a:cubicBezTo>
                  <a:pt x="854" y="125"/>
                  <a:pt x="855" y="123"/>
                  <a:pt x="855" y="121"/>
                </a:cubicBezTo>
                <a:close/>
                <a:moveTo>
                  <a:pt x="861" y="127"/>
                </a:moveTo>
                <a:cubicBezTo>
                  <a:pt x="861" y="127"/>
                  <a:pt x="861" y="128"/>
                  <a:pt x="861" y="128"/>
                </a:cubicBezTo>
                <a:cubicBezTo>
                  <a:pt x="862" y="128"/>
                  <a:pt x="862" y="127"/>
                  <a:pt x="861" y="127"/>
                </a:cubicBezTo>
                <a:close/>
                <a:moveTo>
                  <a:pt x="843" y="120"/>
                </a:moveTo>
                <a:cubicBezTo>
                  <a:pt x="843" y="121"/>
                  <a:pt x="842" y="121"/>
                  <a:pt x="842" y="122"/>
                </a:cubicBezTo>
                <a:cubicBezTo>
                  <a:pt x="843" y="121"/>
                  <a:pt x="843" y="120"/>
                  <a:pt x="843" y="120"/>
                </a:cubicBezTo>
                <a:close/>
                <a:moveTo>
                  <a:pt x="859" y="124"/>
                </a:moveTo>
                <a:cubicBezTo>
                  <a:pt x="859" y="125"/>
                  <a:pt x="859" y="126"/>
                  <a:pt x="859" y="126"/>
                </a:cubicBezTo>
                <a:cubicBezTo>
                  <a:pt x="859" y="125"/>
                  <a:pt x="860" y="124"/>
                  <a:pt x="859" y="124"/>
                </a:cubicBezTo>
                <a:close/>
                <a:moveTo>
                  <a:pt x="862" y="124"/>
                </a:moveTo>
                <a:cubicBezTo>
                  <a:pt x="862" y="124"/>
                  <a:pt x="861" y="125"/>
                  <a:pt x="862" y="126"/>
                </a:cubicBezTo>
                <a:cubicBezTo>
                  <a:pt x="862" y="125"/>
                  <a:pt x="862" y="124"/>
                  <a:pt x="862" y="124"/>
                </a:cubicBezTo>
                <a:close/>
                <a:moveTo>
                  <a:pt x="839" y="118"/>
                </a:moveTo>
                <a:cubicBezTo>
                  <a:pt x="839" y="118"/>
                  <a:pt x="839" y="119"/>
                  <a:pt x="839" y="119"/>
                </a:cubicBezTo>
                <a:cubicBezTo>
                  <a:pt x="839" y="119"/>
                  <a:pt x="839" y="118"/>
                  <a:pt x="839" y="118"/>
                </a:cubicBezTo>
                <a:close/>
                <a:moveTo>
                  <a:pt x="844" y="116"/>
                </a:moveTo>
                <a:cubicBezTo>
                  <a:pt x="843" y="117"/>
                  <a:pt x="843" y="119"/>
                  <a:pt x="843" y="119"/>
                </a:cubicBezTo>
                <a:cubicBezTo>
                  <a:pt x="843" y="118"/>
                  <a:pt x="844" y="117"/>
                  <a:pt x="844" y="116"/>
                </a:cubicBezTo>
                <a:close/>
                <a:moveTo>
                  <a:pt x="862" y="120"/>
                </a:moveTo>
                <a:cubicBezTo>
                  <a:pt x="862" y="121"/>
                  <a:pt x="861" y="122"/>
                  <a:pt x="862" y="123"/>
                </a:cubicBezTo>
                <a:cubicBezTo>
                  <a:pt x="862" y="122"/>
                  <a:pt x="863" y="121"/>
                  <a:pt x="862" y="120"/>
                </a:cubicBezTo>
                <a:close/>
                <a:moveTo>
                  <a:pt x="855" y="118"/>
                </a:moveTo>
                <a:cubicBezTo>
                  <a:pt x="855" y="118"/>
                  <a:pt x="855" y="119"/>
                  <a:pt x="855" y="119"/>
                </a:cubicBezTo>
                <a:cubicBezTo>
                  <a:pt x="855" y="119"/>
                  <a:pt x="856" y="118"/>
                  <a:pt x="855" y="118"/>
                </a:cubicBezTo>
                <a:close/>
                <a:moveTo>
                  <a:pt x="858" y="117"/>
                </a:moveTo>
                <a:cubicBezTo>
                  <a:pt x="857" y="117"/>
                  <a:pt x="857" y="118"/>
                  <a:pt x="857" y="118"/>
                </a:cubicBezTo>
                <a:cubicBezTo>
                  <a:pt x="857" y="118"/>
                  <a:pt x="858" y="117"/>
                  <a:pt x="858" y="117"/>
                </a:cubicBezTo>
                <a:close/>
                <a:moveTo>
                  <a:pt x="860" y="116"/>
                </a:moveTo>
                <a:cubicBezTo>
                  <a:pt x="860" y="116"/>
                  <a:pt x="860" y="116"/>
                  <a:pt x="860" y="116"/>
                </a:cubicBezTo>
                <a:cubicBezTo>
                  <a:pt x="859" y="115"/>
                  <a:pt x="859" y="117"/>
                  <a:pt x="859" y="117"/>
                </a:cubicBezTo>
                <a:cubicBezTo>
                  <a:pt x="860" y="117"/>
                  <a:pt x="859" y="117"/>
                  <a:pt x="860" y="116"/>
                </a:cubicBezTo>
                <a:close/>
                <a:moveTo>
                  <a:pt x="849" y="110"/>
                </a:moveTo>
                <a:cubicBezTo>
                  <a:pt x="848" y="113"/>
                  <a:pt x="849" y="111"/>
                  <a:pt x="849" y="110"/>
                </a:cubicBezTo>
                <a:close/>
                <a:moveTo>
                  <a:pt x="845" y="105"/>
                </a:moveTo>
                <a:cubicBezTo>
                  <a:pt x="844" y="106"/>
                  <a:pt x="844" y="106"/>
                  <a:pt x="844" y="107"/>
                </a:cubicBezTo>
                <a:cubicBezTo>
                  <a:pt x="844" y="107"/>
                  <a:pt x="845" y="105"/>
                  <a:pt x="845" y="105"/>
                </a:cubicBezTo>
                <a:close/>
                <a:moveTo>
                  <a:pt x="844" y="105"/>
                </a:moveTo>
                <a:cubicBezTo>
                  <a:pt x="843" y="105"/>
                  <a:pt x="843" y="106"/>
                  <a:pt x="843" y="106"/>
                </a:cubicBezTo>
                <a:lnTo>
                  <a:pt x="844" y="105"/>
                </a:lnTo>
                <a:close/>
                <a:moveTo>
                  <a:pt x="836" y="101"/>
                </a:moveTo>
                <a:cubicBezTo>
                  <a:pt x="836" y="102"/>
                  <a:pt x="836" y="102"/>
                  <a:pt x="836" y="102"/>
                </a:cubicBezTo>
                <a:cubicBezTo>
                  <a:pt x="836" y="102"/>
                  <a:pt x="836" y="101"/>
                  <a:pt x="836" y="101"/>
                </a:cubicBezTo>
                <a:close/>
                <a:moveTo>
                  <a:pt x="838" y="98"/>
                </a:moveTo>
                <a:cubicBezTo>
                  <a:pt x="839" y="95"/>
                  <a:pt x="838" y="96"/>
                  <a:pt x="838" y="98"/>
                </a:cubicBezTo>
                <a:close/>
                <a:moveTo>
                  <a:pt x="828" y="135"/>
                </a:moveTo>
                <a:cubicBezTo>
                  <a:pt x="828" y="136"/>
                  <a:pt x="828" y="137"/>
                  <a:pt x="827" y="137"/>
                </a:cubicBezTo>
                <a:cubicBezTo>
                  <a:pt x="828" y="138"/>
                  <a:pt x="828" y="138"/>
                  <a:pt x="828" y="138"/>
                </a:cubicBezTo>
                <a:cubicBezTo>
                  <a:pt x="828" y="137"/>
                  <a:pt x="829" y="136"/>
                  <a:pt x="828" y="135"/>
                </a:cubicBezTo>
                <a:close/>
                <a:moveTo>
                  <a:pt x="846" y="121"/>
                </a:moveTo>
                <a:cubicBezTo>
                  <a:pt x="847" y="121"/>
                  <a:pt x="846" y="122"/>
                  <a:pt x="846" y="123"/>
                </a:cubicBezTo>
                <a:cubicBezTo>
                  <a:pt x="847" y="121"/>
                  <a:pt x="848" y="117"/>
                  <a:pt x="848" y="115"/>
                </a:cubicBezTo>
                <a:cubicBezTo>
                  <a:pt x="848" y="117"/>
                  <a:pt x="846" y="118"/>
                  <a:pt x="847" y="119"/>
                </a:cubicBezTo>
                <a:cubicBezTo>
                  <a:pt x="847" y="119"/>
                  <a:pt x="847" y="119"/>
                  <a:pt x="847" y="118"/>
                </a:cubicBezTo>
                <a:cubicBezTo>
                  <a:pt x="846" y="119"/>
                  <a:pt x="846" y="120"/>
                  <a:pt x="846" y="121"/>
                </a:cubicBezTo>
                <a:cubicBezTo>
                  <a:pt x="846" y="121"/>
                  <a:pt x="846" y="120"/>
                  <a:pt x="846" y="120"/>
                </a:cubicBezTo>
                <a:cubicBezTo>
                  <a:pt x="846" y="121"/>
                  <a:pt x="845" y="121"/>
                  <a:pt x="845" y="121"/>
                </a:cubicBezTo>
                <a:cubicBezTo>
                  <a:pt x="846" y="122"/>
                  <a:pt x="846" y="121"/>
                  <a:pt x="846" y="121"/>
                </a:cubicBezTo>
                <a:close/>
                <a:moveTo>
                  <a:pt x="860" y="122"/>
                </a:moveTo>
                <a:cubicBezTo>
                  <a:pt x="860" y="122"/>
                  <a:pt x="859" y="123"/>
                  <a:pt x="860" y="123"/>
                </a:cubicBezTo>
                <a:cubicBezTo>
                  <a:pt x="860" y="123"/>
                  <a:pt x="860" y="123"/>
                  <a:pt x="860" y="123"/>
                </a:cubicBezTo>
                <a:cubicBezTo>
                  <a:pt x="859" y="124"/>
                  <a:pt x="860" y="122"/>
                  <a:pt x="860" y="122"/>
                </a:cubicBezTo>
                <a:close/>
                <a:moveTo>
                  <a:pt x="861" y="115"/>
                </a:moveTo>
                <a:cubicBezTo>
                  <a:pt x="861" y="115"/>
                  <a:pt x="861" y="115"/>
                  <a:pt x="861" y="115"/>
                </a:cubicBezTo>
                <a:cubicBezTo>
                  <a:pt x="862" y="117"/>
                  <a:pt x="859" y="120"/>
                  <a:pt x="860" y="122"/>
                </a:cubicBezTo>
                <a:cubicBezTo>
                  <a:pt x="860" y="118"/>
                  <a:pt x="862" y="115"/>
                  <a:pt x="862" y="112"/>
                </a:cubicBezTo>
                <a:cubicBezTo>
                  <a:pt x="862" y="112"/>
                  <a:pt x="862" y="111"/>
                  <a:pt x="862" y="111"/>
                </a:cubicBezTo>
                <a:cubicBezTo>
                  <a:pt x="862" y="110"/>
                  <a:pt x="864" y="107"/>
                  <a:pt x="863" y="106"/>
                </a:cubicBezTo>
                <a:cubicBezTo>
                  <a:pt x="863" y="107"/>
                  <a:pt x="862" y="108"/>
                  <a:pt x="862" y="110"/>
                </a:cubicBezTo>
                <a:cubicBezTo>
                  <a:pt x="861" y="109"/>
                  <a:pt x="861" y="109"/>
                  <a:pt x="861" y="109"/>
                </a:cubicBezTo>
                <a:cubicBezTo>
                  <a:pt x="862" y="111"/>
                  <a:pt x="861" y="114"/>
                  <a:pt x="861" y="115"/>
                </a:cubicBezTo>
                <a:close/>
                <a:moveTo>
                  <a:pt x="842" y="104"/>
                </a:moveTo>
                <a:cubicBezTo>
                  <a:pt x="842" y="105"/>
                  <a:pt x="842" y="105"/>
                  <a:pt x="842" y="106"/>
                </a:cubicBezTo>
                <a:cubicBezTo>
                  <a:pt x="843" y="105"/>
                  <a:pt x="842" y="104"/>
                  <a:pt x="842" y="104"/>
                </a:cubicBezTo>
                <a:close/>
                <a:moveTo>
                  <a:pt x="707" y="252"/>
                </a:moveTo>
                <a:cubicBezTo>
                  <a:pt x="708" y="252"/>
                  <a:pt x="709" y="252"/>
                  <a:pt x="710" y="253"/>
                </a:cubicBezTo>
                <a:cubicBezTo>
                  <a:pt x="710" y="254"/>
                  <a:pt x="709" y="255"/>
                  <a:pt x="710" y="256"/>
                </a:cubicBezTo>
                <a:cubicBezTo>
                  <a:pt x="712" y="257"/>
                  <a:pt x="715" y="253"/>
                  <a:pt x="715" y="256"/>
                </a:cubicBezTo>
                <a:cubicBezTo>
                  <a:pt x="717" y="258"/>
                  <a:pt x="720" y="259"/>
                  <a:pt x="723" y="259"/>
                </a:cubicBezTo>
                <a:cubicBezTo>
                  <a:pt x="725" y="260"/>
                  <a:pt x="726" y="261"/>
                  <a:pt x="728" y="262"/>
                </a:cubicBezTo>
                <a:cubicBezTo>
                  <a:pt x="730" y="262"/>
                  <a:pt x="733" y="262"/>
                  <a:pt x="734" y="263"/>
                </a:cubicBezTo>
                <a:cubicBezTo>
                  <a:pt x="736" y="263"/>
                  <a:pt x="737" y="264"/>
                  <a:pt x="739" y="265"/>
                </a:cubicBezTo>
                <a:cubicBezTo>
                  <a:pt x="744" y="267"/>
                  <a:pt x="749" y="267"/>
                  <a:pt x="753" y="269"/>
                </a:cubicBezTo>
                <a:cubicBezTo>
                  <a:pt x="756" y="269"/>
                  <a:pt x="760" y="271"/>
                  <a:pt x="762" y="272"/>
                </a:cubicBezTo>
                <a:cubicBezTo>
                  <a:pt x="765" y="272"/>
                  <a:pt x="768" y="274"/>
                  <a:pt x="771" y="275"/>
                </a:cubicBezTo>
                <a:cubicBezTo>
                  <a:pt x="772" y="275"/>
                  <a:pt x="774" y="275"/>
                  <a:pt x="776" y="276"/>
                </a:cubicBezTo>
                <a:cubicBezTo>
                  <a:pt x="776" y="276"/>
                  <a:pt x="777" y="276"/>
                  <a:pt x="777" y="276"/>
                </a:cubicBezTo>
                <a:cubicBezTo>
                  <a:pt x="779" y="277"/>
                  <a:pt x="781" y="277"/>
                  <a:pt x="782" y="277"/>
                </a:cubicBezTo>
                <a:cubicBezTo>
                  <a:pt x="784" y="278"/>
                  <a:pt x="785" y="279"/>
                  <a:pt x="787" y="279"/>
                </a:cubicBezTo>
                <a:cubicBezTo>
                  <a:pt x="789" y="280"/>
                  <a:pt x="792" y="281"/>
                  <a:pt x="795" y="281"/>
                </a:cubicBezTo>
                <a:cubicBezTo>
                  <a:pt x="796" y="282"/>
                  <a:pt x="798" y="282"/>
                  <a:pt x="799" y="282"/>
                </a:cubicBezTo>
                <a:cubicBezTo>
                  <a:pt x="800" y="283"/>
                  <a:pt x="800" y="283"/>
                  <a:pt x="801" y="283"/>
                </a:cubicBezTo>
                <a:cubicBezTo>
                  <a:pt x="802" y="283"/>
                  <a:pt x="802" y="283"/>
                  <a:pt x="802" y="283"/>
                </a:cubicBezTo>
                <a:cubicBezTo>
                  <a:pt x="803" y="284"/>
                  <a:pt x="803" y="284"/>
                  <a:pt x="803" y="284"/>
                </a:cubicBezTo>
                <a:cubicBezTo>
                  <a:pt x="803" y="284"/>
                  <a:pt x="803" y="284"/>
                  <a:pt x="803" y="284"/>
                </a:cubicBezTo>
                <a:cubicBezTo>
                  <a:pt x="803" y="284"/>
                  <a:pt x="803" y="284"/>
                  <a:pt x="803" y="284"/>
                </a:cubicBezTo>
                <a:cubicBezTo>
                  <a:pt x="804" y="285"/>
                  <a:pt x="805" y="284"/>
                  <a:pt x="806" y="285"/>
                </a:cubicBezTo>
                <a:cubicBezTo>
                  <a:pt x="807" y="285"/>
                  <a:pt x="808" y="286"/>
                  <a:pt x="809" y="287"/>
                </a:cubicBezTo>
                <a:cubicBezTo>
                  <a:pt x="810" y="286"/>
                  <a:pt x="811" y="287"/>
                  <a:pt x="812" y="288"/>
                </a:cubicBezTo>
                <a:cubicBezTo>
                  <a:pt x="813" y="288"/>
                  <a:pt x="813" y="288"/>
                  <a:pt x="813" y="288"/>
                </a:cubicBezTo>
                <a:cubicBezTo>
                  <a:pt x="813" y="288"/>
                  <a:pt x="813" y="287"/>
                  <a:pt x="813" y="287"/>
                </a:cubicBezTo>
                <a:cubicBezTo>
                  <a:pt x="813" y="287"/>
                  <a:pt x="813" y="287"/>
                  <a:pt x="813" y="286"/>
                </a:cubicBezTo>
                <a:cubicBezTo>
                  <a:pt x="813" y="286"/>
                  <a:pt x="813" y="286"/>
                  <a:pt x="813" y="286"/>
                </a:cubicBezTo>
                <a:cubicBezTo>
                  <a:pt x="813" y="285"/>
                  <a:pt x="813" y="285"/>
                  <a:pt x="813" y="284"/>
                </a:cubicBezTo>
                <a:cubicBezTo>
                  <a:pt x="813" y="282"/>
                  <a:pt x="813" y="282"/>
                  <a:pt x="813" y="282"/>
                </a:cubicBezTo>
                <a:cubicBezTo>
                  <a:pt x="813" y="282"/>
                  <a:pt x="812" y="281"/>
                  <a:pt x="812" y="280"/>
                </a:cubicBezTo>
                <a:cubicBezTo>
                  <a:pt x="812" y="280"/>
                  <a:pt x="813" y="280"/>
                  <a:pt x="813" y="279"/>
                </a:cubicBezTo>
                <a:cubicBezTo>
                  <a:pt x="813" y="279"/>
                  <a:pt x="812" y="279"/>
                  <a:pt x="812" y="279"/>
                </a:cubicBezTo>
                <a:cubicBezTo>
                  <a:pt x="812" y="278"/>
                  <a:pt x="812" y="278"/>
                  <a:pt x="812" y="278"/>
                </a:cubicBezTo>
                <a:cubicBezTo>
                  <a:pt x="812" y="277"/>
                  <a:pt x="812" y="277"/>
                  <a:pt x="812" y="277"/>
                </a:cubicBezTo>
                <a:cubicBezTo>
                  <a:pt x="812" y="276"/>
                  <a:pt x="812" y="276"/>
                  <a:pt x="812" y="275"/>
                </a:cubicBezTo>
                <a:cubicBezTo>
                  <a:pt x="813" y="270"/>
                  <a:pt x="813" y="265"/>
                  <a:pt x="813" y="259"/>
                </a:cubicBezTo>
                <a:cubicBezTo>
                  <a:pt x="813" y="254"/>
                  <a:pt x="813" y="250"/>
                  <a:pt x="813" y="245"/>
                </a:cubicBezTo>
                <a:cubicBezTo>
                  <a:pt x="815" y="226"/>
                  <a:pt x="815" y="226"/>
                  <a:pt x="815" y="226"/>
                </a:cubicBezTo>
                <a:cubicBezTo>
                  <a:pt x="815" y="219"/>
                  <a:pt x="816" y="212"/>
                  <a:pt x="817" y="206"/>
                </a:cubicBezTo>
                <a:cubicBezTo>
                  <a:pt x="817" y="206"/>
                  <a:pt x="818" y="205"/>
                  <a:pt x="818" y="205"/>
                </a:cubicBezTo>
                <a:cubicBezTo>
                  <a:pt x="818" y="204"/>
                  <a:pt x="817" y="204"/>
                  <a:pt x="818" y="204"/>
                </a:cubicBezTo>
                <a:cubicBezTo>
                  <a:pt x="818" y="203"/>
                  <a:pt x="818" y="203"/>
                  <a:pt x="818" y="203"/>
                </a:cubicBezTo>
                <a:cubicBezTo>
                  <a:pt x="819" y="197"/>
                  <a:pt x="820" y="192"/>
                  <a:pt x="822" y="186"/>
                </a:cubicBezTo>
                <a:cubicBezTo>
                  <a:pt x="822" y="185"/>
                  <a:pt x="822" y="186"/>
                  <a:pt x="822" y="186"/>
                </a:cubicBezTo>
                <a:cubicBezTo>
                  <a:pt x="823" y="183"/>
                  <a:pt x="824" y="178"/>
                  <a:pt x="825" y="175"/>
                </a:cubicBezTo>
                <a:cubicBezTo>
                  <a:pt x="825" y="173"/>
                  <a:pt x="825" y="171"/>
                  <a:pt x="826" y="170"/>
                </a:cubicBezTo>
                <a:cubicBezTo>
                  <a:pt x="826" y="169"/>
                  <a:pt x="825" y="169"/>
                  <a:pt x="825" y="169"/>
                </a:cubicBezTo>
                <a:cubicBezTo>
                  <a:pt x="826" y="169"/>
                  <a:pt x="826" y="169"/>
                  <a:pt x="826" y="169"/>
                </a:cubicBezTo>
                <a:cubicBezTo>
                  <a:pt x="826" y="167"/>
                  <a:pt x="826" y="167"/>
                  <a:pt x="826" y="167"/>
                </a:cubicBezTo>
                <a:cubicBezTo>
                  <a:pt x="827" y="164"/>
                  <a:pt x="828" y="160"/>
                  <a:pt x="829" y="156"/>
                </a:cubicBezTo>
                <a:cubicBezTo>
                  <a:pt x="829" y="155"/>
                  <a:pt x="829" y="155"/>
                  <a:pt x="829" y="154"/>
                </a:cubicBezTo>
                <a:cubicBezTo>
                  <a:pt x="830" y="154"/>
                  <a:pt x="830" y="154"/>
                  <a:pt x="829" y="153"/>
                </a:cubicBezTo>
                <a:cubicBezTo>
                  <a:pt x="829" y="153"/>
                  <a:pt x="830" y="151"/>
                  <a:pt x="830" y="152"/>
                </a:cubicBezTo>
                <a:cubicBezTo>
                  <a:pt x="830" y="151"/>
                  <a:pt x="830" y="152"/>
                  <a:pt x="830" y="152"/>
                </a:cubicBezTo>
                <a:cubicBezTo>
                  <a:pt x="831" y="151"/>
                  <a:pt x="831" y="149"/>
                  <a:pt x="831" y="147"/>
                </a:cubicBezTo>
                <a:cubicBezTo>
                  <a:pt x="831" y="146"/>
                  <a:pt x="832" y="144"/>
                  <a:pt x="833" y="142"/>
                </a:cubicBezTo>
                <a:cubicBezTo>
                  <a:pt x="833" y="144"/>
                  <a:pt x="833" y="146"/>
                  <a:pt x="835" y="147"/>
                </a:cubicBezTo>
                <a:cubicBezTo>
                  <a:pt x="836" y="145"/>
                  <a:pt x="836" y="141"/>
                  <a:pt x="837" y="140"/>
                </a:cubicBezTo>
                <a:cubicBezTo>
                  <a:pt x="838" y="135"/>
                  <a:pt x="839" y="130"/>
                  <a:pt x="840" y="125"/>
                </a:cubicBezTo>
                <a:cubicBezTo>
                  <a:pt x="840" y="124"/>
                  <a:pt x="840" y="124"/>
                  <a:pt x="840" y="124"/>
                </a:cubicBezTo>
                <a:cubicBezTo>
                  <a:pt x="842" y="119"/>
                  <a:pt x="842" y="114"/>
                  <a:pt x="844" y="108"/>
                </a:cubicBezTo>
                <a:cubicBezTo>
                  <a:pt x="842" y="119"/>
                  <a:pt x="839" y="128"/>
                  <a:pt x="838" y="138"/>
                </a:cubicBezTo>
                <a:cubicBezTo>
                  <a:pt x="837" y="140"/>
                  <a:pt x="836" y="146"/>
                  <a:pt x="835" y="150"/>
                </a:cubicBezTo>
                <a:cubicBezTo>
                  <a:pt x="835" y="152"/>
                  <a:pt x="836" y="153"/>
                  <a:pt x="838" y="152"/>
                </a:cubicBezTo>
                <a:cubicBezTo>
                  <a:pt x="840" y="150"/>
                  <a:pt x="839" y="147"/>
                  <a:pt x="840" y="145"/>
                </a:cubicBezTo>
                <a:cubicBezTo>
                  <a:pt x="841" y="145"/>
                  <a:pt x="841" y="144"/>
                  <a:pt x="842" y="145"/>
                </a:cubicBezTo>
                <a:cubicBezTo>
                  <a:pt x="842" y="150"/>
                  <a:pt x="840" y="156"/>
                  <a:pt x="840" y="160"/>
                </a:cubicBezTo>
                <a:cubicBezTo>
                  <a:pt x="840" y="161"/>
                  <a:pt x="840" y="162"/>
                  <a:pt x="840" y="163"/>
                </a:cubicBezTo>
                <a:cubicBezTo>
                  <a:pt x="840" y="163"/>
                  <a:pt x="840" y="164"/>
                  <a:pt x="841" y="164"/>
                </a:cubicBezTo>
                <a:cubicBezTo>
                  <a:pt x="841" y="164"/>
                  <a:pt x="841" y="164"/>
                  <a:pt x="842" y="164"/>
                </a:cubicBezTo>
                <a:cubicBezTo>
                  <a:pt x="842" y="159"/>
                  <a:pt x="846" y="156"/>
                  <a:pt x="846" y="151"/>
                </a:cubicBezTo>
                <a:cubicBezTo>
                  <a:pt x="847" y="150"/>
                  <a:pt x="848" y="149"/>
                  <a:pt x="849" y="149"/>
                </a:cubicBezTo>
                <a:cubicBezTo>
                  <a:pt x="849" y="147"/>
                  <a:pt x="850" y="145"/>
                  <a:pt x="850" y="143"/>
                </a:cubicBezTo>
                <a:cubicBezTo>
                  <a:pt x="850" y="142"/>
                  <a:pt x="850" y="142"/>
                  <a:pt x="850" y="142"/>
                </a:cubicBezTo>
                <a:cubicBezTo>
                  <a:pt x="851" y="137"/>
                  <a:pt x="851" y="133"/>
                  <a:pt x="853" y="129"/>
                </a:cubicBezTo>
                <a:cubicBezTo>
                  <a:pt x="853" y="133"/>
                  <a:pt x="852" y="136"/>
                  <a:pt x="851" y="140"/>
                </a:cubicBezTo>
                <a:cubicBezTo>
                  <a:pt x="851" y="140"/>
                  <a:pt x="852" y="141"/>
                  <a:pt x="852" y="141"/>
                </a:cubicBezTo>
                <a:cubicBezTo>
                  <a:pt x="851" y="144"/>
                  <a:pt x="850" y="149"/>
                  <a:pt x="849" y="152"/>
                </a:cubicBezTo>
                <a:cubicBezTo>
                  <a:pt x="850" y="153"/>
                  <a:pt x="851" y="153"/>
                  <a:pt x="851" y="152"/>
                </a:cubicBezTo>
                <a:cubicBezTo>
                  <a:pt x="851" y="152"/>
                  <a:pt x="851" y="153"/>
                  <a:pt x="851" y="153"/>
                </a:cubicBezTo>
                <a:cubicBezTo>
                  <a:pt x="851" y="153"/>
                  <a:pt x="851" y="153"/>
                  <a:pt x="852" y="153"/>
                </a:cubicBezTo>
                <a:cubicBezTo>
                  <a:pt x="851" y="155"/>
                  <a:pt x="851" y="155"/>
                  <a:pt x="851" y="157"/>
                </a:cubicBezTo>
                <a:cubicBezTo>
                  <a:pt x="851" y="158"/>
                  <a:pt x="851" y="158"/>
                  <a:pt x="852" y="158"/>
                </a:cubicBezTo>
                <a:cubicBezTo>
                  <a:pt x="852" y="156"/>
                  <a:pt x="853" y="155"/>
                  <a:pt x="853" y="153"/>
                </a:cubicBezTo>
                <a:cubicBezTo>
                  <a:pt x="853" y="152"/>
                  <a:pt x="853" y="151"/>
                  <a:pt x="853" y="151"/>
                </a:cubicBezTo>
                <a:cubicBezTo>
                  <a:pt x="853" y="150"/>
                  <a:pt x="853" y="150"/>
                  <a:pt x="854" y="150"/>
                </a:cubicBezTo>
                <a:cubicBezTo>
                  <a:pt x="854" y="149"/>
                  <a:pt x="853" y="149"/>
                  <a:pt x="853" y="148"/>
                </a:cubicBezTo>
                <a:cubicBezTo>
                  <a:pt x="853" y="148"/>
                  <a:pt x="854" y="148"/>
                  <a:pt x="854" y="147"/>
                </a:cubicBezTo>
                <a:cubicBezTo>
                  <a:pt x="855" y="145"/>
                  <a:pt x="854" y="143"/>
                  <a:pt x="855" y="141"/>
                </a:cubicBezTo>
                <a:cubicBezTo>
                  <a:pt x="855" y="140"/>
                  <a:pt x="856" y="139"/>
                  <a:pt x="857" y="137"/>
                </a:cubicBezTo>
                <a:cubicBezTo>
                  <a:pt x="857" y="138"/>
                  <a:pt x="856" y="139"/>
                  <a:pt x="856" y="140"/>
                </a:cubicBezTo>
                <a:cubicBezTo>
                  <a:pt x="855" y="144"/>
                  <a:pt x="856" y="148"/>
                  <a:pt x="855" y="151"/>
                </a:cubicBezTo>
                <a:cubicBezTo>
                  <a:pt x="856" y="152"/>
                  <a:pt x="856" y="151"/>
                  <a:pt x="857" y="151"/>
                </a:cubicBezTo>
                <a:cubicBezTo>
                  <a:pt x="857" y="150"/>
                  <a:pt x="857" y="149"/>
                  <a:pt x="857" y="148"/>
                </a:cubicBezTo>
                <a:cubicBezTo>
                  <a:pt x="857" y="148"/>
                  <a:pt x="857" y="149"/>
                  <a:pt x="857" y="148"/>
                </a:cubicBezTo>
                <a:cubicBezTo>
                  <a:pt x="857" y="146"/>
                  <a:pt x="857" y="144"/>
                  <a:pt x="858" y="141"/>
                </a:cubicBezTo>
                <a:cubicBezTo>
                  <a:pt x="858" y="141"/>
                  <a:pt x="858" y="140"/>
                  <a:pt x="859" y="141"/>
                </a:cubicBezTo>
                <a:cubicBezTo>
                  <a:pt x="859" y="140"/>
                  <a:pt x="859" y="140"/>
                  <a:pt x="860" y="140"/>
                </a:cubicBezTo>
                <a:cubicBezTo>
                  <a:pt x="860" y="139"/>
                  <a:pt x="859" y="140"/>
                  <a:pt x="859" y="140"/>
                </a:cubicBezTo>
                <a:cubicBezTo>
                  <a:pt x="860" y="139"/>
                  <a:pt x="859" y="138"/>
                  <a:pt x="860" y="138"/>
                </a:cubicBezTo>
                <a:cubicBezTo>
                  <a:pt x="860" y="134"/>
                  <a:pt x="861" y="132"/>
                  <a:pt x="861" y="128"/>
                </a:cubicBezTo>
                <a:cubicBezTo>
                  <a:pt x="861" y="131"/>
                  <a:pt x="861" y="134"/>
                  <a:pt x="860" y="137"/>
                </a:cubicBezTo>
                <a:cubicBezTo>
                  <a:pt x="860" y="138"/>
                  <a:pt x="861" y="137"/>
                  <a:pt x="861" y="138"/>
                </a:cubicBezTo>
                <a:cubicBezTo>
                  <a:pt x="861" y="139"/>
                  <a:pt x="860" y="139"/>
                  <a:pt x="860" y="140"/>
                </a:cubicBezTo>
                <a:cubicBezTo>
                  <a:pt x="860" y="141"/>
                  <a:pt x="860" y="142"/>
                  <a:pt x="860" y="143"/>
                </a:cubicBezTo>
                <a:cubicBezTo>
                  <a:pt x="860" y="144"/>
                  <a:pt x="859" y="145"/>
                  <a:pt x="859" y="146"/>
                </a:cubicBezTo>
                <a:cubicBezTo>
                  <a:pt x="860" y="147"/>
                  <a:pt x="860" y="148"/>
                  <a:pt x="860" y="149"/>
                </a:cubicBezTo>
                <a:cubicBezTo>
                  <a:pt x="860" y="150"/>
                  <a:pt x="860" y="149"/>
                  <a:pt x="860" y="150"/>
                </a:cubicBezTo>
                <a:cubicBezTo>
                  <a:pt x="861" y="151"/>
                  <a:pt x="861" y="150"/>
                  <a:pt x="862" y="150"/>
                </a:cubicBezTo>
                <a:cubicBezTo>
                  <a:pt x="862" y="151"/>
                  <a:pt x="861" y="150"/>
                  <a:pt x="861" y="151"/>
                </a:cubicBezTo>
                <a:cubicBezTo>
                  <a:pt x="861" y="151"/>
                  <a:pt x="861" y="152"/>
                  <a:pt x="862" y="152"/>
                </a:cubicBezTo>
                <a:cubicBezTo>
                  <a:pt x="861" y="154"/>
                  <a:pt x="861" y="155"/>
                  <a:pt x="861" y="157"/>
                </a:cubicBezTo>
                <a:cubicBezTo>
                  <a:pt x="861" y="157"/>
                  <a:pt x="861" y="156"/>
                  <a:pt x="861" y="157"/>
                </a:cubicBezTo>
                <a:cubicBezTo>
                  <a:pt x="861" y="157"/>
                  <a:pt x="861" y="160"/>
                  <a:pt x="861" y="160"/>
                </a:cubicBezTo>
                <a:cubicBezTo>
                  <a:pt x="861" y="162"/>
                  <a:pt x="861" y="163"/>
                  <a:pt x="860" y="165"/>
                </a:cubicBezTo>
                <a:cubicBezTo>
                  <a:pt x="860" y="166"/>
                  <a:pt x="861" y="165"/>
                  <a:pt x="861" y="166"/>
                </a:cubicBezTo>
                <a:cubicBezTo>
                  <a:pt x="861" y="167"/>
                  <a:pt x="861" y="168"/>
                  <a:pt x="860" y="169"/>
                </a:cubicBezTo>
                <a:cubicBezTo>
                  <a:pt x="861" y="170"/>
                  <a:pt x="861" y="172"/>
                  <a:pt x="860" y="173"/>
                </a:cubicBezTo>
                <a:cubicBezTo>
                  <a:pt x="861" y="173"/>
                  <a:pt x="861" y="172"/>
                  <a:pt x="862" y="172"/>
                </a:cubicBezTo>
                <a:cubicBezTo>
                  <a:pt x="862" y="172"/>
                  <a:pt x="861" y="173"/>
                  <a:pt x="861" y="174"/>
                </a:cubicBezTo>
                <a:cubicBezTo>
                  <a:pt x="861" y="178"/>
                  <a:pt x="862" y="181"/>
                  <a:pt x="861" y="186"/>
                </a:cubicBezTo>
                <a:cubicBezTo>
                  <a:pt x="861" y="187"/>
                  <a:pt x="862" y="187"/>
                  <a:pt x="861" y="188"/>
                </a:cubicBezTo>
                <a:cubicBezTo>
                  <a:pt x="861" y="188"/>
                  <a:pt x="862" y="188"/>
                  <a:pt x="862" y="188"/>
                </a:cubicBezTo>
                <a:cubicBezTo>
                  <a:pt x="862" y="190"/>
                  <a:pt x="860" y="196"/>
                  <a:pt x="862" y="198"/>
                </a:cubicBezTo>
                <a:cubicBezTo>
                  <a:pt x="861" y="198"/>
                  <a:pt x="861" y="197"/>
                  <a:pt x="861" y="198"/>
                </a:cubicBezTo>
                <a:cubicBezTo>
                  <a:pt x="861" y="199"/>
                  <a:pt x="860" y="200"/>
                  <a:pt x="861" y="201"/>
                </a:cubicBezTo>
                <a:cubicBezTo>
                  <a:pt x="861" y="204"/>
                  <a:pt x="860" y="206"/>
                  <a:pt x="861" y="208"/>
                </a:cubicBezTo>
                <a:cubicBezTo>
                  <a:pt x="860" y="209"/>
                  <a:pt x="860" y="210"/>
                  <a:pt x="860" y="210"/>
                </a:cubicBezTo>
                <a:cubicBezTo>
                  <a:pt x="860" y="211"/>
                  <a:pt x="860" y="213"/>
                  <a:pt x="860" y="214"/>
                </a:cubicBezTo>
                <a:cubicBezTo>
                  <a:pt x="859" y="231"/>
                  <a:pt x="857" y="248"/>
                  <a:pt x="857" y="264"/>
                </a:cubicBezTo>
                <a:cubicBezTo>
                  <a:pt x="856" y="268"/>
                  <a:pt x="857" y="273"/>
                  <a:pt x="857" y="277"/>
                </a:cubicBezTo>
                <a:cubicBezTo>
                  <a:pt x="857" y="277"/>
                  <a:pt x="857" y="277"/>
                  <a:pt x="857" y="278"/>
                </a:cubicBezTo>
                <a:cubicBezTo>
                  <a:pt x="857" y="279"/>
                  <a:pt x="857" y="279"/>
                  <a:pt x="857" y="279"/>
                </a:cubicBezTo>
                <a:cubicBezTo>
                  <a:pt x="857" y="280"/>
                  <a:pt x="857" y="281"/>
                  <a:pt x="857" y="282"/>
                </a:cubicBezTo>
                <a:cubicBezTo>
                  <a:pt x="857" y="291"/>
                  <a:pt x="857" y="302"/>
                  <a:pt x="859" y="311"/>
                </a:cubicBezTo>
                <a:cubicBezTo>
                  <a:pt x="858" y="317"/>
                  <a:pt x="860" y="324"/>
                  <a:pt x="860" y="331"/>
                </a:cubicBezTo>
                <a:cubicBezTo>
                  <a:pt x="860" y="334"/>
                  <a:pt x="860" y="336"/>
                  <a:pt x="860" y="339"/>
                </a:cubicBezTo>
                <a:cubicBezTo>
                  <a:pt x="861" y="340"/>
                  <a:pt x="861" y="342"/>
                  <a:pt x="861" y="343"/>
                </a:cubicBezTo>
                <a:cubicBezTo>
                  <a:pt x="861" y="345"/>
                  <a:pt x="861" y="347"/>
                  <a:pt x="861" y="349"/>
                </a:cubicBezTo>
                <a:cubicBezTo>
                  <a:pt x="861" y="350"/>
                  <a:pt x="861" y="350"/>
                  <a:pt x="861" y="350"/>
                </a:cubicBezTo>
                <a:cubicBezTo>
                  <a:pt x="861" y="351"/>
                  <a:pt x="861" y="351"/>
                  <a:pt x="861" y="351"/>
                </a:cubicBezTo>
                <a:cubicBezTo>
                  <a:pt x="861" y="351"/>
                  <a:pt x="861" y="351"/>
                  <a:pt x="861" y="351"/>
                </a:cubicBezTo>
                <a:cubicBezTo>
                  <a:pt x="861" y="351"/>
                  <a:pt x="860" y="350"/>
                  <a:pt x="860" y="350"/>
                </a:cubicBezTo>
                <a:cubicBezTo>
                  <a:pt x="859" y="350"/>
                  <a:pt x="858" y="350"/>
                  <a:pt x="857" y="349"/>
                </a:cubicBezTo>
                <a:cubicBezTo>
                  <a:pt x="854" y="349"/>
                  <a:pt x="853" y="349"/>
                  <a:pt x="851" y="348"/>
                </a:cubicBezTo>
                <a:cubicBezTo>
                  <a:pt x="843" y="346"/>
                  <a:pt x="834" y="342"/>
                  <a:pt x="826" y="340"/>
                </a:cubicBezTo>
                <a:cubicBezTo>
                  <a:pt x="824" y="340"/>
                  <a:pt x="821" y="338"/>
                  <a:pt x="819" y="338"/>
                </a:cubicBezTo>
                <a:cubicBezTo>
                  <a:pt x="818" y="338"/>
                  <a:pt x="817" y="338"/>
                  <a:pt x="816" y="337"/>
                </a:cubicBezTo>
                <a:cubicBezTo>
                  <a:pt x="812" y="336"/>
                  <a:pt x="807" y="334"/>
                  <a:pt x="803" y="334"/>
                </a:cubicBezTo>
                <a:cubicBezTo>
                  <a:pt x="801" y="333"/>
                  <a:pt x="799" y="332"/>
                  <a:pt x="797" y="331"/>
                </a:cubicBezTo>
                <a:cubicBezTo>
                  <a:pt x="794" y="331"/>
                  <a:pt x="792" y="330"/>
                  <a:pt x="790" y="330"/>
                </a:cubicBezTo>
                <a:cubicBezTo>
                  <a:pt x="789" y="329"/>
                  <a:pt x="788" y="329"/>
                  <a:pt x="788" y="329"/>
                </a:cubicBezTo>
                <a:cubicBezTo>
                  <a:pt x="787" y="329"/>
                  <a:pt x="787" y="329"/>
                  <a:pt x="786" y="328"/>
                </a:cubicBezTo>
                <a:cubicBezTo>
                  <a:pt x="783" y="328"/>
                  <a:pt x="779" y="327"/>
                  <a:pt x="776" y="325"/>
                </a:cubicBezTo>
                <a:cubicBezTo>
                  <a:pt x="775" y="325"/>
                  <a:pt x="775" y="325"/>
                  <a:pt x="775" y="326"/>
                </a:cubicBezTo>
                <a:cubicBezTo>
                  <a:pt x="773" y="324"/>
                  <a:pt x="770" y="325"/>
                  <a:pt x="768" y="324"/>
                </a:cubicBezTo>
                <a:cubicBezTo>
                  <a:pt x="767" y="324"/>
                  <a:pt x="767" y="324"/>
                  <a:pt x="767" y="324"/>
                </a:cubicBezTo>
                <a:cubicBezTo>
                  <a:pt x="766" y="323"/>
                  <a:pt x="765" y="323"/>
                  <a:pt x="763" y="323"/>
                </a:cubicBezTo>
                <a:cubicBezTo>
                  <a:pt x="759" y="321"/>
                  <a:pt x="755" y="321"/>
                  <a:pt x="751" y="319"/>
                </a:cubicBezTo>
                <a:cubicBezTo>
                  <a:pt x="749" y="320"/>
                  <a:pt x="746" y="319"/>
                  <a:pt x="744" y="318"/>
                </a:cubicBezTo>
                <a:cubicBezTo>
                  <a:pt x="743" y="318"/>
                  <a:pt x="743" y="319"/>
                  <a:pt x="742" y="318"/>
                </a:cubicBezTo>
                <a:cubicBezTo>
                  <a:pt x="741" y="318"/>
                  <a:pt x="741" y="318"/>
                  <a:pt x="741" y="318"/>
                </a:cubicBezTo>
                <a:cubicBezTo>
                  <a:pt x="740" y="318"/>
                  <a:pt x="740" y="318"/>
                  <a:pt x="739" y="318"/>
                </a:cubicBezTo>
                <a:cubicBezTo>
                  <a:pt x="738" y="317"/>
                  <a:pt x="738" y="317"/>
                  <a:pt x="737" y="316"/>
                </a:cubicBezTo>
                <a:cubicBezTo>
                  <a:pt x="736" y="316"/>
                  <a:pt x="736" y="317"/>
                  <a:pt x="735" y="316"/>
                </a:cubicBezTo>
                <a:cubicBezTo>
                  <a:pt x="734" y="316"/>
                  <a:pt x="733" y="315"/>
                  <a:pt x="733" y="315"/>
                </a:cubicBezTo>
                <a:cubicBezTo>
                  <a:pt x="731" y="315"/>
                  <a:pt x="729" y="316"/>
                  <a:pt x="727" y="314"/>
                </a:cubicBezTo>
                <a:cubicBezTo>
                  <a:pt x="725" y="314"/>
                  <a:pt x="724" y="313"/>
                  <a:pt x="722" y="313"/>
                </a:cubicBezTo>
                <a:cubicBezTo>
                  <a:pt x="721" y="313"/>
                  <a:pt x="720" y="313"/>
                  <a:pt x="719" y="313"/>
                </a:cubicBezTo>
                <a:cubicBezTo>
                  <a:pt x="718" y="313"/>
                  <a:pt x="718" y="313"/>
                  <a:pt x="717" y="313"/>
                </a:cubicBezTo>
                <a:cubicBezTo>
                  <a:pt x="715" y="312"/>
                  <a:pt x="713" y="313"/>
                  <a:pt x="711" y="311"/>
                </a:cubicBezTo>
                <a:cubicBezTo>
                  <a:pt x="708" y="312"/>
                  <a:pt x="703" y="309"/>
                  <a:pt x="701" y="311"/>
                </a:cubicBezTo>
                <a:cubicBezTo>
                  <a:pt x="701" y="312"/>
                  <a:pt x="700" y="313"/>
                  <a:pt x="699" y="313"/>
                </a:cubicBezTo>
                <a:cubicBezTo>
                  <a:pt x="698" y="313"/>
                  <a:pt x="698" y="312"/>
                  <a:pt x="697" y="311"/>
                </a:cubicBezTo>
                <a:cubicBezTo>
                  <a:pt x="696" y="311"/>
                  <a:pt x="693" y="310"/>
                  <a:pt x="692" y="310"/>
                </a:cubicBezTo>
                <a:cubicBezTo>
                  <a:pt x="691" y="310"/>
                  <a:pt x="691" y="311"/>
                  <a:pt x="690" y="311"/>
                </a:cubicBezTo>
                <a:cubicBezTo>
                  <a:pt x="689" y="311"/>
                  <a:pt x="688" y="309"/>
                  <a:pt x="687" y="309"/>
                </a:cubicBezTo>
                <a:cubicBezTo>
                  <a:pt x="686" y="309"/>
                  <a:pt x="685" y="310"/>
                  <a:pt x="684" y="310"/>
                </a:cubicBezTo>
                <a:cubicBezTo>
                  <a:pt x="683" y="309"/>
                  <a:pt x="682" y="308"/>
                  <a:pt x="682" y="307"/>
                </a:cubicBezTo>
                <a:cubicBezTo>
                  <a:pt x="682" y="307"/>
                  <a:pt x="682" y="307"/>
                  <a:pt x="681" y="307"/>
                </a:cubicBezTo>
                <a:cubicBezTo>
                  <a:pt x="680" y="305"/>
                  <a:pt x="677" y="304"/>
                  <a:pt x="674" y="304"/>
                </a:cubicBezTo>
                <a:cubicBezTo>
                  <a:pt x="674" y="303"/>
                  <a:pt x="673" y="303"/>
                  <a:pt x="673" y="303"/>
                </a:cubicBezTo>
                <a:cubicBezTo>
                  <a:pt x="670" y="302"/>
                  <a:pt x="668" y="299"/>
                  <a:pt x="666" y="296"/>
                </a:cubicBezTo>
                <a:cubicBezTo>
                  <a:pt x="666" y="296"/>
                  <a:pt x="665" y="296"/>
                  <a:pt x="665" y="295"/>
                </a:cubicBezTo>
                <a:cubicBezTo>
                  <a:pt x="664" y="294"/>
                  <a:pt x="664" y="293"/>
                  <a:pt x="663" y="292"/>
                </a:cubicBezTo>
                <a:cubicBezTo>
                  <a:pt x="663" y="291"/>
                  <a:pt x="662" y="291"/>
                  <a:pt x="662" y="290"/>
                </a:cubicBezTo>
                <a:cubicBezTo>
                  <a:pt x="662" y="288"/>
                  <a:pt x="661" y="287"/>
                  <a:pt x="660" y="286"/>
                </a:cubicBezTo>
                <a:cubicBezTo>
                  <a:pt x="660" y="285"/>
                  <a:pt x="659" y="284"/>
                  <a:pt x="659" y="283"/>
                </a:cubicBezTo>
                <a:cubicBezTo>
                  <a:pt x="658" y="281"/>
                  <a:pt x="659" y="279"/>
                  <a:pt x="658" y="277"/>
                </a:cubicBezTo>
                <a:cubicBezTo>
                  <a:pt x="659" y="274"/>
                  <a:pt x="659" y="271"/>
                  <a:pt x="660" y="267"/>
                </a:cubicBezTo>
                <a:cubicBezTo>
                  <a:pt x="660" y="267"/>
                  <a:pt x="659" y="267"/>
                  <a:pt x="660" y="266"/>
                </a:cubicBezTo>
                <a:cubicBezTo>
                  <a:pt x="661" y="265"/>
                  <a:pt x="661" y="263"/>
                  <a:pt x="662" y="261"/>
                </a:cubicBezTo>
                <a:cubicBezTo>
                  <a:pt x="663" y="261"/>
                  <a:pt x="663" y="260"/>
                  <a:pt x="664" y="260"/>
                </a:cubicBezTo>
                <a:cubicBezTo>
                  <a:pt x="665" y="259"/>
                  <a:pt x="665" y="258"/>
                  <a:pt x="666" y="257"/>
                </a:cubicBezTo>
                <a:cubicBezTo>
                  <a:pt x="670" y="256"/>
                  <a:pt x="673" y="253"/>
                  <a:pt x="677" y="251"/>
                </a:cubicBezTo>
                <a:cubicBezTo>
                  <a:pt x="677" y="251"/>
                  <a:pt x="678" y="251"/>
                  <a:pt x="678" y="251"/>
                </a:cubicBezTo>
                <a:cubicBezTo>
                  <a:pt x="680" y="250"/>
                  <a:pt x="682" y="250"/>
                  <a:pt x="684" y="249"/>
                </a:cubicBezTo>
                <a:cubicBezTo>
                  <a:pt x="685" y="248"/>
                  <a:pt x="687" y="249"/>
                  <a:pt x="689" y="249"/>
                </a:cubicBezTo>
                <a:cubicBezTo>
                  <a:pt x="690" y="249"/>
                  <a:pt x="690" y="248"/>
                  <a:pt x="692" y="249"/>
                </a:cubicBezTo>
                <a:cubicBezTo>
                  <a:pt x="693" y="249"/>
                  <a:pt x="695" y="248"/>
                  <a:pt x="696" y="248"/>
                </a:cubicBezTo>
                <a:cubicBezTo>
                  <a:pt x="698" y="248"/>
                  <a:pt x="700" y="249"/>
                  <a:pt x="701" y="250"/>
                </a:cubicBezTo>
                <a:cubicBezTo>
                  <a:pt x="702" y="250"/>
                  <a:pt x="703" y="249"/>
                  <a:pt x="704" y="250"/>
                </a:cubicBezTo>
                <a:cubicBezTo>
                  <a:pt x="705" y="250"/>
                  <a:pt x="706" y="252"/>
                  <a:pt x="707" y="252"/>
                </a:cubicBezTo>
                <a:close/>
                <a:moveTo>
                  <a:pt x="858" y="156"/>
                </a:moveTo>
                <a:cubicBezTo>
                  <a:pt x="858" y="156"/>
                  <a:pt x="858" y="156"/>
                  <a:pt x="858" y="156"/>
                </a:cubicBezTo>
                <a:cubicBezTo>
                  <a:pt x="858" y="157"/>
                  <a:pt x="859" y="156"/>
                  <a:pt x="858" y="156"/>
                </a:cubicBezTo>
                <a:close/>
                <a:moveTo>
                  <a:pt x="859" y="156"/>
                </a:moveTo>
                <a:cubicBezTo>
                  <a:pt x="860" y="155"/>
                  <a:pt x="859" y="154"/>
                  <a:pt x="860" y="152"/>
                </a:cubicBezTo>
                <a:cubicBezTo>
                  <a:pt x="859" y="152"/>
                  <a:pt x="859" y="152"/>
                  <a:pt x="860" y="151"/>
                </a:cubicBezTo>
                <a:cubicBezTo>
                  <a:pt x="859" y="150"/>
                  <a:pt x="860" y="148"/>
                  <a:pt x="858" y="148"/>
                </a:cubicBezTo>
                <a:cubicBezTo>
                  <a:pt x="858" y="149"/>
                  <a:pt x="858" y="150"/>
                  <a:pt x="857" y="151"/>
                </a:cubicBezTo>
                <a:cubicBezTo>
                  <a:pt x="857" y="151"/>
                  <a:pt x="858" y="151"/>
                  <a:pt x="858" y="151"/>
                </a:cubicBezTo>
                <a:cubicBezTo>
                  <a:pt x="858" y="152"/>
                  <a:pt x="858" y="154"/>
                  <a:pt x="858" y="156"/>
                </a:cubicBezTo>
                <a:cubicBezTo>
                  <a:pt x="858" y="156"/>
                  <a:pt x="858" y="155"/>
                  <a:pt x="859" y="156"/>
                </a:cubicBezTo>
                <a:close/>
              </a:path>
            </a:pathLst>
          </a:custGeom>
          <a:solidFill>
            <a:srgbClr val="FF5050"/>
          </a:solidFill>
          <a:ln>
            <a:noFill/>
          </a:ln>
        </p:spPr>
        <p:txBody>
          <a:bodyPr vert="horz" wrap="square" lIns="91440" tIns="45720" rIns="91440" bIns="45720" numCol="1" anchor="t" anchorCtr="0" compatLnSpc="1">
            <a:prstTxWarp prst="textNoShape">
              <a:avLst/>
            </a:prstTxWarp>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ox(in)">
                                      <p:cBhvr>
                                        <p:cTn id="7" dur="500"/>
                                        <p:tgtEl>
                                          <p:spTgt spid="7"/>
                                        </p:tgtEl>
                                      </p:cBhvr>
                                    </p:animEffect>
                                  </p:childTnLst>
                                </p:cTn>
                              </p:par>
                              <p:par>
                                <p:cTn id="8" presetID="4" presetClass="entr" presetSubtype="16"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box(in)">
                                      <p:cBhvr>
                                        <p:cTn id="10" dur="500"/>
                                        <p:tgtEl>
                                          <p:spTgt spid="16"/>
                                        </p:tgtEl>
                                      </p:cBhvr>
                                    </p:animEffect>
                                  </p:childTnLst>
                                </p:cTn>
                              </p:par>
                              <p:par>
                                <p:cTn id="11" presetID="4" presetClass="entr" presetSubtype="16"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box(in)">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47" presetClass="entr" presetSubtype="0" fill="hold" grpId="0"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1000"/>
                                        <p:tgtEl>
                                          <p:spTgt spid="18"/>
                                        </p:tgtEl>
                                      </p:cBhvr>
                                    </p:animEffect>
                                    <p:anim calcmode="lin" valueType="num">
                                      <p:cBhvr>
                                        <p:cTn id="19" dur="1000" fill="hold"/>
                                        <p:tgtEl>
                                          <p:spTgt spid="18"/>
                                        </p:tgtEl>
                                        <p:attrNameLst>
                                          <p:attrName>ppt_x</p:attrName>
                                        </p:attrNameLst>
                                      </p:cBhvr>
                                      <p:tavLst>
                                        <p:tav tm="0">
                                          <p:val>
                                            <p:strVal val="#ppt_x"/>
                                          </p:val>
                                        </p:tav>
                                        <p:tav tm="100000">
                                          <p:val>
                                            <p:strVal val="#ppt_x"/>
                                          </p:val>
                                        </p:tav>
                                      </p:tavLst>
                                    </p:anim>
                                    <p:anim calcmode="lin" valueType="num">
                                      <p:cBhvr>
                                        <p:cTn id="20" dur="1000" fill="hold"/>
                                        <p:tgtEl>
                                          <p:spTgt spid="18"/>
                                        </p:tgtEl>
                                        <p:attrNameLst>
                                          <p:attrName>ppt_y</p:attrName>
                                        </p:attrNameLst>
                                      </p:cBhvr>
                                      <p:tavLst>
                                        <p:tav tm="0">
                                          <p:val>
                                            <p:strVal val="#ppt_y-.1"/>
                                          </p:val>
                                        </p:tav>
                                        <p:tav tm="100000">
                                          <p:val>
                                            <p:strVal val="#ppt_y"/>
                                          </p:val>
                                        </p:tav>
                                      </p:tavLst>
                                    </p:anim>
                                  </p:childTnLst>
                                </p:cTn>
                              </p:par>
                              <p:par>
                                <p:cTn id="21" presetID="47"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1000"/>
                                        <p:tgtEl>
                                          <p:spTgt spid="10"/>
                                        </p:tgtEl>
                                      </p:cBhvr>
                                    </p:animEffect>
                                    <p:anim calcmode="lin" valueType="num">
                                      <p:cBhvr>
                                        <p:cTn id="24" dur="1000" fill="hold"/>
                                        <p:tgtEl>
                                          <p:spTgt spid="10"/>
                                        </p:tgtEl>
                                        <p:attrNameLst>
                                          <p:attrName>ppt_x</p:attrName>
                                        </p:attrNameLst>
                                      </p:cBhvr>
                                      <p:tavLst>
                                        <p:tav tm="0">
                                          <p:val>
                                            <p:strVal val="#ppt_x"/>
                                          </p:val>
                                        </p:tav>
                                        <p:tav tm="100000">
                                          <p:val>
                                            <p:strVal val="#ppt_x"/>
                                          </p:val>
                                        </p:tav>
                                      </p:tavLst>
                                    </p:anim>
                                    <p:anim calcmode="lin" valueType="num">
                                      <p:cBhvr>
                                        <p:cTn id="25" dur="10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1000"/>
                                        <p:tgtEl>
                                          <p:spTgt spid="20"/>
                                        </p:tgtEl>
                                      </p:cBhvr>
                                    </p:animEffect>
                                    <p:anim calcmode="lin" valueType="num">
                                      <p:cBhvr>
                                        <p:cTn id="29" dur="1000" fill="hold"/>
                                        <p:tgtEl>
                                          <p:spTgt spid="20"/>
                                        </p:tgtEl>
                                        <p:attrNameLst>
                                          <p:attrName>ppt_x</p:attrName>
                                        </p:attrNameLst>
                                      </p:cBhvr>
                                      <p:tavLst>
                                        <p:tav tm="0">
                                          <p:val>
                                            <p:strVal val="#ppt_x"/>
                                          </p:val>
                                        </p:tav>
                                        <p:tav tm="100000">
                                          <p:val>
                                            <p:strVal val="#ppt_x"/>
                                          </p:val>
                                        </p:tav>
                                      </p:tavLst>
                                    </p:anim>
                                    <p:anim calcmode="lin" valueType="num">
                                      <p:cBhvr>
                                        <p:cTn id="30" dur="1000" fill="hold"/>
                                        <p:tgtEl>
                                          <p:spTgt spid="20"/>
                                        </p:tgtEl>
                                        <p:attrNameLst>
                                          <p:attrName>ppt_y</p:attrName>
                                        </p:attrNameLst>
                                      </p:cBhvr>
                                      <p:tavLst>
                                        <p:tav tm="0">
                                          <p:val>
                                            <p:strVal val="#ppt_y-.1"/>
                                          </p:val>
                                        </p:tav>
                                        <p:tav tm="100000">
                                          <p:val>
                                            <p:strVal val="#ppt_y"/>
                                          </p:val>
                                        </p:tav>
                                      </p:tavLst>
                                    </p:anim>
                                  </p:childTnLst>
                                </p:cTn>
                              </p:par>
                              <p:par>
                                <p:cTn id="31" presetID="47"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1000"/>
                                        <p:tgtEl>
                                          <p:spTgt spid="9"/>
                                        </p:tgtEl>
                                      </p:cBhvr>
                                    </p:animEffect>
                                    <p:anim calcmode="lin" valueType="num">
                                      <p:cBhvr>
                                        <p:cTn id="34" dur="1000" fill="hold"/>
                                        <p:tgtEl>
                                          <p:spTgt spid="9"/>
                                        </p:tgtEl>
                                        <p:attrNameLst>
                                          <p:attrName>ppt_x</p:attrName>
                                        </p:attrNameLst>
                                      </p:cBhvr>
                                      <p:tavLst>
                                        <p:tav tm="0">
                                          <p:val>
                                            <p:strVal val="#ppt_x"/>
                                          </p:val>
                                        </p:tav>
                                        <p:tav tm="100000">
                                          <p:val>
                                            <p:strVal val="#ppt_x"/>
                                          </p:val>
                                        </p:tav>
                                      </p:tavLst>
                                    </p:anim>
                                    <p:anim calcmode="lin" valueType="num">
                                      <p:cBhvr>
                                        <p:cTn id="35" dur="1000" fill="hold"/>
                                        <p:tgtEl>
                                          <p:spTgt spid="9"/>
                                        </p:tgtEl>
                                        <p:attrNameLst>
                                          <p:attrName>ppt_y</p:attrName>
                                        </p:attrNameLst>
                                      </p:cBhvr>
                                      <p:tavLst>
                                        <p:tav tm="0">
                                          <p:val>
                                            <p:strVal val="#ppt_y-.1"/>
                                          </p:val>
                                        </p:tav>
                                        <p:tav tm="100000">
                                          <p:val>
                                            <p:strVal val="#ppt_y"/>
                                          </p:val>
                                        </p:tav>
                                      </p:tavLst>
                                    </p:anim>
                                  </p:childTnLst>
                                </p:cTn>
                              </p:par>
                              <p:par>
                                <p:cTn id="36" presetID="47" presetClass="entr" presetSubtype="0" fill="hold" nodeType="withEffect">
                                  <p:stCondLst>
                                    <p:cond delay="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1000"/>
                                        <p:tgtEl>
                                          <p:spTgt spid="3"/>
                                        </p:tgtEl>
                                      </p:cBhvr>
                                    </p:animEffect>
                                    <p:anim calcmode="lin" valueType="num">
                                      <p:cBhvr>
                                        <p:cTn id="39" dur="1000" fill="hold"/>
                                        <p:tgtEl>
                                          <p:spTgt spid="3"/>
                                        </p:tgtEl>
                                        <p:attrNameLst>
                                          <p:attrName>ppt_x</p:attrName>
                                        </p:attrNameLst>
                                      </p:cBhvr>
                                      <p:tavLst>
                                        <p:tav tm="0">
                                          <p:val>
                                            <p:strVal val="#ppt_x"/>
                                          </p:val>
                                        </p:tav>
                                        <p:tav tm="100000">
                                          <p:val>
                                            <p:strVal val="#ppt_x"/>
                                          </p:val>
                                        </p:tav>
                                      </p:tavLst>
                                    </p:anim>
                                    <p:anim calcmode="lin" valueType="num">
                                      <p:cBhvr>
                                        <p:cTn id="40"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0"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yvBs0ed.ka5C9HeY.6jo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daHhJd.ikC9pCe0v1i6Tw"/>
</p:tagLst>
</file>

<file path=ppt/tags/tag11.xml><?xml version="1.0" encoding="utf-8"?>
<p:tagLst xmlns:a="http://schemas.openxmlformats.org/drawingml/2006/main" xmlns:r="http://schemas.openxmlformats.org/officeDocument/2006/relationships" xmlns:p="http://schemas.openxmlformats.org/presentationml/2006/main">
  <p:tag name="MILESTONE9" val="26,170,66,-15029694,False;12/31/1993 12:00:00 AM; Bachelor of Science (Mathematics);False;False;False;False;False;tbName;9;;11;;10;9;-1;-1;False;120;False;False;False;False;False;-1;198.4557"/>
</p:tagLst>
</file>

<file path=ppt/tags/tag12.xml><?xml version="1.0" encoding="utf-8"?>
<p:tagLst xmlns:a="http://schemas.openxmlformats.org/drawingml/2006/main" xmlns:r="http://schemas.openxmlformats.org/officeDocument/2006/relationships" xmlns:p="http://schemas.openxmlformats.org/presentationml/2006/main">
  <p:tag name="MILESTONE9" val="26,170,66,-15029694,False;12/31/1993 12:00:00 AM; Bachelor of Science (Mathematics);False;False;False;False;False;tbName;9;;11;;10;9;-1;-1;False;120;False;False;False;False;False;-1;198.4557"/>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daHhJd.ikC9pCe0v1i6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daHhJd.ikC9pCe0v1i6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yvBs0ed.ka5C9HeY.6j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24kWd4zeEqnx3BsACOO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24kWd4zeEqnx3BsACOO1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24kWd4zeEqnx3BsACOO1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24kWd4zeEqnx3BsACOO1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yvBs0ed.ka5C9HeY.6j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24kWd4zeEqnx3BsACOO1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24kWd4zeEqnx3BsACOO1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yvBs0ed.ka5C9HeY.6j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yvBs0ed.ka5C9HeY.6j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yvBs0ed.ka5C9HeY.6j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yvBs0ed.ka5C9HeY.6j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yvBs0ed.ka5C9HeY.6j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yvBs0ed.ka5C9HeY.6j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I9ZM9QMkUuHeICP8U5U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bFeprNuaEyYVT7c5s9b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SHctvJj3EmfMb4j.MPh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SHctvJj3EmfMb4j.MPh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I9ZM9QMkUuHeICP8U5U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bFeprNuaEyYVT7c5s9b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daHhJd.ikC9pCe0v1i6T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4</TotalTime>
  <Words>5034</Words>
  <Application>Microsoft Office PowerPoint</Application>
  <PresentationFormat>On-screen Show (4:3)</PresentationFormat>
  <Paragraphs>1095</Paragraphs>
  <Slides>74</Slides>
  <Notes>45</Notes>
  <HiddenSlides>0</HiddenSlides>
  <MMClips>0</MMClips>
  <ScaleCrop>false</ScaleCrop>
  <HeadingPairs>
    <vt:vector size="4" baseType="variant">
      <vt:variant>
        <vt:lpstr>Theme</vt:lpstr>
      </vt:variant>
      <vt:variant>
        <vt:i4>1</vt:i4>
      </vt:variant>
      <vt:variant>
        <vt:lpstr>Slide Titles</vt:lpstr>
      </vt:variant>
      <vt:variant>
        <vt:i4>74</vt:i4>
      </vt:variant>
    </vt:vector>
  </HeadingPairs>
  <TitlesOfParts>
    <vt:vector size="75"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Kementerian Pelajaran Malaysi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menterian Pelajaran Malaysia Kementerian Pelajaran Malaysia</dc:creator>
  <cp:lastModifiedBy>ANIS</cp:lastModifiedBy>
  <cp:revision>5</cp:revision>
  <dcterms:created xsi:type="dcterms:W3CDTF">2015-03-24T14:37:44Z</dcterms:created>
  <dcterms:modified xsi:type="dcterms:W3CDTF">2015-04-21T03:13:44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